
<file path=[Content_Types].xml><?xml version="1.0" encoding="utf-8"?>
<Types xmlns="http://schemas.openxmlformats.org/package/2006/content-types">
  <Default Extension="jpg" ContentType="image/jpeg"/>
  <Default Extension="svg" ContentType="image/svg+xml"/>
  <Default Extension="emf" ContentType="image/x-emf"/>
  <Default Extension="jpeg" ContentType="image/jpeg"/>
  <Default Extension="xml" ContentType="application/xml"/>
  <Default Extension="vml" ContentType="application/vnd.openxmlformats-officedocument.vmlDrawing"/>
  <Default Extension="bin" ContentType="application/vnd.openxmlformats-officedocument.oleObject"/>
  <Default Extension="wdp" ContentType="image/vnd.ms-photo"/>
  <Default Extension="png" ContentType="image/png"/>
  <Default Extension="rels" ContentType="application/vnd.openxmlformats-package.relationships+xml"/>
  <Default Extension="gif" ContentType="image/gif"/>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96.xml" ContentType="application/vnd.openxmlformats-officedocument.presentationml.tags+xml"/>
  <Override PartName="/ppt/notesSlides/notesSlide4.xml" ContentType="application/vnd.openxmlformats-officedocument.presentationml.notesSlide+xml"/>
  <Override PartName="/ppt/tags/tag97.xml" ContentType="application/vnd.openxmlformats-officedocument.presentationml.tags+xml"/>
  <Override PartName="/ppt/notesSlides/notesSlide5.xml" ContentType="application/vnd.openxmlformats-officedocument.presentationml.notesSlide+xml"/>
  <Override PartName="/ppt/tags/tag98.xml" ContentType="application/vnd.openxmlformats-officedocument.presentationml.tags+xml"/>
  <Override PartName="/ppt/notesSlides/notesSlide6.xml" ContentType="application/vnd.openxmlformats-officedocument.presentationml.notesSlide+xml"/>
  <Override PartName="/ppt/tags/tag9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00.xml" ContentType="application/vnd.openxmlformats-officedocument.presentationml.tags+xml"/>
  <Override PartName="/ppt/notesSlides/notesSlide9.xml" ContentType="application/vnd.openxmlformats-officedocument.presentationml.notesSlide+xml"/>
  <Override PartName="/ppt/tags/tag10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02.xml" ContentType="application/vnd.openxmlformats-officedocument.presentationml.tags+xml"/>
  <Override PartName="/ppt/notesSlides/notesSlide1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 id="2147483747" r:id="rId5"/>
    <p:sldMasterId id="2147483754" r:id="rId6"/>
    <p:sldMasterId id="2147483757" r:id="rId7"/>
  </p:sldMasterIdLst>
  <p:notesMasterIdLst>
    <p:notesMasterId r:id="rId37"/>
  </p:notesMasterIdLst>
  <p:sldIdLst>
    <p:sldId id="444" r:id="rId8"/>
    <p:sldId id="452" r:id="rId9"/>
    <p:sldId id="453" r:id="rId10"/>
    <p:sldId id="442" r:id="rId11"/>
    <p:sldId id="443" r:id="rId12"/>
    <p:sldId id="424" r:id="rId13"/>
    <p:sldId id="263" r:id="rId14"/>
    <p:sldId id="440" r:id="rId15"/>
    <p:sldId id="441" r:id="rId16"/>
    <p:sldId id="421" r:id="rId17"/>
    <p:sldId id="439" r:id="rId18"/>
    <p:sldId id="450" r:id="rId19"/>
    <p:sldId id="449" r:id="rId20"/>
    <p:sldId id="339" r:id="rId21"/>
    <p:sldId id="340" r:id="rId22"/>
    <p:sldId id="446" r:id="rId23"/>
    <p:sldId id="437" r:id="rId24"/>
    <p:sldId id="427" r:id="rId25"/>
    <p:sldId id="428" r:id="rId26"/>
    <p:sldId id="430" r:id="rId27"/>
    <p:sldId id="436" r:id="rId28"/>
    <p:sldId id="433" r:id="rId29"/>
    <p:sldId id="434" r:id="rId30"/>
    <p:sldId id="438" r:id="rId31"/>
    <p:sldId id="435" r:id="rId32"/>
    <p:sldId id="432" r:id="rId33"/>
    <p:sldId id="451" r:id="rId34"/>
    <p:sldId id="448" r:id="rId35"/>
    <p:sldId id="445" r:id="rId36"/>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E1A18"/>
    <a:srgbClr val="FAE5D1"/>
    <a:srgbClr val="56161B"/>
    <a:srgbClr val="000000"/>
    <a:srgbClr val="6F9C3D"/>
    <a:srgbClr val="3F3F3F"/>
    <a:srgbClr val="003300"/>
    <a:srgbClr val="7F7F7F"/>
    <a:srgbClr val="0073A2"/>
    <a:srgbClr val="719E3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47" autoAdjust="0"/>
    <p:restoredTop sz="86470"/>
  </p:normalViewPr>
  <p:slideViewPr>
    <p:cSldViewPr snapToGrid="0">
      <p:cViewPr>
        <p:scale>
          <a:sx n="86" d="100"/>
          <a:sy n="86" d="100"/>
        </p:scale>
        <p:origin x="1312" y="58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328"/>
    </p:cViewPr>
  </p:sorterViewPr>
  <p:notesViewPr>
    <p:cSldViewPr snapToGrid="0">
      <p:cViewPr varScale="1">
        <p:scale>
          <a:sx n="96" d="100"/>
          <a:sy n="96" d="100"/>
        </p:scale>
        <p:origin x="3368" y="168"/>
      </p:cViewPr>
      <p:guideLst/>
    </p:cSldViewPr>
  </p:notes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13.xml"/><Relationship Id="rId21" Type="http://schemas.openxmlformats.org/officeDocument/2006/relationships/slide" Target="slides/slide14.xml"/><Relationship Id="rId22" Type="http://schemas.openxmlformats.org/officeDocument/2006/relationships/slide" Target="slides/slide15.xml"/><Relationship Id="rId23" Type="http://schemas.openxmlformats.org/officeDocument/2006/relationships/slide" Target="slides/slide16.xml"/><Relationship Id="rId24" Type="http://schemas.openxmlformats.org/officeDocument/2006/relationships/slide" Target="slides/slide17.xml"/><Relationship Id="rId25" Type="http://schemas.openxmlformats.org/officeDocument/2006/relationships/slide" Target="slides/slide18.xml"/><Relationship Id="rId26" Type="http://schemas.openxmlformats.org/officeDocument/2006/relationships/slide" Target="slides/slide19.xml"/><Relationship Id="rId27" Type="http://schemas.openxmlformats.org/officeDocument/2006/relationships/slide" Target="slides/slide20.xml"/><Relationship Id="rId28" Type="http://schemas.openxmlformats.org/officeDocument/2006/relationships/slide" Target="slides/slide21.xml"/><Relationship Id="rId29" Type="http://schemas.openxmlformats.org/officeDocument/2006/relationships/slide" Target="slides/slide22.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30" Type="http://schemas.openxmlformats.org/officeDocument/2006/relationships/slide" Target="slides/slide23.xml"/><Relationship Id="rId31" Type="http://schemas.openxmlformats.org/officeDocument/2006/relationships/slide" Target="slides/slide24.xml"/><Relationship Id="rId32" Type="http://schemas.openxmlformats.org/officeDocument/2006/relationships/slide" Target="slides/slide25.xml"/><Relationship Id="rId9" Type="http://schemas.openxmlformats.org/officeDocument/2006/relationships/slide" Target="slides/slide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 Target="slides/slide1.xml"/><Relationship Id="rId33" Type="http://schemas.openxmlformats.org/officeDocument/2006/relationships/slide" Target="slides/slide26.xml"/><Relationship Id="rId34" Type="http://schemas.openxmlformats.org/officeDocument/2006/relationships/slide" Target="slides/slide27.xml"/><Relationship Id="rId35" Type="http://schemas.openxmlformats.org/officeDocument/2006/relationships/slide" Target="slides/slide28.xml"/><Relationship Id="rId36" Type="http://schemas.openxmlformats.org/officeDocument/2006/relationships/slide" Target="slides/slide29.xml"/><Relationship Id="rId10" Type="http://schemas.openxmlformats.org/officeDocument/2006/relationships/slide" Target="slides/slide3.xml"/><Relationship Id="rId11" Type="http://schemas.openxmlformats.org/officeDocument/2006/relationships/slide" Target="slides/slide4.xml"/><Relationship Id="rId12" Type="http://schemas.openxmlformats.org/officeDocument/2006/relationships/slide" Target="slides/slide5.xml"/><Relationship Id="rId13" Type="http://schemas.openxmlformats.org/officeDocument/2006/relationships/slide" Target="slides/slide6.xml"/><Relationship Id="rId14" Type="http://schemas.openxmlformats.org/officeDocument/2006/relationships/slide" Target="slides/slide7.xml"/><Relationship Id="rId15" Type="http://schemas.openxmlformats.org/officeDocument/2006/relationships/slide" Target="slides/slide8.xml"/><Relationship Id="rId16" Type="http://schemas.openxmlformats.org/officeDocument/2006/relationships/slide" Target="slides/slide9.xml"/><Relationship Id="rId17" Type="http://schemas.openxmlformats.org/officeDocument/2006/relationships/slide" Target="slides/slide10.xml"/><Relationship Id="rId18" Type="http://schemas.openxmlformats.org/officeDocument/2006/relationships/slide" Target="slides/slide11.xml"/><Relationship Id="rId19" Type="http://schemas.openxmlformats.org/officeDocument/2006/relationships/slide" Target="slides/slide12.xml"/><Relationship Id="rId37" Type="http://schemas.openxmlformats.org/officeDocument/2006/relationships/notesMaster" Target="notesMasters/notesMaster1.xml"/><Relationship Id="rId38" Type="http://schemas.openxmlformats.org/officeDocument/2006/relationships/presProps" Target="presProps.xml"/><Relationship Id="rId39" Type="http://schemas.openxmlformats.org/officeDocument/2006/relationships/viewProps" Target="viewProps.xml"/><Relationship Id="rId40" Type="http://schemas.openxmlformats.org/officeDocument/2006/relationships/theme" Target="theme/theme1.xml"/><Relationship Id="rId4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file:////D:\Mobility\1.%20STANDARD%20CONTENT\Presales\EMO%20Headcount%20June%202014.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D:\Mobility\1.%20STANDARD%20CONTENT\Presales\EMO%20Headcount%20June%202014.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c:spPr>
          </c:dPt>
          <c:dPt>
            <c:idx val="1"/>
            <c:bubble3D val="0"/>
            <c:spPr>
              <a:solidFill>
                <a:schemeClr val="accent2"/>
              </a:solidFill>
            </c:spPr>
          </c:dPt>
          <c:dPt>
            <c:idx val="2"/>
            <c:bubble3D val="0"/>
            <c:spPr>
              <a:solidFill>
                <a:schemeClr val="accent3"/>
              </a:solidFill>
            </c:spPr>
          </c:dPt>
          <c:dPt>
            <c:idx val="3"/>
            <c:bubble3D val="0"/>
            <c:spPr>
              <a:solidFill>
                <a:schemeClr val="accent4"/>
              </a:solidFill>
            </c:spPr>
          </c:dPt>
          <c:dPt>
            <c:idx val="4"/>
            <c:bubble3D val="0"/>
            <c:spPr>
              <a:solidFill>
                <a:schemeClr val="accent5"/>
              </a:solidFill>
            </c:spPr>
          </c:dPt>
          <c:dPt>
            <c:idx val="5"/>
            <c:bubble3D val="0"/>
            <c:spPr>
              <a:solidFill>
                <a:schemeClr val="accent6"/>
              </a:solidFill>
            </c:spPr>
          </c:dPt>
          <c:dLbls>
            <c:dLbl>
              <c:idx val="5"/>
              <c:layout>
                <c:manualLayout>
                  <c:x val="0.0150114490851453"/>
                  <c:y val="0.0987583862562254"/>
                </c:manualLayout>
              </c:layout>
              <c:showLegendKey val="0"/>
              <c:showVal val="0"/>
              <c:showCatName val="0"/>
              <c:showSerName val="0"/>
              <c:showPercent val="1"/>
              <c:showBubbleSize val="0"/>
              <c:extLst>
                <c:ext xmlns:c15="http://schemas.microsoft.com/office/drawing/2012/chart" uri="{CE6537A1-D6FC-4f65-9D91-7224C49458BB}">
                  <c15:layout/>
                </c:ext>
              </c:extLst>
            </c:dLbl>
            <c:spPr>
              <a:noFill/>
              <a:ln>
                <a:noFill/>
              </a:ln>
              <a:effectLst/>
            </c:spPr>
            <c:txPr>
              <a:bodyPr/>
              <a:lstStyle/>
              <a:p>
                <a:pPr>
                  <a:defRPr>
                    <a:solidFill>
                      <a:schemeClr val="bg1"/>
                    </a:solidFill>
                  </a:defRPr>
                </a:pPr>
                <a:endParaRPr lang="en-US"/>
              </a:p>
            </c:txPr>
            <c:showLegendKey val="0"/>
            <c:showVal val="0"/>
            <c:showCatName val="0"/>
            <c:showSerName val="0"/>
            <c:showPercent val="1"/>
            <c:showBubbleSize val="0"/>
            <c:showLeaderLines val="1"/>
            <c:extLst>
              <c:ext xmlns:c15="http://schemas.microsoft.com/office/drawing/2012/chart" uri="{CE6537A1-D6FC-4f65-9D91-7224C49458BB}">
                <c15:layout/>
              </c:ext>
            </c:extLst>
          </c:dLbls>
          <c:cat>
            <c:strRef>
              <c:f>PieChart!$A$1:$A$6</c:f>
              <c:strCache>
                <c:ptCount val="6"/>
                <c:pt idx="0">
                  <c:v>Project Management</c:v>
                </c:pt>
                <c:pt idx="1">
                  <c:v>Developers / Architects</c:v>
                </c:pt>
                <c:pt idx="2">
                  <c:v>Business Analyst</c:v>
                </c:pt>
                <c:pt idx="3">
                  <c:v>Testers</c:v>
                </c:pt>
                <c:pt idx="4">
                  <c:v>Designers</c:v>
                </c:pt>
                <c:pt idx="5">
                  <c:v>Strategy &amp; Security</c:v>
                </c:pt>
              </c:strCache>
            </c:strRef>
          </c:cat>
          <c:val>
            <c:numRef>
              <c:f>PieChart!$B$1:$B$6</c:f>
              <c:numCache>
                <c:formatCode>0%</c:formatCode>
                <c:ptCount val="6"/>
                <c:pt idx="0">
                  <c:v>0.0796987762786321</c:v>
                </c:pt>
                <c:pt idx="1">
                  <c:v>0.513335425164732</c:v>
                </c:pt>
                <c:pt idx="2">
                  <c:v>0.101976780671478</c:v>
                </c:pt>
                <c:pt idx="3">
                  <c:v>0.213366802635708</c:v>
                </c:pt>
                <c:pt idx="4">
                  <c:v>0.0665202384687794</c:v>
                </c:pt>
                <c:pt idx="5">
                  <c:v>0.0251019767806717</c:v>
                </c:pt>
              </c:numCache>
            </c:numRef>
          </c:val>
        </c:ser>
        <c:dLbls>
          <c:showLegendKey val="0"/>
          <c:showVal val="0"/>
          <c:showCatName val="0"/>
          <c:showSerName val="0"/>
          <c:showPercent val="1"/>
          <c:showBubbleSize val="0"/>
          <c:showLeaderLines val="1"/>
        </c:dLbls>
        <c:firstSliceAng val="0"/>
      </c:pieChart>
    </c:plotArea>
    <c:legend>
      <c:legendPos val="r"/>
      <c:layout>
        <c:manualLayout>
          <c:xMode val="edge"/>
          <c:yMode val="edge"/>
          <c:x val="0.554873011616793"/>
          <c:y val="0.0521945020274474"/>
          <c:w val="0.427927964529386"/>
          <c:h val="0.731780826951428"/>
        </c:manualLayout>
      </c:layout>
      <c:overlay val="0"/>
    </c:legend>
    <c:plotVisOnly val="1"/>
    <c:dispBlanksAs val="zero"/>
    <c:showDLblsOverMax val="0"/>
  </c:chart>
  <c:txPr>
    <a:bodyPr/>
    <a:lstStyle/>
    <a:p>
      <a:pPr>
        <a:defRPr sz="1100">
          <a:solidFill>
            <a:schemeClr val="tx2"/>
          </a:solidFill>
          <a:latin typeface="Calibri"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Lbls>
            <c:dLbl>
              <c:idx val="5"/>
              <c:spPr>
                <a:noFill/>
                <a:ln>
                  <a:noFill/>
                </a:ln>
                <a:effectLst/>
              </c:spPr>
              <c:txPr>
                <a:bodyPr/>
                <a:lstStyle/>
                <a:p>
                  <a:pPr>
                    <a:defRPr b="1" baseline="0">
                      <a:solidFill>
                        <a:schemeClr val="tx1"/>
                      </a:solidFill>
                    </a:defRPr>
                  </a:pPr>
                  <a:endParaRPr lang="en-US"/>
                </a:p>
              </c:txPr>
              <c:showLegendKey val="0"/>
              <c:showVal val="0"/>
              <c:showCatName val="0"/>
              <c:showSerName val="0"/>
              <c:showPercent val="1"/>
              <c:showBubbleSize val="0"/>
            </c:dLbl>
            <c:dLbl>
              <c:idx val="9"/>
              <c:spPr>
                <a:noFill/>
                <a:ln>
                  <a:noFill/>
                </a:ln>
                <a:effectLst/>
              </c:spPr>
              <c:txPr>
                <a:bodyPr/>
                <a:lstStyle/>
                <a:p>
                  <a:pPr>
                    <a:defRPr b="1" baseline="0">
                      <a:solidFill>
                        <a:schemeClr val="tx1"/>
                      </a:solidFill>
                    </a:defRPr>
                  </a:pPr>
                  <a:endParaRPr lang="en-US"/>
                </a:p>
              </c:txPr>
              <c:showLegendKey val="0"/>
              <c:showVal val="0"/>
              <c:showCatName val="0"/>
              <c:showSerName val="0"/>
              <c:showPercent val="1"/>
              <c:showBubbleSize val="0"/>
            </c:dLbl>
            <c:dLbl>
              <c:idx val="10"/>
              <c:spPr>
                <a:noFill/>
                <a:ln>
                  <a:noFill/>
                </a:ln>
                <a:effectLst/>
              </c:spPr>
              <c:txPr>
                <a:bodyPr/>
                <a:lstStyle/>
                <a:p>
                  <a:pPr>
                    <a:defRPr b="1" baseline="0">
                      <a:solidFill>
                        <a:schemeClr val="tx1"/>
                      </a:solidFill>
                    </a:defRPr>
                  </a:pPr>
                  <a:endParaRPr lang="en-US"/>
                </a:p>
              </c:txPr>
              <c:showLegendKey val="0"/>
              <c:showVal val="0"/>
              <c:showCatName val="0"/>
              <c:showSerName val="0"/>
              <c:showPercent val="1"/>
              <c:showBubbleSize val="0"/>
            </c:dLbl>
            <c:spPr>
              <a:noFill/>
              <a:ln>
                <a:noFill/>
              </a:ln>
              <a:effectLst/>
            </c:spPr>
            <c:txPr>
              <a:bodyPr/>
              <a:lstStyle/>
              <a:p>
                <a:pPr>
                  <a:defRPr b="1" baseline="0">
                    <a:solidFill>
                      <a:schemeClr val="bg1"/>
                    </a:solidFill>
                  </a:defRPr>
                </a:pPr>
                <a:endParaRPr lang="en-US"/>
              </a:p>
            </c:txPr>
            <c:showLegendKey val="0"/>
            <c:showVal val="0"/>
            <c:showCatName val="0"/>
            <c:showSerName val="0"/>
            <c:showPercent val="1"/>
            <c:showBubbleSize val="0"/>
            <c:showLeaderLines val="1"/>
            <c:extLst>
              <c:ext xmlns:c15="http://schemas.microsoft.com/office/drawing/2012/chart" uri="{CE6537A1-D6FC-4f65-9D91-7224C49458BB}">
                <c15:layout/>
              </c:ext>
            </c:extLst>
          </c:dLbls>
          <c:cat>
            <c:strRef>
              <c:f>PieChart!$A$9:$A$20</c:f>
              <c:strCache>
                <c:ptCount val="12"/>
                <c:pt idx="0">
                  <c:v>Development Lead</c:v>
                </c:pt>
                <c:pt idx="1">
                  <c:v>HTML5 developer</c:v>
                </c:pt>
                <c:pt idx="2">
                  <c:v>iOS Developer</c:v>
                </c:pt>
                <c:pt idx="3">
                  <c:v>Android Developer</c:v>
                </c:pt>
                <c:pt idx="4">
                  <c:v>Windows 8 Developer</c:v>
                </c:pt>
                <c:pt idx="5">
                  <c:v>Blackberry Developer</c:v>
                </c:pt>
                <c:pt idx="6">
                  <c:v>Xamarin</c:v>
                </c:pt>
                <c:pt idx="7">
                  <c:v>KONY </c:v>
                </c:pt>
                <c:pt idx="8">
                  <c:v>SMP/ Fiori / UI5</c:v>
                </c:pt>
                <c:pt idx="9">
                  <c:v>IBM MobileFirst</c:v>
                </c:pt>
                <c:pt idx="10">
                  <c:v>MDM / MAM</c:v>
                </c:pt>
                <c:pt idx="11">
                  <c:v>System Integrator</c:v>
                </c:pt>
              </c:strCache>
            </c:strRef>
          </c:cat>
          <c:val>
            <c:numRef>
              <c:f>PieChart!$B$9:$B$20</c:f>
              <c:numCache>
                <c:formatCode>General</c:formatCode>
                <c:ptCount val="12"/>
                <c:pt idx="0">
                  <c:v>165.0</c:v>
                </c:pt>
                <c:pt idx="1">
                  <c:v>287.0</c:v>
                </c:pt>
                <c:pt idx="2">
                  <c:v>215.0</c:v>
                </c:pt>
                <c:pt idx="3">
                  <c:v>247.0</c:v>
                </c:pt>
                <c:pt idx="4">
                  <c:v>97.0</c:v>
                </c:pt>
                <c:pt idx="5">
                  <c:v>48.0</c:v>
                </c:pt>
                <c:pt idx="6">
                  <c:v>10.0</c:v>
                </c:pt>
                <c:pt idx="7">
                  <c:v>56.0</c:v>
                </c:pt>
                <c:pt idx="8">
                  <c:v>64.0</c:v>
                </c:pt>
                <c:pt idx="9">
                  <c:v>18.0</c:v>
                </c:pt>
                <c:pt idx="10">
                  <c:v>32.0</c:v>
                </c:pt>
                <c:pt idx="11">
                  <c:v>174.0</c:v>
                </c:pt>
              </c:numCache>
            </c:numRef>
          </c:val>
        </c:ser>
        <c:dLbls>
          <c:showLegendKey val="0"/>
          <c:showVal val="0"/>
          <c:showCatName val="0"/>
          <c:showSerName val="0"/>
          <c:showPercent val="1"/>
          <c:showBubbleSize val="0"/>
          <c:showLeaderLines val="1"/>
        </c:dLbls>
        <c:firstSliceAng val="0"/>
      </c:pieChart>
    </c:plotArea>
    <c:legend>
      <c:legendPos val="r"/>
      <c:layout>
        <c:manualLayout>
          <c:xMode val="edge"/>
          <c:yMode val="edge"/>
          <c:x val="0.591552031531576"/>
          <c:y val="0.0216622537379058"/>
          <c:w val="0.391035036555731"/>
          <c:h val="0.956675074962723"/>
        </c:manualLayout>
      </c:layout>
      <c:overlay val="0"/>
      <c:txPr>
        <a:bodyPr/>
        <a:lstStyle/>
        <a:p>
          <a:pPr>
            <a:defRPr>
              <a:solidFill>
                <a:schemeClr val="tx2"/>
              </a:solidFill>
            </a:defRPr>
          </a:pPr>
          <a:endParaRPr lang="en-US"/>
        </a:p>
      </c:txPr>
    </c:legend>
    <c:plotVisOnly val="1"/>
    <c:dispBlanksAs val="zero"/>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2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BD9D82C-1DFC-40C9-A30D-497A94FE316C}" type="datetimeFigureOut">
              <a:rPr lang="fr-FR" smtClean="0"/>
              <a:t>27/12/2017</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54D705-0BAF-432A-8E3A-8D268AE3D7D0}" type="slidenum">
              <a:rPr lang="fr-FR" smtClean="0"/>
              <a:t>‹#›</a:t>
            </a:fld>
            <a:endParaRPr lang="fr-FR"/>
          </a:p>
        </p:txBody>
      </p:sp>
    </p:spTree>
    <p:extLst>
      <p:ext uri="{BB962C8B-B14F-4D97-AF65-F5344CB8AC3E}">
        <p14:creationId xmlns:p14="http://schemas.microsoft.com/office/powerpoint/2010/main" val="1829357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latin typeface="Verdana"/>
              </a:rPr>
              <a:pPr/>
              <a:t>1</a:t>
            </a:fld>
            <a:endParaRPr lang="pt-BR" dirty="0">
              <a:solidFill>
                <a:prstClr val="black"/>
              </a:solidFill>
              <a:latin typeface="Verdana"/>
            </a:endParaRPr>
          </a:p>
        </p:txBody>
      </p:sp>
    </p:spTree>
    <p:extLst>
      <p:ext uri="{BB962C8B-B14F-4D97-AF65-F5344CB8AC3E}">
        <p14:creationId xmlns:p14="http://schemas.microsoft.com/office/powerpoint/2010/main" val="9677535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41363"/>
            <a:ext cx="6578600" cy="37020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Customer interactions increasingly depend on software and, by association, user experience (UX). This makes UX a key concern for customer experience professionals</a:t>
            </a:r>
          </a:p>
          <a:p>
            <a:pPr marL="171450" indent="-171450">
              <a:buFont typeface="Arial" panose="020B0604020202020204" pitchFamily="34" charset="0"/>
              <a:buChar char="•"/>
            </a:pPr>
            <a:r>
              <a:rPr lang="en-US" dirty="0" smtClean="0"/>
              <a:t>The primary function of UX is the development of an architecture that creates a delightful, emotional, and sensory experience. This is why it’s vital to customer experiences and engagement. </a:t>
            </a:r>
          </a:p>
          <a:p>
            <a:pPr marL="171450" indent="-171450">
              <a:buFont typeface="Arial" panose="020B0604020202020204" pitchFamily="34" charset="0"/>
              <a:buChar char="•"/>
            </a:pPr>
            <a:r>
              <a:rPr lang="en-US" dirty="0" smtClean="0"/>
              <a:t>Successful UX evokes engagement or purpose, affects sentiment, and influences behavior</a:t>
            </a:r>
          </a:p>
          <a:p>
            <a:pPr marL="171450" indent="-171450">
              <a:buFont typeface="Arial" panose="020B0604020202020204" pitchFamily="34" charset="0"/>
              <a:buChar char="•"/>
            </a:pPr>
            <a:r>
              <a:rPr lang="en-US" dirty="0" smtClean="0"/>
              <a:t>Robust UX is multi-disciplinary and combines elements of product design, service design, and innovation</a:t>
            </a:r>
          </a:p>
          <a:p>
            <a:pPr marL="171450" indent="-171450">
              <a:buFont typeface="Arial" panose="020B0604020202020204" pitchFamily="34" charset="0"/>
              <a:buChar char="•"/>
            </a:pPr>
            <a:r>
              <a:rPr lang="en-US" dirty="0" smtClean="0"/>
              <a:t>Today, no company is too big to fail or too small to succeed. Simply knowing your customer is one thing. But, understanding how they make decisions and participating in that process influences behavior while building meaningful relationships.</a:t>
            </a:r>
          </a:p>
          <a:p>
            <a:pPr marL="171450" indent="-171450">
              <a:buFont typeface="Arial" panose="020B0604020202020204" pitchFamily="34" charset="0"/>
              <a:buChar char="•"/>
            </a:pPr>
            <a:r>
              <a:rPr lang="en-US" sz="1200" b="0" i="0" kern="1200" dirty="0" smtClean="0">
                <a:solidFill>
                  <a:schemeClr val="tx1"/>
                </a:solidFill>
                <a:effectLst/>
                <a:latin typeface="+mn-lt"/>
              </a:rPr>
              <a:t>The lines between business strategy and UX is increasingly blurry. If the user experience doesn't work, companies won't succeed - IBM</a:t>
            </a:r>
            <a:endParaRPr lang="en-US" dirty="0" smtClean="0"/>
          </a:p>
          <a:p>
            <a:endParaRPr lang="en-US" dirty="0" smtClean="0"/>
          </a:p>
        </p:txBody>
      </p:sp>
      <p:sp>
        <p:nvSpPr>
          <p:cNvPr id="4" name="Slide Number Placeholder 3"/>
          <p:cNvSpPr>
            <a:spLocks noGrp="1"/>
          </p:cNvSpPr>
          <p:nvPr>
            <p:ph type="sldNum" sz="quarter" idx="10"/>
          </p:nvPr>
        </p:nvSpPr>
        <p:spPr/>
        <p:txBody>
          <a:bodyPr/>
          <a:lstStyle/>
          <a:p>
            <a:fld id="{802C0AA9-5F18-48B3-BC22-AF761F352F78}" type="slidenum">
              <a:rPr lang="en-US" smtClean="0"/>
              <a:pPr/>
              <a:t>18</a:t>
            </a:fld>
            <a:endParaRPr lang="en-US" dirty="0"/>
          </a:p>
        </p:txBody>
      </p:sp>
    </p:spTree>
    <p:extLst>
      <p:ext uri="{BB962C8B-B14F-4D97-AF65-F5344CB8AC3E}">
        <p14:creationId xmlns:p14="http://schemas.microsoft.com/office/powerpoint/2010/main" val="192377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latin typeface="+mn-lt"/>
                <a:ea typeface="+mn-ea"/>
                <a:cs typeface="+mn-cs"/>
              </a:rPr>
              <a:t>http://www.gartner.com/newsroom/id/2669915-   Gartner Identifies Top 10 Mobile Technologies and Capabilities for 2015 and 2016</a:t>
            </a:r>
          </a:p>
          <a:p>
            <a:r>
              <a:rPr lang="en-US" dirty="0" smtClean="0"/>
              <a:t>https://www.capgemini.com/blog/capping-it-off/2015/12/key-mobility-trends-for-2016</a:t>
            </a:r>
          </a:p>
          <a:p>
            <a:endParaRPr lang="en-US" dirty="0" smtClean="0"/>
          </a:p>
          <a:p>
            <a:endParaRPr lang="en-GB"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9</a:t>
            </a:fld>
            <a:endParaRPr lang="en-US" dirty="0"/>
          </a:p>
        </p:txBody>
      </p:sp>
    </p:spTree>
    <p:extLst>
      <p:ext uri="{BB962C8B-B14F-4D97-AF65-F5344CB8AC3E}">
        <p14:creationId xmlns:p14="http://schemas.microsoft.com/office/powerpoint/2010/main" val="9892020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r-FR"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0</a:t>
            </a:fld>
            <a:endParaRPr lang="en-US" dirty="0"/>
          </a:p>
        </p:txBody>
      </p:sp>
    </p:spTree>
    <p:extLst>
      <p:ext uri="{BB962C8B-B14F-4D97-AF65-F5344CB8AC3E}">
        <p14:creationId xmlns:p14="http://schemas.microsoft.com/office/powerpoint/2010/main" val="12924511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verall</a:t>
            </a:r>
            <a:r>
              <a:rPr lang="en-US" baseline="0" dirty="0" smtClean="0"/>
              <a:t> scope put in alignment to the key 3 objectives  of NG</a:t>
            </a:r>
          </a:p>
          <a:p>
            <a:pPr lvl="0"/>
            <a:r>
              <a:rPr lang="en-GB" sz="1200" kern="1200" dirty="0" smtClean="0">
                <a:solidFill>
                  <a:schemeClr val="tx1"/>
                </a:solidFill>
                <a:effectLst/>
                <a:latin typeface="+mn-lt"/>
                <a:ea typeface="+mn-ea"/>
                <a:cs typeface="+mn-cs"/>
              </a:rPr>
              <a:t>-Shaping the demand pipeline of mobile work across all UK business units by working with the business and the Business Relations Management teams.</a:t>
            </a:r>
            <a:endParaRPr lang="en-US" dirty="0" smtClean="0">
              <a:effectLst/>
            </a:endParaRPr>
          </a:p>
          <a:p>
            <a:pPr lvl="0"/>
            <a:r>
              <a:rPr lang="en-GB" sz="1200" kern="1200" dirty="0" smtClean="0">
                <a:solidFill>
                  <a:schemeClr val="tx1"/>
                </a:solidFill>
                <a:effectLst/>
                <a:latin typeface="+mn-lt"/>
                <a:ea typeface="+mn-ea"/>
                <a:cs typeface="+mn-cs"/>
              </a:rPr>
              <a:t>-Providing Mobility vision and architectural leadership, reviewing emerging digital technology trends and developing new mobile competencies.</a:t>
            </a:r>
            <a:endParaRPr lang="en-US" dirty="0" smtClean="0">
              <a:effectLst/>
            </a:endParaRPr>
          </a:p>
          <a:p>
            <a:r>
              <a:rPr lang="en-GB" sz="1200" kern="1200" dirty="0" smtClean="0">
                <a:solidFill>
                  <a:schemeClr val="tx1"/>
                </a:solidFill>
                <a:effectLst/>
                <a:latin typeface="+mn-lt"/>
                <a:ea typeface="+mn-ea"/>
                <a:cs typeface="+mn-cs"/>
              </a:rPr>
              <a:t>-Managing the delivery of a portfolio of mobile projects, ensuring that they are set up to succeed and deliver the desired business outcomes</a:t>
            </a:r>
          </a:p>
          <a:p>
            <a:endParaRPr lang="en-GB"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We will assess the IT ecosystem , the standards and guidelines for problem</a:t>
            </a:r>
            <a:r>
              <a:rPr lang="en-GB" sz="1200" kern="1200" baseline="0" dirty="0" smtClean="0">
                <a:solidFill>
                  <a:schemeClr val="tx1"/>
                </a:solidFill>
                <a:effectLst/>
                <a:latin typeface="+mn-lt"/>
                <a:ea typeface="+mn-ea"/>
                <a:cs typeface="+mn-cs"/>
              </a:rPr>
              <a:t> solving initially </a:t>
            </a:r>
          </a:p>
          <a:p>
            <a:r>
              <a:rPr lang="en-GB" sz="1200" kern="1200" baseline="0" dirty="0" smtClean="0">
                <a:solidFill>
                  <a:schemeClr val="tx1"/>
                </a:solidFill>
                <a:effectLst/>
                <a:latin typeface="+mn-lt"/>
                <a:ea typeface="+mn-ea"/>
                <a:cs typeface="+mn-cs"/>
              </a:rPr>
              <a:t>We will have a Use case mining phase where we do workshops with Lines of Business , Create Blueprinting , Integrate Digital innovations, Proof by quick Pilots </a:t>
            </a:r>
          </a:p>
          <a:p>
            <a:r>
              <a:rPr lang="en-GB" sz="1200" kern="1200" baseline="0" dirty="0" smtClean="0">
                <a:solidFill>
                  <a:schemeClr val="tx1"/>
                </a:solidFill>
                <a:effectLst/>
                <a:latin typeface="+mn-lt"/>
                <a:ea typeface="+mn-ea"/>
                <a:cs typeface="+mn-cs"/>
              </a:rPr>
              <a:t>We will have a Per Program Engagement model definition, If common LOBs we will have unified models. This will also establish the NG mobility COE team and fix the key themes of future focus . This team will have direct integrating with key stake holders at NG and other Tiers to have a collaborative working model </a:t>
            </a:r>
          </a:p>
          <a:p>
            <a:r>
              <a:rPr lang="en-GB" sz="1200" kern="1200" baseline="0" dirty="0" smtClean="0">
                <a:solidFill>
                  <a:schemeClr val="tx1"/>
                </a:solidFill>
                <a:effectLst/>
                <a:latin typeface="+mn-lt"/>
                <a:ea typeface="+mn-ea"/>
                <a:cs typeface="+mn-cs"/>
              </a:rPr>
              <a:t>We will follow the Agile scrum model based on the sprint duration determined at planning . We we have a reuse friendly day one approach to focus on enabling assets, methodologies, frameworks, accelerators collated and stored in a reuse friendly manner . There will be Devops frameworks that will materialize this based on the visibility of the scope. We will have a core governance model established with NG &amp; CG based on the Roles and responsibilities that will be standardized across programs.</a:t>
            </a:r>
            <a:endParaRPr lang="en-US" dirty="0" smtClean="0"/>
          </a:p>
          <a:p>
            <a:endParaRPr lang="en-US" dirty="0" smtClean="0"/>
          </a:p>
          <a:p>
            <a:endParaRPr lang="en-GB"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1</a:t>
            </a:fld>
            <a:endParaRPr lang="en-US" dirty="0"/>
          </a:p>
        </p:txBody>
      </p:sp>
    </p:spTree>
    <p:extLst>
      <p:ext uri="{BB962C8B-B14F-4D97-AF65-F5344CB8AC3E}">
        <p14:creationId xmlns:p14="http://schemas.microsoft.com/office/powerpoint/2010/main" val="7286959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ITi</a:t>
            </a:r>
            <a:endParaRPr lang="en-GB"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3</a:t>
            </a:fld>
            <a:endParaRPr lang="en-US" dirty="0"/>
          </a:p>
        </p:txBody>
      </p:sp>
    </p:spTree>
    <p:extLst>
      <p:ext uri="{BB962C8B-B14F-4D97-AF65-F5344CB8AC3E}">
        <p14:creationId xmlns:p14="http://schemas.microsoft.com/office/powerpoint/2010/main" val="6994948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One Stop – non Stop Service</a:t>
            </a:r>
          </a:p>
          <a:p>
            <a:endParaRPr lang="en-GB"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7</a:t>
            </a:fld>
            <a:endParaRPr lang="en-US" dirty="0"/>
          </a:p>
        </p:txBody>
      </p:sp>
    </p:spTree>
    <p:extLst>
      <p:ext uri="{BB962C8B-B14F-4D97-AF65-F5344CB8AC3E}">
        <p14:creationId xmlns:p14="http://schemas.microsoft.com/office/powerpoint/2010/main" val="15336229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latin typeface="Verdana"/>
              </a:rPr>
              <a:pPr/>
              <a:t>29</a:t>
            </a:fld>
            <a:endParaRPr lang="pt-BR" dirty="0">
              <a:solidFill>
                <a:prstClr val="black"/>
              </a:solidFill>
              <a:latin typeface="Verdana"/>
            </a:endParaRPr>
          </a:p>
        </p:txBody>
      </p:sp>
    </p:spTree>
    <p:extLst>
      <p:ext uri="{BB962C8B-B14F-4D97-AF65-F5344CB8AC3E}">
        <p14:creationId xmlns:p14="http://schemas.microsoft.com/office/powerpoint/2010/main" val="3192103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A563063-1A1C-4001-90E6-B3238DC9D1D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6799726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A563063-1A1C-4001-90E6-B3238DC9D1D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5036613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pPr marL="0" marR="0" indent="0" algn="l" defTabSz="2418516" rtl="0" eaLnBrk="1" fontAlgn="auto" latinLnBrk="0" hangingPunct="1">
              <a:lnSpc>
                <a:spcPct val="100000"/>
              </a:lnSpc>
              <a:spcBef>
                <a:spcPts val="0"/>
              </a:spcBef>
              <a:spcAft>
                <a:spcPts val="0"/>
              </a:spcAft>
              <a:buClrTx/>
              <a:buSzTx/>
              <a:buFontTx/>
              <a:buNone/>
              <a:tabLst/>
              <a:defRPr/>
            </a:pPr>
            <a:endParaRPr lang="es-SV" dirty="0"/>
          </a:p>
        </p:txBody>
      </p:sp>
      <p:sp>
        <p:nvSpPr>
          <p:cNvPr id="4" name="3 Marcador de número de diapositiva"/>
          <p:cNvSpPr>
            <a:spLocks noGrp="1"/>
          </p:cNvSpPr>
          <p:nvPr>
            <p:ph type="sldNum" sz="quarter" idx="10"/>
          </p:nvPr>
        </p:nvSpPr>
        <p:spPr/>
        <p:txBody>
          <a:bodyPr/>
          <a:lstStyle/>
          <a:p>
            <a:fld id="{69BC2EFC-28F3-48C0-BF6B-230A53BCFDFC}" type="slidenum">
              <a:rPr lang="es-MX" smtClean="0"/>
              <a:pPr/>
              <a:t>9</a:t>
            </a:fld>
            <a:endParaRPr lang="es-MX"/>
          </a:p>
        </p:txBody>
      </p:sp>
    </p:spTree>
    <p:extLst>
      <p:ext uri="{BB962C8B-B14F-4D97-AF65-F5344CB8AC3E}">
        <p14:creationId xmlns:p14="http://schemas.microsoft.com/office/powerpoint/2010/main" val="8001536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563063-1A1C-4001-90E6-B3238DC9D1D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6211090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42950"/>
            <a:ext cx="6578600" cy="37004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7435533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42950"/>
            <a:ext cx="6578600" cy="37004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8387342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latin typeface="Verdana"/>
              </a:rPr>
              <a:pPr/>
              <a:t>16</a:t>
            </a:fld>
            <a:endParaRPr lang="pt-BR" dirty="0">
              <a:solidFill>
                <a:prstClr val="black"/>
              </a:solidFill>
              <a:latin typeface="Verdana"/>
            </a:endParaRPr>
          </a:p>
        </p:txBody>
      </p:sp>
    </p:spTree>
    <p:extLst>
      <p:ext uri="{BB962C8B-B14F-4D97-AF65-F5344CB8AC3E}">
        <p14:creationId xmlns:p14="http://schemas.microsoft.com/office/powerpoint/2010/main" val="5140284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GB"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E476B168-4136-4A76-8FE3-FEF9AFC4B013}" type="datetime1">
              <a:rPr lang="en-US" smtClean="0"/>
              <a:t>12/27/17</a:t>
            </a:fld>
            <a:endParaRPr lang="en-US" dirty="0"/>
          </a:p>
        </p:txBody>
      </p:sp>
      <p:sp>
        <p:nvSpPr>
          <p:cNvPr id="6" name="Slide Number Placeholder 5"/>
          <p:cNvSpPr>
            <a:spLocks noGrp="1"/>
          </p:cNvSpPr>
          <p:nvPr>
            <p:ph type="sldNum" sz="quarter" idx="12"/>
          </p:nvPr>
        </p:nvSpPr>
        <p:spPr/>
        <p:txBody>
          <a:bodyPr/>
          <a:lstStyle/>
          <a:p>
            <a:fld id="{0EA14012-0169-43FB-9B1E-6CB99B24A498}" type="slidenum">
              <a:rPr lang="en-US" smtClean="0"/>
              <a:pPr/>
              <a:t>17</a:t>
            </a:fld>
            <a:endParaRPr lang="en-US" dirty="0"/>
          </a:p>
        </p:txBody>
      </p:sp>
    </p:spTree>
    <p:extLst>
      <p:ext uri="{BB962C8B-B14F-4D97-AF65-F5344CB8AC3E}">
        <p14:creationId xmlns:p14="http://schemas.microsoft.com/office/powerpoint/2010/main" val="6597515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4" Type="http://schemas.openxmlformats.org/officeDocument/2006/relationships/slideMaster" Target="../slideMasters/slideMaster1.xml"/><Relationship Id="rId5" Type="http://schemas.openxmlformats.org/officeDocument/2006/relationships/oleObject" Target="../embeddings/oleObject2.bin"/><Relationship Id="rId6" Type="http://schemas.openxmlformats.org/officeDocument/2006/relationships/image" Target="../media/image1.emf"/><Relationship Id="rId7" Type="http://schemas.openxmlformats.org/officeDocument/2006/relationships/image" Target="../media/image3.jpeg"/><Relationship Id="rId1" Type="http://schemas.openxmlformats.org/officeDocument/2006/relationships/vmlDrawing" Target="../drawings/vmlDrawing2.vml"/><Relationship Id="rId2" Type="http://schemas.openxmlformats.org/officeDocument/2006/relationships/tags" Target="../tags/tag9.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9.bin"/><Relationship Id="rId5" Type="http://schemas.openxmlformats.org/officeDocument/2006/relationships/image" Target="../media/image7.emf"/><Relationship Id="rId1" Type="http://schemas.openxmlformats.org/officeDocument/2006/relationships/vmlDrawing" Target="../drawings/vmlDrawing9.vml"/><Relationship Id="rId2"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10.bin"/><Relationship Id="rId5" Type="http://schemas.openxmlformats.org/officeDocument/2006/relationships/image" Target="../media/image7.emf"/><Relationship Id="rId1" Type="http://schemas.openxmlformats.org/officeDocument/2006/relationships/vmlDrawing" Target="../drawings/vmlDrawing10.vml"/><Relationship Id="rId2" Type="http://schemas.openxmlformats.org/officeDocument/2006/relationships/tags" Target="../tags/tag2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11.bin"/><Relationship Id="rId5" Type="http://schemas.openxmlformats.org/officeDocument/2006/relationships/image" Target="../media/image7.emf"/><Relationship Id="rId1" Type="http://schemas.openxmlformats.org/officeDocument/2006/relationships/vmlDrawing" Target="../drawings/vmlDrawing11.vml"/><Relationship Id="rId2" Type="http://schemas.openxmlformats.org/officeDocument/2006/relationships/tags" Target="../tags/tag2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12.bin"/><Relationship Id="rId5" Type="http://schemas.openxmlformats.org/officeDocument/2006/relationships/image" Target="../media/image7.emf"/><Relationship Id="rId1" Type="http://schemas.openxmlformats.org/officeDocument/2006/relationships/vmlDrawing" Target="../drawings/vmlDrawing12.vml"/><Relationship Id="rId2" Type="http://schemas.openxmlformats.org/officeDocument/2006/relationships/tags" Target="../tags/tag25.xml"/></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26.xml"/><Relationship Id="rId2" Type="http://schemas.openxmlformats.org/officeDocument/2006/relationships/slideMaster" Target="../slideMasters/slideMaster2.xml"/><Relationship Id="rId3" Type="http://schemas.openxmlformats.org/officeDocument/2006/relationships/image" Target="../media/image8.jpeg"/></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27.xml"/><Relationship Id="rId2" Type="http://schemas.openxmlformats.org/officeDocument/2006/relationships/slideMaster" Target="../slideMasters/slideMaster2.xml"/><Relationship Id="rId3" Type="http://schemas.openxmlformats.org/officeDocument/2006/relationships/image" Target="../media/image6.jpe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9.xml"/><Relationship Id="rId4" Type="http://schemas.openxmlformats.org/officeDocument/2006/relationships/slideMaster" Target="../slideMasters/slideMaster2.xml"/><Relationship Id="rId5" Type="http://schemas.openxmlformats.org/officeDocument/2006/relationships/image" Target="../media/image9.jpg"/><Relationship Id="rId6" Type="http://schemas.openxmlformats.org/officeDocument/2006/relationships/oleObject" Target="../embeddings/oleObject13.bin"/><Relationship Id="rId7" Type="http://schemas.openxmlformats.org/officeDocument/2006/relationships/image" Target="../media/image1.emf"/><Relationship Id="rId1" Type="http://schemas.openxmlformats.org/officeDocument/2006/relationships/vmlDrawing" Target="../drawings/vmlDrawing13.vml"/><Relationship Id="rId2" Type="http://schemas.openxmlformats.org/officeDocument/2006/relationships/tags" Target="../tags/tag28.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1.xml"/><Relationship Id="rId4" Type="http://schemas.openxmlformats.org/officeDocument/2006/relationships/slideMaster" Target="../slideMasters/slideMaster2.xml"/><Relationship Id="rId5" Type="http://schemas.openxmlformats.org/officeDocument/2006/relationships/image" Target="../media/image10.jpeg"/><Relationship Id="rId6" Type="http://schemas.openxmlformats.org/officeDocument/2006/relationships/oleObject" Target="../embeddings/oleObject14.bin"/><Relationship Id="rId7" Type="http://schemas.openxmlformats.org/officeDocument/2006/relationships/image" Target="../media/image1.emf"/><Relationship Id="rId1" Type="http://schemas.openxmlformats.org/officeDocument/2006/relationships/vmlDrawing" Target="../drawings/vmlDrawing14.vml"/><Relationship Id="rId2" Type="http://schemas.openxmlformats.org/officeDocument/2006/relationships/tags" Target="../tags/tag30.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3.xml"/><Relationship Id="rId4" Type="http://schemas.openxmlformats.org/officeDocument/2006/relationships/slideMaster" Target="../slideMasters/slideMaster2.xml"/><Relationship Id="rId5" Type="http://schemas.openxmlformats.org/officeDocument/2006/relationships/image" Target="../media/image9.jpg"/><Relationship Id="rId6" Type="http://schemas.openxmlformats.org/officeDocument/2006/relationships/oleObject" Target="../embeddings/oleObject15.bin"/><Relationship Id="rId7" Type="http://schemas.openxmlformats.org/officeDocument/2006/relationships/image" Target="../media/image1.emf"/><Relationship Id="rId1" Type="http://schemas.openxmlformats.org/officeDocument/2006/relationships/vmlDrawing" Target="../drawings/vmlDrawing15.vml"/><Relationship Id="rId2" Type="http://schemas.openxmlformats.org/officeDocument/2006/relationships/tags" Target="../tags/tag3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5.xml"/><Relationship Id="rId4" Type="http://schemas.openxmlformats.org/officeDocument/2006/relationships/slideMaster" Target="../slideMasters/slideMaster2.xml"/><Relationship Id="rId5" Type="http://schemas.openxmlformats.org/officeDocument/2006/relationships/image" Target="../media/image11.jpg"/><Relationship Id="rId6" Type="http://schemas.openxmlformats.org/officeDocument/2006/relationships/oleObject" Target="../embeddings/oleObject16.bin"/><Relationship Id="rId7" Type="http://schemas.openxmlformats.org/officeDocument/2006/relationships/image" Target="../media/image1.emf"/><Relationship Id="rId1" Type="http://schemas.openxmlformats.org/officeDocument/2006/relationships/vmlDrawing" Target="../drawings/vmlDrawing16.vml"/><Relationship Id="rId2" Type="http://schemas.openxmlformats.org/officeDocument/2006/relationships/tags" Target="../tags/tag3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7.xml"/><Relationship Id="rId4" Type="http://schemas.openxmlformats.org/officeDocument/2006/relationships/slideMaster" Target="../slideMasters/slideMaster2.xml"/><Relationship Id="rId5" Type="http://schemas.openxmlformats.org/officeDocument/2006/relationships/image" Target="../media/image12.jpeg"/><Relationship Id="rId6" Type="http://schemas.openxmlformats.org/officeDocument/2006/relationships/oleObject" Target="../embeddings/oleObject17.bin"/><Relationship Id="rId7" Type="http://schemas.openxmlformats.org/officeDocument/2006/relationships/image" Target="../media/image1.emf"/><Relationship Id="rId1" Type="http://schemas.openxmlformats.org/officeDocument/2006/relationships/vmlDrawing" Target="../drawings/vmlDrawing17.vml"/><Relationship Id="rId2" Type="http://schemas.openxmlformats.org/officeDocument/2006/relationships/tags" Target="../tags/tag36.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9.xml"/><Relationship Id="rId4" Type="http://schemas.openxmlformats.org/officeDocument/2006/relationships/slideMaster" Target="../slideMasters/slideMaster2.xml"/><Relationship Id="rId5" Type="http://schemas.openxmlformats.org/officeDocument/2006/relationships/image" Target="../media/image13.jpg"/><Relationship Id="rId6" Type="http://schemas.openxmlformats.org/officeDocument/2006/relationships/oleObject" Target="../embeddings/oleObject18.bin"/><Relationship Id="rId7" Type="http://schemas.openxmlformats.org/officeDocument/2006/relationships/image" Target="../media/image1.emf"/><Relationship Id="rId1" Type="http://schemas.openxmlformats.org/officeDocument/2006/relationships/vmlDrawing" Target="../drawings/vmlDrawing18.vml"/><Relationship Id="rId2" Type="http://schemas.openxmlformats.org/officeDocument/2006/relationships/tags" Target="../tags/tag38.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1.xml"/><Relationship Id="rId4" Type="http://schemas.openxmlformats.org/officeDocument/2006/relationships/slideMaster" Target="../slideMasters/slideMaster2.xml"/><Relationship Id="rId5" Type="http://schemas.openxmlformats.org/officeDocument/2006/relationships/image" Target="../media/image14.jpg"/><Relationship Id="rId6" Type="http://schemas.openxmlformats.org/officeDocument/2006/relationships/oleObject" Target="../embeddings/oleObject19.bin"/><Relationship Id="rId7" Type="http://schemas.openxmlformats.org/officeDocument/2006/relationships/image" Target="../media/image1.emf"/><Relationship Id="rId1" Type="http://schemas.openxmlformats.org/officeDocument/2006/relationships/vmlDrawing" Target="../drawings/vmlDrawing19.vml"/><Relationship Id="rId2" Type="http://schemas.openxmlformats.org/officeDocument/2006/relationships/tags" Target="../tags/tag40.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3.xml"/><Relationship Id="rId4" Type="http://schemas.openxmlformats.org/officeDocument/2006/relationships/slideMaster" Target="../slideMasters/slideMaster2.xml"/><Relationship Id="rId5" Type="http://schemas.openxmlformats.org/officeDocument/2006/relationships/image" Target="../media/image15.jpeg"/><Relationship Id="rId6" Type="http://schemas.openxmlformats.org/officeDocument/2006/relationships/oleObject" Target="../embeddings/oleObject20.bin"/><Relationship Id="rId7" Type="http://schemas.openxmlformats.org/officeDocument/2006/relationships/image" Target="../media/image1.emf"/><Relationship Id="rId1" Type="http://schemas.openxmlformats.org/officeDocument/2006/relationships/vmlDrawing" Target="../drawings/vmlDrawing20.vml"/><Relationship Id="rId2" Type="http://schemas.openxmlformats.org/officeDocument/2006/relationships/tags" Target="../tags/tag4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5.xml"/><Relationship Id="rId4" Type="http://schemas.openxmlformats.org/officeDocument/2006/relationships/slideMaster" Target="../slideMasters/slideMaster2.xml"/><Relationship Id="rId5" Type="http://schemas.openxmlformats.org/officeDocument/2006/relationships/image" Target="../media/image16.jpeg"/><Relationship Id="rId6" Type="http://schemas.openxmlformats.org/officeDocument/2006/relationships/oleObject" Target="../embeddings/oleObject21.bin"/><Relationship Id="rId7" Type="http://schemas.openxmlformats.org/officeDocument/2006/relationships/image" Target="../media/image1.emf"/><Relationship Id="rId1" Type="http://schemas.openxmlformats.org/officeDocument/2006/relationships/vmlDrawing" Target="../drawings/vmlDrawing21.vml"/><Relationship Id="rId2" Type="http://schemas.openxmlformats.org/officeDocument/2006/relationships/tags" Target="../tags/tag44.xml"/></Relationships>
</file>

<file path=ppt/slideLayouts/_rels/slideLayout25.xml.rels><?xml version="1.0" encoding="UTF-8" standalone="yes"?>
<Relationships xmlns="http://schemas.openxmlformats.org/package/2006/relationships"><Relationship Id="rId11" Type="http://schemas.openxmlformats.org/officeDocument/2006/relationships/image" Target="../media/image21.png"/><Relationship Id="rId12" Type="http://schemas.openxmlformats.org/officeDocument/2006/relationships/hyperlink" Target="http://www.capgemini.com/about/how-we-work/the-collaborative-business-experiencetm" TargetMode="External"/><Relationship Id="rId13" Type="http://schemas.openxmlformats.org/officeDocument/2006/relationships/hyperlink" Target="http://www.capgemini.com/about/how-we-work/rightshorer" TargetMode="External"/><Relationship Id="rId1" Type="http://schemas.openxmlformats.org/officeDocument/2006/relationships/slideMaster" Target="../slideMasters/slideMaster3.xml"/><Relationship Id="rId2" Type="http://schemas.openxmlformats.org/officeDocument/2006/relationships/hyperlink" Target="http://www.linkedin.com/company/capgemini" TargetMode="External"/><Relationship Id="rId3" Type="http://schemas.openxmlformats.org/officeDocument/2006/relationships/image" Target="../media/image17.png"/><Relationship Id="rId4" Type="http://schemas.openxmlformats.org/officeDocument/2006/relationships/hyperlink" Target="http://www.slideshare.net/capgemini" TargetMode="External"/><Relationship Id="rId5" Type="http://schemas.openxmlformats.org/officeDocument/2006/relationships/image" Target="../media/image18.png"/><Relationship Id="rId6" Type="http://schemas.openxmlformats.org/officeDocument/2006/relationships/hyperlink" Target="http://www.twitter.com/capgemini" TargetMode="External"/><Relationship Id="rId7" Type="http://schemas.openxmlformats.org/officeDocument/2006/relationships/image" Target="../media/image19.png"/><Relationship Id="rId8" Type="http://schemas.openxmlformats.org/officeDocument/2006/relationships/hyperlink" Target="http://www.youtube.com/capgeminimedia" TargetMode="External"/><Relationship Id="rId9" Type="http://schemas.openxmlformats.org/officeDocument/2006/relationships/image" Target="../media/image20.png"/><Relationship Id="rId10" Type="http://schemas.openxmlformats.org/officeDocument/2006/relationships/hyperlink" Target="http://www.facebook.com/capgemini" TargetMode="External"/></Relationships>
</file>

<file path=ppt/slideLayouts/_rels/slideLayout26.xml.rels><?xml version="1.0" encoding="UTF-8" standalone="yes"?>
<Relationships xmlns="http://schemas.openxmlformats.org/package/2006/relationships"><Relationship Id="rId11" Type="http://schemas.openxmlformats.org/officeDocument/2006/relationships/hyperlink" Target="http://www.twitter.com/capgemini" TargetMode="External"/><Relationship Id="rId12" Type="http://schemas.microsoft.com/office/2007/relationships/hdphoto" Target="../media/hdphoto3.wdp"/><Relationship Id="rId13" Type="http://schemas.openxmlformats.org/officeDocument/2006/relationships/hyperlink" Target="http://www.youtube.com/capgeminimedia" TargetMode="External"/><Relationship Id="rId14" Type="http://schemas.microsoft.com/office/2007/relationships/hdphoto" Target="../media/hdphoto4.wdp"/><Relationship Id="rId15" Type="http://schemas.openxmlformats.org/officeDocument/2006/relationships/hyperlink" Target="http://www.facebook.com/capgemini" TargetMode="External"/><Relationship Id="rId16" Type="http://schemas.microsoft.com/office/2007/relationships/hdphoto" Target="../media/hdphoto5.wdp"/><Relationship Id="rId17" Type="http://schemas.openxmlformats.org/officeDocument/2006/relationships/hyperlink" Target="http://www.capgemini.com/about/how-we-work/the-collaborative-business-experiencetm" TargetMode="External"/><Relationship Id="rId18" Type="http://schemas.openxmlformats.org/officeDocument/2006/relationships/hyperlink" Target="http://www.capgemini.com/about/how-we-work/rightshorer" TargetMode="External"/><Relationship Id="rId19" Type="http://schemas.openxmlformats.org/officeDocument/2006/relationships/hyperlink" Target="http://www.capgemini.com/" TargetMode="External"/><Relationship Id="rId1" Type="http://schemas.openxmlformats.org/officeDocument/2006/relationships/tags" Target="../tags/tag47.xml"/><Relationship Id="rId2" Type="http://schemas.openxmlformats.org/officeDocument/2006/relationships/tags" Target="../tags/tag48.xml"/><Relationship Id="rId3" Type="http://schemas.openxmlformats.org/officeDocument/2006/relationships/tags" Target="../tags/tag49.xml"/><Relationship Id="rId4" Type="http://schemas.openxmlformats.org/officeDocument/2006/relationships/tags" Target="../tags/tag50.xml"/><Relationship Id="rId5" Type="http://schemas.openxmlformats.org/officeDocument/2006/relationships/slideMaster" Target="../slideMasters/slideMaster3.xml"/><Relationship Id="rId6" Type="http://schemas.openxmlformats.org/officeDocument/2006/relationships/hyperlink" Target="http://www.linkedin.com/company/capgemini" TargetMode="External"/><Relationship Id="rId7" Type="http://schemas.openxmlformats.org/officeDocument/2006/relationships/image" Target="../media/image22.jpeg"/><Relationship Id="rId8" Type="http://schemas.microsoft.com/office/2007/relationships/hdphoto" Target="../media/hdphoto1.wdp"/><Relationship Id="rId9" Type="http://schemas.openxmlformats.org/officeDocument/2006/relationships/hyperlink" Target="http://www.slideshare.net/capgemini" TargetMode="External"/><Relationship Id="rId10" Type="http://schemas.microsoft.com/office/2007/relationships/hdphoto" Target="../media/hdphoto2.wdp"/></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3.png"/><Relationship Id="rId3" Type="http://schemas.openxmlformats.org/officeDocument/2006/relationships/image" Target="../media/image2.sv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3.bin"/><Relationship Id="rId5" Type="http://schemas.openxmlformats.org/officeDocument/2006/relationships/image" Target="../media/image4.emf"/><Relationship Id="rId1" Type="http://schemas.openxmlformats.org/officeDocument/2006/relationships/vmlDrawing" Target="../drawings/vmlDrawing3.vml"/><Relationship Id="rId2" Type="http://schemas.openxmlformats.org/officeDocument/2006/relationships/tags" Target="../tags/tag1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24.bin"/><Relationship Id="rId5" Type="http://schemas.openxmlformats.org/officeDocument/2006/relationships/image" Target="../media/image7.emf"/><Relationship Id="rId1" Type="http://schemas.openxmlformats.org/officeDocument/2006/relationships/vmlDrawing" Target="../drawings/vmlDrawing24.vml"/><Relationship Id="rId2" Type="http://schemas.openxmlformats.org/officeDocument/2006/relationships/tags" Target="../tags/tag56.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25.bin"/><Relationship Id="rId5" Type="http://schemas.openxmlformats.org/officeDocument/2006/relationships/image" Target="../media/image7.emf"/><Relationship Id="rId1" Type="http://schemas.openxmlformats.org/officeDocument/2006/relationships/vmlDrawing" Target="../drawings/vmlDrawing25.vml"/><Relationship Id="rId2" Type="http://schemas.openxmlformats.org/officeDocument/2006/relationships/tags" Target="../tags/tag5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0.xml"/><Relationship Id="rId4" Type="http://schemas.openxmlformats.org/officeDocument/2006/relationships/slideMaster" Target="../slideMasters/slideMaster4.xml"/><Relationship Id="rId1" Type="http://schemas.openxmlformats.org/officeDocument/2006/relationships/tags" Target="../tags/tag58.xml"/><Relationship Id="rId2" Type="http://schemas.openxmlformats.org/officeDocument/2006/relationships/tags" Target="../tags/tag59.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2.xml"/><Relationship Id="rId4" Type="http://schemas.openxmlformats.org/officeDocument/2006/relationships/tags" Target="../tags/tag63.xml"/><Relationship Id="rId5" Type="http://schemas.openxmlformats.org/officeDocument/2006/relationships/tags" Target="../tags/tag64.xml"/><Relationship Id="rId6" Type="http://schemas.openxmlformats.org/officeDocument/2006/relationships/slideMaster" Target="../slideMasters/slideMaster4.xml"/><Relationship Id="rId7" Type="http://schemas.openxmlformats.org/officeDocument/2006/relationships/oleObject" Target="../embeddings/oleObject26.bin"/><Relationship Id="rId8" Type="http://schemas.openxmlformats.org/officeDocument/2006/relationships/image" Target="../media/image7.emf"/><Relationship Id="rId1" Type="http://schemas.openxmlformats.org/officeDocument/2006/relationships/vmlDrawing" Target="../drawings/vmlDrawing26.vml"/><Relationship Id="rId2" Type="http://schemas.openxmlformats.org/officeDocument/2006/relationships/tags" Target="../tags/tag61.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27.bin"/><Relationship Id="rId5" Type="http://schemas.openxmlformats.org/officeDocument/2006/relationships/image" Target="../media/image7.emf"/><Relationship Id="rId6" Type="http://schemas.openxmlformats.org/officeDocument/2006/relationships/image" Target="../media/image24.png"/><Relationship Id="rId7" Type="http://schemas.openxmlformats.org/officeDocument/2006/relationships/image" Target="../media/image4.svg"/><Relationship Id="rId1" Type="http://schemas.openxmlformats.org/officeDocument/2006/relationships/vmlDrawing" Target="../drawings/vmlDrawing27.vml"/><Relationship Id="rId2" Type="http://schemas.openxmlformats.org/officeDocument/2006/relationships/tags" Target="../tags/tag65.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67.xml"/><Relationship Id="rId4" Type="http://schemas.openxmlformats.org/officeDocument/2006/relationships/tags" Target="../tags/tag68.xml"/><Relationship Id="rId5" Type="http://schemas.openxmlformats.org/officeDocument/2006/relationships/tags" Target="../tags/tag69.xml"/><Relationship Id="rId6" Type="http://schemas.openxmlformats.org/officeDocument/2006/relationships/slideMaster" Target="../slideMasters/slideMaster4.xml"/><Relationship Id="rId7" Type="http://schemas.openxmlformats.org/officeDocument/2006/relationships/oleObject" Target="../embeddings/oleObject28.bin"/><Relationship Id="rId8" Type="http://schemas.openxmlformats.org/officeDocument/2006/relationships/image" Target="../media/image7.emf"/><Relationship Id="rId1" Type="http://schemas.openxmlformats.org/officeDocument/2006/relationships/vmlDrawing" Target="../drawings/vmlDrawing28.vml"/><Relationship Id="rId2" Type="http://schemas.openxmlformats.org/officeDocument/2006/relationships/tags" Target="../tags/tag66.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29.bin"/><Relationship Id="rId5" Type="http://schemas.openxmlformats.org/officeDocument/2006/relationships/image" Target="../media/image7.emf"/><Relationship Id="rId1" Type="http://schemas.openxmlformats.org/officeDocument/2006/relationships/vmlDrawing" Target="../drawings/vmlDrawing29.vml"/><Relationship Id="rId2" Type="http://schemas.openxmlformats.org/officeDocument/2006/relationships/tags" Target="../tags/tag70.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3.xml"/><Relationship Id="rId4" Type="http://schemas.openxmlformats.org/officeDocument/2006/relationships/tags" Target="../tags/tag14.xml"/><Relationship Id="rId5" Type="http://schemas.openxmlformats.org/officeDocument/2006/relationships/slideMaster" Target="../slideMasters/slideMaster1.xml"/><Relationship Id="rId6" Type="http://schemas.openxmlformats.org/officeDocument/2006/relationships/oleObject" Target="../embeddings/oleObject4.bin"/><Relationship Id="rId7" Type="http://schemas.openxmlformats.org/officeDocument/2006/relationships/image" Target="../media/image1.emf"/><Relationship Id="rId1" Type="http://schemas.openxmlformats.org/officeDocument/2006/relationships/vmlDrawing" Target="../drawings/vmlDrawing4.vml"/><Relationship Id="rId2" Type="http://schemas.openxmlformats.org/officeDocument/2006/relationships/tags" Target="../tags/tag1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30.bin"/><Relationship Id="rId5" Type="http://schemas.openxmlformats.org/officeDocument/2006/relationships/image" Target="../media/image7.emf"/><Relationship Id="rId1" Type="http://schemas.openxmlformats.org/officeDocument/2006/relationships/vmlDrawing" Target="../drawings/vmlDrawing30.vml"/><Relationship Id="rId2" Type="http://schemas.openxmlformats.org/officeDocument/2006/relationships/tags" Target="../tags/tag7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31.bin"/><Relationship Id="rId5" Type="http://schemas.openxmlformats.org/officeDocument/2006/relationships/image" Target="../media/image7.emf"/><Relationship Id="rId1" Type="http://schemas.openxmlformats.org/officeDocument/2006/relationships/vmlDrawing" Target="../drawings/vmlDrawing31.vml"/><Relationship Id="rId2" Type="http://schemas.openxmlformats.org/officeDocument/2006/relationships/tags" Target="../tags/tag72.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32.bin"/><Relationship Id="rId5" Type="http://schemas.openxmlformats.org/officeDocument/2006/relationships/image" Target="../media/image7.emf"/><Relationship Id="rId1" Type="http://schemas.openxmlformats.org/officeDocument/2006/relationships/vmlDrawing" Target="../drawings/vmlDrawing32.vml"/><Relationship Id="rId2" Type="http://schemas.openxmlformats.org/officeDocument/2006/relationships/tags" Target="../tags/tag73.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76.xml"/><Relationship Id="rId4" Type="http://schemas.openxmlformats.org/officeDocument/2006/relationships/slideMaster" Target="../slideMasters/slideMaster4.xml"/><Relationship Id="rId1" Type="http://schemas.openxmlformats.org/officeDocument/2006/relationships/tags" Target="../tags/tag74.xml"/><Relationship Id="rId2" Type="http://schemas.openxmlformats.org/officeDocument/2006/relationships/tags" Target="../tags/tag75.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78.xml"/><Relationship Id="rId4" Type="http://schemas.openxmlformats.org/officeDocument/2006/relationships/tags" Target="../tags/tag79.xml"/><Relationship Id="rId5" Type="http://schemas.openxmlformats.org/officeDocument/2006/relationships/tags" Target="../tags/tag80.xml"/><Relationship Id="rId6" Type="http://schemas.openxmlformats.org/officeDocument/2006/relationships/slideMaster" Target="../slideMasters/slideMaster4.xml"/><Relationship Id="rId7" Type="http://schemas.openxmlformats.org/officeDocument/2006/relationships/oleObject" Target="../embeddings/oleObject33.bin"/><Relationship Id="rId8" Type="http://schemas.openxmlformats.org/officeDocument/2006/relationships/image" Target="../media/image7.emf"/><Relationship Id="rId1" Type="http://schemas.openxmlformats.org/officeDocument/2006/relationships/vmlDrawing" Target="../drawings/vmlDrawing33.vml"/><Relationship Id="rId2" Type="http://schemas.openxmlformats.org/officeDocument/2006/relationships/tags" Target="../tags/tag77.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82.xml"/><Relationship Id="rId4" Type="http://schemas.openxmlformats.org/officeDocument/2006/relationships/tags" Target="../tags/tag83.xml"/><Relationship Id="rId5" Type="http://schemas.openxmlformats.org/officeDocument/2006/relationships/tags" Target="../tags/tag84.xml"/><Relationship Id="rId6" Type="http://schemas.openxmlformats.org/officeDocument/2006/relationships/slideMaster" Target="../slideMasters/slideMaster4.xml"/><Relationship Id="rId7" Type="http://schemas.openxmlformats.org/officeDocument/2006/relationships/oleObject" Target="../embeddings/oleObject34.bin"/><Relationship Id="rId8" Type="http://schemas.openxmlformats.org/officeDocument/2006/relationships/image" Target="../media/image7.emf"/><Relationship Id="rId1" Type="http://schemas.openxmlformats.org/officeDocument/2006/relationships/vmlDrawing" Target="../drawings/vmlDrawing34.vml"/><Relationship Id="rId2" Type="http://schemas.openxmlformats.org/officeDocument/2006/relationships/tags" Target="../tags/tag8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35.bin"/><Relationship Id="rId5" Type="http://schemas.openxmlformats.org/officeDocument/2006/relationships/image" Target="../media/image7.emf"/><Relationship Id="rId1" Type="http://schemas.openxmlformats.org/officeDocument/2006/relationships/vmlDrawing" Target="../drawings/vmlDrawing35.vml"/><Relationship Id="rId2" Type="http://schemas.openxmlformats.org/officeDocument/2006/relationships/tags" Target="../tags/tag85.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36.bin"/><Relationship Id="rId5" Type="http://schemas.openxmlformats.org/officeDocument/2006/relationships/image" Target="../media/image7.emf"/><Relationship Id="rId1" Type="http://schemas.openxmlformats.org/officeDocument/2006/relationships/vmlDrawing" Target="../drawings/vmlDrawing36.vml"/><Relationship Id="rId2" Type="http://schemas.openxmlformats.org/officeDocument/2006/relationships/tags" Target="../tags/tag86.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88.xml"/><Relationship Id="rId4" Type="http://schemas.openxmlformats.org/officeDocument/2006/relationships/tags" Target="../tags/tag89.xml"/><Relationship Id="rId5" Type="http://schemas.openxmlformats.org/officeDocument/2006/relationships/tags" Target="../tags/tag90.xml"/><Relationship Id="rId6" Type="http://schemas.openxmlformats.org/officeDocument/2006/relationships/slideMaster" Target="../slideMasters/slideMaster4.xml"/><Relationship Id="rId7" Type="http://schemas.openxmlformats.org/officeDocument/2006/relationships/oleObject" Target="../embeddings/oleObject37.bin"/><Relationship Id="rId8" Type="http://schemas.openxmlformats.org/officeDocument/2006/relationships/image" Target="../media/image7.emf"/><Relationship Id="rId1" Type="http://schemas.openxmlformats.org/officeDocument/2006/relationships/vmlDrawing" Target="../drawings/vmlDrawing37.vml"/><Relationship Id="rId2" Type="http://schemas.openxmlformats.org/officeDocument/2006/relationships/tags" Target="../tags/tag87.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38.bin"/><Relationship Id="rId5" Type="http://schemas.openxmlformats.org/officeDocument/2006/relationships/image" Target="../media/image7.emf"/><Relationship Id="rId1" Type="http://schemas.openxmlformats.org/officeDocument/2006/relationships/vmlDrawing" Target="../drawings/vmlDrawing38.vml"/><Relationship Id="rId2" Type="http://schemas.openxmlformats.org/officeDocument/2006/relationships/tags" Target="../tags/tag9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6.xml"/><Relationship Id="rId4" Type="http://schemas.openxmlformats.org/officeDocument/2006/relationships/slideMaster" Target="../slideMasters/slideMaster1.xml"/><Relationship Id="rId5" Type="http://schemas.openxmlformats.org/officeDocument/2006/relationships/oleObject" Target="../embeddings/oleObject5.bin"/><Relationship Id="rId6" Type="http://schemas.openxmlformats.org/officeDocument/2006/relationships/image" Target="../media/image1.emf"/><Relationship Id="rId1" Type="http://schemas.openxmlformats.org/officeDocument/2006/relationships/vmlDrawing" Target="../drawings/vmlDrawing5.vml"/><Relationship Id="rId2" Type="http://schemas.openxmlformats.org/officeDocument/2006/relationships/tags" Target="../tags/tag15.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39.bin"/><Relationship Id="rId5" Type="http://schemas.openxmlformats.org/officeDocument/2006/relationships/image" Target="../media/image7.emf"/><Relationship Id="rId1" Type="http://schemas.openxmlformats.org/officeDocument/2006/relationships/vmlDrawing" Target="../drawings/vmlDrawing39.vml"/><Relationship Id="rId2" Type="http://schemas.openxmlformats.org/officeDocument/2006/relationships/tags" Target="../tags/tag92.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94.xml"/><Relationship Id="rId4" Type="http://schemas.openxmlformats.org/officeDocument/2006/relationships/tags" Target="../tags/tag95.xml"/><Relationship Id="rId5" Type="http://schemas.openxmlformats.org/officeDocument/2006/relationships/slideMaster" Target="../slideMasters/slideMaster4.xml"/><Relationship Id="rId6" Type="http://schemas.openxmlformats.org/officeDocument/2006/relationships/oleObject" Target="../embeddings/oleObject40.bin"/><Relationship Id="rId7" Type="http://schemas.openxmlformats.org/officeDocument/2006/relationships/image" Target="../media/image1.emf"/><Relationship Id="rId1" Type="http://schemas.openxmlformats.org/officeDocument/2006/relationships/vmlDrawing" Target="../drawings/vmlDrawing40.vml"/><Relationship Id="rId2" Type="http://schemas.openxmlformats.org/officeDocument/2006/relationships/tags" Target="../tags/tag93.xml"/></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image" Target="../media/image5.jpeg"/></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image" Target="../media/image6.jpe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7.bin"/><Relationship Id="rId5" Type="http://schemas.openxmlformats.org/officeDocument/2006/relationships/image" Target="../media/image7.emf"/><Relationship Id="rId1" Type="http://schemas.openxmlformats.org/officeDocument/2006/relationships/vmlDrawing" Target="../drawings/vmlDrawing7.vml"/><Relationship Id="rId2" Type="http://schemas.openxmlformats.org/officeDocument/2006/relationships/tags" Target="../tags/tag20.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8.bin"/><Relationship Id="rId5" Type="http://schemas.openxmlformats.org/officeDocument/2006/relationships/image" Target="../media/image7.emf"/><Relationship Id="rId1" Type="http://schemas.openxmlformats.org/officeDocument/2006/relationships/vmlDrawing" Target="../drawings/vmlDrawing8.vml"/><Relationship Id="rId2" Type="http://schemas.openxmlformats.org/officeDocument/2006/relationships/tags" Target="../tags/tag2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61_Agenda slide">
    <p:bg>
      <p:bgPr>
        <a:solidFill>
          <a:schemeClr val="bg1">
            <a:alpha val="7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 y="3"/>
          <a:ext cx="180999" cy="143985"/>
        </p:xfrm>
        <a:graphic>
          <a:graphicData uri="http://schemas.openxmlformats.org/presentationml/2006/ole">
            <mc:AlternateContent xmlns:mc="http://schemas.openxmlformats.org/markup-compatibility/2006">
              <mc:Choice xmlns:v="urn:schemas-microsoft-com:vml" Requires="v">
                <p:oleObj spid="_x0000_s16005"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3"/>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Freeform 6"/>
          <p:cNvSpPr/>
          <p:nvPr userDrawn="1"/>
        </p:nvSpPr>
        <p:spPr>
          <a:xfrm>
            <a:off x="0" y="3"/>
            <a:ext cx="12203939" cy="1126039"/>
          </a:xfrm>
          <a:custGeom>
            <a:avLst/>
            <a:gdLst>
              <a:gd name="connsiteX0" fmla="*/ 0 w 9934863"/>
              <a:gd name="connsiteY0" fmla="*/ 0 h 388891"/>
              <a:gd name="connsiteX1" fmla="*/ 674477 w 9934863"/>
              <a:gd name="connsiteY1" fmla="*/ 388891 h 388891"/>
              <a:gd name="connsiteX2" fmla="*/ 674477 w 9934863"/>
              <a:gd name="connsiteY2" fmla="*/ 388891 h 388891"/>
              <a:gd name="connsiteX3" fmla="*/ 1440099 w 9934863"/>
              <a:gd name="connsiteY3" fmla="*/ 0 h 388891"/>
              <a:gd name="connsiteX4" fmla="*/ 9922710 w 9934863"/>
              <a:gd name="connsiteY4" fmla="*/ 6076 h 388891"/>
              <a:gd name="connsiteX5" fmla="*/ 9934863 w 9934863"/>
              <a:gd name="connsiteY5" fmla="*/ 0 h 388891"/>
              <a:gd name="connsiteX0" fmla="*/ 0 w 9934863"/>
              <a:gd name="connsiteY0" fmla="*/ 0 h 388891"/>
              <a:gd name="connsiteX1" fmla="*/ 674477 w 9934863"/>
              <a:gd name="connsiteY1" fmla="*/ 388891 h 388891"/>
              <a:gd name="connsiteX2" fmla="*/ 674477 w 9934863"/>
              <a:gd name="connsiteY2" fmla="*/ 388891 h 388891"/>
              <a:gd name="connsiteX3" fmla="*/ 1440099 w 9934863"/>
              <a:gd name="connsiteY3" fmla="*/ 0 h 388891"/>
              <a:gd name="connsiteX4" fmla="*/ 9922710 w 9934863"/>
              <a:gd name="connsiteY4" fmla="*/ 6076 h 388891"/>
              <a:gd name="connsiteX5" fmla="*/ 9934863 w 9934863"/>
              <a:gd name="connsiteY5" fmla="*/ 0 h 388891"/>
              <a:gd name="connsiteX0" fmla="*/ 0 w 9934863"/>
              <a:gd name="connsiteY0" fmla="*/ 553 h 389444"/>
              <a:gd name="connsiteX1" fmla="*/ 674477 w 9934863"/>
              <a:gd name="connsiteY1" fmla="*/ 389444 h 389444"/>
              <a:gd name="connsiteX2" fmla="*/ 674477 w 9934863"/>
              <a:gd name="connsiteY2" fmla="*/ 389444 h 389444"/>
              <a:gd name="connsiteX3" fmla="*/ 1440099 w 9934863"/>
              <a:gd name="connsiteY3" fmla="*/ 553 h 389444"/>
              <a:gd name="connsiteX4" fmla="*/ 9922710 w 9934863"/>
              <a:gd name="connsiteY4" fmla="*/ 6629 h 389444"/>
              <a:gd name="connsiteX5" fmla="*/ 9934863 w 9934863"/>
              <a:gd name="connsiteY5" fmla="*/ 553 h 389444"/>
              <a:gd name="connsiteX0" fmla="*/ 0 w 9934863"/>
              <a:gd name="connsiteY0" fmla="*/ 42 h 583378"/>
              <a:gd name="connsiteX1" fmla="*/ 674477 w 9934863"/>
              <a:gd name="connsiteY1" fmla="*/ 388933 h 583378"/>
              <a:gd name="connsiteX2" fmla="*/ 522568 w 9934863"/>
              <a:gd name="connsiteY2" fmla="*/ 583378 h 583378"/>
              <a:gd name="connsiteX3" fmla="*/ 1440099 w 9934863"/>
              <a:gd name="connsiteY3" fmla="*/ 42 h 583378"/>
              <a:gd name="connsiteX4" fmla="*/ 9922710 w 9934863"/>
              <a:gd name="connsiteY4" fmla="*/ 6118 h 583378"/>
              <a:gd name="connsiteX5" fmla="*/ 9934863 w 9934863"/>
              <a:gd name="connsiteY5" fmla="*/ 42 h 583378"/>
              <a:gd name="connsiteX0" fmla="*/ 0 w 9934863"/>
              <a:gd name="connsiteY0" fmla="*/ 32 h 388923"/>
              <a:gd name="connsiteX1" fmla="*/ 674477 w 9934863"/>
              <a:gd name="connsiteY1" fmla="*/ 388923 h 388923"/>
              <a:gd name="connsiteX2" fmla="*/ 1440099 w 9934863"/>
              <a:gd name="connsiteY2" fmla="*/ 32 h 388923"/>
              <a:gd name="connsiteX3" fmla="*/ 9922710 w 9934863"/>
              <a:gd name="connsiteY3" fmla="*/ 6108 h 388923"/>
              <a:gd name="connsiteX4" fmla="*/ 9934863 w 9934863"/>
              <a:gd name="connsiteY4" fmla="*/ 32 h 388923"/>
              <a:gd name="connsiteX0" fmla="*/ 0 w 9934863"/>
              <a:gd name="connsiteY0" fmla="*/ 60 h 388951"/>
              <a:gd name="connsiteX1" fmla="*/ 674477 w 9934863"/>
              <a:gd name="connsiteY1" fmla="*/ 388951 h 388951"/>
              <a:gd name="connsiteX2" fmla="*/ 1440099 w 9934863"/>
              <a:gd name="connsiteY2" fmla="*/ 60 h 388951"/>
              <a:gd name="connsiteX3" fmla="*/ 9922710 w 9934863"/>
              <a:gd name="connsiteY3" fmla="*/ 6136 h 388951"/>
              <a:gd name="connsiteX4" fmla="*/ 9934863 w 9934863"/>
              <a:gd name="connsiteY4" fmla="*/ 60 h 388951"/>
              <a:gd name="connsiteX0" fmla="*/ 0 w 9934863"/>
              <a:gd name="connsiteY0" fmla="*/ 60 h 388951"/>
              <a:gd name="connsiteX1" fmla="*/ 674477 w 9934863"/>
              <a:gd name="connsiteY1" fmla="*/ 388951 h 388951"/>
              <a:gd name="connsiteX2" fmla="*/ 1440099 w 9934863"/>
              <a:gd name="connsiteY2" fmla="*/ 60 h 388951"/>
              <a:gd name="connsiteX3" fmla="*/ 9922710 w 9934863"/>
              <a:gd name="connsiteY3" fmla="*/ 6136 h 388951"/>
              <a:gd name="connsiteX4" fmla="*/ 9934863 w 9934863"/>
              <a:gd name="connsiteY4" fmla="*/ 60 h 388951"/>
              <a:gd name="connsiteX0" fmla="*/ 0 w 9934863"/>
              <a:gd name="connsiteY0" fmla="*/ 60 h 388951"/>
              <a:gd name="connsiteX1" fmla="*/ 674477 w 9934863"/>
              <a:gd name="connsiteY1" fmla="*/ 388951 h 388951"/>
              <a:gd name="connsiteX2" fmla="*/ 1440099 w 9934863"/>
              <a:gd name="connsiteY2" fmla="*/ 60 h 388951"/>
              <a:gd name="connsiteX3" fmla="*/ 9922710 w 9934863"/>
              <a:gd name="connsiteY3" fmla="*/ 6136 h 388951"/>
              <a:gd name="connsiteX4" fmla="*/ 9934863 w 9934863"/>
              <a:gd name="connsiteY4" fmla="*/ 60 h 388951"/>
              <a:gd name="connsiteX0" fmla="*/ 0 w 9934863"/>
              <a:gd name="connsiteY0" fmla="*/ 60 h 388951"/>
              <a:gd name="connsiteX1" fmla="*/ 674477 w 9934863"/>
              <a:gd name="connsiteY1" fmla="*/ 388951 h 388951"/>
              <a:gd name="connsiteX2" fmla="*/ 1440099 w 9934863"/>
              <a:gd name="connsiteY2" fmla="*/ 60 h 388951"/>
              <a:gd name="connsiteX3" fmla="*/ 9922710 w 9934863"/>
              <a:gd name="connsiteY3" fmla="*/ 6136 h 388951"/>
              <a:gd name="connsiteX4" fmla="*/ 9934863 w 9934863"/>
              <a:gd name="connsiteY4" fmla="*/ 60 h 388951"/>
              <a:gd name="connsiteX0" fmla="*/ 0 w 9934863"/>
              <a:gd name="connsiteY0" fmla="*/ 60 h 388951"/>
              <a:gd name="connsiteX1" fmla="*/ 674477 w 9934863"/>
              <a:gd name="connsiteY1" fmla="*/ 388951 h 388951"/>
              <a:gd name="connsiteX2" fmla="*/ 1440099 w 9934863"/>
              <a:gd name="connsiteY2" fmla="*/ 60 h 388951"/>
              <a:gd name="connsiteX3" fmla="*/ 9922710 w 9934863"/>
              <a:gd name="connsiteY3" fmla="*/ 6136 h 388951"/>
              <a:gd name="connsiteX4" fmla="*/ 9934863 w 9934863"/>
              <a:gd name="connsiteY4" fmla="*/ 60 h 388951"/>
              <a:gd name="connsiteX0" fmla="*/ 0 w 9934863"/>
              <a:gd name="connsiteY0" fmla="*/ 130 h 389021"/>
              <a:gd name="connsiteX1" fmla="*/ 674477 w 9934863"/>
              <a:gd name="connsiteY1" fmla="*/ 389021 h 389021"/>
              <a:gd name="connsiteX2" fmla="*/ 1440099 w 9934863"/>
              <a:gd name="connsiteY2" fmla="*/ 130 h 389021"/>
              <a:gd name="connsiteX3" fmla="*/ 9922710 w 9934863"/>
              <a:gd name="connsiteY3" fmla="*/ 6206 h 389021"/>
              <a:gd name="connsiteX4" fmla="*/ 9934863 w 9934863"/>
              <a:gd name="connsiteY4" fmla="*/ 130 h 389021"/>
              <a:gd name="connsiteX0" fmla="*/ 0 w 9934863"/>
              <a:gd name="connsiteY0" fmla="*/ 0 h 388891"/>
              <a:gd name="connsiteX1" fmla="*/ 674477 w 9934863"/>
              <a:gd name="connsiteY1" fmla="*/ 388891 h 388891"/>
              <a:gd name="connsiteX2" fmla="*/ 1440099 w 9934863"/>
              <a:gd name="connsiteY2" fmla="*/ 0 h 388891"/>
              <a:gd name="connsiteX3" fmla="*/ 9922710 w 9934863"/>
              <a:gd name="connsiteY3" fmla="*/ 6076 h 388891"/>
              <a:gd name="connsiteX4" fmla="*/ 9934863 w 9934863"/>
              <a:gd name="connsiteY4" fmla="*/ 0 h 388891"/>
              <a:gd name="connsiteX0" fmla="*/ 0 w 9934863"/>
              <a:gd name="connsiteY0" fmla="*/ 162 h 273601"/>
              <a:gd name="connsiteX1" fmla="*/ 656248 w 9934863"/>
              <a:gd name="connsiteY1" fmla="*/ 273601 h 273601"/>
              <a:gd name="connsiteX2" fmla="*/ 1440099 w 9934863"/>
              <a:gd name="connsiteY2" fmla="*/ 162 h 273601"/>
              <a:gd name="connsiteX3" fmla="*/ 9922710 w 9934863"/>
              <a:gd name="connsiteY3" fmla="*/ 6238 h 273601"/>
              <a:gd name="connsiteX4" fmla="*/ 9934863 w 9934863"/>
              <a:gd name="connsiteY4" fmla="*/ 162 h 273601"/>
              <a:gd name="connsiteX0" fmla="*/ 0 w 9934863"/>
              <a:gd name="connsiteY0" fmla="*/ 0 h 370662"/>
              <a:gd name="connsiteX1" fmla="*/ 692706 w 9934863"/>
              <a:gd name="connsiteY1" fmla="*/ 370662 h 370662"/>
              <a:gd name="connsiteX2" fmla="*/ 1440099 w 9934863"/>
              <a:gd name="connsiteY2" fmla="*/ 0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440099 w 9934863"/>
              <a:gd name="connsiteY2" fmla="*/ 0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440099 w 9934863"/>
              <a:gd name="connsiteY2" fmla="*/ 0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440099 w 9934863"/>
              <a:gd name="connsiteY2" fmla="*/ 0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440099 w 9934863"/>
              <a:gd name="connsiteY2" fmla="*/ 0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440099 w 9934863"/>
              <a:gd name="connsiteY2" fmla="*/ 0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440099 w 9934863"/>
              <a:gd name="connsiteY2" fmla="*/ 0 h 370662"/>
              <a:gd name="connsiteX3" fmla="*/ 9922710 w 9934863"/>
              <a:gd name="connsiteY3" fmla="*/ 6076 h 370662"/>
              <a:gd name="connsiteX4" fmla="*/ 9934863 w 9934863"/>
              <a:gd name="connsiteY4" fmla="*/ 0 h 370662"/>
              <a:gd name="connsiteX0" fmla="*/ 0 w 9934863"/>
              <a:gd name="connsiteY0" fmla="*/ 116 h 370778"/>
              <a:gd name="connsiteX1" fmla="*/ 692706 w 9934863"/>
              <a:gd name="connsiteY1" fmla="*/ 370778 h 370778"/>
              <a:gd name="connsiteX2" fmla="*/ 1440099 w 9934863"/>
              <a:gd name="connsiteY2" fmla="*/ 116 h 370778"/>
              <a:gd name="connsiteX3" fmla="*/ 9922710 w 9934863"/>
              <a:gd name="connsiteY3" fmla="*/ 6192 h 370778"/>
              <a:gd name="connsiteX4" fmla="*/ 9934863 w 9934863"/>
              <a:gd name="connsiteY4" fmla="*/ 116 h 370778"/>
              <a:gd name="connsiteX0" fmla="*/ 0 w 9934863"/>
              <a:gd name="connsiteY0" fmla="*/ 650 h 371312"/>
              <a:gd name="connsiteX1" fmla="*/ 692706 w 9934863"/>
              <a:gd name="connsiteY1" fmla="*/ 371312 h 371312"/>
              <a:gd name="connsiteX2" fmla="*/ 1440099 w 9934863"/>
              <a:gd name="connsiteY2" fmla="*/ 650 h 371312"/>
              <a:gd name="connsiteX3" fmla="*/ 9922710 w 9934863"/>
              <a:gd name="connsiteY3" fmla="*/ 6726 h 371312"/>
              <a:gd name="connsiteX4" fmla="*/ 9934863 w 9934863"/>
              <a:gd name="connsiteY4" fmla="*/ 650 h 371312"/>
              <a:gd name="connsiteX0" fmla="*/ 0 w 9934863"/>
              <a:gd name="connsiteY0" fmla="*/ 650 h 371312"/>
              <a:gd name="connsiteX1" fmla="*/ 692706 w 9934863"/>
              <a:gd name="connsiteY1" fmla="*/ 371312 h 371312"/>
              <a:gd name="connsiteX2" fmla="*/ 1440099 w 9934863"/>
              <a:gd name="connsiteY2" fmla="*/ 650 h 371312"/>
              <a:gd name="connsiteX3" fmla="*/ 9922710 w 9934863"/>
              <a:gd name="connsiteY3" fmla="*/ 6726 h 371312"/>
              <a:gd name="connsiteX4" fmla="*/ 9934863 w 9934863"/>
              <a:gd name="connsiteY4" fmla="*/ 650 h 371312"/>
              <a:gd name="connsiteX0" fmla="*/ 0 w 9934863"/>
              <a:gd name="connsiteY0" fmla="*/ 650 h 371312"/>
              <a:gd name="connsiteX1" fmla="*/ 692706 w 9934863"/>
              <a:gd name="connsiteY1" fmla="*/ 371312 h 371312"/>
              <a:gd name="connsiteX2" fmla="*/ 1440099 w 9934863"/>
              <a:gd name="connsiteY2" fmla="*/ 650 h 371312"/>
              <a:gd name="connsiteX3" fmla="*/ 9922710 w 9934863"/>
              <a:gd name="connsiteY3" fmla="*/ 6726 h 371312"/>
              <a:gd name="connsiteX4" fmla="*/ 9934863 w 9934863"/>
              <a:gd name="connsiteY4" fmla="*/ 650 h 371312"/>
              <a:gd name="connsiteX0" fmla="*/ 0 w 9934863"/>
              <a:gd name="connsiteY0" fmla="*/ 650 h 371312"/>
              <a:gd name="connsiteX1" fmla="*/ 692706 w 9934863"/>
              <a:gd name="connsiteY1" fmla="*/ 371312 h 371312"/>
              <a:gd name="connsiteX2" fmla="*/ 1440099 w 9934863"/>
              <a:gd name="connsiteY2" fmla="*/ 650 h 371312"/>
              <a:gd name="connsiteX3" fmla="*/ 9922710 w 9934863"/>
              <a:gd name="connsiteY3" fmla="*/ 6726 h 371312"/>
              <a:gd name="connsiteX4" fmla="*/ 9934863 w 9934863"/>
              <a:gd name="connsiteY4" fmla="*/ 650 h 371312"/>
              <a:gd name="connsiteX0" fmla="*/ 0 w 9934863"/>
              <a:gd name="connsiteY0" fmla="*/ 650 h 371312"/>
              <a:gd name="connsiteX1" fmla="*/ 692706 w 9934863"/>
              <a:gd name="connsiteY1" fmla="*/ 371312 h 371312"/>
              <a:gd name="connsiteX2" fmla="*/ 1355030 w 9934863"/>
              <a:gd name="connsiteY2" fmla="*/ 6727 h 371312"/>
              <a:gd name="connsiteX3" fmla="*/ 9922710 w 9934863"/>
              <a:gd name="connsiteY3" fmla="*/ 6726 h 371312"/>
              <a:gd name="connsiteX4" fmla="*/ 9934863 w 9934863"/>
              <a:gd name="connsiteY4" fmla="*/ 650 h 371312"/>
              <a:gd name="connsiteX0" fmla="*/ 0 w 9934863"/>
              <a:gd name="connsiteY0" fmla="*/ 650 h 371312"/>
              <a:gd name="connsiteX1" fmla="*/ 692706 w 9934863"/>
              <a:gd name="connsiteY1" fmla="*/ 371312 h 371312"/>
              <a:gd name="connsiteX2" fmla="*/ 1355030 w 9934863"/>
              <a:gd name="connsiteY2" fmla="*/ 6727 h 371312"/>
              <a:gd name="connsiteX3" fmla="*/ 9922710 w 9934863"/>
              <a:gd name="connsiteY3" fmla="*/ 6726 h 371312"/>
              <a:gd name="connsiteX4" fmla="*/ 9934863 w 9934863"/>
              <a:gd name="connsiteY4" fmla="*/ 650 h 371312"/>
              <a:gd name="connsiteX0" fmla="*/ 0 w 9934863"/>
              <a:gd name="connsiteY0" fmla="*/ 650 h 371312"/>
              <a:gd name="connsiteX1" fmla="*/ 692706 w 9934863"/>
              <a:gd name="connsiteY1" fmla="*/ 371312 h 371312"/>
              <a:gd name="connsiteX2" fmla="*/ 1355030 w 9934863"/>
              <a:gd name="connsiteY2" fmla="*/ 6727 h 371312"/>
              <a:gd name="connsiteX3" fmla="*/ 9922710 w 9934863"/>
              <a:gd name="connsiteY3" fmla="*/ 6726 h 371312"/>
              <a:gd name="connsiteX4" fmla="*/ 9934863 w 9934863"/>
              <a:gd name="connsiteY4" fmla="*/ 650 h 371312"/>
              <a:gd name="connsiteX0" fmla="*/ 0 w 9934863"/>
              <a:gd name="connsiteY0" fmla="*/ 650 h 371312"/>
              <a:gd name="connsiteX1" fmla="*/ 692706 w 9934863"/>
              <a:gd name="connsiteY1" fmla="*/ 371312 h 371312"/>
              <a:gd name="connsiteX2" fmla="*/ 1355030 w 9934863"/>
              <a:gd name="connsiteY2" fmla="*/ 6727 h 371312"/>
              <a:gd name="connsiteX3" fmla="*/ 9922710 w 9934863"/>
              <a:gd name="connsiteY3" fmla="*/ 6726 h 371312"/>
              <a:gd name="connsiteX4" fmla="*/ 9934863 w 9934863"/>
              <a:gd name="connsiteY4" fmla="*/ 650 h 371312"/>
              <a:gd name="connsiteX0" fmla="*/ 0 w 9934863"/>
              <a:gd name="connsiteY0" fmla="*/ 650 h 371312"/>
              <a:gd name="connsiteX1" fmla="*/ 692706 w 9934863"/>
              <a:gd name="connsiteY1" fmla="*/ 371312 h 371312"/>
              <a:gd name="connsiteX2" fmla="*/ 1350201 w 9934863"/>
              <a:gd name="connsiteY2" fmla="*/ 1898 h 371312"/>
              <a:gd name="connsiteX3" fmla="*/ 9922710 w 9934863"/>
              <a:gd name="connsiteY3" fmla="*/ 6726 h 371312"/>
              <a:gd name="connsiteX4" fmla="*/ 9934863 w 9934863"/>
              <a:gd name="connsiteY4" fmla="*/ 650 h 371312"/>
              <a:gd name="connsiteX0" fmla="*/ 0 w 9934863"/>
              <a:gd name="connsiteY0" fmla="*/ 650 h 371312"/>
              <a:gd name="connsiteX1" fmla="*/ 692706 w 9934863"/>
              <a:gd name="connsiteY1" fmla="*/ 371312 h 371312"/>
              <a:gd name="connsiteX2" fmla="*/ 1350201 w 9934863"/>
              <a:gd name="connsiteY2" fmla="*/ 1898 h 371312"/>
              <a:gd name="connsiteX3" fmla="*/ 9922710 w 9934863"/>
              <a:gd name="connsiteY3" fmla="*/ 6726 h 371312"/>
              <a:gd name="connsiteX4" fmla="*/ 9934863 w 9934863"/>
              <a:gd name="connsiteY4" fmla="*/ 650 h 371312"/>
              <a:gd name="connsiteX0" fmla="*/ 0 w 9934863"/>
              <a:gd name="connsiteY0" fmla="*/ 650 h 371312"/>
              <a:gd name="connsiteX1" fmla="*/ 692706 w 9934863"/>
              <a:gd name="connsiteY1" fmla="*/ 371312 h 371312"/>
              <a:gd name="connsiteX2" fmla="*/ 1350201 w 9934863"/>
              <a:gd name="connsiteY2" fmla="*/ 1898 h 371312"/>
              <a:gd name="connsiteX3" fmla="*/ 9922710 w 9934863"/>
              <a:gd name="connsiteY3" fmla="*/ 6726 h 371312"/>
              <a:gd name="connsiteX4" fmla="*/ 9934863 w 9934863"/>
              <a:gd name="connsiteY4" fmla="*/ 650 h 371312"/>
              <a:gd name="connsiteX0" fmla="*/ 0 w 9934863"/>
              <a:gd name="connsiteY0" fmla="*/ 650 h 371312"/>
              <a:gd name="connsiteX1" fmla="*/ 692706 w 9934863"/>
              <a:gd name="connsiteY1" fmla="*/ 371312 h 371312"/>
              <a:gd name="connsiteX2" fmla="*/ 1350201 w 9934863"/>
              <a:gd name="connsiteY2" fmla="*/ 1898 h 371312"/>
              <a:gd name="connsiteX3" fmla="*/ 9922710 w 9934863"/>
              <a:gd name="connsiteY3" fmla="*/ 6726 h 371312"/>
              <a:gd name="connsiteX4" fmla="*/ 9934863 w 9934863"/>
              <a:gd name="connsiteY4" fmla="*/ 650 h 371312"/>
              <a:gd name="connsiteX0" fmla="*/ 0 w 9934863"/>
              <a:gd name="connsiteY0" fmla="*/ 650 h 371312"/>
              <a:gd name="connsiteX1" fmla="*/ 692706 w 9934863"/>
              <a:gd name="connsiteY1" fmla="*/ 371312 h 371312"/>
              <a:gd name="connsiteX2" fmla="*/ 1350201 w 9934863"/>
              <a:gd name="connsiteY2" fmla="*/ 1898 h 371312"/>
              <a:gd name="connsiteX3" fmla="*/ 9922710 w 9934863"/>
              <a:gd name="connsiteY3" fmla="*/ 6726 h 371312"/>
              <a:gd name="connsiteX4" fmla="*/ 9934863 w 9934863"/>
              <a:gd name="connsiteY4" fmla="*/ 650 h 371312"/>
              <a:gd name="connsiteX0" fmla="*/ 0 w 9934863"/>
              <a:gd name="connsiteY0" fmla="*/ 650 h 371312"/>
              <a:gd name="connsiteX1" fmla="*/ 692706 w 9934863"/>
              <a:gd name="connsiteY1" fmla="*/ 371312 h 371312"/>
              <a:gd name="connsiteX2" fmla="*/ 1350201 w 9934863"/>
              <a:gd name="connsiteY2" fmla="*/ 1898 h 371312"/>
              <a:gd name="connsiteX3" fmla="*/ 9922710 w 9934863"/>
              <a:gd name="connsiteY3" fmla="*/ 6726 h 371312"/>
              <a:gd name="connsiteX4" fmla="*/ 9934863 w 9934863"/>
              <a:gd name="connsiteY4" fmla="*/ 650 h 371312"/>
              <a:gd name="connsiteX0" fmla="*/ 0 w 9934863"/>
              <a:gd name="connsiteY0" fmla="*/ 677 h 371339"/>
              <a:gd name="connsiteX1" fmla="*/ 692706 w 9934863"/>
              <a:gd name="connsiteY1" fmla="*/ 371339 h 371339"/>
              <a:gd name="connsiteX2" fmla="*/ 1350201 w 9934863"/>
              <a:gd name="connsiteY2" fmla="*/ 1925 h 371339"/>
              <a:gd name="connsiteX3" fmla="*/ 9922710 w 9934863"/>
              <a:gd name="connsiteY3" fmla="*/ 6753 h 371339"/>
              <a:gd name="connsiteX4" fmla="*/ 9934863 w 9934863"/>
              <a:gd name="connsiteY4" fmla="*/ 677 h 371339"/>
              <a:gd name="connsiteX0" fmla="*/ 0 w 9934863"/>
              <a:gd name="connsiteY0" fmla="*/ 677 h 371339"/>
              <a:gd name="connsiteX1" fmla="*/ 692706 w 9934863"/>
              <a:gd name="connsiteY1" fmla="*/ 371339 h 371339"/>
              <a:gd name="connsiteX2" fmla="*/ 1350201 w 9934863"/>
              <a:gd name="connsiteY2" fmla="*/ 1925 h 371339"/>
              <a:gd name="connsiteX3" fmla="*/ 9922710 w 9934863"/>
              <a:gd name="connsiteY3" fmla="*/ 6753 h 371339"/>
              <a:gd name="connsiteX4" fmla="*/ 9934863 w 9934863"/>
              <a:gd name="connsiteY4" fmla="*/ 677 h 371339"/>
              <a:gd name="connsiteX0" fmla="*/ 0 w 9934863"/>
              <a:gd name="connsiteY0" fmla="*/ 3581 h 374243"/>
              <a:gd name="connsiteX1" fmla="*/ 692706 w 9934863"/>
              <a:gd name="connsiteY1" fmla="*/ 374243 h 374243"/>
              <a:gd name="connsiteX2" fmla="*/ 1277767 w 9934863"/>
              <a:gd name="connsiteY2" fmla="*/ 0 h 374243"/>
              <a:gd name="connsiteX3" fmla="*/ 9922710 w 9934863"/>
              <a:gd name="connsiteY3" fmla="*/ 9657 h 374243"/>
              <a:gd name="connsiteX4" fmla="*/ 9934863 w 9934863"/>
              <a:gd name="connsiteY4" fmla="*/ 3581 h 374243"/>
              <a:gd name="connsiteX0" fmla="*/ 0 w 9934863"/>
              <a:gd name="connsiteY0" fmla="*/ 678 h 371340"/>
              <a:gd name="connsiteX1" fmla="*/ 692706 w 9934863"/>
              <a:gd name="connsiteY1" fmla="*/ 371340 h 371340"/>
              <a:gd name="connsiteX2" fmla="*/ 1282596 w 9934863"/>
              <a:gd name="connsiteY2" fmla="*/ 1926 h 371340"/>
              <a:gd name="connsiteX3" fmla="*/ 9922710 w 9934863"/>
              <a:gd name="connsiteY3" fmla="*/ 6754 h 371340"/>
              <a:gd name="connsiteX4" fmla="*/ 9934863 w 9934863"/>
              <a:gd name="connsiteY4" fmla="*/ 678 h 371340"/>
              <a:gd name="connsiteX0" fmla="*/ 0 w 9934863"/>
              <a:gd name="connsiteY0" fmla="*/ 678 h 371340"/>
              <a:gd name="connsiteX1" fmla="*/ 692706 w 9934863"/>
              <a:gd name="connsiteY1" fmla="*/ 371340 h 371340"/>
              <a:gd name="connsiteX2" fmla="*/ 1282596 w 9934863"/>
              <a:gd name="connsiteY2" fmla="*/ 1926 h 371340"/>
              <a:gd name="connsiteX3" fmla="*/ 9922710 w 9934863"/>
              <a:gd name="connsiteY3" fmla="*/ 6754 h 371340"/>
              <a:gd name="connsiteX4" fmla="*/ 9934863 w 9934863"/>
              <a:gd name="connsiteY4" fmla="*/ 678 h 371340"/>
              <a:gd name="connsiteX0" fmla="*/ 0 w 9934863"/>
              <a:gd name="connsiteY0" fmla="*/ 678 h 371340"/>
              <a:gd name="connsiteX1" fmla="*/ 692706 w 9934863"/>
              <a:gd name="connsiteY1" fmla="*/ 371340 h 371340"/>
              <a:gd name="connsiteX2" fmla="*/ 1282596 w 9934863"/>
              <a:gd name="connsiteY2" fmla="*/ 1926 h 371340"/>
              <a:gd name="connsiteX3" fmla="*/ 9922710 w 9934863"/>
              <a:gd name="connsiteY3" fmla="*/ 6754 h 371340"/>
              <a:gd name="connsiteX4" fmla="*/ 9934863 w 9934863"/>
              <a:gd name="connsiteY4" fmla="*/ 678 h 371340"/>
              <a:gd name="connsiteX0" fmla="*/ 0 w 9934863"/>
              <a:gd name="connsiteY0" fmla="*/ 678 h 371340"/>
              <a:gd name="connsiteX1" fmla="*/ 692706 w 9934863"/>
              <a:gd name="connsiteY1" fmla="*/ 371340 h 371340"/>
              <a:gd name="connsiteX2" fmla="*/ 1282596 w 9934863"/>
              <a:gd name="connsiteY2" fmla="*/ 1926 h 371340"/>
              <a:gd name="connsiteX3" fmla="*/ 9922710 w 9934863"/>
              <a:gd name="connsiteY3" fmla="*/ 6754 h 371340"/>
              <a:gd name="connsiteX4" fmla="*/ 9934863 w 9934863"/>
              <a:gd name="connsiteY4" fmla="*/ 678 h 371340"/>
              <a:gd name="connsiteX0" fmla="*/ 0 w 9934863"/>
              <a:gd name="connsiteY0" fmla="*/ 0 h 370662"/>
              <a:gd name="connsiteX1" fmla="*/ 692706 w 9934863"/>
              <a:gd name="connsiteY1" fmla="*/ 370662 h 370662"/>
              <a:gd name="connsiteX2" fmla="*/ 1282596 w 9934863"/>
              <a:gd name="connsiteY2" fmla="*/ 1248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282596 w 9934863"/>
              <a:gd name="connsiteY2" fmla="*/ 1248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282596 w 9934863"/>
              <a:gd name="connsiteY2" fmla="*/ 1248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282596 w 9934863"/>
              <a:gd name="connsiteY2" fmla="*/ 1248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282596 w 9934863"/>
              <a:gd name="connsiteY2" fmla="*/ 1248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282596 w 9934863"/>
              <a:gd name="connsiteY2" fmla="*/ 1248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282596 w 9934863"/>
              <a:gd name="connsiteY2" fmla="*/ 1248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282596 w 9934863"/>
              <a:gd name="connsiteY2" fmla="*/ 1248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282596 w 9934863"/>
              <a:gd name="connsiteY2" fmla="*/ 1248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282596 w 9934863"/>
              <a:gd name="connsiteY2" fmla="*/ 1248 h 370662"/>
              <a:gd name="connsiteX3" fmla="*/ 9922710 w 9934863"/>
              <a:gd name="connsiteY3" fmla="*/ 6076 h 370662"/>
              <a:gd name="connsiteX4" fmla="*/ 9934863 w 9934863"/>
              <a:gd name="connsiteY4" fmla="*/ 0 h 370662"/>
              <a:gd name="connsiteX0" fmla="*/ 0 w 10290677"/>
              <a:gd name="connsiteY0" fmla="*/ 0 h 405102"/>
              <a:gd name="connsiteX1" fmla="*/ 692706 w 10290677"/>
              <a:gd name="connsiteY1" fmla="*/ 370662 h 405102"/>
              <a:gd name="connsiteX2" fmla="*/ 1282596 w 10290677"/>
              <a:gd name="connsiteY2" fmla="*/ 1248 h 405102"/>
              <a:gd name="connsiteX3" fmla="*/ 9922710 w 10290677"/>
              <a:gd name="connsiteY3" fmla="*/ 6076 h 405102"/>
              <a:gd name="connsiteX4" fmla="*/ 10290677 w 10290677"/>
              <a:gd name="connsiteY4" fmla="*/ 405102 h 405102"/>
              <a:gd name="connsiteX0" fmla="*/ 0 w 9922710"/>
              <a:gd name="connsiteY0" fmla="*/ 0 h 370662"/>
              <a:gd name="connsiteX1" fmla="*/ 692706 w 9922710"/>
              <a:gd name="connsiteY1" fmla="*/ 370662 h 370662"/>
              <a:gd name="connsiteX2" fmla="*/ 1282596 w 9922710"/>
              <a:gd name="connsiteY2" fmla="*/ 1248 h 370662"/>
              <a:gd name="connsiteX3" fmla="*/ 9922710 w 9922710"/>
              <a:gd name="connsiteY3" fmla="*/ 6076 h 370662"/>
              <a:gd name="connsiteX0" fmla="*/ 0 w 9944606"/>
              <a:gd name="connsiteY0" fmla="*/ 0 h 370662"/>
              <a:gd name="connsiteX1" fmla="*/ 692706 w 9944606"/>
              <a:gd name="connsiteY1" fmla="*/ 370662 h 370662"/>
              <a:gd name="connsiteX2" fmla="*/ 1282596 w 9944606"/>
              <a:gd name="connsiteY2" fmla="*/ 1248 h 370662"/>
              <a:gd name="connsiteX3" fmla="*/ 9944606 w 9944606"/>
              <a:gd name="connsiteY3" fmla="*/ 6076 h 370662"/>
              <a:gd name="connsiteX0" fmla="*/ 0 w 10584923"/>
              <a:gd name="connsiteY0" fmla="*/ 0 h 370662"/>
              <a:gd name="connsiteX1" fmla="*/ 692706 w 10584923"/>
              <a:gd name="connsiteY1" fmla="*/ 370662 h 370662"/>
              <a:gd name="connsiteX2" fmla="*/ 1282596 w 10584923"/>
              <a:gd name="connsiteY2" fmla="*/ 1248 h 370662"/>
              <a:gd name="connsiteX3" fmla="*/ 9944606 w 10584923"/>
              <a:gd name="connsiteY3" fmla="*/ 6076 h 370662"/>
              <a:gd name="connsiteX4" fmla="*/ 9940027 w 10584923"/>
              <a:gd name="connsiteY4" fmla="*/ 6854 h 370662"/>
              <a:gd name="connsiteX0" fmla="*/ 0 w 10576543"/>
              <a:gd name="connsiteY0" fmla="*/ 754082 h 1124744"/>
              <a:gd name="connsiteX1" fmla="*/ 692706 w 10576543"/>
              <a:gd name="connsiteY1" fmla="*/ 1124744 h 1124744"/>
              <a:gd name="connsiteX2" fmla="*/ 1282596 w 10576543"/>
              <a:gd name="connsiteY2" fmla="*/ 755330 h 1124744"/>
              <a:gd name="connsiteX3" fmla="*/ 9944606 w 10576543"/>
              <a:gd name="connsiteY3" fmla="*/ 760158 h 1124744"/>
              <a:gd name="connsiteX4" fmla="*/ 9907183 w 10576543"/>
              <a:gd name="connsiteY4" fmla="*/ 0 h 1124744"/>
              <a:gd name="connsiteX0" fmla="*/ 0 w 10580408"/>
              <a:gd name="connsiteY0" fmla="*/ 754082 h 1124744"/>
              <a:gd name="connsiteX1" fmla="*/ 692706 w 10580408"/>
              <a:gd name="connsiteY1" fmla="*/ 1124744 h 1124744"/>
              <a:gd name="connsiteX2" fmla="*/ 1282596 w 10580408"/>
              <a:gd name="connsiteY2" fmla="*/ 755330 h 1124744"/>
              <a:gd name="connsiteX3" fmla="*/ 9944606 w 10580408"/>
              <a:gd name="connsiteY3" fmla="*/ 760158 h 1124744"/>
              <a:gd name="connsiteX4" fmla="*/ 9907183 w 10580408"/>
              <a:gd name="connsiteY4" fmla="*/ 0 h 1124744"/>
              <a:gd name="connsiteX0" fmla="*/ 0 w 9949522"/>
              <a:gd name="connsiteY0" fmla="*/ 754082 h 1124744"/>
              <a:gd name="connsiteX1" fmla="*/ 692706 w 9949522"/>
              <a:gd name="connsiteY1" fmla="*/ 1124744 h 1124744"/>
              <a:gd name="connsiteX2" fmla="*/ 1282596 w 9949522"/>
              <a:gd name="connsiteY2" fmla="*/ 755330 h 1124744"/>
              <a:gd name="connsiteX3" fmla="*/ 9944606 w 9949522"/>
              <a:gd name="connsiteY3" fmla="*/ 760158 h 1124744"/>
              <a:gd name="connsiteX4" fmla="*/ 9907183 w 9949522"/>
              <a:gd name="connsiteY4" fmla="*/ 0 h 1124744"/>
              <a:gd name="connsiteX0" fmla="*/ 0 w 9956339"/>
              <a:gd name="connsiteY0" fmla="*/ 758769 h 1129431"/>
              <a:gd name="connsiteX1" fmla="*/ 692706 w 9956339"/>
              <a:gd name="connsiteY1" fmla="*/ 1129431 h 1129431"/>
              <a:gd name="connsiteX2" fmla="*/ 1282596 w 9956339"/>
              <a:gd name="connsiteY2" fmla="*/ 760017 h 1129431"/>
              <a:gd name="connsiteX3" fmla="*/ 9944606 w 9956339"/>
              <a:gd name="connsiteY3" fmla="*/ 764845 h 1129431"/>
              <a:gd name="connsiteX4" fmla="*/ 9939988 w 9956339"/>
              <a:gd name="connsiteY4" fmla="*/ 0 h 1129431"/>
              <a:gd name="connsiteX0" fmla="*/ 0 w 9953235"/>
              <a:gd name="connsiteY0" fmla="*/ 754082 h 1124744"/>
              <a:gd name="connsiteX1" fmla="*/ 692706 w 9953235"/>
              <a:gd name="connsiteY1" fmla="*/ 1124744 h 1124744"/>
              <a:gd name="connsiteX2" fmla="*/ 1282596 w 9953235"/>
              <a:gd name="connsiteY2" fmla="*/ 755330 h 1124744"/>
              <a:gd name="connsiteX3" fmla="*/ 9944606 w 9953235"/>
              <a:gd name="connsiteY3" fmla="*/ 760158 h 1124744"/>
              <a:gd name="connsiteX4" fmla="*/ 9930615 w 9953235"/>
              <a:gd name="connsiteY4" fmla="*/ 0 h 1124744"/>
              <a:gd name="connsiteX0" fmla="*/ 0 w 9953235"/>
              <a:gd name="connsiteY0" fmla="*/ 810390 h 1181052"/>
              <a:gd name="connsiteX1" fmla="*/ 692706 w 9953235"/>
              <a:gd name="connsiteY1" fmla="*/ 1181052 h 1181052"/>
              <a:gd name="connsiteX2" fmla="*/ 1282596 w 9953235"/>
              <a:gd name="connsiteY2" fmla="*/ 811638 h 1181052"/>
              <a:gd name="connsiteX3" fmla="*/ 9944606 w 9953235"/>
              <a:gd name="connsiteY3" fmla="*/ 816466 h 1181052"/>
              <a:gd name="connsiteX4" fmla="*/ 9930615 w 9953235"/>
              <a:gd name="connsiteY4" fmla="*/ 56308 h 1181052"/>
              <a:gd name="connsiteX5" fmla="*/ 9927409 w 9953235"/>
              <a:gd name="connsiteY5" fmla="*/ 56308 h 1181052"/>
              <a:gd name="connsiteX0" fmla="*/ 0 w 10381099"/>
              <a:gd name="connsiteY0" fmla="*/ 755081 h 1125743"/>
              <a:gd name="connsiteX1" fmla="*/ 692706 w 10381099"/>
              <a:gd name="connsiteY1" fmla="*/ 1125743 h 1125743"/>
              <a:gd name="connsiteX2" fmla="*/ 1282596 w 10381099"/>
              <a:gd name="connsiteY2" fmla="*/ 756329 h 1125743"/>
              <a:gd name="connsiteX3" fmla="*/ 9944606 w 10381099"/>
              <a:gd name="connsiteY3" fmla="*/ 761157 h 1125743"/>
              <a:gd name="connsiteX4" fmla="*/ 10380515 w 10381099"/>
              <a:gd name="connsiteY4" fmla="*/ 108786 h 1125743"/>
              <a:gd name="connsiteX5" fmla="*/ 9927409 w 10381099"/>
              <a:gd name="connsiteY5" fmla="*/ 999 h 1125743"/>
              <a:gd name="connsiteX0" fmla="*/ 0 w 10381099"/>
              <a:gd name="connsiteY0" fmla="*/ 866556 h 1237218"/>
              <a:gd name="connsiteX1" fmla="*/ 692706 w 10381099"/>
              <a:gd name="connsiteY1" fmla="*/ 1237218 h 1237218"/>
              <a:gd name="connsiteX2" fmla="*/ 1282596 w 10381099"/>
              <a:gd name="connsiteY2" fmla="*/ 867804 h 1237218"/>
              <a:gd name="connsiteX3" fmla="*/ 9944606 w 10381099"/>
              <a:gd name="connsiteY3" fmla="*/ 872632 h 1237218"/>
              <a:gd name="connsiteX4" fmla="*/ 10380515 w 10381099"/>
              <a:gd name="connsiteY4" fmla="*/ 220261 h 1237218"/>
              <a:gd name="connsiteX5" fmla="*/ 8732362 w 10381099"/>
              <a:gd name="connsiteY5" fmla="*/ 0 h 1237218"/>
              <a:gd name="connsiteX0" fmla="*/ 0 w 10381099"/>
              <a:gd name="connsiteY0" fmla="*/ 707852 h 1078514"/>
              <a:gd name="connsiteX1" fmla="*/ 692706 w 10381099"/>
              <a:gd name="connsiteY1" fmla="*/ 1078514 h 1078514"/>
              <a:gd name="connsiteX2" fmla="*/ 1282596 w 10381099"/>
              <a:gd name="connsiteY2" fmla="*/ 709100 h 1078514"/>
              <a:gd name="connsiteX3" fmla="*/ 9944606 w 10381099"/>
              <a:gd name="connsiteY3" fmla="*/ 713928 h 1078514"/>
              <a:gd name="connsiteX4" fmla="*/ 10380515 w 10381099"/>
              <a:gd name="connsiteY4" fmla="*/ 61557 h 1078514"/>
              <a:gd name="connsiteX5" fmla="*/ 103832 w 10381099"/>
              <a:gd name="connsiteY5" fmla="*/ 43002 h 1078514"/>
              <a:gd name="connsiteX0" fmla="*/ 0 w 10381099"/>
              <a:gd name="connsiteY0" fmla="*/ 707852 h 1078514"/>
              <a:gd name="connsiteX1" fmla="*/ 692706 w 10381099"/>
              <a:gd name="connsiteY1" fmla="*/ 1078514 h 1078514"/>
              <a:gd name="connsiteX2" fmla="*/ 1282596 w 10381099"/>
              <a:gd name="connsiteY2" fmla="*/ 709100 h 1078514"/>
              <a:gd name="connsiteX3" fmla="*/ 9944606 w 10381099"/>
              <a:gd name="connsiteY3" fmla="*/ 713928 h 1078514"/>
              <a:gd name="connsiteX4" fmla="*/ 10380515 w 10381099"/>
              <a:gd name="connsiteY4" fmla="*/ 61557 h 1078514"/>
              <a:gd name="connsiteX5" fmla="*/ 103832 w 10381099"/>
              <a:gd name="connsiteY5" fmla="*/ 43002 h 1078514"/>
              <a:gd name="connsiteX6" fmla="*/ 0 w 10381099"/>
              <a:gd name="connsiteY6" fmla="*/ 707852 h 1078514"/>
              <a:gd name="connsiteX0" fmla="*/ 0 w 10381099"/>
              <a:gd name="connsiteY0" fmla="*/ 710243 h 1080905"/>
              <a:gd name="connsiteX1" fmla="*/ 692706 w 10381099"/>
              <a:gd name="connsiteY1" fmla="*/ 1080905 h 1080905"/>
              <a:gd name="connsiteX2" fmla="*/ 1282596 w 10381099"/>
              <a:gd name="connsiteY2" fmla="*/ 711491 h 1080905"/>
              <a:gd name="connsiteX3" fmla="*/ 9944606 w 10381099"/>
              <a:gd name="connsiteY3" fmla="*/ 716319 h 1080905"/>
              <a:gd name="connsiteX4" fmla="*/ 10380515 w 10381099"/>
              <a:gd name="connsiteY4" fmla="*/ 63948 h 1080905"/>
              <a:gd name="connsiteX5" fmla="*/ 118773 w 10381099"/>
              <a:gd name="connsiteY5" fmla="*/ 37923 h 1080905"/>
              <a:gd name="connsiteX6" fmla="*/ 0 w 10381099"/>
              <a:gd name="connsiteY6" fmla="*/ 710243 h 1080905"/>
              <a:gd name="connsiteX0" fmla="*/ 757 w 10381856"/>
              <a:gd name="connsiteY0" fmla="*/ 755441 h 1126103"/>
              <a:gd name="connsiteX1" fmla="*/ 693463 w 10381856"/>
              <a:gd name="connsiteY1" fmla="*/ 1126103 h 1126103"/>
              <a:gd name="connsiteX2" fmla="*/ 1283353 w 10381856"/>
              <a:gd name="connsiteY2" fmla="*/ 756689 h 1126103"/>
              <a:gd name="connsiteX3" fmla="*/ 9945363 w 10381856"/>
              <a:gd name="connsiteY3" fmla="*/ 761517 h 1126103"/>
              <a:gd name="connsiteX4" fmla="*/ 10381272 w 10381856"/>
              <a:gd name="connsiteY4" fmla="*/ 109146 h 1126103"/>
              <a:gd name="connsiteX5" fmla="*/ 0 w 10381856"/>
              <a:gd name="connsiteY5" fmla="*/ 944 h 1126103"/>
              <a:gd name="connsiteX6" fmla="*/ 757 w 10381856"/>
              <a:gd name="connsiteY6" fmla="*/ 755441 h 1126103"/>
              <a:gd name="connsiteX0" fmla="*/ 757 w 10381272"/>
              <a:gd name="connsiteY0" fmla="*/ 755441 h 1126103"/>
              <a:gd name="connsiteX1" fmla="*/ 693463 w 10381272"/>
              <a:gd name="connsiteY1" fmla="*/ 1126103 h 1126103"/>
              <a:gd name="connsiteX2" fmla="*/ 1283353 w 10381272"/>
              <a:gd name="connsiteY2" fmla="*/ 756689 h 1126103"/>
              <a:gd name="connsiteX3" fmla="*/ 9945363 w 10381272"/>
              <a:gd name="connsiteY3" fmla="*/ 761517 h 1126103"/>
              <a:gd name="connsiteX4" fmla="*/ 10381272 w 10381272"/>
              <a:gd name="connsiteY4" fmla="*/ 109146 h 1126103"/>
              <a:gd name="connsiteX5" fmla="*/ 0 w 10381272"/>
              <a:gd name="connsiteY5" fmla="*/ 944 h 1126103"/>
              <a:gd name="connsiteX6" fmla="*/ 757 w 10381272"/>
              <a:gd name="connsiteY6" fmla="*/ 755441 h 1126103"/>
              <a:gd name="connsiteX0" fmla="*/ 757 w 10381272"/>
              <a:gd name="connsiteY0" fmla="*/ 754497 h 1125159"/>
              <a:gd name="connsiteX1" fmla="*/ 693463 w 10381272"/>
              <a:gd name="connsiteY1" fmla="*/ 1125159 h 1125159"/>
              <a:gd name="connsiteX2" fmla="*/ 1283353 w 10381272"/>
              <a:gd name="connsiteY2" fmla="*/ 755745 h 1125159"/>
              <a:gd name="connsiteX3" fmla="*/ 9945363 w 10381272"/>
              <a:gd name="connsiteY3" fmla="*/ 760573 h 1125159"/>
              <a:gd name="connsiteX4" fmla="*/ 10381272 w 10381272"/>
              <a:gd name="connsiteY4" fmla="*/ 108202 h 1125159"/>
              <a:gd name="connsiteX5" fmla="*/ 0 w 10381272"/>
              <a:gd name="connsiteY5" fmla="*/ 0 h 1125159"/>
              <a:gd name="connsiteX6" fmla="*/ 757 w 10381272"/>
              <a:gd name="connsiteY6" fmla="*/ 754497 h 1125159"/>
              <a:gd name="connsiteX0" fmla="*/ 757 w 10403684"/>
              <a:gd name="connsiteY0" fmla="*/ 792818 h 1163480"/>
              <a:gd name="connsiteX1" fmla="*/ 693463 w 10403684"/>
              <a:gd name="connsiteY1" fmla="*/ 1163480 h 1163480"/>
              <a:gd name="connsiteX2" fmla="*/ 1283353 w 10403684"/>
              <a:gd name="connsiteY2" fmla="*/ 794066 h 1163480"/>
              <a:gd name="connsiteX3" fmla="*/ 9945363 w 10403684"/>
              <a:gd name="connsiteY3" fmla="*/ 798894 h 1163480"/>
              <a:gd name="connsiteX4" fmla="*/ 10403684 w 10403684"/>
              <a:gd name="connsiteY4" fmla="*/ 49406 h 1163480"/>
              <a:gd name="connsiteX5" fmla="*/ 0 w 10403684"/>
              <a:gd name="connsiteY5" fmla="*/ 38321 h 1163480"/>
              <a:gd name="connsiteX6" fmla="*/ 757 w 10403684"/>
              <a:gd name="connsiteY6" fmla="*/ 792818 h 1163480"/>
              <a:gd name="connsiteX0" fmla="*/ 757 w 10404386"/>
              <a:gd name="connsiteY0" fmla="*/ 792818 h 1163480"/>
              <a:gd name="connsiteX1" fmla="*/ 693463 w 10404386"/>
              <a:gd name="connsiteY1" fmla="*/ 1163480 h 1163480"/>
              <a:gd name="connsiteX2" fmla="*/ 1283353 w 10404386"/>
              <a:gd name="connsiteY2" fmla="*/ 794066 h 1163480"/>
              <a:gd name="connsiteX3" fmla="*/ 9945363 w 10404386"/>
              <a:gd name="connsiteY3" fmla="*/ 798894 h 1163480"/>
              <a:gd name="connsiteX4" fmla="*/ 10403684 w 10404386"/>
              <a:gd name="connsiteY4" fmla="*/ 49406 h 1163480"/>
              <a:gd name="connsiteX5" fmla="*/ 0 w 10404386"/>
              <a:gd name="connsiteY5" fmla="*/ 38321 h 1163480"/>
              <a:gd name="connsiteX6" fmla="*/ 757 w 10404386"/>
              <a:gd name="connsiteY6" fmla="*/ 792818 h 1163480"/>
              <a:gd name="connsiteX0" fmla="*/ 757 w 10404386"/>
              <a:gd name="connsiteY0" fmla="*/ 763340 h 1134002"/>
              <a:gd name="connsiteX1" fmla="*/ 693463 w 10404386"/>
              <a:gd name="connsiteY1" fmla="*/ 1134002 h 1134002"/>
              <a:gd name="connsiteX2" fmla="*/ 1283353 w 10404386"/>
              <a:gd name="connsiteY2" fmla="*/ 764588 h 1134002"/>
              <a:gd name="connsiteX3" fmla="*/ 9945363 w 10404386"/>
              <a:gd name="connsiteY3" fmla="*/ 769416 h 1134002"/>
              <a:gd name="connsiteX4" fmla="*/ 10403684 w 10404386"/>
              <a:gd name="connsiteY4" fmla="*/ 19928 h 1134002"/>
              <a:gd name="connsiteX5" fmla="*/ 0 w 10404386"/>
              <a:gd name="connsiteY5" fmla="*/ 8843 h 1134002"/>
              <a:gd name="connsiteX6" fmla="*/ 757 w 10404386"/>
              <a:gd name="connsiteY6" fmla="*/ 763340 h 1134002"/>
              <a:gd name="connsiteX0" fmla="*/ 757 w 10419306"/>
              <a:gd name="connsiteY0" fmla="*/ 798964 h 1169626"/>
              <a:gd name="connsiteX1" fmla="*/ 693463 w 10419306"/>
              <a:gd name="connsiteY1" fmla="*/ 1169626 h 1169626"/>
              <a:gd name="connsiteX2" fmla="*/ 1283353 w 10419306"/>
              <a:gd name="connsiteY2" fmla="*/ 800212 h 1169626"/>
              <a:gd name="connsiteX3" fmla="*/ 9945363 w 10419306"/>
              <a:gd name="connsiteY3" fmla="*/ 805040 h 1169626"/>
              <a:gd name="connsiteX4" fmla="*/ 10418625 w 10419306"/>
              <a:gd name="connsiteY4" fmla="*/ 10728 h 1169626"/>
              <a:gd name="connsiteX5" fmla="*/ 0 w 10419306"/>
              <a:gd name="connsiteY5" fmla="*/ 44467 h 1169626"/>
              <a:gd name="connsiteX6" fmla="*/ 757 w 10419306"/>
              <a:gd name="connsiteY6" fmla="*/ 798964 h 1169626"/>
              <a:gd name="connsiteX0" fmla="*/ 757 w 10419306"/>
              <a:gd name="connsiteY0" fmla="*/ 789079 h 1159741"/>
              <a:gd name="connsiteX1" fmla="*/ 693463 w 10419306"/>
              <a:gd name="connsiteY1" fmla="*/ 1159741 h 1159741"/>
              <a:gd name="connsiteX2" fmla="*/ 1283353 w 10419306"/>
              <a:gd name="connsiteY2" fmla="*/ 790327 h 1159741"/>
              <a:gd name="connsiteX3" fmla="*/ 9945363 w 10419306"/>
              <a:gd name="connsiteY3" fmla="*/ 795155 h 1159741"/>
              <a:gd name="connsiteX4" fmla="*/ 10418625 w 10419306"/>
              <a:gd name="connsiteY4" fmla="*/ 843 h 1159741"/>
              <a:gd name="connsiteX5" fmla="*/ 0 w 10419306"/>
              <a:gd name="connsiteY5" fmla="*/ 34582 h 1159741"/>
              <a:gd name="connsiteX6" fmla="*/ 757 w 10419306"/>
              <a:gd name="connsiteY6" fmla="*/ 789079 h 1159741"/>
              <a:gd name="connsiteX0" fmla="*/ 757 w 9957793"/>
              <a:gd name="connsiteY0" fmla="*/ 774546 h 1145208"/>
              <a:gd name="connsiteX1" fmla="*/ 693463 w 9957793"/>
              <a:gd name="connsiteY1" fmla="*/ 1145208 h 1145208"/>
              <a:gd name="connsiteX2" fmla="*/ 1283353 w 9957793"/>
              <a:gd name="connsiteY2" fmla="*/ 775794 h 1145208"/>
              <a:gd name="connsiteX3" fmla="*/ 9945363 w 9957793"/>
              <a:gd name="connsiteY3" fmla="*/ 780622 h 1145208"/>
              <a:gd name="connsiteX4" fmla="*/ 9940507 w 9957793"/>
              <a:gd name="connsiteY4" fmla="*/ 1251 h 1145208"/>
              <a:gd name="connsiteX5" fmla="*/ 0 w 9957793"/>
              <a:gd name="connsiteY5" fmla="*/ 20049 h 1145208"/>
              <a:gd name="connsiteX6" fmla="*/ 757 w 9957793"/>
              <a:gd name="connsiteY6" fmla="*/ 774546 h 1145208"/>
              <a:gd name="connsiteX0" fmla="*/ 757 w 9951092"/>
              <a:gd name="connsiteY0" fmla="*/ 774546 h 1145208"/>
              <a:gd name="connsiteX1" fmla="*/ 693463 w 9951092"/>
              <a:gd name="connsiteY1" fmla="*/ 1145208 h 1145208"/>
              <a:gd name="connsiteX2" fmla="*/ 1283353 w 9951092"/>
              <a:gd name="connsiteY2" fmla="*/ 775794 h 1145208"/>
              <a:gd name="connsiteX3" fmla="*/ 9945363 w 9951092"/>
              <a:gd name="connsiteY3" fmla="*/ 780622 h 1145208"/>
              <a:gd name="connsiteX4" fmla="*/ 9940507 w 9951092"/>
              <a:gd name="connsiteY4" fmla="*/ 1251 h 1145208"/>
              <a:gd name="connsiteX5" fmla="*/ 0 w 9951092"/>
              <a:gd name="connsiteY5" fmla="*/ 20049 h 1145208"/>
              <a:gd name="connsiteX6" fmla="*/ 757 w 9951092"/>
              <a:gd name="connsiteY6" fmla="*/ 774546 h 1145208"/>
              <a:gd name="connsiteX0" fmla="*/ 757 w 9945363"/>
              <a:gd name="connsiteY0" fmla="*/ 774546 h 1145208"/>
              <a:gd name="connsiteX1" fmla="*/ 693463 w 9945363"/>
              <a:gd name="connsiteY1" fmla="*/ 1145208 h 1145208"/>
              <a:gd name="connsiteX2" fmla="*/ 1283353 w 9945363"/>
              <a:gd name="connsiteY2" fmla="*/ 775794 h 1145208"/>
              <a:gd name="connsiteX3" fmla="*/ 9945363 w 9945363"/>
              <a:gd name="connsiteY3" fmla="*/ 780622 h 1145208"/>
              <a:gd name="connsiteX4" fmla="*/ 9940507 w 9945363"/>
              <a:gd name="connsiteY4" fmla="*/ 1251 h 1145208"/>
              <a:gd name="connsiteX5" fmla="*/ 0 w 9945363"/>
              <a:gd name="connsiteY5" fmla="*/ 20049 h 1145208"/>
              <a:gd name="connsiteX6" fmla="*/ 757 w 9945363"/>
              <a:gd name="connsiteY6" fmla="*/ 774546 h 1145208"/>
              <a:gd name="connsiteX0" fmla="*/ 757 w 9945363"/>
              <a:gd name="connsiteY0" fmla="*/ 774546 h 1145208"/>
              <a:gd name="connsiteX1" fmla="*/ 693463 w 9945363"/>
              <a:gd name="connsiteY1" fmla="*/ 1145208 h 1145208"/>
              <a:gd name="connsiteX2" fmla="*/ 1283353 w 9945363"/>
              <a:gd name="connsiteY2" fmla="*/ 775794 h 1145208"/>
              <a:gd name="connsiteX3" fmla="*/ 9945363 w 9945363"/>
              <a:gd name="connsiteY3" fmla="*/ 780622 h 1145208"/>
              <a:gd name="connsiteX4" fmla="*/ 9940507 w 9945363"/>
              <a:gd name="connsiteY4" fmla="*/ 1251 h 1145208"/>
              <a:gd name="connsiteX5" fmla="*/ 0 w 9945363"/>
              <a:gd name="connsiteY5" fmla="*/ 20049 h 1145208"/>
              <a:gd name="connsiteX6" fmla="*/ 757 w 9945363"/>
              <a:gd name="connsiteY6" fmla="*/ 774546 h 1145208"/>
              <a:gd name="connsiteX0" fmla="*/ 757 w 9945363"/>
              <a:gd name="connsiteY0" fmla="*/ 774546 h 1145208"/>
              <a:gd name="connsiteX1" fmla="*/ 693463 w 9945363"/>
              <a:gd name="connsiteY1" fmla="*/ 1145208 h 1145208"/>
              <a:gd name="connsiteX2" fmla="*/ 1283353 w 9945363"/>
              <a:gd name="connsiteY2" fmla="*/ 775794 h 1145208"/>
              <a:gd name="connsiteX3" fmla="*/ 9945363 w 9945363"/>
              <a:gd name="connsiteY3" fmla="*/ 780622 h 1145208"/>
              <a:gd name="connsiteX4" fmla="*/ 9940507 w 9945363"/>
              <a:gd name="connsiteY4" fmla="*/ 1251 h 1145208"/>
              <a:gd name="connsiteX5" fmla="*/ 0 w 9945363"/>
              <a:gd name="connsiteY5" fmla="*/ 20049 h 1145208"/>
              <a:gd name="connsiteX6" fmla="*/ 757 w 9945363"/>
              <a:gd name="connsiteY6" fmla="*/ 774546 h 1145208"/>
              <a:gd name="connsiteX0" fmla="*/ 757 w 9962919"/>
              <a:gd name="connsiteY0" fmla="*/ 774546 h 1145208"/>
              <a:gd name="connsiteX1" fmla="*/ 693463 w 9962919"/>
              <a:gd name="connsiteY1" fmla="*/ 1145208 h 1145208"/>
              <a:gd name="connsiteX2" fmla="*/ 1283353 w 9962919"/>
              <a:gd name="connsiteY2" fmla="*/ 775794 h 1145208"/>
              <a:gd name="connsiteX3" fmla="*/ 9945363 w 9962919"/>
              <a:gd name="connsiteY3" fmla="*/ 780622 h 1145208"/>
              <a:gd name="connsiteX4" fmla="*/ 9962919 w 9962919"/>
              <a:gd name="connsiteY4" fmla="*/ 1251 h 1145208"/>
              <a:gd name="connsiteX5" fmla="*/ 0 w 9962919"/>
              <a:gd name="connsiteY5" fmla="*/ 20049 h 1145208"/>
              <a:gd name="connsiteX6" fmla="*/ 757 w 9962919"/>
              <a:gd name="connsiteY6" fmla="*/ 774546 h 1145208"/>
              <a:gd name="connsiteX0" fmla="*/ 757 w 9962919"/>
              <a:gd name="connsiteY0" fmla="*/ 774546 h 1145208"/>
              <a:gd name="connsiteX1" fmla="*/ 693463 w 9962919"/>
              <a:gd name="connsiteY1" fmla="*/ 1145208 h 1145208"/>
              <a:gd name="connsiteX2" fmla="*/ 1283353 w 9962919"/>
              <a:gd name="connsiteY2" fmla="*/ 775794 h 1145208"/>
              <a:gd name="connsiteX3" fmla="*/ 9945363 w 9962919"/>
              <a:gd name="connsiteY3" fmla="*/ 780622 h 1145208"/>
              <a:gd name="connsiteX4" fmla="*/ 9962919 w 9962919"/>
              <a:gd name="connsiteY4" fmla="*/ 1251 h 1145208"/>
              <a:gd name="connsiteX5" fmla="*/ 0 w 9962919"/>
              <a:gd name="connsiteY5" fmla="*/ 20049 h 1145208"/>
              <a:gd name="connsiteX6" fmla="*/ 757 w 9962919"/>
              <a:gd name="connsiteY6" fmla="*/ 774546 h 1145208"/>
              <a:gd name="connsiteX0" fmla="*/ 757 w 9947977"/>
              <a:gd name="connsiteY0" fmla="*/ 774546 h 1145208"/>
              <a:gd name="connsiteX1" fmla="*/ 693463 w 9947977"/>
              <a:gd name="connsiteY1" fmla="*/ 1145208 h 1145208"/>
              <a:gd name="connsiteX2" fmla="*/ 1283353 w 9947977"/>
              <a:gd name="connsiteY2" fmla="*/ 775794 h 1145208"/>
              <a:gd name="connsiteX3" fmla="*/ 9945363 w 9947977"/>
              <a:gd name="connsiteY3" fmla="*/ 780622 h 1145208"/>
              <a:gd name="connsiteX4" fmla="*/ 9947977 w 9947977"/>
              <a:gd name="connsiteY4" fmla="*/ 1251 h 1145208"/>
              <a:gd name="connsiteX5" fmla="*/ 0 w 9947977"/>
              <a:gd name="connsiteY5" fmla="*/ 20049 h 1145208"/>
              <a:gd name="connsiteX6" fmla="*/ 757 w 9947977"/>
              <a:gd name="connsiteY6" fmla="*/ 774546 h 1145208"/>
              <a:gd name="connsiteX0" fmla="*/ 757 w 9947977"/>
              <a:gd name="connsiteY0" fmla="*/ 767474 h 1138136"/>
              <a:gd name="connsiteX1" fmla="*/ 693463 w 9947977"/>
              <a:gd name="connsiteY1" fmla="*/ 1138136 h 1138136"/>
              <a:gd name="connsiteX2" fmla="*/ 1283353 w 9947977"/>
              <a:gd name="connsiteY2" fmla="*/ 768722 h 1138136"/>
              <a:gd name="connsiteX3" fmla="*/ 9945363 w 9947977"/>
              <a:gd name="connsiteY3" fmla="*/ 773550 h 1138136"/>
              <a:gd name="connsiteX4" fmla="*/ 9947977 w 9947977"/>
              <a:gd name="connsiteY4" fmla="*/ 1650 h 1138136"/>
              <a:gd name="connsiteX5" fmla="*/ 0 w 9947977"/>
              <a:gd name="connsiteY5" fmla="*/ 12977 h 1138136"/>
              <a:gd name="connsiteX6" fmla="*/ 757 w 9947977"/>
              <a:gd name="connsiteY6" fmla="*/ 767474 h 1138136"/>
              <a:gd name="connsiteX0" fmla="*/ 757 w 9947977"/>
              <a:gd name="connsiteY0" fmla="*/ 755377 h 1126039"/>
              <a:gd name="connsiteX1" fmla="*/ 693463 w 9947977"/>
              <a:gd name="connsiteY1" fmla="*/ 1126039 h 1126039"/>
              <a:gd name="connsiteX2" fmla="*/ 1283353 w 9947977"/>
              <a:gd name="connsiteY2" fmla="*/ 756625 h 1126039"/>
              <a:gd name="connsiteX3" fmla="*/ 9945363 w 9947977"/>
              <a:gd name="connsiteY3" fmla="*/ 761453 h 1126039"/>
              <a:gd name="connsiteX4" fmla="*/ 9947977 w 9947977"/>
              <a:gd name="connsiteY4" fmla="*/ 4494 h 1126039"/>
              <a:gd name="connsiteX5" fmla="*/ 0 w 9947977"/>
              <a:gd name="connsiteY5" fmla="*/ 880 h 1126039"/>
              <a:gd name="connsiteX6" fmla="*/ 757 w 9947977"/>
              <a:gd name="connsiteY6" fmla="*/ 755377 h 1126039"/>
              <a:gd name="connsiteX0" fmla="*/ 757 w 9947977"/>
              <a:gd name="connsiteY0" fmla="*/ 755377 h 1126039"/>
              <a:gd name="connsiteX1" fmla="*/ 693463 w 9947977"/>
              <a:gd name="connsiteY1" fmla="*/ 1126039 h 1126039"/>
              <a:gd name="connsiteX2" fmla="*/ 1283353 w 9947977"/>
              <a:gd name="connsiteY2" fmla="*/ 756625 h 1126039"/>
              <a:gd name="connsiteX3" fmla="*/ 9930422 w 9947977"/>
              <a:gd name="connsiteY3" fmla="*/ 761453 h 1126039"/>
              <a:gd name="connsiteX4" fmla="*/ 9947977 w 9947977"/>
              <a:gd name="connsiteY4" fmla="*/ 4494 h 1126039"/>
              <a:gd name="connsiteX5" fmla="*/ 0 w 9947977"/>
              <a:gd name="connsiteY5" fmla="*/ 880 h 1126039"/>
              <a:gd name="connsiteX6" fmla="*/ 757 w 9947977"/>
              <a:gd name="connsiteY6" fmla="*/ 755377 h 1126039"/>
              <a:gd name="connsiteX0" fmla="*/ 757 w 9947977"/>
              <a:gd name="connsiteY0" fmla="*/ 755377 h 1126039"/>
              <a:gd name="connsiteX1" fmla="*/ 693463 w 9947977"/>
              <a:gd name="connsiteY1" fmla="*/ 1126039 h 1126039"/>
              <a:gd name="connsiteX2" fmla="*/ 1283353 w 9947977"/>
              <a:gd name="connsiteY2" fmla="*/ 756625 h 1126039"/>
              <a:gd name="connsiteX3" fmla="*/ 9922952 w 9947977"/>
              <a:gd name="connsiteY3" fmla="*/ 753983 h 1126039"/>
              <a:gd name="connsiteX4" fmla="*/ 9947977 w 9947977"/>
              <a:gd name="connsiteY4" fmla="*/ 4494 h 1126039"/>
              <a:gd name="connsiteX5" fmla="*/ 0 w 9947977"/>
              <a:gd name="connsiteY5" fmla="*/ 880 h 1126039"/>
              <a:gd name="connsiteX6" fmla="*/ 757 w 9947977"/>
              <a:gd name="connsiteY6" fmla="*/ 755377 h 1126039"/>
              <a:gd name="connsiteX0" fmla="*/ 757 w 9952834"/>
              <a:gd name="connsiteY0" fmla="*/ 755377 h 1126039"/>
              <a:gd name="connsiteX1" fmla="*/ 693463 w 9952834"/>
              <a:gd name="connsiteY1" fmla="*/ 1126039 h 1126039"/>
              <a:gd name="connsiteX2" fmla="*/ 1283353 w 9952834"/>
              <a:gd name="connsiteY2" fmla="*/ 756625 h 1126039"/>
              <a:gd name="connsiteX3" fmla="*/ 9952834 w 9952834"/>
              <a:gd name="connsiteY3" fmla="*/ 746513 h 1126039"/>
              <a:gd name="connsiteX4" fmla="*/ 9947977 w 9952834"/>
              <a:gd name="connsiteY4" fmla="*/ 4494 h 1126039"/>
              <a:gd name="connsiteX5" fmla="*/ 0 w 9952834"/>
              <a:gd name="connsiteY5" fmla="*/ 880 h 1126039"/>
              <a:gd name="connsiteX6" fmla="*/ 757 w 9952834"/>
              <a:gd name="connsiteY6" fmla="*/ 755377 h 1126039"/>
              <a:gd name="connsiteX0" fmla="*/ 757 w 9947977"/>
              <a:gd name="connsiteY0" fmla="*/ 755377 h 1126039"/>
              <a:gd name="connsiteX1" fmla="*/ 693463 w 9947977"/>
              <a:gd name="connsiteY1" fmla="*/ 1126039 h 1126039"/>
              <a:gd name="connsiteX2" fmla="*/ 1283353 w 9947977"/>
              <a:gd name="connsiteY2" fmla="*/ 756625 h 1126039"/>
              <a:gd name="connsiteX3" fmla="*/ 9900846 w 9947977"/>
              <a:gd name="connsiteY3" fmla="*/ 753940 h 1126039"/>
              <a:gd name="connsiteX4" fmla="*/ 9947977 w 9947977"/>
              <a:gd name="connsiteY4" fmla="*/ 4494 h 1126039"/>
              <a:gd name="connsiteX5" fmla="*/ 0 w 9947977"/>
              <a:gd name="connsiteY5" fmla="*/ 880 h 1126039"/>
              <a:gd name="connsiteX6" fmla="*/ 757 w 9947977"/>
              <a:gd name="connsiteY6" fmla="*/ 755377 h 1126039"/>
              <a:gd name="connsiteX0" fmla="*/ 757 w 9910842"/>
              <a:gd name="connsiteY0" fmla="*/ 755377 h 1126039"/>
              <a:gd name="connsiteX1" fmla="*/ 693463 w 9910842"/>
              <a:gd name="connsiteY1" fmla="*/ 1126039 h 1126039"/>
              <a:gd name="connsiteX2" fmla="*/ 1283353 w 9910842"/>
              <a:gd name="connsiteY2" fmla="*/ 756625 h 1126039"/>
              <a:gd name="connsiteX3" fmla="*/ 9900846 w 9910842"/>
              <a:gd name="connsiteY3" fmla="*/ 753940 h 1126039"/>
              <a:gd name="connsiteX4" fmla="*/ 9910842 w 9910842"/>
              <a:gd name="connsiteY4" fmla="*/ 4494 h 1126039"/>
              <a:gd name="connsiteX5" fmla="*/ 0 w 9910842"/>
              <a:gd name="connsiteY5" fmla="*/ 880 h 1126039"/>
              <a:gd name="connsiteX6" fmla="*/ 757 w 9910842"/>
              <a:gd name="connsiteY6" fmla="*/ 755377 h 1126039"/>
              <a:gd name="connsiteX0" fmla="*/ 757 w 9915700"/>
              <a:gd name="connsiteY0" fmla="*/ 755377 h 1126039"/>
              <a:gd name="connsiteX1" fmla="*/ 693463 w 9915700"/>
              <a:gd name="connsiteY1" fmla="*/ 1126039 h 1126039"/>
              <a:gd name="connsiteX2" fmla="*/ 1283353 w 9915700"/>
              <a:gd name="connsiteY2" fmla="*/ 756625 h 1126039"/>
              <a:gd name="connsiteX3" fmla="*/ 9915700 w 9915700"/>
              <a:gd name="connsiteY3" fmla="*/ 750226 h 1126039"/>
              <a:gd name="connsiteX4" fmla="*/ 9910842 w 9915700"/>
              <a:gd name="connsiteY4" fmla="*/ 4494 h 1126039"/>
              <a:gd name="connsiteX5" fmla="*/ 0 w 9915700"/>
              <a:gd name="connsiteY5" fmla="*/ 880 h 1126039"/>
              <a:gd name="connsiteX6" fmla="*/ 757 w 9915700"/>
              <a:gd name="connsiteY6" fmla="*/ 755377 h 1126039"/>
              <a:gd name="connsiteX0" fmla="*/ 757 w 9915700"/>
              <a:gd name="connsiteY0" fmla="*/ 755377 h 1126039"/>
              <a:gd name="connsiteX1" fmla="*/ 693463 w 9915700"/>
              <a:gd name="connsiteY1" fmla="*/ 1126039 h 1126039"/>
              <a:gd name="connsiteX2" fmla="*/ 1283353 w 9915700"/>
              <a:gd name="connsiteY2" fmla="*/ 756625 h 1126039"/>
              <a:gd name="connsiteX3" fmla="*/ 9915700 w 9915700"/>
              <a:gd name="connsiteY3" fmla="*/ 750226 h 1126039"/>
              <a:gd name="connsiteX4" fmla="*/ 9910842 w 9915700"/>
              <a:gd name="connsiteY4" fmla="*/ 4494 h 1126039"/>
              <a:gd name="connsiteX5" fmla="*/ 0 w 9915700"/>
              <a:gd name="connsiteY5" fmla="*/ 880 h 1126039"/>
              <a:gd name="connsiteX6" fmla="*/ 757 w 9915700"/>
              <a:gd name="connsiteY6" fmla="*/ 755377 h 1126039"/>
              <a:gd name="connsiteX0" fmla="*/ 757 w 9915700"/>
              <a:gd name="connsiteY0" fmla="*/ 755377 h 1126039"/>
              <a:gd name="connsiteX1" fmla="*/ 693463 w 9915700"/>
              <a:gd name="connsiteY1" fmla="*/ 1126039 h 1126039"/>
              <a:gd name="connsiteX2" fmla="*/ 1283353 w 9915700"/>
              <a:gd name="connsiteY2" fmla="*/ 756625 h 1126039"/>
              <a:gd name="connsiteX3" fmla="*/ 9915700 w 9915700"/>
              <a:gd name="connsiteY3" fmla="*/ 757653 h 1126039"/>
              <a:gd name="connsiteX4" fmla="*/ 9910842 w 9915700"/>
              <a:gd name="connsiteY4" fmla="*/ 4494 h 1126039"/>
              <a:gd name="connsiteX5" fmla="*/ 0 w 9915700"/>
              <a:gd name="connsiteY5" fmla="*/ 880 h 1126039"/>
              <a:gd name="connsiteX6" fmla="*/ 757 w 9915700"/>
              <a:gd name="connsiteY6" fmla="*/ 755377 h 1126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15700" h="1126039">
                <a:moveTo>
                  <a:pt x="757" y="755377"/>
                </a:moveTo>
                <a:cubicBezTo>
                  <a:pt x="391979" y="759736"/>
                  <a:pt x="590547" y="862255"/>
                  <a:pt x="693463" y="1126039"/>
                </a:cubicBezTo>
                <a:cubicBezTo>
                  <a:pt x="775817" y="858679"/>
                  <a:pt x="1039188" y="763242"/>
                  <a:pt x="1283353" y="756625"/>
                </a:cubicBezTo>
                <a:lnTo>
                  <a:pt x="9915700" y="757653"/>
                </a:lnTo>
                <a:cubicBezTo>
                  <a:pt x="9915223" y="388408"/>
                  <a:pt x="9909534" y="323208"/>
                  <a:pt x="9910842" y="4494"/>
                </a:cubicBezTo>
                <a:cubicBezTo>
                  <a:pt x="9429859" y="-2670"/>
                  <a:pt x="668" y="880"/>
                  <a:pt x="0" y="880"/>
                </a:cubicBezTo>
                <a:cubicBezTo>
                  <a:pt x="252" y="252379"/>
                  <a:pt x="505" y="503878"/>
                  <a:pt x="757" y="755377"/>
                </a:cubicBezTo>
                <a:close/>
              </a:path>
            </a:pathLst>
          </a:custGeom>
          <a:solidFill>
            <a:schemeClr val="bg1"/>
          </a:solidFill>
          <a:ln w="38100" cap="flat" cmpd="sng">
            <a:noFill/>
            <a:miter lim="800000"/>
          </a:ln>
        </p:spPr>
        <p:style>
          <a:lnRef idx="1">
            <a:schemeClr val="accent1"/>
          </a:lnRef>
          <a:fillRef idx="0">
            <a:schemeClr val="accent1"/>
          </a:fillRef>
          <a:effectRef idx="0">
            <a:schemeClr val="accent1"/>
          </a:effectRef>
          <a:fontRef idx="minor">
            <a:schemeClr val="tx1"/>
          </a:fontRef>
        </p:style>
        <p:txBody>
          <a:bodyPr rtlCol="0" anchor="ctr"/>
          <a:lstStyle/>
          <a:p>
            <a:pPr algn="ctr" defTabSz="685577"/>
            <a:r>
              <a:rPr lang="en-US" sz="1350" dirty="0">
                <a:solidFill>
                  <a:srgbClr val="263147"/>
                </a:solidFill>
              </a:rPr>
              <a:t> </a:t>
            </a:r>
          </a:p>
        </p:txBody>
      </p:sp>
      <p:sp>
        <p:nvSpPr>
          <p:cNvPr id="8" name="Freeform 7"/>
          <p:cNvSpPr/>
          <p:nvPr userDrawn="1"/>
        </p:nvSpPr>
        <p:spPr>
          <a:xfrm>
            <a:off x="1" y="739790"/>
            <a:ext cx="12239515" cy="370662"/>
          </a:xfrm>
          <a:custGeom>
            <a:avLst/>
            <a:gdLst>
              <a:gd name="connsiteX0" fmla="*/ 0 w 9934863"/>
              <a:gd name="connsiteY0" fmla="*/ 0 h 388891"/>
              <a:gd name="connsiteX1" fmla="*/ 674477 w 9934863"/>
              <a:gd name="connsiteY1" fmla="*/ 388891 h 388891"/>
              <a:gd name="connsiteX2" fmla="*/ 674477 w 9934863"/>
              <a:gd name="connsiteY2" fmla="*/ 388891 h 388891"/>
              <a:gd name="connsiteX3" fmla="*/ 1440099 w 9934863"/>
              <a:gd name="connsiteY3" fmla="*/ 0 h 388891"/>
              <a:gd name="connsiteX4" fmla="*/ 9922710 w 9934863"/>
              <a:gd name="connsiteY4" fmla="*/ 6076 h 388891"/>
              <a:gd name="connsiteX5" fmla="*/ 9934863 w 9934863"/>
              <a:gd name="connsiteY5" fmla="*/ 0 h 388891"/>
              <a:gd name="connsiteX0" fmla="*/ 0 w 9934863"/>
              <a:gd name="connsiteY0" fmla="*/ 0 h 388891"/>
              <a:gd name="connsiteX1" fmla="*/ 674477 w 9934863"/>
              <a:gd name="connsiteY1" fmla="*/ 388891 h 388891"/>
              <a:gd name="connsiteX2" fmla="*/ 674477 w 9934863"/>
              <a:gd name="connsiteY2" fmla="*/ 388891 h 388891"/>
              <a:gd name="connsiteX3" fmla="*/ 1440099 w 9934863"/>
              <a:gd name="connsiteY3" fmla="*/ 0 h 388891"/>
              <a:gd name="connsiteX4" fmla="*/ 9922710 w 9934863"/>
              <a:gd name="connsiteY4" fmla="*/ 6076 h 388891"/>
              <a:gd name="connsiteX5" fmla="*/ 9934863 w 9934863"/>
              <a:gd name="connsiteY5" fmla="*/ 0 h 388891"/>
              <a:gd name="connsiteX0" fmla="*/ 0 w 9934863"/>
              <a:gd name="connsiteY0" fmla="*/ 553 h 389444"/>
              <a:gd name="connsiteX1" fmla="*/ 674477 w 9934863"/>
              <a:gd name="connsiteY1" fmla="*/ 389444 h 389444"/>
              <a:gd name="connsiteX2" fmla="*/ 674477 w 9934863"/>
              <a:gd name="connsiteY2" fmla="*/ 389444 h 389444"/>
              <a:gd name="connsiteX3" fmla="*/ 1440099 w 9934863"/>
              <a:gd name="connsiteY3" fmla="*/ 553 h 389444"/>
              <a:gd name="connsiteX4" fmla="*/ 9922710 w 9934863"/>
              <a:gd name="connsiteY4" fmla="*/ 6629 h 389444"/>
              <a:gd name="connsiteX5" fmla="*/ 9934863 w 9934863"/>
              <a:gd name="connsiteY5" fmla="*/ 553 h 389444"/>
              <a:gd name="connsiteX0" fmla="*/ 0 w 9934863"/>
              <a:gd name="connsiteY0" fmla="*/ 42 h 583378"/>
              <a:gd name="connsiteX1" fmla="*/ 674477 w 9934863"/>
              <a:gd name="connsiteY1" fmla="*/ 388933 h 583378"/>
              <a:gd name="connsiteX2" fmla="*/ 522568 w 9934863"/>
              <a:gd name="connsiteY2" fmla="*/ 583378 h 583378"/>
              <a:gd name="connsiteX3" fmla="*/ 1440099 w 9934863"/>
              <a:gd name="connsiteY3" fmla="*/ 42 h 583378"/>
              <a:gd name="connsiteX4" fmla="*/ 9922710 w 9934863"/>
              <a:gd name="connsiteY4" fmla="*/ 6118 h 583378"/>
              <a:gd name="connsiteX5" fmla="*/ 9934863 w 9934863"/>
              <a:gd name="connsiteY5" fmla="*/ 42 h 583378"/>
              <a:gd name="connsiteX0" fmla="*/ 0 w 9934863"/>
              <a:gd name="connsiteY0" fmla="*/ 32 h 388923"/>
              <a:gd name="connsiteX1" fmla="*/ 674477 w 9934863"/>
              <a:gd name="connsiteY1" fmla="*/ 388923 h 388923"/>
              <a:gd name="connsiteX2" fmla="*/ 1440099 w 9934863"/>
              <a:gd name="connsiteY2" fmla="*/ 32 h 388923"/>
              <a:gd name="connsiteX3" fmla="*/ 9922710 w 9934863"/>
              <a:gd name="connsiteY3" fmla="*/ 6108 h 388923"/>
              <a:gd name="connsiteX4" fmla="*/ 9934863 w 9934863"/>
              <a:gd name="connsiteY4" fmla="*/ 32 h 388923"/>
              <a:gd name="connsiteX0" fmla="*/ 0 w 9934863"/>
              <a:gd name="connsiteY0" fmla="*/ 60 h 388951"/>
              <a:gd name="connsiteX1" fmla="*/ 674477 w 9934863"/>
              <a:gd name="connsiteY1" fmla="*/ 388951 h 388951"/>
              <a:gd name="connsiteX2" fmla="*/ 1440099 w 9934863"/>
              <a:gd name="connsiteY2" fmla="*/ 60 h 388951"/>
              <a:gd name="connsiteX3" fmla="*/ 9922710 w 9934863"/>
              <a:gd name="connsiteY3" fmla="*/ 6136 h 388951"/>
              <a:gd name="connsiteX4" fmla="*/ 9934863 w 9934863"/>
              <a:gd name="connsiteY4" fmla="*/ 60 h 388951"/>
              <a:gd name="connsiteX0" fmla="*/ 0 w 9934863"/>
              <a:gd name="connsiteY0" fmla="*/ 60 h 388951"/>
              <a:gd name="connsiteX1" fmla="*/ 674477 w 9934863"/>
              <a:gd name="connsiteY1" fmla="*/ 388951 h 388951"/>
              <a:gd name="connsiteX2" fmla="*/ 1440099 w 9934863"/>
              <a:gd name="connsiteY2" fmla="*/ 60 h 388951"/>
              <a:gd name="connsiteX3" fmla="*/ 9922710 w 9934863"/>
              <a:gd name="connsiteY3" fmla="*/ 6136 h 388951"/>
              <a:gd name="connsiteX4" fmla="*/ 9934863 w 9934863"/>
              <a:gd name="connsiteY4" fmla="*/ 60 h 388951"/>
              <a:gd name="connsiteX0" fmla="*/ 0 w 9934863"/>
              <a:gd name="connsiteY0" fmla="*/ 60 h 388951"/>
              <a:gd name="connsiteX1" fmla="*/ 674477 w 9934863"/>
              <a:gd name="connsiteY1" fmla="*/ 388951 h 388951"/>
              <a:gd name="connsiteX2" fmla="*/ 1440099 w 9934863"/>
              <a:gd name="connsiteY2" fmla="*/ 60 h 388951"/>
              <a:gd name="connsiteX3" fmla="*/ 9922710 w 9934863"/>
              <a:gd name="connsiteY3" fmla="*/ 6136 h 388951"/>
              <a:gd name="connsiteX4" fmla="*/ 9934863 w 9934863"/>
              <a:gd name="connsiteY4" fmla="*/ 60 h 388951"/>
              <a:gd name="connsiteX0" fmla="*/ 0 w 9934863"/>
              <a:gd name="connsiteY0" fmla="*/ 60 h 388951"/>
              <a:gd name="connsiteX1" fmla="*/ 674477 w 9934863"/>
              <a:gd name="connsiteY1" fmla="*/ 388951 h 388951"/>
              <a:gd name="connsiteX2" fmla="*/ 1440099 w 9934863"/>
              <a:gd name="connsiteY2" fmla="*/ 60 h 388951"/>
              <a:gd name="connsiteX3" fmla="*/ 9922710 w 9934863"/>
              <a:gd name="connsiteY3" fmla="*/ 6136 h 388951"/>
              <a:gd name="connsiteX4" fmla="*/ 9934863 w 9934863"/>
              <a:gd name="connsiteY4" fmla="*/ 60 h 388951"/>
              <a:gd name="connsiteX0" fmla="*/ 0 w 9934863"/>
              <a:gd name="connsiteY0" fmla="*/ 60 h 388951"/>
              <a:gd name="connsiteX1" fmla="*/ 674477 w 9934863"/>
              <a:gd name="connsiteY1" fmla="*/ 388951 h 388951"/>
              <a:gd name="connsiteX2" fmla="*/ 1440099 w 9934863"/>
              <a:gd name="connsiteY2" fmla="*/ 60 h 388951"/>
              <a:gd name="connsiteX3" fmla="*/ 9922710 w 9934863"/>
              <a:gd name="connsiteY3" fmla="*/ 6136 h 388951"/>
              <a:gd name="connsiteX4" fmla="*/ 9934863 w 9934863"/>
              <a:gd name="connsiteY4" fmla="*/ 60 h 388951"/>
              <a:gd name="connsiteX0" fmla="*/ 0 w 9934863"/>
              <a:gd name="connsiteY0" fmla="*/ 130 h 389021"/>
              <a:gd name="connsiteX1" fmla="*/ 674477 w 9934863"/>
              <a:gd name="connsiteY1" fmla="*/ 389021 h 389021"/>
              <a:gd name="connsiteX2" fmla="*/ 1440099 w 9934863"/>
              <a:gd name="connsiteY2" fmla="*/ 130 h 389021"/>
              <a:gd name="connsiteX3" fmla="*/ 9922710 w 9934863"/>
              <a:gd name="connsiteY3" fmla="*/ 6206 h 389021"/>
              <a:gd name="connsiteX4" fmla="*/ 9934863 w 9934863"/>
              <a:gd name="connsiteY4" fmla="*/ 130 h 389021"/>
              <a:gd name="connsiteX0" fmla="*/ 0 w 9934863"/>
              <a:gd name="connsiteY0" fmla="*/ 0 h 388891"/>
              <a:gd name="connsiteX1" fmla="*/ 674477 w 9934863"/>
              <a:gd name="connsiteY1" fmla="*/ 388891 h 388891"/>
              <a:gd name="connsiteX2" fmla="*/ 1440099 w 9934863"/>
              <a:gd name="connsiteY2" fmla="*/ 0 h 388891"/>
              <a:gd name="connsiteX3" fmla="*/ 9922710 w 9934863"/>
              <a:gd name="connsiteY3" fmla="*/ 6076 h 388891"/>
              <a:gd name="connsiteX4" fmla="*/ 9934863 w 9934863"/>
              <a:gd name="connsiteY4" fmla="*/ 0 h 388891"/>
              <a:gd name="connsiteX0" fmla="*/ 0 w 9934863"/>
              <a:gd name="connsiteY0" fmla="*/ 162 h 273601"/>
              <a:gd name="connsiteX1" fmla="*/ 656248 w 9934863"/>
              <a:gd name="connsiteY1" fmla="*/ 273601 h 273601"/>
              <a:gd name="connsiteX2" fmla="*/ 1440099 w 9934863"/>
              <a:gd name="connsiteY2" fmla="*/ 162 h 273601"/>
              <a:gd name="connsiteX3" fmla="*/ 9922710 w 9934863"/>
              <a:gd name="connsiteY3" fmla="*/ 6238 h 273601"/>
              <a:gd name="connsiteX4" fmla="*/ 9934863 w 9934863"/>
              <a:gd name="connsiteY4" fmla="*/ 162 h 273601"/>
              <a:gd name="connsiteX0" fmla="*/ 0 w 9934863"/>
              <a:gd name="connsiteY0" fmla="*/ 0 h 370662"/>
              <a:gd name="connsiteX1" fmla="*/ 692706 w 9934863"/>
              <a:gd name="connsiteY1" fmla="*/ 370662 h 370662"/>
              <a:gd name="connsiteX2" fmla="*/ 1440099 w 9934863"/>
              <a:gd name="connsiteY2" fmla="*/ 0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440099 w 9934863"/>
              <a:gd name="connsiteY2" fmla="*/ 0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440099 w 9934863"/>
              <a:gd name="connsiteY2" fmla="*/ 0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440099 w 9934863"/>
              <a:gd name="connsiteY2" fmla="*/ 0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440099 w 9934863"/>
              <a:gd name="connsiteY2" fmla="*/ 0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440099 w 9934863"/>
              <a:gd name="connsiteY2" fmla="*/ 0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440099 w 9934863"/>
              <a:gd name="connsiteY2" fmla="*/ 0 h 370662"/>
              <a:gd name="connsiteX3" fmla="*/ 9922710 w 9934863"/>
              <a:gd name="connsiteY3" fmla="*/ 6076 h 370662"/>
              <a:gd name="connsiteX4" fmla="*/ 9934863 w 9934863"/>
              <a:gd name="connsiteY4" fmla="*/ 0 h 370662"/>
              <a:gd name="connsiteX0" fmla="*/ 0 w 9934863"/>
              <a:gd name="connsiteY0" fmla="*/ 116 h 370778"/>
              <a:gd name="connsiteX1" fmla="*/ 692706 w 9934863"/>
              <a:gd name="connsiteY1" fmla="*/ 370778 h 370778"/>
              <a:gd name="connsiteX2" fmla="*/ 1440099 w 9934863"/>
              <a:gd name="connsiteY2" fmla="*/ 116 h 370778"/>
              <a:gd name="connsiteX3" fmla="*/ 9922710 w 9934863"/>
              <a:gd name="connsiteY3" fmla="*/ 6192 h 370778"/>
              <a:gd name="connsiteX4" fmla="*/ 9934863 w 9934863"/>
              <a:gd name="connsiteY4" fmla="*/ 116 h 370778"/>
              <a:gd name="connsiteX0" fmla="*/ 0 w 9934863"/>
              <a:gd name="connsiteY0" fmla="*/ 650 h 371312"/>
              <a:gd name="connsiteX1" fmla="*/ 692706 w 9934863"/>
              <a:gd name="connsiteY1" fmla="*/ 371312 h 371312"/>
              <a:gd name="connsiteX2" fmla="*/ 1440099 w 9934863"/>
              <a:gd name="connsiteY2" fmla="*/ 650 h 371312"/>
              <a:gd name="connsiteX3" fmla="*/ 9922710 w 9934863"/>
              <a:gd name="connsiteY3" fmla="*/ 6726 h 371312"/>
              <a:gd name="connsiteX4" fmla="*/ 9934863 w 9934863"/>
              <a:gd name="connsiteY4" fmla="*/ 650 h 371312"/>
              <a:gd name="connsiteX0" fmla="*/ 0 w 9934863"/>
              <a:gd name="connsiteY0" fmla="*/ 650 h 371312"/>
              <a:gd name="connsiteX1" fmla="*/ 692706 w 9934863"/>
              <a:gd name="connsiteY1" fmla="*/ 371312 h 371312"/>
              <a:gd name="connsiteX2" fmla="*/ 1440099 w 9934863"/>
              <a:gd name="connsiteY2" fmla="*/ 650 h 371312"/>
              <a:gd name="connsiteX3" fmla="*/ 9922710 w 9934863"/>
              <a:gd name="connsiteY3" fmla="*/ 6726 h 371312"/>
              <a:gd name="connsiteX4" fmla="*/ 9934863 w 9934863"/>
              <a:gd name="connsiteY4" fmla="*/ 650 h 371312"/>
              <a:gd name="connsiteX0" fmla="*/ 0 w 9934863"/>
              <a:gd name="connsiteY0" fmla="*/ 650 h 371312"/>
              <a:gd name="connsiteX1" fmla="*/ 692706 w 9934863"/>
              <a:gd name="connsiteY1" fmla="*/ 371312 h 371312"/>
              <a:gd name="connsiteX2" fmla="*/ 1440099 w 9934863"/>
              <a:gd name="connsiteY2" fmla="*/ 650 h 371312"/>
              <a:gd name="connsiteX3" fmla="*/ 9922710 w 9934863"/>
              <a:gd name="connsiteY3" fmla="*/ 6726 h 371312"/>
              <a:gd name="connsiteX4" fmla="*/ 9934863 w 9934863"/>
              <a:gd name="connsiteY4" fmla="*/ 650 h 371312"/>
              <a:gd name="connsiteX0" fmla="*/ 0 w 9934863"/>
              <a:gd name="connsiteY0" fmla="*/ 650 h 371312"/>
              <a:gd name="connsiteX1" fmla="*/ 692706 w 9934863"/>
              <a:gd name="connsiteY1" fmla="*/ 371312 h 371312"/>
              <a:gd name="connsiteX2" fmla="*/ 1440099 w 9934863"/>
              <a:gd name="connsiteY2" fmla="*/ 650 h 371312"/>
              <a:gd name="connsiteX3" fmla="*/ 9922710 w 9934863"/>
              <a:gd name="connsiteY3" fmla="*/ 6726 h 371312"/>
              <a:gd name="connsiteX4" fmla="*/ 9934863 w 9934863"/>
              <a:gd name="connsiteY4" fmla="*/ 650 h 371312"/>
              <a:gd name="connsiteX0" fmla="*/ 0 w 9934863"/>
              <a:gd name="connsiteY0" fmla="*/ 650 h 371312"/>
              <a:gd name="connsiteX1" fmla="*/ 692706 w 9934863"/>
              <a:gd name="connsiteY1" fmla="*/ 371312 h 371312"/>
              <a:gd name="connsiteX2" fmla="*/ 1355030 w 9934863"/>
              <a:gd name="connsiteY2" fmla="*/ 6727 h 371312"/>
              <a:gd name="connsiteX3" fmla="*/ 9922710 w 9934863"/>
              <a:gd name="connsiteY3" fmla="*/ 6726 h 371312"/>
              <a:gd name="connsiteX4" fmla="*/ 9934863 w 9934863"/>
              <a:gd name="connsiteY4" fmla="*/ 650 h 371312"/>
              <a:gd name="connsiteX0" fmla="*/ 0 w 9934863"/>
              <a:gd name="connsiteY0" fmla="*/ 650 h 371312"/>
              <a:gd name="connsiteX1" fmla="*/ 692706 w 9934863"/>
              <a:gd name="connsiteY1" fmla="*/ 371312 h 371312"/>
              <a:gd name="connsiteX2" fmla="*/ 1355030 w 9934863"/>
              <a:gd name="connsiteY2" fmla="*/ 6727 h 371312"/>
              <a:gd name="connsiteX3" fmla="*/ 9922710 w 9934863"/>
              <a:gd name="connsiteY3" fmla="*/ 6726 h 371312"/>
              <a:gd name="connsiteX4" fmla="*/ 9934863 w 9934863"/>
              <a:gd name="connsiteY4" fmla="*/ 650 h 371312"/>
              <a:gd name="connsiteX0" fmla="*/ 0 w 9934863"/>
              <a:gd name="connsiteY0" fmla="*/ 650 h 371312"/>
              <a:gd name="connsiteX1" fmla="*/ 692706 w 9934863"/>
              <a:gd name="connsiteY1" fmla="*/ 371312 h 371312"/>
              <a:gd name="connsiteX2" fmla="*/ 1355030 w 9934863"/>
              <a:gd name="connsiteY2" fmla="*/ 6727 h 371312"/>
              <a:gd name="connsiteX3" fmla="*/ 9922710 w 9934863"/>
              <a:gd name="connsiteY3" fmla="*/ 6726 h 371312"/>
              <a:gd name="connsiteX4" fmla="*/ 9934863 w 9934863"/>
              <a:gd name="connsiteY4" fmla="*/ 650 h 371312"/>
              <a:gd name="connsiteX0" fmla="*/ 0 w 9934863"/>
              <a:gd name="connsiteY0" fmla="*/ 650 h 371312"/>
              <a:gd name="connsiteX1" fmla="*/ 692706 w 9934863"/>
              <a:gd name="connsiteY1" fmla="*/ 371312 h 371312"/>
              <a:gd name="connsiteX2" fmla="*/ 1355030 w 9934863"/>
              <a:gd name="connsiteY2" fmla="*/ 6727 h 371312"/>
              <a:gd name="connsiteX3" fmla="*/ 9922710 w 9934863"/>
              <a:gd name="connsiteY3" fmla="*/ 6726 h 371312"/>
              <a:gd name="connsiteX4" fmla="*/ 9934863 w 9934863"/>
              <a:gd name="connsiteY4" fmla="*/ 650 h 371312"/>
              <a:gd name="connsiteX0" fmla="*/ 0 w 9934863"/>
              <a:gd name="connsiteY0" fmla="*/ 650 h 371312"/>
              <a:gd name="connsiteX1" fmla="*/ 692706 w 9934863"/>
              <a:gd name="connsiteY1" fmla="*/ 371312 h 371312"/>
              <a:gd name="connsiteX2" fmla="*/ 1350201 w 9934863"/>
              <a:gd name="connsiteY2" fmla="*/ 1898 h 371312"/>
              <a:gd name="connsiteX3" fmla="*/ 9922710 w 9934863"/>
              <a:gd name="connsiteY3" fmla="*/ 6726 h 371312"/>
              <a:gd name="connsiteX4" fmla="*/ 9934863 w 9934863"/>
              <a:gd name="connsiteY4" fmla="*/ 650 h 371312"/>
              <a:gd name="connsiteX0" fmla="*/ 0 w 9934863"/>
              <a:gd name="connsiteY0" fmla="*/ 650 h 371312"/>
              <a:gd name="connsiteX1" fmla="*/ 692706 w 9934863"/>
              <a:gd name="connsiteY1" fmla="*/ 371312 h 371312"/>
              <a:gd name="connsiteX2" fmla="*/ 1350201 w 9934863"/>
              <a:gd name="connsiteY2" fmla="*/ 1898 h 371312"/>
              <a:gd name="connsiteX3" fmla="*/ 9922710 w 9934863"/>
              <a:gd name="connsiteY3" fmla="*/ 6726 h 371312"/>
              <a:gd name="connsiteX4" fmla="*/ 9934863 w 9934863"/>
              <a:gd name="connsiteY4" fmla="*/ 650 h 371312"/>
              <a:gd name="connsiteX0" fmla="*/ 0 w 9934863"/>
              <a:gd name="connsiteY0" fmla="*/ 650 h 371312"/>
              <a:gd name="connsiteX1" fmla="*/ 692706 w 9934863"/>
              <a:gd name="connsiteY1" fmla="*/ 371312 h 371312"/>
              <a:gd name="connsiteX2" fmla="*/ 1350201 w 9934863"/>
              <a:gd name="connsiteY2" fmla="*/ 1898 h 371312"/>
              <a:gd name="connsiteX3" fmla="*/ 9922710 w 9934863"/>
              <a:gd name="connsiteY3" fmla="*/ 6726 h 371312"/>
              <a:gd name="connsiteX4" fmla="*/ 9934863 w 9934863"/>
              <a:gd name="connsiteY4" fmla="*/ 650 h 371312"/>
              <a:gd name="connsiteX0" fmla="*/ 0 w 9934863"/>
              <a:gd name="connsiteY0" fmla="*/ 650 h 371312"/>
              <a:gd name="connsiteX1" fmla="*/ 692706 w 9934863"/>
              <a:gd name="connsiteY1" fmla="*/ 371312 h 371312"/>
              <a:gd name="connsiteX2" fmla="*/ 1350201 w 9934863"/>
              <a:gd name="connsiteY2" fmla="*/ 1898 h 371312"/>
              <a:gd name="connsiteX3" fmla="*/ 9922710 w 9934863"/>
              <a:gd name="connsiteY3" fmla="*/ 6726 h 371312"/>
              <a:gd name="connsiteX4" fmla="*/ 9934863 w 9934863"/>
              <a:gd name="connsiteY4" fmla="*/ 650 h 371312"/>
              <a:gd name="connsiteX0" fmla="*/ 0 w 9934863"/>
              <a:gd name="connsiteY0" fmla="*/ 650 h 371312"/>
              <a:gd name="connsiteX1" fmla="*/ 692706 w 9934863"/>
              <a:gd name="connsiteY1" fmla="*/ 371312 h 371312"/>
              <a:gd name="connsiteX2" fmla="*/ 1350201 w 9934863"/>
              <a:gd name="connsiteY2" fmla="*/ 1898 h 371312"/>
              <a:gd name="connsiteX3" fmla="*/ 9922710 w 9934863"/>
              <a:gd name="connsiteY3" fmla="*/ 6726 h 371312"/>
              <a:gd name="connsiteX4" fmla="*/ 9934863 w 9934863"/>
              <a:gd name="connsiteY4" fmla="*/ 650 h 371312"/>
              <a:gd name="connsiteX0" fmla="*/ 0 w 9934863"/>
              <a:gd name="connsiteY0" fmla="*/ 650 h 371312"/>
              <a:gd name="connsiteX1" fmla="*/ 692706 w 9934863"/>
              <a:gd name="connsiteY1" fmla="*/ 371312 h 371312"/>
              <a:gd name="connsiteX2" fmla="*/ 1350201 w 9934863"/>
              <a:gd name="connsiteY2" fmla="*/ 1898 h 371312"/>
              <a:gd name="connsiteX3" fmla="*/ 9922710 w 9934863"/>
              <a:gd name="connsiteY3" fmla="*/ 6726 h 371312"/>
              <a:gd name="connsiteX4" fmla="*/ 9934863 w 9934863"/>
              <a:gd name="connsiteY4" fmla="*/ 650 h 371312"/>
              <a:gd name="connsiteX0" fmla="*/ 0 w 9934863"/>
              <a:gd name="connsiteY0" fmla="*/ 677 h 371339"/>
              <a:gd name="connsiteX1" fmla="*/ 692706 w 9934863"/>
              <a:gd name="connsiteY1" fmla="*/ 371339 h 371339"/>
              <a:gd name="connsiteX2" fmla="*/ 1350201 w 9934863"/>
              <a:gd name="connsiteY2" fmla="*/ 1925 h 371339"/>
              <a:gd name="connsiteX3" fmla="*/ 9922710 w 9934863"/>
              <a:gd name="connsiteY3" fmla="*/ 6753 h 371339"/>
              <a:gd name="connsiteX4" fmla="*/ 9934863 w 9934863"/>
              <a:gd name="connsiteY4" fmla="*/ 677 h 371339"/>
              <a:gd name="connsiteX0" fmla="*/ 0 w 9934863"/>
              <a:gd name="connsiteY0" fmla="*/ 677 h 371339"/>
              <a:gd name="connsiteX1" fmla="*/ 692706 w 9934863"/>
              <a:gd name="connsiteY1" fmla="*/ 371339 h 371339"/>
              <a:gd name="connsiteX2" fmla="*/ 1350201 w 9934863"/>
              <a:gd name="connsiteY2" fmla="*/ 1925 h 371339"/>
              <a:gd name="connsiteX3" fmla="*/ 9922710 w 9934863"/>
              <a:gd name="connsiteY3" fmla="*/ 6753 h 371339"/>
              <a:gd name="connsiteX4" fmla="*/ 9934863 w 9934863"/>
              <a:gd name="connsiteY4" fmla="*/ 677 h 371339"/>
              <a:gd name="connsiteX0" fmla="*/ 0 w 9934863"/>
              <a:gd name="connsiteY0" fmla="*/ 3581 h 374243"/>
              <a:gd name="connsiteX1" fmla="*/ 692706 w 9934863"/>
              <a:gd name="connsiteY1" fmla="*/ 374243 h 374243"/>
              <a:gd name="connsiteX2" fmla="*/ 1277767 w 9934863"/>
              <a:gd name="connsiteY2" fmla="*/ 0 h 374243"/>
              <a:gd name="connsiteX3" fmla="*/ 9922710 w 9934863"/>
              <a:gd name="connsiteY3" fmla="*/ 9657 h 374243"/>
              <a:gd name="connsiteX4" fmla="*/ 9934863 w 9934863"/>
              <a:gd name="connsiteY4" fmla="*/ 3581 h 374243"/>
              <a:gd name="connsiteX0" fmla="*/ 0 w 9934863"/>
              <a:gd name="connsiteY0" fmla="*/ 678 h 371340"/>
              <a:gd name="connsiteX1" fmla="*/ 692706 w 9934863"/>
              <a:gd name="connsiteY1" fmla="*/ 371340 h 371340"/>
              <a:gd name="connsiteX2" fmla="*/ 1282596 w 9934863"/>
              <a:gd name="connsiteY2" fmla="*/ 1926 h 371340"/>
              <a:gd name="connsiteX3" fmla="*/ 9922710 w 9934863"/>
              <a:gd name="connsiteY3" fmla="*/ 6754 h 371340"/>
              <a:gd name="connsiteX4" fmla="*/ 9934863 w 9934863"/>
              <a:gd name="connsiteY4" fmla="*/ 678 h 371340"/>
              <a:gd name="connsiteX0" fmla="*/ 0 w 9934863"/>
              <a:gd name="connsiteY0" fmla="*/ 678 h 371340"/>
              <a:gd name="connsiteX1" fmla="*/ 692706 w 9934863"/>
              <a:gd name="connsiteY1" fmla="*/ 371340 h 371340"/>
              <a:gd name="connsiteX2" fmla="*/ 1282596 w 9934863"/>
              <a:gd name="connsiteY2" fmla="*/ 1926 h 371340"/>
              <a:gd name="connsiteX3" fmla="*/ 9922710 w 9934863"/>
              <a:gd name="connsiteY3" fmla="*/ 6754 h 371340"/>
              <a:gd name="connsiteX4" fmla="*/ 9934863 w 9934863"/>
              <a:gd name="connsiteY4" fmla="*/ 678 h 371340"/>
              <a:gd name="connsiteX0" fmla="*/ 0 w 9934863"/>
              <a:gd name="connsiteY0" fmla="*/ 678 h 371340"/>
              <a:gd name="connsiteX1" fmla="*/ 692706 w 9934863"/>
              <a:gd name="connsiteY1" fmla="*/ 371340 h 371340"/>
              <a:gd name="connsiteX2" fmla="*/ 1282596 w 9934863"/>
              <a:gd name="connsiteY2" fmla="*/ 1926 h 371340"/>
              <a:gd name="connsiteX3" fmla="*/ 9922710 w 9934863"/>
              <a:gd name="connsiteY3" fmla="*/ 6754 h 371340"/>
              <a:gd name="connsiteX4" fmla="*/ 9934863 w 9934863"/>
              <a:gd name="connsiteY4" fmla="*/ 678 h 371340"/>
              <a:gd name="connsiteX0" fmla="*/ 0 w 9934863"/>
              <a:gd name="connsiteY0" fmla="*/ 678 h 371340"/>
              <a:gd name="connsiteX1" fmla="*/ 692706 w 9934863"/>
              <a:gd name="connsiteY1" fmla="*/ 371340 h 371340"/>
              <a:gd name="connsiteX2" fmla="*/ 1282596 w 9934863"/>
              <a:gd name="connsiteY2" fmla="*/ 1926 h 371340"/>
              <a:gd name="connsiteX3" fmla="*/ 9922710 w 9934863"/>
              <a:gd name="connsiteY3" fmla="*/ 6754 h 371340"/>
              <a:gd name="connsiteX4" fmla="*/ 9934863 w 9934863"/>
              <a:gd name="connsiteY4" fmla="*/ 678 h 371340"/>
              <a:gd name="connsiteX0" fmla="*/ 0 w 9934863"/>
              <a:gd name="connsiteY0" fmla="*/ 0 h 370662"/>
              <a:gd name="connsiteX1" fmla="*/ 692706 w 9934863"/>
              <a:gd name="connsiteY1" fmla="*/ 370662 h 370662"/>
              <a:gd name="connsiteX2" fmla="*/ 1282596 w 9934863"/>
              <a:gd name="connsiteY2" fmla="*/ 1248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282596 w 9934863"/>
              <a:gd name="connsiteY2" fmla="*/ 1248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282596 w 9934863"/>
              <a:gd name="connsiteY2" fmla="*/ 1248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282596 w 9934863"/>
              <a:gd name="connsiteY2" fmla="*/ 1248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282596 w 9934863"/>
              <a:gd name="connsiteY2" fmla="*/ 1248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282596 w 9934863"/>
              <a:gd name="connsiteY2" fmla="*/ 1248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282596 w 9934863"/>
              <a:gd name="connsiteY2" fmla="*/ 1248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282596 w 9934863"/>
              <a:gd name="connsiteY2" fmla="*/ 1248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282596 w 9934863"/>
              <a:gd name="connsiteY2" fmla="*/ 1248 h 370662"/>
              <a:gd name="connsiteX3" fmla="*/ 9922710 w 9934863"/>
              <a:gd name="connsiteY3" fmla="*/ 6076 h 370662"/>
              <a:gd name="connsiteX4" fmla="*/ 9934863 w 9934863"/>
              <a:gd name="connsiteY4" fmla="*/ 0 h 370662"/>
              <a:gd name="connsiteX0" fmla="*/ 0 w 9934863"/>
              <a:gd name="connsiteY0" fmla="*/ 0 h 370662"/>
              <a:gd name="connsiteX1" fmla="*/ 692706 w 9934863"/>
              <a:gd name="connsiteY1" fmla="*/ 370662 h 370662"/>
              <a:gd name="connsiteX2" fmla="*/ 1282596 w 9934863"/>
              <a:gd name="connsiteY2" fmla="*/ 1248 h 370662"/>
              <a:gd name="connsiteX3" fmla="*/ 9922710 w 9934863"/>
              <a:gd name="connsiteY3" fmla="*/ 6076 h 370662"/>
              <a:gd name="connsiteX4" fmla="*/ 9934863 w 9934863"/>
              <a:gd name="connsiteY4" fmla="*/ 0 h 370662"/>
              <a:gd name="connsiteX0" fmla="*/ 0 w 10290677"/>
              <a:gd name="connsiteY0" fmla="*/ 0 h 405102"/>
              <a:gd name="connsiteX1" fmla="*/ 692706 w 10290677"/>
              <a:gd name="connsiteY1" fmla="*/ 370662 h 405102"/>
              <a:gd name="connsiteX2" fmla="*/ 1282596 w 10290677"/>
              <a:gd name="connsiteY2" fmla="*/ 1248 h 405102"/>
              <a:gd name="connsiteX3" fmla="*/ 9922710 w 10290677"/>
              <a:gd name="connsiteY3" fmla="*/ 6076 h 405102"/>
              <a:gd name="connsiteX4" fmla="*/ 10290677 w 10290677"/>
              <a:gd name="connsiteY4" fmla="*/ 405102 h 405102"/>
              <a:gd name="connsiteX0" fmla="*/ 0 w 9922710"/>
              <a:gd name="connsiteY0" fmla="*/ 0 h 370662"/>
              <a:gd name="connsiteX1" fmla="*/ 692706 w 9922710"/>
              <a:gd name="connsiteY1" fmla="*/ 370662 h 370662"/>
              <a:gd name="connsiteX2" fmla="*/ 1282596 w 9922710"/>
              <a:gd name="connsiteY2" fmla="*/ 1248 h 370662"/>
              <a:gd name="connsiteX3" fmla="*/ 9922710 w 9922710"/>
              <a:gd name="connsiteY3" fmla="*/ 6076 h 370662"/>
              <a:gd name="connsiteX0" fmla="*/ 0 w 9944606"/>
              <a:gd name="connsiteY0" fmla="*/ 0 h 370662"/>
              <a:gd name="connsiteX1" fmla="*/ 692706 w 9944606"/>
              <a:gd name="connsiteY1" fmla="*/ 370662 h 370662"/>
              <a:gd name="connsiteX2" fmla="*/ 1282596 w 9944606"/>
              <a:gd name="connsiteY2" fmla="*/ 1248 h 370662"/>
              <a:gd name="connsiteX3" fmla="*/ 9944606 w 9944606"/>
              <a:gd name="connsiteY3" fmla="*/ 6076 h 370662"/>
            </a:gdLst>
            <a:ahLst/>
            <a:cxnLst>
              <a:cxn ang="0">
                <a:pos x="connsiteX0" y="connsiteY0"/>
              </a:cxn>
              <a:cxn ang="0">
                <a:pos x="connsiteX1" y="connsiteY1"/>
              </a:cxn>
              <a:cxn ang="0">
                <a:pos x="connsiteX2" y="connsiteY2"/>
              </a:cxn>
              <a:cxn ang="0">
                <a:pos x="connsiteX3" y="connsiteY3"/>
              </a:cxn>
            </a:cxnLst>
            <a:rect l="l" t="t" r="r" b="b"/>
            <a:pathLst>
              <a:path w="9944606" h="370662">
                <a:moveTo>
                  <a:pt x="0" y="0"/>
                </a:moveTo>
                <a:cubicBezTo>
                  <a:pt x="391222" y="4359"/>
                  <a:pt x="589790" y="106878"/>
                  <a:pt x="692706" y="370662"/>
                </a:cubicBezTo>
                <a:cubicBezTo>
                  <a:pt x="775060" y="103302"/>
                  <a:pt x="1038431" y="7865"/>
                  <a:pt x="1282596" y="1248"/>
                </a:cubicBezTo>
                <a:lnTo>
                  <a:pt x="9944606" y="6076"/>
                </a:lnTo>
              </a:path>
            </a:pathLst>
          </a:custGeom>
          <a:noFill/>
          <a:ln w="38100" cap="flat" cmpd="sng">
            <a:solidFill>
              <a:schemeClr val="accent5"/>
            </a:solidFill>
            <a:miter lim="800000"/>
          </a:ln>
        </p:spPr>
        <p:style>
          <a:lnRef idx="1">
            <a:schemeClr val="accent1"/>
          </a:lnRef>
          <a:fillRef idx="0">
            <a:schemeClr val="accent1"/>
          </a:fillRef>
          <a:effectRef idx="0">
            <a:schemeClr val="accent1"/>
          </a:effectRef>
          <a:fontRef idx="minor">
            <a:schemeClr val="tx1"/>
          </a:fontRef>
        </p:style>
        <p:txBody>
          <a:bodyPr rtlCol="0" anchor="ctr"/>
          <a:lstStyle/>
          <a:p>
            <a:pPr algn="ctr" defTabSz="685577"/>
            <a:endParaRPr lang="en-US" sz="1350">
              <a:solidFill>
                <a:srgbClr val="263147"/>
              </a:solidFill>
            </a:endParaRPr>
          </a:p>
        </p:txBody>
      </p:sp>
      <p:sp>
        <p:nvSpPr>
          <p:cNvPr id="2" name="Title 1"/>
          <p:cNvSpPr>
            <a:spLocks noGrp="1"/>
          </p:cNvSpPr>
          <p:nvPr>
            <p:ph type="title"/>
            <p:custDataLst>
              <p:tags r:id="rId3"/>
            </p:custDataLst>
          </p:nvPr>
        </p:nvSpPr>
        <p:spPr/>
        <p:txBody>
          <a:bodyPr/>
          <a:lstStyle>
            <a:lvl1pPr>
              <a:defRPr>
                <a:solidFill>
                  <a:schemeClr val="tx1"/>
                </a:solidFill>
              </a:defRPr>
            </a:lvl1pPr>
          </a:lstStyle>
          <a:p>
            <a:r>
              <a:rPr lang="pl-PL" noProof="0" dirty="0" err="1"/>
              <a:t>Click</a:t>
            </a:r>
            <a:r>
              <a:rPr lang="pl-PL" noProof="0" dirty="0"/>
              <a:t> to </a:t>
            </a:r>
            <a:r>
              <a:rPr lang="pl-PL" noProof="0" dirty="0" err="1"/>
              <a:t>edit</a:t>
            </a:r>
            <a:r>
              <a:rPr lang="pl-PL" noProof="0" dirty="0"/>
              <a:t> Master </a:t>
            </a:r>
            <a:r>
              <a:rPr lang="pl-PL" noProof="0" dirty="0" err="1"/>
              <a:t>title</a:t>
            </a:r>
            <a:r>
              <a:rPr lang="pl-PL" noProof="0" dirty="0"/>
              <a:t> style</a:t>
            </a:r>
            <a:endParaRPr lang="en-US" dirty="0"/>
          </a:p>
        </p:txBody>
      </p:sp>
      <p:pic>
        <p:nvPicPr>
          <p:cNvPr id="9" name="Image 3" descr="retail.jpg"/>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3918" y="1"/>
            <a:ext cx="12195919" cy="6857999"/>
          </a:xfrm>
          <a:prstGeom prst="rect">
            <a:avLst/>
          </a:prstGeom>
        </p:spPr>
      </p:pic>
    </p:spTree>
    <p:extLst>
      <p:ext uri="{BB962C8B-B14F-4D97-AF65-F5344CB8AC3E}">
        <p14:creationId xmlns:p14="http://schemas.microsoft.com/office/powerpoint/2010/main" val="91925329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735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cSld>
  <p:clrMapOvr>
    <a:masterClrMapping/>
  </p:clrMapOvr>
  <p:extLst mod="1">
    <p:ext uri="{DCECCB84-F9BA-43D5-87BE-67443E8EF086}">
      <p15:sldGuideLst xmlns:p15="http://schemas.microsoft.com/office/powerpoint/2012/main">
        <p15:guide id="1" orient="horz" pos="935">
          <p15:clr>
            <a:srgbClr val="FBAE40"/>
          </p15:clr>
        </p15:guide>
        <p15:guide id="3" pos="3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838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smtClean="0"/>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cSld>
  <p:clrMapOvr>
    <a:masterClrMapping/>
  </p:clrMapOvr>
  <p:extLst mod="1">
    <p:ext uri="{DCECCB84-F9BA-43D5-87BE-67443E8EF086}">
      <p15:sldGuideLst xmlns:p15="http://schemas.microsoft.com/office/powerpoint/2012/main">
        <p15:guide id="2" orient="horz" pos="93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5">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940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rgbClr val="95E616"/>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6522826" y="591671"/>
            <a:ext cx="4822491" cy="2810435"/>
          </a:xfrm>
          <a:prstGeom prst="rect">
            <a:avLst/>
          </a:prstGeom>
        </p:spPr>
        <p:txBody>
          <a:bodyPr anchor="ctr">
            <a:normAutofit/>
          </a:bodyPr>
          <a:lstStyle>
            <a:lvl1pPr marL="0" indent="0">
              <a:buNone/>
              <a:defRPr sz="3600">
                <a:solidFill>
                  <a:schemeClr val="accent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721706" y="5921017"/>
            <a:ext cx="3911494"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t>
            </a:r>
            <a:r>
              <a:rPr lang="en-US" dirty="0" smtClean="0"/>
              <a:t/>
            </a:r>
            <a:br>
              <a:rPr lang="en-US" dirty="0" smtClean="0"/>
            </a:br>
            <a:r>
              <a:rPr lang="en-US" dirty="0" smtClean="0"/>
              <a:t>and </a:t>
            </a:r>
            <a:r>
              <a:rPr lang="en-US" dirty="0"/>
              <a:t>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itle Slide 6">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043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6522826" y="591671"/>
            <a:ext cx="5392948" cy="2810435"/>
          </a:xfrm>
          <a:prstGeom prst="rect">
            <a:avLst/>
          </a:prstGeom>
        </p:spPr>
        <p:txBody>
          <a:bodyPr anchor="ctr">
            <a:normAutofit/>
          </a:bodyPr>
          <a:lstStyle>
            <a:lvl1pPr marL="0" indent="0">
              <a:buNone/>
              <a:defRPr sz="3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721705" y="5921017"/>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r>
              <a:rPr lang="en-US" dirty="0" smtClean="0"/>
              <a:t/>
            </a:r>
            <a:br>
              <a:rPr lang="en-US" dirty="0" smtClean="0"/>
            </a:br>
            <a:r>
              <a:rPr lang="en-US" dirty="0" smtClean="0"/>
              <a:t>and </a:t>
            </a:r>
            <a:r>
              <a:rPr lang="en-US" dirty="0"/>
              <a:t>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9_Blanc">
    <p:spTree>
      <p:nvGrpSpPr>
        <p:cNvPr id="1" name=""/>
        <p:cNvGrpSpPr/>
        <p:nvPr/>
      </p:nvGrpSpPr>
      <p:grpSpPr>
        <a:xfrm>
          <a:off x="0" y="0"/>
          <a:ext cx="0" cy="0"/>
          <a:chOff x="0" y="0"/>
          <a:chExt cx="0" cy="0"/>
        </a:xfrm>
      </p:grpSpPr>
      <p:pic>
        <p:nvPicPr>
          <p:cNvPr id="45" name="Image 14" descr="behaviors digit.jpg"/>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 y="754304"/>
            <a:ext cx="12178104" cy="5644800"/>
          </a:xfrm>
          <a:prstGeom prst="rect">
            <a:avLst/>
          </a:prstGeom>
        </p:spPr>
      </p:pic>
      <p:sp>
        <p:nvSpPr>
          <p:cNvPr id="46" name="Rectangle 45"/>
          <p:cNvSpPr/>
          <p:nvPr userDrawn="1"/>
        </p:nvSpPr>
        <p:spPr bwMode="auto">
          <a:xfrm>
            <a:off x="0" y="771325"/>
            <a:ext cx="4023360" cy="5629476"/>
          </a:xfrm>
          <a:prstGeom prst="rect">
            <a:avLst/>
          </a:prstGeom>
          <a:solidFill>
            <a:srgbClr val="FFFFFF">
              <a:alpha val="89020"/>
            </a:srgbClr>
          </a:solidFill>
          <a:ln w="6350" cap="flat" cmpd="sng" algn="ctr">
            <a:noFill/>
            <a:prstDash val="solid"/>
            <a:round/>
            <a:headEnd type="none" w="med" len="med"/>
            <a:tailEnd type="none" w="med" len="med"/>
          </a:ln>
          <a:effectLst/>
        </p:spPr>
        <p:txBody>
          <a:bodyPr vert="horz" wrap="none" lIns="91435" tIns="45718" rIns="91435" bIns="45718" numCol="1" rtlCol="0" anchor="ctr" anchorCtr="0" compatLnSpc="1">
            <a:prstTxWarp prst="textNoShape">
              <a:avLst/>
            </a:prstTxWarp>
          </a:bodyPr>
          <a:lstStyle/>
          <a:p>
            <a:pPr algn="ctr" defTabSz="914263" eaLnBrk="0" fontAlgn="base" hangingPunct="0">
              <a:spcBef>
                <a:spcPct val="0"/>
              </a:spcBef>
              <a:spcAft>
                <a:spcPct val="0"/>
              </a:spcAft>
            </a:pPr>
            <a:endParaRPr lang="en-US" sz="1600" dirty="0">
              <a:solidFill>
                <a:srgbClr val="1C1C1C"/>
              </a:solidFill>
              <a:cs typeface="Arial" charset="0"/>
            </a:endParaRPr>
          </a:p>
        </p:txBody>
      </p:sp>
      <p:sp>
        <p:nvSpPr>
          <p:cNvPr id="33" name="Title Placeholder 1"/>
          <p:cNvSpPr>
            <a:spLocks noGrp="1"/>
          </p:cNvSpPr>
          <p:nvPr>
            <p:ph type="title"/>
            <p:custDataLst>
              <p:tags r:id="rId1"/>
            </p:custDataLst>
          </p:nvPr>
        </p:nvSpPr>
        <p:spPr>
          <a:xfrm>
            <a:off x="1" y="5"/>
            <a:ext cx="12191999" cy="754299"/>
          </a:xfrm>
          <a:prstGeom prst="rect">
            <a:avLst/>
          </a:prstGeom>
        </p:spPr>
        <p:txBody>
          <a:bodyPr vert="horz" lIns="283968" tIns="31552" rIns="157760" bIns="31552" rtlCol="0" anchor="ctr">
            <a:noAutofit/>
          </a:bodyPr>
          <a:lstStyle/>
          <a:p>
            <a:r>
              <a:rPr lang="pl-PL" noProof="0" dirty="0"/>
              <a:t>Click to edit Master title style</a:t>
            </a:r>
            <a:endParaRPr lang="en-US" noProof="0" dirty="0"/>
          </a:p>
        </p:txBody>
      </p:sp>
      <p:grpSp>
        <p:nvGrpSpPr>
          <p:cNvPr id="4" name="Group 3"/>
          <p:cNvGrpSpPr/>
          <p:nvPr userDrawn="1"/>
        </p:nvGrpSpPr>
        <p:grpSpPr>
          <a:xfrm>
            <a:off x="-9523" y="6012527"/>
            <a:ext cx="12218669" cy="398827"/>
            <a:chOff x="-9524" y="6940244"/>
            <a:chExt cx="12218669" cy="398827"/>
          </a:xfrm>
        </p:grpSpPr>
        <p:cxnSp>
          <p:nvCxnSpPr>
            <p:cNvPr id="51" name="Straight Connector 50"/>
            <p:cNvCxnSpPr/>
            <p:nvPr userDrawn="1"/>
          </p:nvCxnSpPr>
          <p:spPr bwMode="auto">
            <a:xfrm flipH="1">
              <a:off x="-9524" y="7331404"/>
              <a:ext cx="9328784" cy="0"/>
            </a:xfrm>
            <a:prstGeom prst="line">
              <a:avLst/>
            </a:prstGeom>
            <a:solidFill>
              <a:schemeClr val="accent5">
                <a:lumMod val="75000"/>
              </a:schemeClr>
            </a:solidFill>
            <a:ln w="12700" cap="flat" cmpd="sng" algn="ctr">
              <a:solidFill>
                <a:schemeClr val="accent5">
                  <a:lumMod val="75000"/>
                </a:schemeClr>
              </a:solidFill>
              <a:prstDash val="solid"/>
              <a:round/>
              <a:headEnd type="none" w="med" len="med"/>
              <a:tailEnd type="none" w="med" len="med"/>
            </a:ln>
            <a:effectLst/>
          </p:spPr>
        </p:cxnSp>
        <p:cxnSp>
          <p:nvCxnSpPr>
            <p:cNvPr id="52" name="Straight Connector 51"/>
            <p:cNvCxnSpPr/>
            <p:nvPr userDrawn="1"/>
          </p:nvCxnSpPr>
          <p:spPr bwMode="auto">
            <a:xfrm flipH="1">
              <a:off x="11695969" y="7331404"/>
              <a:ext cx="513176" cy="0"/>
            </a:xfrm>
            <a:prstGeom prst="line">
              <a:avLst/>
            </a:prstGeom>
            <a:solidFill>
              <a:schemeClr val="accent5">
                <a:lumMod val="75000"/>
              </a:schemeClr>
            </a:solidFill>
            <a:ln w="9525" cap="flat" cmpd="sng" algn="ctr">
              <a:solidFill>
                <a:schemeClr val="accent5">
                  <a:lumMod val="75000"/>
                </a:schemeClr>
              </a:solidFill>
              <a:prstDash val="solid"/>
              <a:round/>
              <a:headEnd type="none" w="med" len="med"/>
              <a:tailEnd type="none" w="med" len="med"/>
            </a:ln>
            <a:effectLst/>
          </p:spPr>
        </p:cxnSp>
        <p:grpSp>
          <p:nvGrpSpPr>
            <p:cNvPr id="53" name="Group 52"/>
            <p:cNvGrpSpPr/>
            <p:nvPr userDrawn="1"/>
          </p:nvGrpSpPr>
          <p:grpSpPr>
            <a:xfrm>
              <a:off x="9265920" y="6982789"/>
              <a:ext cx="279487" cy="356282"/>
              <a:chOff x="17746562" y="-229690"/>
              <a:chExt cx="742950" cy="762000"/>
            </a:xfrm>
            <a:solidFill>
              <a:schemeClr val="accent5">
                <a:lumMod val="75000"/>
              </a:schemeClr>
            </a:solidFill>
          </p:grpSpPr>
          <p:sp>
            <p:nvSpPr>
              <p:cNvPr id="83" name="Oval 44"/>
              <p:cNvSpPr>
                <a:spLocks noChangeArrowheads="1"/>
              </p:cNvSpPr>
              <p:nvPr userDrawn="1"/>
            </p:nvSpPr>
            <p:spPr bwMode="auto">
              <a:xfrm>
                <a:off x="17973575" y="444098"/>
                <a:ext cx="49213" cy="492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84" name="Freeform 45"/>
              <p:cNvSpPr>
                <a:spLocks noEditPoints="1"/>
              </p:cNvSpPr>
              <p:nvPr userDrawn="1"/>
            </p:nvSpPr>
            <p:spPr bwMode="auto">
              <a:xfrm>
                <a:off x="17746562" y="-229690"/>
                <a:ext cx="742950" cy="762000"/>
              </a:xfrm>
              <a:custGeom>
                <a:avLst/>
                <a:gdLst>
                  <a:gd name="T0" fmla="*/ 1279 w 1480"/>
                  <a:gd name="T1" fmla="*/ 674 h 1518"/>
                  <a:gd name="T2" fmla="*/ 1269 w 1480"/>
                  <a:gd name="T3" fmla="*/ 665 h 1518"/>
                  <a:gd name="T4" fmla="*/ 1001 w 1480"/>
                  <a:gd name="T5" fmla="*/ 633 h 1518"/>
                  <a:gd name="T6" fmla="*/ 928 w 1480"/>
                  <a:gd name="T7" fmla="*/ 0 h 1518"/>
                  <a:gd name="T8" fmla="*/ 0 w 1480"/>
                  <a:gd name="T9" fmla="*/ 72 h 1518"/>
                  <a:gd name="T10" fmla="*/ 72 w 1480"/>
                  <a:gd name="T11" fmla="*/ 1518 h 1518"/>
                  <a:gd name="T12" fmla="*/ 1001 w 1480"/>
                  <a:gd name="T13" fmla="*/ 1446 h 1518"/>
                  <a:gd name="T14" fmla="*/ 1024 w 1480"/>
                  <a:gd name="T15" fmla="*/ 1210 h 1518"/>
                  <a:gd name="T16" fmla="*/ 1279 w 1480"/>
                  <a:gd name="T17" fmla="*/ 675 h 1518"/>
                  <a:gd name="T18" fmla="*/ 928 w 1480"/>
                  <a:gd name="T19" fmla="*/ 52 h 1518"/>
                  <a:gd name="T20" fmla="*/ 948 w 1480"/>
                  <a:gd name="T21" fmla="*/ 180 h 1518"/>
                  <a:gd name="T22" fmla="*/ 53 w 1480"/>
                  <a:gd name="T23" fmla="*/ 72 h 1518"/>
                  <a:gd name="T24" fmla="*/ 928 w 1480"/>
                  <a:gd name="T25" fmla="*/ 1465 h 1518"/>
                  <a:gd name="T26" fmla="*/ 53 w 1480"/>
                  <a:gd name="T27" fmla="*/ 1446 h 1518"/>
                  <a:gd name="T28" fmla="*/ 948 w 1480"/>
                  <a:gd name="T29" fmla="*/ 1338 h 1518"/>
                  <a:gd name="T30" fmla="*/ 928 w 1480"/>
                  <a:gd name="T31" fmla="*/ 1465 h 1518"/>
                  <a:gd name="T32" fmla="*/ 53 w 1480"/>
                  <a:gd name="T33" fmla="*/ 1286 h 1518"/>
                  <a:gd name="T34" fmla="*/ 948 w 1480"/>
                  <a:gd name="T35" fmla="*/ 232 h 1518"/>
                  <a:gd name="T36" fmla="*/ 835 w 1480"/>
                  <a:gd name="T37" fmla="*/ 728 h 1518"/>
                  <a:gd name="T38" fmla="*/ 732 w 1480"/>
                  <a:gd name="T39" fmla="*/ 625 h 1518"/>
                  <a:gd name="T40" fmla="*/ 714 w 1480"/>
                  <a:gd name="T41" fmla="*/ 607 h 1518"/>
                  <a:gd name="T42" fmla="*/ 569 w 1480"/>
                  <a:gd name="T43" fmla="*/ 612 h 1518"/>
                  <a:gd name="T44" fmla="*/ 569 w 1480"/>
                  <a:gd name="T45" fmla="*/ 763 h 1518"/>
                  <a:gd name="T46" fmla="*/ 797 w 1480"/>
                  <a:gd name="T47" fmla="*/ 1089 h 1518"/>
                  <a:gd name="T48" fmla="*/ 948 w 1480"/>
                  <a:gd name="T49" fmla="*/ 1286 h 1518"/>
                  <a:gd name="T50" fmla="*/ 1024 w 1480"/>
                  <a:gd name="T51" fmla="*/ 1157 h 1518"/>
                  <a:gd name="T52" fmla="*/ 835 w 1480"/>
                  <a:gd name="T53" fmla="*/ 975 h 1518"/>
                  <a:gd name="T54" fmla="*/ 887 w 1480"/>
                  <a:gd name="T55" fmla="*/ 1023 h 1518"/>
                  <a:gd name="T56" fmla="*/ 891 w 1480"/>
                  <a:gd name="T57" fmla="*/ 1010 h 1518"/>
                  <a:gd name="T58" fmla="*/ 606 w 1480"/>
                  <a:gd name="T59" fmla="*/ 649 h 1518"/>
                  <a:gd name="T60" fmla="*/ 677 w 1480"/>
                  <a:gd name="T61" fmla="*/ 644 h 1518"/>
                  <a:gd name="T62" fmla="*/ 819 w 1480"/>
                  <a:gd name="T63" fmla="*/ 786 h 1518"/>
                  <a:gd name="T64" fmla="*/ 832 w 1480"/>
                  <a:gd name="T65" fmla="*/ 796 h 1518"/>
                  <a:gd name="T66" fmla="*/ 1125 w 1480"/>
                  <a:gd name="T67" fmla="*/ 660 h 1518"/>
                  <a:gd name="T68" fmla="*/ 1242 w 1480"/>
                  <a:gd name="T69" fmla="*/ 712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80" h="1518">
                    <a:moveTo>
                      <a:pt x="1279" y="675"/>
                    </a:moveTo>
                    <a:cubicBezTo>
                      <a:pt x="1279" y="674"/>
                      <a:pt x="1279" y="674"/>
                      <a:pt x="1279" y="674"/>
                    </a:cubicBezTo>
                    <a:cubicBezTo>
                      <a:pt x="1279" y="674"/>
                      <a:pt x="1279" y="674"/>
                      <a:pt x="1279" y="674"/>
                    </a:cubicBezTo>
                    <a:cubicBezTo>
                      <a:pt x="1269" y="665"/>
                      <a:pt x="1269" y="665"/>
                      <a:pt x="1269" y="665"/>
                    </a:cubicBezTo>
                    <a:cubicBezTo>
                      <a:pt x="1230" y="627"/>
                      <a:pt x="1182" y="607"/>
                      <a:pt x="1125" y="607"/>
                    </a:cubicBezTo>
                    <a:cubicBezTo>
                      <a:pt x="1083" y="607"/>
                      <a:pt x="1041" y="618"/>
                      <a:pt x="1001" y="633"/>
                    </a:cubicBezTo>
                    <a:cubicBezTo>
                      <a:pt x="1001" y="72"/>
                      <a:pt x="1001" y="72"/>
                      <a:pt x="1001" y="72"/>
                    </a:cubicBezTo>
                    <a:cubicBezTo>
                      <a:pt x="1001" y="32"/>
                      <a:pt x="968" y="0"/>
                      <a:pt x="928" y="0"/>
                    </a:cubicBezTo>
                    <a:cubicBezTo>
                      <a:pt x="72" y="0"/>
                      <a:pt x="72" y="0"/>
                      <a:pt x="72" y="0"/>
                    </a:cubicBezTo>
                    <a:cubicBezTo>
                      <a:pt x="33" y="0"/>
                      <a:pt x="0" y="32"/>
                      <a:pt x="0" y="72"/>
                    </a:cubicBezTo>
                    <a:cubicBezTo>
                      <a:pt x="0" y="1446"/>
                      <a:pt x="0" y="1446"/>
                      <a:pt x="0" y="1446"/>
                    </a:cubicBezTo>
                    <a:cubicBezTo>
                      <a:pt x="0" y="1486"/>
                      <a:pt x="33" y="1518"/>
                      <a:pt x="72" y="1518"/>
                    </a:cubicBezTo>
                    <a:cubicBezTo>
                      <a:pt x="928" y="1518"/>
                      <a:pt x="928" y="1518"/>
                      <a:pt x="928" y="1518"/>
                    </a:cubicBezTo>
                    <a:cubicBezTo>
                      <a:pt x="968" y="1518"/>
                      <a:pt x="1001" y="1486"/>
                      <a:pt x="1001" y="1446"/>
                    </a:cubicBezTo>
                    <a:cubicBezTo>
                      <a:pt x="1001" y="1209"/>
                      <a:pt x="1001" y="1209"/>
                      <a:pt x="1001" y="1209"/>
                    </a:cubicBezTo>
                    <a:cubicBezTo>
                      <a:pt x="1008" y="1210"/>
                      <a:pt x="1016" y="1210"/>
                      <a:pt x="1024" y="1210"/>
                    </a:cubicBezTo>
                    <a:cubicBezTo>
                      <a:pt x="1106" y="1210"/>
                      <a:pt x="1189" y="1167"/>
                      <a:pt x="1278" y="1078"/>
                    </a:cubicBezTo>
                    <a:cubicBezTo>
                      <a:pt x="1480" y="876"/>
                      <a:pt x="1329" y="724"/>
                      <a:pt x="1279" y="675"/>
                    </a:cubicBezTo>
                    <a:close/>
                    <a:moveTo>
                      <a:pt x="72" y="52"/>
                    </a:moveTo>
                    <a:cubicBezTo>
                      <a:pt x="928" y="52"/>
                      <a:pt x="928" y="52"/>
                      <a:pt x="928" y="52"/>
                    </a:cubicBezTo>
                    <a:cubicBezTo>
                      <a:pt x="939" y="52"/>
                      <a:pt x="948" y="61"/>
                      <a:pt x="948" y="72"/>
                    </a:cubicBezTo>
                    <a:cubicBezTo>
                      <a:pt x="948" y="180"/>
                      <a:pt x="948" y="180"/>
                      <a:pt x="948" y="180"/>
                    </a:cubicBezTo>
                    <a:cubicBezTo>
                      <a:pt x="53" y="180"/>
                      <a:pt x="53" y="180"/>
                      <a:pt x="53" y="180"/>
                    </a:cubicBezTo>
                    <a:cubicBezTo>
                      <a:pt x="53" y="72"/>
                      <a:pt x="53" y="72"/>
                      <a:pt x="53" y="72"/>
                    </a:cubicBezTo>
                    <a:cubicBezTo>
                      <a:pt x="53" y="61"/>
                      <a:pt x="62" y="52"/>
                      <a:pt x="72" y="52"/>
                    </a:cubicBezTo>
                    <a:close/>
                    <a:moveTo>
                      <a:pt x="928" y="1465"/>
                    </a:moveTo>
                    <a:cubicBezTo>
                      <a:pt x="72" y="1465"/>
                      <a:pt x="72" y="1465"/>
                      <a:pt x="72" y="1465"/>
                    </a:cubicBezTo>
                    <a:cubicBezTo>
                      <a:pt x="62" y="1465"/>
                      <a:pt x="53" y="1457"/>
                      <a:pt x="53" y="1446"/>
                    </a:cubicBezTo>
                    <a:cubicBezTo>
                      <a:pt x="53" y="1338"/>
                      <a:pt x="53" y="1338"/>
                      <a:pt x="53" y="1338"/>
                    </a:cubicBezTo>
                    <a:cubicBezTo>
                      <a:pt x="948" y="1338"/>
                      <a:pt x="948" y="1338"/>
                      <a:pt x="948" y="1338"/>
                    </a:cubicBezTo>
                    <a:cubicBezTo>
                      <a:pt x="948" y="1446"/>
                      <a:pt x="948" y="1446"/>
                      <a:pt x="948" y="1446"/>
                    </a:cubicBezTo>
                    <a:cubicBezTo>
                      <a:pt x="948" y="1457"/>
                      <a:pt x="939" y="1465"/>
                      <a:pt x="928" y="1465"/>
                    </a:cubicBezTo>
                    <a:close/>
                    <a:moveTo>
                      <a:pt x="948" y="1286"/>
                    </a:moveTo>
                    <a:cubicBezTo>
                      <a:pt x="53" y="1286"/>
                      <a:pt x="53" y="1286"/>
                      <a:pt x="53" y="1286"/>
                    </a:cubicBezTo>
                    <a:cubicBezTo>
                      <a:pt x="53" y="232"/>
                      <a:pt x="53" y="232"/>
                      <a:pt x="53" y="232"/>
                    </a:cubicBezTo>
                    <a:cubicBezTo>
                      <a:pt x="948" y="232"/>
                      <a:pt x="948" y="232"/>
                      <a:pt x="948" y="232"/>
                    </a:cubicBezTo>
                    <a:cubicBezTo>
                      <a:pt x="948" y="657"/>
                      <a:pt x="948" y="657"/>
                      <a:pt x="948" y="657"/>
                    </a:cubicBezTo>
                    <a:cubicBezTo>
                      <a:pt x="902" y="681"/>
                      <a:pt x="862" y="708"/>
                      <a:pt x="835" y="728"/>
                    </a:cubicBezTo>
                    <a:cubicBezTo>
                      <a:pt x="818" y="711"/>
                      <a:pt x="795" y="688"/>
                      <a:pt x="774" y="667"/>
                    </a:cubicBezTo>
                    <a:cubicBezTo>
                      <a:pt x="732" y="625"/>
                      <a:pt x="732" y="625"/>
                      <a:pt x="732" y="625"/>
                    </a:cubicBezTo>
                    <a:cubicBezTo>
                      <a:pt x="723" y="616"/>
                      <a:pt x="718" y="610"/>
                      <a:pt x="714" y="607"/>
                    </a:cubicBezTo>
                    <a:cubicBezTo>
                      <a:pt x="714" y="607"/>
                      <a:pt x="714" y="607"/>
                      <a:pt x="714" y="607"/>
                    </a:cubicBezTo>
                    <a:cubicBezTo>
                      <a:pt x="696" y="589"/>
                      <a:pt x="672" y="579"/>
                      <a:pt x="646" y="579"/>
                    </a:cubicBezTo>
                    <a:cubicBezTo>
                      <a:pt x="617" y="579"/>
                      <a:pt x="589" y="591"/>
                      <a:pt x="569" y="612"/>
                    </a:cubicBezTo>
                    <a:cubicBezTo>
                      <a:pt x="548" y="632"/>
                      <a:pt x="537" y="659"/>
                      <a:pt x="537" y="687"/>
                    </a:cubicBezTo>
                    <a:cubicBezTo>
                      <a:pt x="537" y="716"/>
                      <a:pt x="548" y="742"/>
                      <a:pt x="569" y="763"/>
                    </a:cubicBezTo>
                    <a:cubicBezTo>
                      <a:pt x="776" y="970"/>
                      <a:pt x="776" y="970"/>
                      <a:pt x="776" y="970"/>
                    </a:cubicBezTo>
                    <a:cubicBezTo>
                      <a:pt x="761" y="1007"/>
                      <a:pt x="763" y="1054"/>
                      <a:pt x="797" y="1089"/>
                    </a:cubicBezTo>
                    <a:cubicBezTo>
                      <a:pt x="836" y="1130"/>
                      <a:pt x="885" y="1175"/>
                      <a:pt x="948" y="1197"/>
                    </a:cubicBezTo>
                    <a:lnTo>
                      <a:pt x="948" y="1286"/>
                    </a:lnTo>
                    <a:close/>
                    <a:moveTo>
                      <a:pt x="1240" y="1041"/>
                    </a:moveTo>
                    <a:cubicBezTo>
                      <a:pt x="1156" y="1125"/>
                      <a:pt x="1085" y="1157"/>
                      <a:pt x="1024" y="1157"/>
                    </a:cubicBezTo>
                    <a:cubicBezTo>
                      <a:pt x="950" y="1157"/>
                      <a:pt x="890" y="1110"/>
                      <a:pt x="835" y="1053"/>
                    </a:cubicBezTo>
                    <a:cubicBezTo>
                      <a:pt x="811" y="1028"/>
                      <a:pt x="818" y="992"/>
                      <a:pt x="835" y="975"/>
                    </a:cubicBezTo>
                    <a:cubicBezTo>
                      <a:pt x="880" y="1020"/>
                      <a:pt x="880" y="1020"/>
                      <a:pt x="880" y="1020"/>
                    </a:cubicBezTo>
                    <a:cubicBezTo>
                      <a:pt x="883" y="1022"/>
                      <a:pt x="885" y="1023"/>
                      <a:pt x="887" y="1023"/>
                    </a:cubicBezTo>
                    <a:cubicBezTo>
                      <a:pt x="889" y="1023"/>
                      <a:pt x="891" y="1022"/>
                      <a:pt x="892" y="1021"/>
                    </a:cubicBezTo>
                    <a:cubicBezTo>
                      <a:pt x="893" y="1020"/>
                      <a:pt x="896" y="1016"/>
                      <a:pt x="891" y="1010"/>
                    </a:cubicBezTo>
                    <a:cubicBezTo>
                      <a:pt x="885" y="1005"/>
                      <a:pt x="606" y="725"/>
                      <a:pt x="606" y="725"/>
                    </a:cubicBezTo>
                    <a:cubicBezTo>
                      <a:pt x="585" y="704"/>
                      <a:pt x="585" y="670"/>
                      <a:pt x="606" y="649"/>
                    </a:cubicBezTo>
                    <a:cubicBezTo>
                      <a:pt x="617" y="638"/>
                      <a:pt x="632" y="632"/>
                      <a:pt x="646" y="632"/>
                    </a:cubicBezTo>
                    <a:cubicBezTo>
                      <a:pt x="658" y="632"/>
                      <a:pt x="669" y="636"/>
                      <a:pt x="677" y="644"/>
                    </a:cubicBezTo>
                    <a:cubicBezTo>
                      <a:pt x="677" y="644"/>
                      <a:pt x="784" y="751"/>
                      <a:pt x="819" y="786"/>
                    </a:cubicBezTo>
                    <a:cubicBezTo>
                      <a:pt x="819" y="786"/>
                      <a:pt x="819" y="786"/>
                      <a:pt x="819" y="786"/>
                    </a:cubicBezTo>
                    <a:cubicBezTo>
                      <a:pt x="826" y="793"/>
                      <a:pt x="826" y="793"/>
                      <a:pt x="826" y="793"/>
                    </a:cubicBezTo>
                    <a:cubicBezTo>
                      <a:pt x="828" y="795"/>
                      <a:pt x="830" y="796"/>
                      <a:pt x="832" y="796"/>
                    </a:cubicBezTo>
                    <a:cubicBezTo>
                      <a:pt x="834" y="796"/>
                      <a:pt x="837" y="795"/>
                      <a:pt x="838" y="793"/>
                    </a:cubicBezTo>
                    <a:cubicBezTo>
                      <a:pt x="841" y="791"/>
                      <a:pt x="994" y="660"/>
                      <a:pt x="1125" y="660"/>
                    </a:cubicBezTo>
                    <a:cubicBezTo>
                      <a:pt x="1164" y="660"/>
                      <a:pt x="1201" y="672"/>
                      <a:pt x="1232" y="702"/>
                    </a:cubicBezTo>
                    <a:cubicBezTo>
                      <a:pt x="1242" y="712"/>
                      <a:pt x="1242" y="712"/>
                      <a:pt x="1242" y="712"/>
                    </a:cubicBezTo>
                    <a:cubicBezTo>
                      <a:pt x="1307" y="777"/>
                      <a:pt x="1397" y="885"/>
                      <a:pt x="1240" y="10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85" name="Freeform 46"/>
              <p:cNvSpPr>
                <a:spLocks/>
              </p:cNvSpPr>
              <p:nvPr userDrawn="1"/>
            </p:nvSpPr>
            <p:spPr bwMode="auto">
              <a:xfrm>
                <a:off x="17940237" y="-19452"/>
                <a:ext cx="206375" cy="203200"/>
              </a:xfrm>
              <a:custGeom>
                <a:avLst/>
                <a:gdLst>
                  <a:gd name="T0" fmla="*/ 124 w 410"/>
                  <a:gd name="T1" fmla="*/ 123 h 407"/>
                  <a:gd name="T2" fmla="*/ 362 w 410"/>
                  <a:gd name="T3" fmla="*/ 123 h 407"/>
                  <a:gd name="T4" fmla="*/ 399 w 410"/>
                  <a:gd name="T5" fmla="*/ 123 h 407"/>
                  <a:gd name="T6" fmla="*/ 399 w 410"/>
                  <a:gd name="T7" fmla="*/ 86 h 407"/>
                  <a:gd name="T8" fmla="*/ 86 w 410"/>
                  <a:gd name="T9" fmla="*/ 86 h 407"/>
                  <a:gd name="T10" fmla="*/ 86 w 410"/>
                  <a:gd name="T11" fmla="*/ 399 h 407"/>
                  <a:gd name="T12" fmla="*/ 105 w 410"/>
                  <a:gd name="T13" fmla="*/ 407 h 407"/>
                  <a:gd name="T14" fmla="*/ 124 w 410"/>
                  <a:gd name="T15" fmla="*/ 399 h 407"/>
                  <a:gd name="T16" fmla="*/ 124 w 410"/>
                  <a:gd name="T17" fmla="*/ 362 h 407"/>
                  <a:gd name="T18" fmla="*/ 124 w 410"/>
                  <a:gd name="T19" fmla="*/ 123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0" h="407">
                    <a:moveTo>
                      <a:pt x="124" y="123"/>
                    </a:moveTo>
                    <a:cubicBezTo>
                      <a:pt x="189" y="58"/>
                      <a:pt x="296" y="58"/>
                      <a:pt x="362" y="123"/>
                    </a:cubicBezTo>
                    <a:cubicBezTo>
                      <a:pt x="372" y="134"/>
                      <a:pt x="389" y="134"/>
                      <a:pt x="399" y="123"/>
                    </a:cubicBezTo>
                    <a:cubicBezTo>
                      <a:pt x="410" y="113"/>
                      <a:pt x="410" y="97"/>
                      <a:pt x="399" y="86"/>
                    </a:cubicBezTo>
                    <a:cubicBezTo>
                      <a:pt x="313" y="0"/>
                      <a:pt x="173" y="0"/>
                      <a:pt x="86" y="86"/>
                    </a:cubicBezTo>
                    <a:cubicBezTo>
                      <a:pt x="0" y="172"/>
                      <a:pt x="0" y="313"/>
                      <a:pt x="86" y="399"/>
                    </a:cubicBezTo>
                    <a:cubicBezTo>
                      <a:pt x="92" y="404"/>
                      <a:pt x="98" y="407"/>
                      <a:pt x="105" y="407"/>
                    </a:cubicBezTo>
                    <a:cubicBezTo>
                      <a:pt x="112" y="407"/>
                      <a:pt x="119" y="404"/>
                      <a:pt x="124" y="399"/>
                    </a:cubicBezTo>
                    <a:cubicBezTo>
                      <a:pt x="134" y="389"/>
                      <a:pt x="134" y="372"/>
                      <a:pt x="124" y="362"/>
                    </a:cubicBezTo>
                    <a:cubicBezTo>
                      <a:pt x="58" y="296"/>
                      <a:pt x="58" y="189"/>
                      <a:pt x="124"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grpSp>
          <p:nvGrpSpPr>
            <p:cNvPr id="54" name="Group 53"/>
            <p:cNvGrpSpPr/>
            <p:nvPr userDrawn="1"/>
          </p:nvGrpSpPr>
          <p:grpSpPr>
            <a:xfrm>
              <a:off x="9575942" y="6940244"/>
              <a:ext cx="375098" cy="396922"/>
              <a:chOff x="17605275" y="4174723"/>
              <a:chExt cx="873125" cy="923925"/>
            </a:xfrm>
            <a:solidFill>
              <a:schemeClr val="accent5">
                <a:lumMod val="75000"/>
              </a:schemeClr>
            </a:solidFill>
          </p:grpSpPr>
          <p:sp>
            <p:nvSpPr>
              <p:cNvPr id="81" name="Freeform 53"/>
              <p:cNvSpPr>
                <a:spLocks noEditPoints="1"/>
              </p:cNvSpPr>
              <p:nvPr userDrawn="1"/>
            </p:nvSpPr>
            <p:spPr bwMode="auto">
              <a:xfrm>
                <a:off x="17605275" y="4174723"/>
                <a:ext cx="873125" cy="776288"/>
              </a:xfrm>
              <a:custGeom>
                <a:avLst/>
                <a:gdLst>
                  <a:gd name="T0" fmla="*/ 1738 w 1738"/>
                  <a:gd name="T1" fmla="*/ 595 h 1548"/>
                  <a:gd name="T2" fmla="*/ 1046 w 1738"/>
                  <a:gd name="T3" fmla="*/ 262 h 1548"/>
                  <a:gd name="T4" fmla="*/ 678 w 1738"/>
                  <a:gd name="T5" fmla="*/ 191 h 1548"/>
                  <a:gd name="T6" fmla="*/ 191 w 1738"/>
                  <a:gd name="T7" fmla="*/ 404 h 1548"/>
                  <a:gd name="T8" fmla="*/ 165 w 1738"/>
                  <a:gd name="T9" fmla="*/ 1169 h 1548"/>
                  <a:gd name="T10" fmla="*/ 352 w 1738"/>
                  <a:gd name="T11" fmla="*/ 1460 h 1548"/>
                  <a:gd name="T12" fmla="*/ 634 w 1738"/>
                  <a:gd name="T13" fmla="*/ 1292 h 1548"/>
                  <a:gd name="T14" fmla="*/ 371 w 1738"/>
                  <a:gd name="T15" fmla="*/ 1239 h 1548"/>
                  <a:gd name="T16" fmla="*/ 521 w 1738"/>
                  <a:gd name="T17" fmla="*/ 979 h 1548"/>
                  <a:gd name="T18" fmla="*/ 519 w 1738"/>
                  <a:gd name="T19" fmla="*/ 969 h 1548"/>
                  <a:gd name="T20" fmla="*/ 517 w 1738"/>
                  <a:gd name="T21" fmla="*/ 966 h 1548"/>
                  <a:gd name="T22" fmla="*/ 609 w 1738"/>
                  <a:gd name="T23" fmla="*/ 701 h 1548"/>
                  <a:gd name="T24" fmla="*/ 382 w 1738"/>
                  <a:gd name="T25" fmla="*/ 595 h 1548"/>
                  <a:gd name="T26" fmla="*/ 826 w 1738"/>
                  <a:gd name="T27" fmla="*/ 376 h 1548"/>
                  <a:gd name="T28" fmla="*/ 724 w 1738"/>
                  <a:gd name="T29" fmla="*/ 623 h 1548"/>
                  <a:gd name="T30" fmla="*/ 992 w 1738"/>
                  <a:gd name="T31" fmla="*/ 610 h 1548"/>
                  <a:gd name="T32" fmla="*/ 1037 w 1738"/>
                  <a:gd name="T33" fmla="*/ 583 h 1548"/>
                  <a:gd name="T34" fmla="*/ 1375 w 1738"/>
                  <a:gd name="T35" fmla="*/ 513 h 1548"/>
                  <a:gd name="T36" fmla="*/ 1155 w 1738"/>
                  <a:gd name="T37" fmla="*/ 675 h 1548"/>
                  <a:gd name="T38" fmla="*/ 1367 w 1738"/>
                  <a:gd name="T39" fmla="*/ 727 h 1548"/>
                  <a:gd name="T40" fmla="*/ 1220 w 1738"/>
                  <a:gd name="T41" fmla="*/ 968 h 1548"/>
                  <a:gd name="T42" fmla="*/ 1217 w 1738"/>
                  <a:gd name="T43" fmla="*/ 980 h 1548"/>
                  <a:gd name="T44" fmla="*/ 1219 w 1738"/>
                  <a:gd name="T45" fmla="*/ 990 h 1548"/>
                  <a:gd name="T46" fmla="*/ 1221 w 1738"/>
                  <a:gd name="T47" fmla="*/ 993 h 1548"/>
                  <a:gd name="T48" fmla="*/ 1105 w 1738"/>
                  <a:gd name="T49" fmla="*/ 1239 h 1548"/>
                  <a:gd name="T50" fmla="*/ 1368 w 1738"/>
                  <a:gd name="T51" fmla="*/ 1292 h 1548"/>
                  <a:gd name="T52" fmla="*/ 1738 w 1738"/>
                  <a:gd name="T53" fmla="*/ 1358 h 1548"/>
                  <a:gd name="T54" fmla="*/ 191 w 1738"/>
                  <a:gd name="T55" fmla="*/ 457 h 1548"/>
                  <a:gd name="T56" fmla="*/ 53 w 1738"/>
                  <a:gd name="T57" fmla="*/ 595 h 1548"/>
                  <a:gd name="T58" fmla="*/ 191 w 1738"/>
                  <a:gd name="T59" fmla="*/ 1220 h 1548"/>
                  <a:gd name="T60" fmla="*/ 310 w 1738"/>
                  <a:gd name="T61" fmla="*/ 1287 h 1548"/>
                  <a:gd name="T62" fmla="*/ 191 w 1738"/>
                  <a:gd name="T63" fmla="*/ 1496 h 1548"/>
                  <a:gd name="T64" fmla="*/ 217 w 1738"/>
                  <a:gd name="T65" fmla="*/ 1169 h 1548"/>
                  <a:gd name="T66" fmla="*/ 464 w 1738"/>
                  <a:gd name="T67" fmla="*/ 980 h 1548"/>
                  <a:gd name="T68" fmla="*/ 869 w 1738"/>
                  <a:gd name="T69" fmla="*/ 328 h 1548"/>
                  <a:gd name="T70" fmla="*/ 869 w 1738"/>
                  <a:gd name="T71" fmla="*/ 53 h 1548"/>
                  <a:gd name="T72" fmla="*/ 989 w 1738"/>
                  <a:gd name="T73" fmla="*/ 260 h 1548"/>
                  <a:gd name="T74" fmla="*/ 873 w 1738"/>
                  <a:gd name="T75" fmla="*/ 329 h 1548"/>
                  <a:gd name="T76" fmla="*/ 1547 w 1738"/>
                  <a:gd name="T77" fmla="*/ 733 h 1548"/>
                  <a:gd name="T78" fmla="*/ 1422 w 1738"/>
                  <a:gd name="T79" fmla="*/ 738 h 1548"/>
                  <a:gd name="T80" fmla="*/ 1417 w 1738"/>
                  <a:gd name="T81" fmla="*/ 1219 h 1548"/>
                  <a:gd name="T82" fmla="*/ 1547 w 1738"/>
                  <a:gd name="T83" fmla="*/ 1496 h 1548"/>
                  <a:gd name="T84" fmla="*/ 1437 w 1738"/>
                  <a:gd name="T85" fmla="*/ 1278 h 1548"/>
                  <a:gd name="T86" fmla="*/ 1685 w 1738"/>
                  <a:gd name="T87" fmla="*/ 1358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38" h="1548">
                    <a:moveTo>
                      <a:pt x="1574" y="1169"/>
                    </a:moveTo>
                    <a:cubicBezTo>
                      <a:pt x="1574" y="784"/>
                      <a:pt x="1574" y="784"/>
                      <a:pt x="1574" y="784"/>
                    </a:cubicBezTo>
                    <a:cubicBezTo>
                      <a:pt x="1667" y="771"/>
                      <a:pt x="1738" y="691"/>
                      <a:pt x="1738" y="595"/>
                    </a:cubicBezTo>
                    <a:cubicBezTo>
                      <a:pt x="1738" y="490"/>
                      <a:pt x="1653" y="404"/>
                      <a:pt x="1547" y="404"/>
                    </a:cubicBezTo>
                    <a:cubicBezTo>
                      <a:pt x="1490" y="404"/>
                      <a:pt x="1439" y="429"/>
                      <a:pt x="1404" y="469"/>
                    </a:cubicBezTo>
                    <a:cubicBezTo>
                      <a:pt x="1046" y="262"/>
                      <a:pt x="1046" y="262"/>
                      <a:pt x="1046" y="262"/>
                    </a:cubicBezTo>
                    <a:cubicBezTo>
                      <a:pt x="1055" y="240"/>
                      <a:pt x="1060" y="215"/>
                      <a:pt x="1060" y="191"/>
                    </a:cubicBezTo>
                    <a:cubicBezTo>
                      <a:pt x="1060" y="86"/>
                      <a:pt x="974" y="0"/>
                      <a:pt x="869" y="0"/>
                    </a:cubicBezTo>
                    <a:cubicBezTo>
                      <a:pt x="764" y="0"/>
                      <a:pt x="678" y="86"/>
                      <a:pt x="678" y="191"/>
                    </a:cubicBezTo>
                    <a:cubicBezTo>
                      <a:pt x="678" y="216"/>
                      <a:pt x="683" y="240"/>
                      <a:pt x="692" y="262"/>
                    </a:cubicBezTo>
                    <a:cubicBezTo>
                      <a:pt x="334" y="469"/>
                      <a:pt x="334" y="469"/>
                      <a:pt x="334" y="469"/>
                    </a:cubicBezTo>
                    <a:cubicBezTo>
                      <a:pt x="299" y="429"/>
                      <a:pt x="248" y="404"/>
                      <a:pt x="191" y="404"/>
                    </a:cubicBezTo>
                    <a:cubicBezTo>
                      <a:pt x="86" y="404"/>
                      <a:pt x="0" y="490"/>
                      <a:pt x="0" y="595"/>
                    </a:cubicBezTo>
                    <a:cubicBezTo>
                      <a:pt x="0" y="691"/>
                      <a:pt x="72" y="771"/>
                      <a:pt x="165" y="784"/>
                    </a:cubicBezTo>
                    <a:cubicBezTo>
                      <a:pt x="165" y="1169"/>
                      <a:pt x="165" y="1169"/>
                      <a:pt x="165" y="1169"/>
                    </a:cubicBezTo>
                    <a:cubicBezTo>
                      <a:pt x="72" y="1182"/>
                      <a:pt x="0" y="1261"/>
                      <a:pt x="0" y="1358"/>
                    </a:cubicBezTo>
                    <a:cubicBezTo>
                      <a:pt x="0" y="1463"/>
                      <a:pt x="86" y="1548"/>
                      <a:pt x="191" y="1548"/>
                    </a:cubicBezTo>
                    <a:cubicBezTo>
                      <a:pt x="256" y="1548"/>
                      <a:pt x="317" y="1515"/>
                      <a:pt x="352" y="1460"/>
                    </a:cubicBezTo>
                    <a:cubicBezTo>
                      <a:pt x="371" y="1429"/>
                      <a:pt x="382" y="1394"/>
                      <a:pt x="382" y="1358"/>
                    </a:cubicBezTo>
                    <a:cubicBezTo>
                      <a:pt x="382" y="1335"/>
                      <a:pt x="378" y="1313"/>
                      <a:pt x="370" y="1292"/>
                    </a:cubicBezTo>
                    <a:cubicBezTo>
                      <a:pt x="634" y="1292"/>
                      <a:pt x="634" y="1292"/>
                      <a:pt x="634" y="1292"/>
                    </a:cubicBezTo>
                    <a:cubicBezTo>
                      <a:pt x="648" y="1292"/>
                      <a:pt x="660" y="1280"/>
                      <a:pt x="660" y="1265"/>
                    </a:cubicBezTo>
                    <a:cubicBezTo>
                      <a:pt x="660" y="1251"/>
                      <a:pt x="648" y="1239"/>
                      <a:pt x="634" y="1239"/>
                    </a:cubicBezTo>
                    <a:cubicBezTo>
                      <a:pt x="371" y="1239"/>
                      <a:pt x="371" y="1239"/>
                      <a:pt x="371" y="1239"/>
                    </a:cubicBezTo>
                    <a:cubicBezTo>
                      <a:pt x="518" y="994"/>
                      <a:pt x="518" y="994"/>
                      <a:pt x="518" y="994"/>
                    </a:cubicBezTo>
                    <a:cubicBezTo>
                      <a:pt x="520" y="989"/>
                      <a:pt x="521" y="984"/>
                      <a:pt x="521" y="980"/>
                    </a:cubicBezTo>
                    <a:cubicBezTo>
                      <a:pt x="521" y="979"/>
                      <a:pt x="521" y="979"/>
                      <a:pt x="521" y="979"/>
                    </a:cubicBezTo>
                    <a:cubicBezTo>
                      <a:pt x="521" y="979"/>
                      <a:pt x="521" y="979"/>
                      <a:pt x="521" y="979"/>
                    </a:cubicBezTo>
                    <a:cubicBezTo>
                      <a:pt x="521" y="975"/>
                      <a:pt x="520" y="972"/>
                      <a:pt x="519" y="969"/>
                    </a:cubicBezTo>
                    <a:cubicBezTo>
                      <a:pt x="519" y="969"/>
                      <a:pt x="519" y="969"/>
                      <a:pt x="519" y="969"/>
                    </a:cubicBezTo>
                    <a:cubicBezTo>
                      <a:pt x="519" y="968"/>
                      <a:pt x="518" y="968"/>
                      <a:pt x="518" y="968"/>
                    </a:cubicBezTo>
                    <a:cubicBezTo>
                      <a:pt x="518" y="967"/>
                      <a:pt x="518" y="967"/>
                      <a:pt x="518" y="967"/>
                    </a:cubicBezTo>
                    <a:cubicBezTo>
                      <a:pt x="518" y="967"/>
                      <a:pt x="518" y="966"/>
                      <a:pt x="517" y="966"/>
                    </a:cubicBezTo>
                    <a:cubicBezTo>
                      <a:pt x="371" y="727"/>
                      <a:pt x="371" y="727"/>
                      <a:pt x="371" y="727"/>
                    </a:cubicBezTo>
                    <a:cubicBezTo>
                      <a:pt x="583" y="727"/>
                      <a:pt x="583" y="727"/>
                      <a:pt x="583" y="727"/>
                    </a:cubicBezTo>
                    <a:cubicBezTo>
                      <a:pt x="598" y="727"/>
                      <a:pt x="609" y="716"/>
                      <a:pt x="609" y="701"/>
                    </a:cubicBezTo>
                    <a:cubicBezTo>
                      <a:pt x="609" y="687"/>
                      <a:pt x="598" y="675"/>
                      <a:pt x="583" y="675"/>
                    </a:cubicBezTo>
                    <a:cubicBezTo>
                      <a:pt x="364" y="675"/>
                      <a:pt x="364" y="675"/>
                      <a:pt x="364" y="675"/>
                    </a:cubicBezTo>
                    <a:cubicBezTo>
                      <a:pt x="375" y="650"/>
                      <a:pt x="382" y="623"/>
                      <a:pt x="382" y="595"/>
                    </a:cubicBezTo>
                    <a:cubicBezTo>
                      <a:pt x="382" y="566"/>
                      <a:pt x="375" y="538"/>
                      <a:pt x="363" y="513"/>
                    </a:cubicBezTo>
                    <a:cubicBezTo>
                      <a:pt x="719" y="308"/>
                      <a:pt x="719" y="308"/>
                      <a:pt x="719" y="308"/>
                    </a:cubicBezTo>
                    <a:cubicBezTo>
                      <a:pt x="745" y="342"/>
                      <a:pt x="783" y="366"/>
                      <a:pt x="826" y="376"/>
                    </a:cubicBezTo>
                    <a:cubicBezTo>
                      <a:pt x="702" y="583"/>
                      <a:pt x="702" y="583"/>
                      <a:pt x="702" y="583"/>
                    </a:cubicBezTo>
                    <a:cubicBezTo>
                      <a:pt x="694" y="596"/>
                      <a:pt x="698" y="612"/>
                      <a:pt x="711" y="620"/>
                    </a:cubicBezTo>
                    <a:cubicBezTo>
                      <a:pt x="715" y="622"/>
                      <a:pt x="720" y="623"/>
                      <a:pt x="724" y="623"/>
                    </a:cubicBezTo>
                    <a:cubicBezTo>
                      <a:pt x="733" y="623"/>
                      <a:pt x="742" y="619"/>
                      <a:pt x="747" y="610"/>
                    </a:cubicBezTo>
                    <a:cubicBezTo>
                      <a:pt x="869" y="406"/>
                      <a:pt x="869" y="406"/>
                      <a:pt x="869" y="406"/>
                    </a:cubicBezTo>
                    <a:cubicBezTo>
                      <a:pt x="992" y="610"/>
                      <a:pt x="992" y="610"/>
                      <a:pt x="992" y="610"/>
                    </a:cubicBezTo>
                    <a:cubicBezTo>
                      <a:pt x="996" y="619"/>
                      <a:pt x="1005" y="623"/>
                      <a:pt x="1014" y="623"/>
                    </a:cubicBezTo>
                    <a:cubicBezTo>
                      <a:pt x="1019" y="623"/>
                      <a:pt x="1023" y="622"/>
                      <a:pt x="1028" y="620"/>
                    </a:cubicBezTo>
                    <a:cubicBezTo>
                      <a:pt x="1040" y="612"/>
                      <a:pt x="1044" y="596"/>
                      <a:pt x="1037" y="583"/>
                    </a:cubicBezTo>
                    <a:cubicBezTo>
                      <a:pt x="913" y="376"/>
                      <a:pt x="913" y="376"/>
                      <a:pt x="913" y="376"/>
                    </a:cubicBezTo>
                    <a:cubicBezTo>
                      <a:pt x="955" y="366"/>
                      <a:pt x="993" y="342"/>
                      <a:pt x="1020" y="308"/>
                    </a:cubicBezTo>
                    <a:cubicBezTo>
                      <a:pt x="1375" y="513"/>
                      <a:pt x="1375" y="513"/>
                      <a:pt x="1375" y="513"/>
                    </a:cubicBezTo>
                    <a:cubicBezTo>
                      <a:pt x="1363" y="538"/>
                      <a:pt x="1357" y="566"/>
                      <a:pt x="1357" y="595"/>
                    </a:cubicBezTo>
                    <a:cubicBezTo>
                      <a:pt x="1357" y="623"/>
                      <a:pt x="1363" y="650"/>
                      <a:pt x="1374" y="675"/>
                    </a:cubicBezTo>
                    <a:cubicBezTo>
                      <a:pt x="1155" y="675"/>
                      <a:pt x="1155" y="675"/>
                      <a:pt x="1155" y="675"/>
                    </a:cubicBezTo>
                    <a:cubicBezTo>
                      <a:pt x="1141" y="675"/>
                      <a:pt x="1129" y="687"/>
                      <a:pt x="1129" y="701"/>
                    </a:cubicBezTo>
                    <a:cubicBezTo>
                      <a:pt x="1129" y="716"/>
                      <a:pt x="1141" y="727"/>
                      <a:pt x="1155" y="727"/>
                    </a:cubicBezTo>
                    <a:cubicBezTo>
                      <a:pt x="1367" y="727"/>
                      <a:pt x="1367" y="727"/>
                      <a:pt x="1367" y="727"/>
                    </a:cubicBezTo>
                    <a:cubicBezTo>
                      <a:pt x="1221" y="966"/>
                      <a:pt x="1221" y="966"/>
                      <a:pt x="1221" y="966"/>
                    </a:cubicBezTo>
                    <a:cubicBezTo>
                      <a:pt x="1221" y="966"/>
                      <a:pt x="1221" y="966"/>
                      <a:pt x="1221" y="967"/>
                    </a:cubicBezTo>
                    <a:cubicBezTo>
                      <a:pt x="1221" y="967"/>
                      <a:pt x="1220" y="968"/>
                      <a:pt x="1220" y="968"/>
                    </a:cubicBezTo>
                    <a:cubicBezTo>
                      <a:pt x="1220" y="968"/>
                      <a:pt x="1220" y="969"/>
                      <a:pt x="1220" y="969"/>
                    </a:cubicBezTo>
                    <a:cubicBezTo>
                      <a:pt x="1219" y="969"/>
                      <a:pt x="1219" y="970"/>
                      <a:pt x="1219" y="970"/>
                    </a:cubicBezTo>
                    <a:cubicBezTo>
                      <a:pt x="1218" y="973"/>
                      <a:pt x="1217" y="977"/>
                      <a:pt x="1217" y="980"/>
                    </a:cubicBezTo>
                    <a:cubicBezTo>
                      <a:pt x="1217" y="981"/>
                      <a:pt x="1217" y="981"/>
                      <a:pt x="1217" y="981"/>
                    </a:cubicBezTo>
                    <a:cubicBezTo>
                      <a:pt x="1217" y="981"/>
                      <a:pt x="1217" y="981"/>
                      <a:pt x="1217" y="981"/>
                    </a:cubicBezTo>
                    <a:cubicBezTo>
                      <a:pt x="1217" y="984"/>
                      <a:pt x="1218" y="987"/>
                      <a:pt x="1219" y="990"/>
                    </a:cubicBezTo>
                    <a:cubicBezTo>
                      <a:pt x="1219" y="991"/>
                      <a:pt x="1219" y="991"/>
                      <a:pt x="1219" y="991"/>
                    </a:cubicBezTo>
                    <a:cubicBezTo>
                      <a:pt x="1220" y="992"/>
                      <a:pt x="1220" y="992"/>
                      <a:pt x="1220" y="992"/>
                    </a:cubicBezTo>
                    <a:cubicBezTo>
                      <a:pt x="1220" y="993"/>
                      <a:pt x="1220" y="993"/>
                      <a:pt x="1221" y="993"/>
                    </a:cubicBezTo>
                    <a:cubicBezTo>
                      <a:pt x="1221" y="994"/>
                      <a:pt x="1221" y="994"/>
                      <a:pt x="1221" y="994"/>
                    </a:cubicBezTo>
                    <a:cubicBezTo>
                      <a:pt x="1368" y="1239"/>
                      <a:pt x="1368" y="1239"/>
                      <a:pt x="1368" y="1239"/>
                    </a:cubicBezTo>
                    <a:cubicBezTo>
                      <a:pt x="1105" y="1239"/>
                      <a:pt x="1105" y="1239"/>
                      <a:pt x="1105" y="1239"/>
                    </a:cubicBezTo>
                    <a:cubicBezTo>
                      <a:pt x="1090" y="1239"/>
                      <a:pt x="1078" y="1251"/>
                      <a:pt x="1078" y="1265"/>
                    </a:cubicBezTo>
                    <a:cubicBezTo>
                      <a:pt x="1078" y="1280"/>
                      <a:pt x="1090" y="1292"/>
                      <a:pt x="1105" y="1292"/>
                    </a:cubicBezTo>
                    <a:cubicBezTo>
                      <a:pt x="1368" y="1292"/>
                      <a:pt x="1368" y="1292"/>
                      <a:pt x="1368" y="1292"/>
                    </a:cubicBezTo>
                    <a:cubicBezTo>
                      <a:pt x="1361" y="1313"/>
                      <a:pt x="1357" y="1335"/>
                      <a:pt x="1357" y="1358"/>
                    </a:cubicBezTo>
                    <a:cubicBezTo>
                      <a:pt x="1357" y="1463"/>
                      <a:pt x="1442" y="1548"/>
                      <a:pt x="1547" y="1548"/>
                    </a:cubicBezTo>
                    <a:cubicBezTo>
                      <a:pt x="1653" y="1548"/>
                      <a:pt x="1738" y="1463"/>
                      <a:pt x="1738" y="1358"/>
                    </a:cubicBezTo>
                    <a:cubicBezTo>
                      <a:pt x="1738" y="1261"/>
                      <a:pt x="1667" y="1182"/>
                      <a:pt x="1574" y="1169"/>
                    </a:cubicBezTo>
                    <a:close/>
                    <a:moveTo>
                      <a:pt x="53" y="595"/>
                    </a:moveTo>
                    <a:cubicBezTo>
                      <a:pt x="53" y="519"/>
                      <a:pt x="115" y="457"/>
                      <a:pt x="191" y="457"/>
                    </a:cubicBezTo>
                    <a:cubicBezTo>
                      <a:pt x="267" y="457"/>
                      <a:pt x="329" y="519"/>
                      <a:pt x="329" y="595"/>
                    </a:cubicBezTo>
                    <a:cubicBezTo>
                      <a:pt x="329" y="671"/>
                      <a:pt x="267" y="733"/>
                      <a:pt x="191" y="733"/>
                    </a:cubicBezTo>
                    <a:cubicBezTo>
                      <a:pt x="115" y="733"/>
                      <a:pt x="53" y="671"/>
                      <a:pt x="53" y="595"/>
                    </a:cubicBezTo>
                    <a:close/>
                    <a:moveTo>
                      <a:pt x="191" y="1496"/>
                    </a:moveTo>
                    <a:cubicBezTo>
                      <a:pt x="115" y="1496"/>
                      <a:pt x="53" y="1434"/>
                      <a:pt x="53" y="1358"/>
                    </a:cubicBezTo>
                    <a:cubicBezTo>
                      <a:pt x="53" y="1281"/>
                      <a:pt x="115" y="1220"/>
                      <a:pt x="191" y="1220"/>
                    </a:cubicBezTo>
                    <a:cubicBezTo>
                      <a:pt x="233" y="1220"/>
                      <a:pt x="273" y="1239"/>
                      <a:pt x="299" y="1271"/>
                    </a:cubicBezTo>
                    <a:cubicBezTo>
                      <a:pt x="299" y="1274"/>
                      <a:pt x="300" y="1276"/>
                      <a:pt x="302" y="1278"/>
                    </a:cubicBezTo>
                    <a:cubicBezTo>
                      <a:pt x="304" y="1282"/>
                      <a:pt x="306" y="1285"/>
                      <a:pt x="310" y="1287"/>
                    </a:cubicBezTo>
                    <a:cubicBezTo>
                      <a:pt x="322" y="1308"/>
                      <a:pt x="329" y="1333"/>
                      <a:pt x="329" y="1358"/>
                    </a:cubicBezTo>
                    <a:cubicBezTo>
                      <a:pt x="329" y="1384"/>
                      <a:pt x="322" y="1409"/>
                      <a:pt x="307" y="1431"/>
                    </a:cubicBezTo>
                    <a:cubicBezTo>
                      <a:pt x="282" y="1472"/>
                      <a:pt x="238" y="1496"/>
                      <a:pt x="191" y="1496"/>
                    </a:cubicBezTo>
                    <a:close/>
                    <a:moveTo>
                      <a:pt x="464" y="980"/>
                    </a:moveTo>
                    <a:cubicBezTo>
                      <a:pt x="322" y="1219"/>
                      <a:pt x="322" y="1219"/>
                      <a:pt x="322" y="1219"/>
                    </a:cubicBezTo>
                    <a:cubicBezTo>
                      <a:pt x="293" y="1192"/>
                      <a:pt x="256" y="1174"/>
                      <a:pt x="217" y="1169"/>
                    </a:cubicBezTo>
                    <a:cubicBezTo>
                      <a:pt x="217" y="784"/>
                      <a:pt x="217" y="784"/>
                      <a:pt x="217" y="784"/>
                    </a:cubicBezTo>
                    <a:cubicBezTo>
                      <a:pt x="255" y="779"/>
                      <a:pt x="289" y="762"/>
                      <a:pt x="316" y="738"/>
                    </a:cubicBezTo>
                    <a:lnTo>
                      <a:pt x="464" y="980"/>
                    </a:lnTo>
                    <a:close/>
                    <a:moveTo>
                      <a:pt x="873" y="329"/>
                    </a:moveTo>
                    <a:cubicBezTo>
                      <a:pt x="872" y="328"/>
                      <a:pt x="870" y="328"/>
                      <a:pt x="869" y="328"/>
                    </a:cubicBezTo>
                    <a:cubicBezTo>
                      <a:pt x="869" y="328"/>
                      <a:pt x="869" y="328"/>
                      <a:pt x="869" y="328"/>
                    </a:cubicBezTo>
                    <a:cubicBezTo>
                      <a:pt x="868" y="328"/>
                      <a:pt x="866" y="329"/>
                      <a:pt x="865" y="329"/>
                    </a:cubicBezTo>
                    <a:cubicBezTo>
                      <a:pt x="791" y="327"/>
                      <a:pt x="731" y="265"/>
                      <a:pt x="731" y="191"/>
                    </a:cubicBezTo>
                    <a:cubicBezTo>
                      <a:pt x="731" y="115"/>
                      <a:pt x="793" y="53"/>
                      <a:pt x="869" y="53"/>
                    </a:cubicBezTo>
                    <a:cubicBezTo>
                      <a:pt x="945" y="53"/>
                      <a:pt x="1007" y="115"/>
                      <a:pt x="1007" y="191"/>
                    </a:cubicBezTo>
                    <a:cubicBezTo>
                      <a:pt x="1007" y="215"/>
                      <a:pt x="1001" y="239"/>
                      <a:pt x="989" y="260"/>
                    </a:cubicBezTo>
                    <a:cubicBezTo>
                      <a:pt x="989" y="260"/>
                      <a:pt x="989" y="260"/>
                      <a:pt x="989" y="260"/>
                    </a:cubicBezTo>
                    <a:cubicBezTo>
                      <a:pt x="989" y="260"/>
                      <a:pt x="989" y="260"/>
                      <a:pt x="989" y="260"/>
                    </a:cubicBezTo>
                    <a:cubicBezTo>
                      <a:pt x="989" y="260"/>
                      <a:pt x="989" y="260"/>
                      <a:pt x="989" y="260"/>
                    </a:cubicBezTo>
                    <a:cubicBezTo>
                      <a:pt x="965" y="301"/>
                      <a:pt x="921" y="327"/>
                      <a:pt x="873" y="329"/>
                    </a:cubicBezTo>
                    <a:close/>
                    <a:moveTo>
                      <a:pt x="1547" y="457"/>
                    </a:moveTo>
                    <a:cubicBezTo>
                      <a:pt x="1624" y="457"/>
                      <a:pt x="1685" y="519"/>
                      <a:pt x="1685" y="595"/>
                    </a:cubicBezTo>
                    <a:cubicBezTo>
                      <a:pt x="1685" y="671"/>
                      <a:pt x="1624" y="733"/>
                      <a:pt x="1547" y="733"/>
                    </a:cubicBezTo>
                    <a:cubicBezTo>
                      <a:pt x="1471" y="733"/>
                      <a:pt x="1409" y="671"/>
                      <a:pt x="1409" y="595"/>
                    </a:cubicBezTo>
                    <a:cubicBezTo>
                      <a:pt x="1409" y="519"/>
                      <a:pt x="1471" y="457"/>
                      <a:pt x="1547" y="457"/>
                    </a:cubicBezTo>
                    <a:close/>
                    <a:moveTo>
                      <a:pt x="1422" y="738"/>
                    </a:moveTo>
                    <a:cubicBezTo>
                      <a:pt x="1449" y="762"/>
                      <a:pt x="1483" y="779"/>
                      <a:pt x="1521" y="784"/>
                    </a:cubicBezTo>
                    <a:cubicBezTo>
                      <a:pt x="1521" y="1169"/>
                      <a:pt x="1521" y="1169"/>
                      <a:pt x="1521" y="1169"/>
                    </a:cubicBezTo>
                    <a:cubicBezTo>
                      <a:pt x="1482" y="1174"/>
                      <a:pt x="1446" y="1192"/>
                      <a:pt x="1417" y="1219"/>
                    </a:cubicBezTo>
                    <a:cubicBezTo>
                      <a:pt x="1274" y="980"/>
                      <a:pt x="1274" y="980"/>
                      <a:pt x="1274" y="980"/>
                    </a:cubicBezTo>
                    <a:lnTo>
                      <a:pt x="1422" y="738"/>
                    </a:lnTo>
                    <a:close/>
                    <a:moveTo>
                      <a:pt x="1547" y="1496"/>
                    </a:moveTo>
                    <a:cubicBezTo>
                      <a:pt x="1471" y="1496"/>
                      <a:pt x="1409" y="1434"/>
                      <a:pt x="1409" y="1358"/>
                    </a:cubicBezTo>
                    <a:cubicBezTo>
                      <a:pt x="1409" y="1333"/>
                      <a:pt x="1416" y="1308"/>
                      <a:pt x="1429" y="1287"/>
                    </a:cubicBezTo>
                    <a:cubicBezTo>
                      <a:pt x="1432" y="1285"/>
                      <a:pt x="1435" y="1282"/>
                      <a:pt x="1437" y="1278"/>
                    </a:cubicBezTo>
                    <a:cubicBezTo>
                      <a:pt x="1438" y="1276"/>
                      <a:pt x="1439" y="1274"/>
                      <a:pt x="1440" y="1271"/>
                    </a:cubicBezTo>
                    <a:cubicBezTo>
                      <a:pt x="1466" y="1239"/>
                      <a:pt x="1505" y="1220"/>
                      <a:pt x="1547" y="1220"/>
                    </a:cubicBezTo>
                    <a:cubicBezTo>
                      <a:pt x="1624" y="1220"/>
                      <a:pt x="1685" y="1281"/>
                      <a:pt x="1685" y="1358"/>
                    </a:cubicBezTo>
                    <a:cubicBezTo>
                      <a:pt x="1685" y="1434"/>
                      <a:pt x="1624" y="1496"/>
                      <a:pt x="1547" y="14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82" name="Freeform 54"/>
              <p:cNvSpPr>
                <a:spLocks noEditPoints="1"/>
              </p:cNvSpPr>
              <p:nvPr userDrawn="1"/>
            </p:nvSpPr>
            <p:spPr bwMode="auto">
              <a:xfrm>
                <a:off x="17778312" y="4517623"/>
                <a:ext cx="527050" cy="581025"/>
              </a:xfrm>
              <a:custGeom>
                <a:avLst/>
                <a:gdLst>
                  <a:gd name="T0" fmla="*/ 664 w 1050"/>
                  <a:gd name="T1" fmla="*/ 618 h 1158"/>
                  <a:gd name="T2" fmla="*/ 797 w 1050"/>
                  <a:gd name="T3" fmla="*/ 332 h 1158"/>
                  <a:gd name="T4" fmla="*/ 525 w 1050"/>
                  <a:gd name="T5" fmla="*/ 0 h 1158"/>
                  <a:gd name="T6" fmla="*/ 253 w 1050"/>
                  <a:gd name="T7" fmla="*/ 332 h 1158"/>
                  <a:gd name="T8" fmla="*/ 387 w 1050"/>
                  <a:gd name="T9" fmla="*/ 618 h 1158"/>
                  <a:gd name="T10" fmla="*/ 81 w 1050"/>
                  <a:gd name="T11" fmla="*/ 795 h 1158"/>
                  <a:gd name="T12" fmla="*/ 1 w 1050"/>
                  <a:gd name="T13" fmla="*/ 1131 h 1158"/>
                  <a:gd name="T14" fmla="*/ 8 w 1050"/>
                  <a:gd name="T15" fmla="*/ 1150 h 1158"/>
                  <a:gd name="T16" fmla="*/ 27 w 1050"/>
                  <a:gd name="T17" fmla="*/ 1158 h 1158"/>
                  <a:gd name="T18" fmla="*/ 1024 w 1050"/>
                  <a:gd name="T19" fmla="*/ 1158 h 1158"/>
                  <a:gd name="T20" fmla="*/ 1043 w 1050"/>
                  <a:gd name="T21" fmla="*/ 1150 h 1158"/>
                  <a:gd name="T22" fmla="*/ 1050 w 1050"/>
                  <a:gd name="T23" fmla="*/ 1131 h 1158"/>
                  <a:gd name="T24" fmla="*/ 970 w 1050"/>
                  <a:gd name="T25" fmla="*/ 795 h 1158"/>
                  <a:gd name="T26" fmla="*/ 664 w 1050"/>
                  <a:gd name="T27" fmla="*/ 618 h 1158"/>
                  <a:gd name="T28" fmla="*/ 306 w 1050"/>
                  <a:gd name="T29" fmla="*/ 332 h 1158"/>
                  <a:gd name="T30" fmla="*/ 525 w 1050"/>
                  <a:gd name="T31" fmla="*/ 52 h 1158"/>
                  <a:gd name="T32" fmla="*/ 716 w 1050"/>
                  <a:gd name="T33" fmla="*/ 129 h 1158"/>
                  <a:gd name="T34" fmla="*/ 744 w 1050"/>
                  <a:gd name="T35" fmla="*/ 332 h 1158"/>
                  <a:gd name="T36" fmla="*/ 525 w 1050"/>
                  <a:gd name="T37" fmla="*/ 612 h 1158"/>
                  <a:gd name="T38" fmla="*/ 306 w 1050"/>
                  <a:gd name="T39" fmla="*/ 332 h 1158"/>
                  <a:gd name="T40" fmla="*/ 525 w 1050"/>
                  <a:gd name="T41" fmla="*/ 665 h 1158"/>
                  <a:gd name="T42" fmla="*/ 625 w 1050"/>
                  <a:gd name="T43" fmla="*/ 641 h 1158"/>
                  <a:gd name="T44" fmla="*/ 525 w 1050"/>
                  <a:gd name="T45" fmla="*/ 786 h 1158"/>
                  <a:gd name="T46" fmla="*/ 425 w 1050"/>
                  <a:gd name="T47" fmla="*/ 641 h 1158"/>
                  <a:gd name="T48" fmla="*/ 525 w 1050"/>
                  <a:gd name="T49" fmla="*/ 665 h 1158"/>
                  <a:gd name="T50" fmla="*/ 55 w 1050"/>
                  <a:gd name="T51" fmla="*/ 1106 h 1158"/>
                  <a:gd name="T52" fmla="*/ 382 w 1050"/>
                  <a:gd name="T53" fmla="*/ 672 h 1158"/>
                  <a:gd name="T54" fmla="*/ 504 w 1050"/>
                  <a:gd name="T55" fmla="*/ 847 h 1158"/>
                  <a:gd name="T56" fmla="*/ 525 w 1050"/>
                  <a:gd name="T57" fmla="*/ 858 h 1158"/>
                  <a:gd name="T58" fmla="*/ 547 w 1050"/>
                  <a:gd name="T59" fmla="*/ 847 h 1158"/>
                  <a:gd name="T60" fmla="*/ 668 w 1050"/>
                  <a:gd name="T61" fmla="*/ 672 h 1158"/>
                  <a:gd name="T62" fmla="*/ 996 w 1050"/>
                  <a:gd name="T63" fmla="*/ 1106 h 1158"/>
                  <a:gd name="T64" fmla="*/ 55 w 1050"/>
                  <a:gd name="T65" fmla="*/ 1106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50" h="1158">
                    <a:moveTo>
                      <a:pt x="664" y="618"/>
                    </a:moveTo>
                    <a:cubicBezTo>
                      <a:pt x="743" y="560"/>
                      <a:pt x="797" y="454"/>
                      <a:pt x="797" y="332"/>
                    </a:cubicBezTo>
                    <a:cubicBezTo>
                      <a:pt x="797" y="169"/>
                      <a:pt x="797" y="0"/>
                      <a:pt x="525" y="0"/>
                    </a:cubicBezTo>
                    <a:cubicBezTo>
                      <a:pt x="253" y="0"/>
                      <a:pt x="253" y="169"/>
                      <a:pt x="253" y="332"/>
                    </a:cubicBezTo>
                    <a:cubicBezTo>
                      <a:pt x="253" y="454"/>
                      <a:pt x="307" y="560"/>
                      <a:pt x="387" y="618"/>
                    </a:cubicBezTo>
                    <a:cubicBezTo>
                      <a:pt x="242" y="639"/>
                      <a:pt x="142" y="697"/>
                      <a:pt x="81" y="795"/>
                    </a:cubicBezTo>
                    <a:cubicBezTo>
                      <a:pt x="18" y="895"/>
                      <a:pt x="5" y="1027"/>
                      <a:pt x="1" y="1131"/>
                    </a:cubicBezTo>
                    <a:cubicBezTo>
                      <a:pt x="0" y="1138"/>
                      <a:pt x="3" y="1145"/>
                      <a:pt x="8" y="1150"/>
                    </a:cubicBezTo>
                    <a:cubicBezTo>
                      <a:pt x="13" y="1155"/>
                      <a:pt x="20" y="1158"/>
                      <a:pt x="27" y="1158"/>
                    </a:cubicBezTo>
                    <a:cubicBezTo>
                      <a:pt x="1024" y="1158"/>
                      <a:pt x="1024" y="1158"/>
                      <a:pt x="1024" y="1158"/>
                    </a:cubicBezTo>
                    <a:cubicBezTo>
                      <a:pt x="1031" y="1158"/>
                      <a:pt x="1038" y="1155"/>
                      <a:pt x="1043" y="1150"/>
                    </a:cubicBezTo>
                    <a:cubicBezTo>
                      <a:pt x="1048" y="1145"/>
                      <a:pt x="1050" y="1138"/>
                      <a:pt x="1050" y="1131"/>
                    </a:cubicBezTo>
                    <a:cubicBezTo>
                      <a:pt x="1045" y="1027"/>
                      <a:pt x="1032" y="895"/>
                      <a:pt x="970" y="795"/>
                    </a:cubicBezTo>
                    <a:cubicBezTo>
                      <a:pt x="908" y="697"/>
                      <a:pt x="808" y="639"/>
                      <a:pt x="664" y="618"/>
                    </a:cubicBezTo>
                    <a:close/>
                    <a:moveTo>
                      <a:pt x="306" y="332"/>
                    </a:moveTo>
                    <a:cubicBezTo>
                      <a:pt x="306" y="153"/>
                      <a:pt x="316" y="52"/>
                      <a:pt x="525" y="52"/>
                    </a:cubicBezTo>
                    <a:cubicBezTo>
                      <a:pt x="658" y="52"/>
                      <a:pt x="697" y="96"/>
                      <a:pt x="716" y="129"/>
                    </a:cubicBezTo>
                    <a:cubicBezTo>
                      <a:pt x="744" y="180"/>
                      <a:pt x="744" y="257"/>
                      <a:pt x="744" y="332"/>
                    </a:cubicBezTo>
                    <a:cubicBezTo>
                      <a:pt x="744" y="486"/>
                      <a:pt x="646" y="612"/>
                      <a:pt x="525" y="612"/>
                    </a:cubicBezTo>
                    <a:cubicBezTo>
                      <a:pt x="404" y="612"/>
                      <a:pt x="306" y="486"/>
                      <a:pt x="306" y="332"/>
                    </a:cubicBezTo>
                    <a:close/>
                    <a:moveTo>
                      <a:pt x="525" y="665"/>
                    </a:moveTo>
                    <a:cubicBezTo>
                      <a:pt x="560" y="665"/>
                      <a:pt x="594" y="656"/>
                      <a:pt x="625" y="641"/>
                    </a:cubicBezTo>
                    <a:cubicBezTo>
                      <a:pt x="525" y="786"/>
                      <a:pt x="525" y="786"/>
                      <a:pt x="525" y="786"/>
                    </a:cubicBezTo>
                    <a:cubicBezTo>
                      <a:pt x="425" y="641"/>
                      <a:pt x="425" y="641"/>
                      <a:pt x="425" y="641"/>
                    </a:cubicBezTo>
                    <a:cubicBezTo>
                      <a:pt x="456" y="656"/>
                      <a:pt x="490" y="665"/>
                      <a:pt x="525" y="665"/>
                    </a:cubicBezTo>
                    <a:close/>
                    <a:moveTo>
                      <a:pt x="55" y="1106"/>
                    </a:moveTo>
                    <a:cubicBezTo>
                      <a:pt x="69" y="868"/>
                      <a:pt x="133" y="713"/>
                      <a:pt x="382" y="672"/>
                    </a:cubicBezTo>
                    <a:cubicBezTo>
                      <a:pt x="504" y="847"/>
                      <a:pt x="504" y="847"/>
                      <a:pt x="504" y="847"/>
                    </a:cubicBezTo>
                    <a:cubicBezTo>
                      <a:pt x="508" y="854"/>
                      <a:pt x="517" y="858"/>
                      <a:pt x="525" y="858"/>
                    </a:cubicBezTo>
                    <a:cubicBezTo>
                      <a:pt x="534" y="858"/>
                      <a:pt x="542" y="854"/>
                      <a:pt x="547" y="847"/>
                    </a:cubicBezTo>
                    <a:cubicBezTo>
                      <a:pt x="668" y="672"/>
                      <a:pt x="668" y="672"/>
                      <a:pt x="668" y="672"/>
                    </a:cubicBezTo>
                    <a:cubicBezTo>
                      <a:pt x="917" y="713"/>
                      <a:pt x="981" y="868"/>
                      <a:pt x="996" y="1106"/>
                    </a:cubicBezTo>
                    <a:lnTo>
                      <a:pt x="55" y="1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grpSp>
          <p:nvGrpSpPr>
            <p:cNvPr id="55" name="Group 54"/>
            <p:cNvGrpSpPr/>
            <p:nvPr userDrawn="1"/>
          </p:nvGrpSpPr>
          <p:grpSpPr>
            <a:xfrm>
              <a:off x="10065395" y="6985929"/>
              <a:ext cx="447290" cy="351237"/>
              <a:chOff x="13123762" y="2736448"/>
              <a:chExt cx="990600" cy="777875"/>
            </a:xfrm>
            <a:solidFill>
              <a:schemeClr val="accent5">
                <a:lumMod val="75000"/>
              </a:schemeClr>
            </a:solidFill>
          </p:grpSpPr>
          <p:sp>
            <p:nvSpPr>
              <p:cNvPr id="77" name="Freeform 71"/>
              <p:cNvSpPr>
                <a:spLocks noEditPoints="1"/>
              </p:cNvSpPr>
              <p:nvPr userDrawn="1"/>
            </p:nvSpPr>
            <p:spPr bwMode="auto">
              <a:xfrm>
                <a:off x="13123762" y="2736448"/>
                <a:ext cx="990600" cy="777875"/>
              </a:xfrm>
              <a:custGeom>
                <a:avLst/>
                <a:gdLst>
                  <a:gd name="T0" fmla="*/ 1883 w 1975"/>
                  <a:gd name="T1" fmla="*/ 883 h 1550"/>
                  <a:gd name="T2" fmla="*/ 1973 w 1975"/>
                  <a:gd name="T3" fmla="*/ 603 h 1550"/>
                  <a:gd name="T4" fmla="*/ 1740 w 1975"/>
                  <a:gd name="T5" fmla="*/ 174 h 1550"/>
                  <a:gd name="T6" fmla="*/ 1185 w 1975"/>
                  <a:gd name="T7" fmla="*/ 0 h 1550"/>
                  <a:gd name="T8" fmla="*/ 630 w 1975"/>
                  <a:gd name="T9" fmla="*/ 174 h 1550"/>
                  <a:gd name="T10" fmla="*/ 396 w 1975"/>
                  <a:gd name="T11" fmla="*/ 603 h 1550"/>
                  <a:gd name="T12" fmla="*/ 400 w 1975"/>
                  <a:gd name="T13" fmla="*/ 666 h 1550"/>
                  <a:gd name="T14" fmla="*/ 2 w 1975"/>
                  <a:gd name="T15" fmla="*/ 1089 h 1550"/>
                  <a:gd name="T16" fmla="*/ 67 w 1975"/>
                  <a:gd name="T17" fmla="*/ 1293 h 1550"/>
                  <a:gd name="T18" fmla="*/ 3 w 1975"/>
                  <a:gd name="T19" fmla="*/ 1517 h 1550"/>
                  <a:gd name="T20" fmla="*/ 12 w 1975"/>
                  <a:gd name="T21" fmla="*/ 1545 h 1550"/>
                  <a:gd name="T22" fmla="*/ 28 w 1975"/>
                  <a:gd name="T23" fmla="*/ 1550 h 1550"/>
                  <a:gd name="T24" fmla="*/ 42 w 1975"/>
                  <a:gd name="T25" fmla="*/ 1546 h 1550"/>
                  <a:gd name="T26" fmla="*/ 218 w 1975"/>
                  <a:gd name="T27" fmla="*/ 1435 h 1550"/>
                  <a:gd name="T28" fmla="*/ 581 w 1975"/>
                  <a:gd name="T29" fmla="*/ 1533 h 1550"/>
                  <a:gd name="T30" fmla="*/ 942 w 1975"/>
                  <a:gd name="T31" fmla="*/ 1437 h 1550"/>
                  <a:gd name="T32" fmla="*/ 1140 w 1975"/>
                  <a:gd name="T33" fmla="*/ 1205 h 1550"/>
                  <a:gd name="T34" fmla="*/ 1185 w 1975"/>
                  <a:gd name="T35" fmla="*/ 1206 h 1550"/>
                  <a:gd name="T36" fmla="*/ 1686 w 1975"/>
                  <a:gd name="T37" fmla="*/ 1069 h 1550"/>
                  <a:gd name="T38" fmla="*/ 1933 w 1975"/>
                  <a:gd name="T39" fmla="*/ 1225 h 1550"/>
                  <a:gd name="T40" fmla="*/ 1947 w 1975"/>
                  <a:gd name="T41" fmla="*/ 1229 h 1550"/>
                  <a:gd name="T42" fmla="*/ 1963 w 1975"/>
                  <a:gd name="T43" fmla="*/ 1224 h 1550"/>
                  <a:gd name="T44" fmla="*/ 1972 w 1975"/>
                  <a:gd name="T45" fmla="*/ 1196 h 1550"/>
                  <a:gd name="T46" fmla="*/ 1883 w 1975"/>
                  <a:gd name="T47" fmla="*/ 883 h 1550"/>
                  <a:gd name="T48" fmla="*/ 581 w 1975"/>
                  <a:gd name="T49" fmla="*/ 1481 h 1550"/>
                  <a:gd name="T50" fmla="*/ 232 w 1975"/>
                  <a:gd name="T51" fmla="*/ 1382 h 1550"/>
                  <a:gd name="T52" fmla="*/ 204 w 1975"/>
                  <a:gd name="T53" fmla="*/ 1382 h 1550"/>
                  <a:gd name="T54" fmla="*/ 72 w 1975"/>
                  <a:gd name="T55" fmla="*/ 1465 h 1550"/>
                  <a:gd name="T56" fmla="*/ 121 w 1975"/>
                  <a:gd name="T57" fmla="*/ 1296 h 1550"/>
                  <a:gd name="T58" fmla="*/ 117 w 1975"/>
                  <a:gd name="T59" fmla="*/ 1273 h 1550"/>
                  <a:gd name="T60" fmla="*/ 54 w 1975"/>
                  <a:gd name="T61" fmla="*/ 1089 h 1550"/>
                  <a:gd name="T62" fmla="*/ 410 w 1975"/>
                  <a:gd name="T63" fmla="*/ 718 h 1550"/>
                  <a:gd name="T64" fmla="*/ 630 w 1975"/>
                  <a:gd name="T65" fmla="*/ 1032 h 1550"/>
                  <a:gd name="T66" fmla="*/ 1086 w 1975"/>
                  <a:gd name="T67" fmla="*/ 1201 h 1550"/>
                  <a:gd name="T68" fmla="*/ 581 w 1975"/>
                  <a:gd name="T69" fmla="*/ 1481 h 1550"/>
                  <a:gd name="T70" fmla="*/ 1700 w 1975"/>
                  <a:gd name="T71" fmla="*/ 1015 h 1550"/>
                  <a:gd name="T72" fmla="*/ 1671 w 1975"/>
                  <a:gd name="T73" fmla="*/ 1016 h 1550"/>
                  <a:gd name="T74" fmla="*/ 1185 w 1975"/>
                  <a:gd name="T75" fmla="*/ 1153 h 1550"/>
                  <a:gd name="T76" fmla="*/ 449 w 1975"/>
                  <a:gd name="T77" fmla="*/ 603 h 1550"/>
                  <a:gd name="T78" fmla="*/ 1185 w 1975"/>
                  <a:gd name="T79" fmla="*/ 53 h 1550"/>
                  <a:gd name="T80" fmla="*/ 1921 w 1975"/>
                  <a:gd name="T81" fmla="*/ 603 h 1550"/>
                  <a:gd name="T82" fmla="*/ 1833 w 1975"/>
                  <a:gd name="T83" fmla="*/ 863 h 1550"/>
                  <a:gd name="T84" fmla="*/ 1829 w 1975"/>
                  <a:gd name="T85" fmla="*/ 886 h 1550"/>
                  <a:gd name="T86" fmla="*/ 1903 w 1975"/>
                  <a:gd name="T87" fmla="*/ 1144 h 1550"/>
                  <a:gd name="T88" fmla="*/ 1700 w 1975"/>
                  <a:gd name="T89" fmla="*/ 1015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75" h="1550">
                    <a:moveTo>
                      <a:pt x="1883" y="883"/>
                    </a:moveTo>
                    <a:cubicBezTo>
                      <a:pt x="1942" y="798"/>
                      <a:pt x="1973" y="701"/>
                      <a:pt x="1973" y="603"/>
                    </a:cubicBezTo>
                    <a:cubicBezTo>
                      <a:pt x="1973" y="441"/>
                      <a:pt x="1890" y="288"/>
                      <a:pt x="1740" y="174"/>
                    </a:cubicBezTo>
                    <a:cubicBezTo>
                      <a:pt x="1591" y="62"/>
                      <a:pt x="1394" y="0"/>
                      <a:pt x="1185" y="0"/>
                    </a:cubicBezTo>
                    <a:cubicBezTo>
                      <a:pt x="976" y="0"/>
                      <a:pt x="778" y="62"/>
                      <a:pt x="630" y="174"/>
                    </a:cubicBezTo>
                    <a:cubicBezTo>
                      <a:pt x="479" y="288"/>
                      <a:pt x="396" y="441"/>
                      <a:pt x="396" y="603"/>
                    </a:cubicBezTo>
                    <a:cubicBezTo>
                      <a:pt x="396" y="624"/>
                      <a:pt x="398" y="645"/>
                      <a:pt x="400" y="666"/>
                    </a:cubicBezTo>
                    <a:cubicBezTo>
                      <a:pt x="164" y="725"/>
                      <a:pt x="2" y="896"/>
                      <a:pt x="2" y="1089"/>
                    </a:cubicBezTo>
                    <a:cubicBezTo>
                      <a:pt x="2" y="1160"/>
                      <a:pt x="24" y="1231"/>
                      <a:pt x="67" y="1293"/>
                    </a:cubicBezTo>
                    <a:cubicBezTo>
                      <a:pt x="3" y="1517"/>
                      <a:pt x="3" y="1517"/>
                      <a:pt x="3" y="1517"/>
                    </a:cubicBezTo>
                    <a:cubicBezTo>
                      <a:pt x="0" y="1527"/>
                      <a:pt x="4" y="1538"/>
                      <a:pt x="12" y="1545"/>
                    </a:cubicBezTo>
                    <a:cubicBezTo>
                      <a:pt x="17" y="1548"/>
                      <a:pt x="23" y="1550"/>
                      <a:pt x="28" y="1550"/>
                    </a:cubicBezTo>
                    <a:cubicBezTo>
                      <a:pt x="33" y="1550"/>
                      <a:pt x="38" y="1549"/>
                      <a:pt x="42" y="1546"/>
                    </a:cubicBezTo>
                    <a:cubicBezTo>
                      <a:pt x="218" y="1435"/>
                      <a:pt x="218" y="1435"/>
                      <a:pt x="218" y="1435"/>
                    </a:cubicBezTo>
                    <a:cubicBezTo>
                      <a:pt x="320" y="1498"/>
                      <a:pt x="449" y="1533"/>
                      <a:pt x="581" y="1533"/>
                    </a:cubicBezTo>
                    <a:cubicBezTo>
                      <a:pt x="714" y="1533"/>
                      <a:pt x="838" y="1500"/>
                      <a:pt x="942" y="1437"/>
                    </a:cubicBezTo>
                    <a:cubicBezTo>
                      <a:pt x="1038" y="1378"/>
                      <a:pt x="1108" y="1296"/>
                      <a:pt x="1140" y="1205"/>
                    </a:cubicBezTo>
                    <a:cubicBezTo>
                      <a:pt x="1155" y="1206"/>
                      <a:pt x="1170" y="1206"/>
                      <a:pt x="1185" y="1206"/>
                    </a:cubicBezTo>
                    <a:cubicBezTo>
                      <a:pt x="1368" y="1206"/>
                      <a:pt x="1545" y="1157"/>
                      <a:pt x="1686" y="1069"/>
                    </a:cubicBezTo>
                    <a:cubicBezTo>
                      <a:pt x="1933" y="1225"/>
                      <a:pt x="1933" y="1225"/>
                      <a:pt x="1933" y="1225"/>
                    </a:cubicBezTo>
                    <a:cubicBezTo>
                      <a:pt x="1937" y="1228"/>
                      <a:pt x="1942" y="1229"/>
                      <a:pt x="1947" y="1229"/>
                    </a:cubicBezTo>
                    <a:cubicBezTo>
                      <a:pt x="1953" y="1229"/>
                      <a:pt x="1958" y="1227"/>
                      <a:pt x="1963" y="1224"/>
                    </a:cubicBezTo>
                    <a:cubicBezTo>
                      <a:pt x="1972" y="1217"/>
                      <a:pt x="1975" y="1206"/>
                      <a:pt x="1972" y="1196"/>
                    </a:cubicBezTo>
                    <a:lnTo>
                      <a:pt x="1883" y="883"/>
                    </a:lnTo>
                    <a:close/>
                    <a:moveTo>
                      <a:pt x="581" y="1481"/>
                    </a:moveTo>
                    <a:cubicBezTo>
                      <a:pt x="452" y="1481"/>
                      <a:pt x="328" y="1446"/>
                      <a:pt x="232" y="1382"/>
                    </a:cubicBezTo>
                    <a:cubicBezTo>
                      <a:pt x="223" y="1376"/>
                      <a:pt x="212" y="1376"/>
                      <a:pt x="204" y="1382"/>
                    </a:cubicBezTo>
                    <a:cubicBezTo>
                      <a:pt x="72" y="1465"/>
                      <a:pt x="72" y="1465"/>
                      <a:pt x="72" y="1465"/>
                    </a:cubicBezTo>
                    <a:cubicBezTo>
                      <a:pt x="121" y="1296"/>
                      <a:pt x="121" y="1296"/>
                      <a:pt x="121" y="1296"/>
                    </a:cubicBezTo>
                    <a:cubicBezTo>
                      <a:pt x="123" y="1288"/>
                      <a:pt x="121" y="1280"/>
                      <a:pt x="117" y="1273"/>
                    </a:cubicBezTo>
                    <a:cubicBezTo>
                      <a:pt x="76" y="1217"/>
                      <a:pt x="54" y="1153"/>
                      <a:pt x="54" y="1089"/>
                    </a:cubicBezTo>
                    <a:cubicBezTo>
                      <a:pt x="54" y="921"/>
                      <a:pt x="200" y="772"/>
                      <a:pt x="410" y="718"/>
                    </a:cubicBezTo>
                    <a:cubicBezTo>
                      <a:pt x="440" y="836"/>
                      <a:pt x="515" y="945"/>
                      <a:pt x="630" y="1032"/>
                    </a:cubicBezTo>
                    <a:cubicBezTo>
                      <a:pt x="755" y="1126"/>
                      <a:pt x="914" y="1185"/>
                      <a:pt x="1086" y="1201"/>
                    </a:cubicBezTo>
                    <a:cubicBezTo>
                      <a:pt x="1019" y="1365"/>
                      <a:pt x="813" y="1481"/>
                      <a:pt x="581" y="1481"/>
                    </a:cubicBezTo>
                    <a:close/>
                    <a:moveTo>
                      <a:pt x="1700" y="1015"/>
                    </a:moveTo>
                    <a:cubicBezTo>
                      <a:pt x="1691" y="1010"/>
                      <a:pt x="1680" y="1010"/>
                      <a:pt x="1671" y="1016"/>
                    </a:cubicBezTo>
                    <a:cubicBezTo>
                      <a:pt x="1537" y="1104"/>
                      <a:pt x="1364" y="1153"/>
                      <a:pt x="1185" y="1153"/>
                    </a:cubicBezTo>
                    <a:cubicBezTo>
                      <a:pt x="779" y="1153"/>
                      <a:pt x="449" y="906"/>
                      <a:pt x="449" y="603"/>
                    </a:cubicBezTo>
                    <a:cubicBezTo>
                      <a:pt x="449" y="300"/>
                      <a:pt x="779" y="53"/>
                      <a:pt x="1185" y="53"/>
                    </a:cubicBezTo>
                    <a:cubicBezTo>
                      <a:pt x="1591" y="53"/>
                      <a:pt x="1921" y="300"/>
                      <a:pt x="1921" y="603"/>
                    </a:cubicBezTo>
                    <a:cubicBezTo>
                      <a:pt x="1921" y="694"/>
                      <a:pt x="1890" y="784"/>
                      <a:pt x="1833" y="863"/>
                    </a:cubicBezTo>
                    <a:cubicBezTo>
                      <a:pt x="1828" y="870"/>
                      <a:pt x="1827" y="878"/>
                      <a:pt x="1829" y="886"/>
                    </a:cubicBezTo>
                    <a:cubicBezTo>
                      <a:pt x="1903" y="1144"/>
                      <a:pt x="1903" y="1144"/>
                      <a:pt x="1903" y="1144"/>
                    </a:cubicBezTo>
                    <a:lnTo>
                      <a:pt x="1700" y="10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78" name="Freeform 72"/>
              <p:cNvSpPr>
                <a:spLocks noEditPoints="1"/>
              </p:cNvSpPr>
              <p:nvPr userDrawn="1"/>
            </p:nvSpPr>
            <p:spPr bwMode="auto">
              <a:xfrm>
                <a:off x="13534925" y="2987273"/>
                <a:ext cx="96838" cy="98425"/>
              </a:xfrm>
              <a:custGeom>
                <a:avLst/>
                <a:gdLst>
                  <a:gd name="T0" fmla="*/ 98 w 195"/>
                  <a:gd name="T1" fmla="*/ 0 h 195"/>
                  <a:gd name="T2" fmla="*/ 0 w 195"/>
                  <a:gd name="T3" fmla="*/ 97 h 195"/>
                  <a:gd name="T4" fmla="*/ 98 w 195"/>
                  <a:gd name="T5" fmla="*/ 195 h 195"/>
                  <a:gd name="T6" fmla="*/ 195 w 195"/>
                  <a:gd name="T7" fmla="*/ 97 h 195"/>
                  <a:gd name="T8" fmla="*/ 98 w 195"/>
                  <a:gd name="T9" fmla="*/ 0 h 195"/>
                  <a:gd name="T10" fmla="*/ 98 w 195"/>
                  <a:gd name="T11" fmla="*/ 142 h 195"/>
                  <a:gd name="T12" fmla="*/ 53 w 195"/>
                  <a:gd name="T13" fmla="*/ 97 h 195"/>
                  <a:gd name="T14" fmla="*/ 98 w 195"/>
                  <a:gd name="T15" fmla="*/ 52 h 195"/>
                  <a:gd name="T16" fmla="*/ 142 w 195"/>
                  <a:gd name="T17" fmla="*/ 97 h 195"/>
                  <a:gd name="T18" fmla="*/ 98 w 195"/>
                  <a:gd name="T19" fmla="*/ 142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5">
                    <a:moveTo>
                      <a:pt x="98" y="0"/>
                    </a:moveTo>
                    <a:cubicBezTo>
                      <a:pt x="44" y="0"/>
                      <a:pt x="0" y="43"/>
                      <a:pt x="0" y="97"/>
                    </a:cubicBezTo>
                    <a:cubicBezTo>
                      <a:pt x="0" y="151"/>
                      <a:pt x="44" y="195"/>
                      <a:pt x="98" y="195"/>
                    </a:cubicBezTo>
                    <a:cubicBezTo>
                      <a:pt x="151" y="195"/>
                      <a:pt x="195" y="151"/>
                      <a:pt x="195" y="97"/>
                    </a:cubicBezTo>
                    <a:cubicBezTo>
                      <a:pt x="195" y="43"/>
                      <a:pt x="151" y="0"/>
                      <a:pt x="98" y="0"/>
                    </a:cubicBezTo>
                    <a:close/>
                    <a:moveTo>
                      <a:pt x="98" y="142"/>
                    </a:moveTo>
                    <a:cubicBezTo>
                      <a:pt x="73" y="142"/>
                      <a:pt x="53" y="122"/>
                      <a:pt x="53" y="97"/>
                    </a:cubicBezTo>
                    <a:cubicBezTo>
                      <a:pt x="53" y="73"/>
                      <a:pt x="73" y="52"/>
                      <a:pt x="98" y="52"/>
                    </a:cubicBezTo>
                    <a:cubicBezTo>
                      <a:pt x="122" y="52"/>
                      <a:pt x="142" y="73"/>
                      <a:pt x="142" y="97"/>
                    </a:cubicBezTo>
                    <a:cubicBezTo>
                      <a:pt x="142" y="122"/>
                      <a:pt x="122" y="142"/>
                      <a:pt x="98"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79" name="Freeform 73"/>
              <p:cNvSpPr>
                <a:spLocks noEditPoints="1"/>
              </p:cNvSpPr>
              <p:nvPr userDrawn="1"/>
            </p:nvSpPr>
            <p:spPr bwMode="auto">
              <a:xfrm>
                <a:off x="13676212" y="2987273"/>
                <a:ext cx="98425" cy="98425"/>
              </a:xfrm>
              <a:custGeom>
                <a:avLst/>
                <a:gdLst>
                  <a:gd name="T0" fmla="*/ 98 w 195"/>
                  <a:gd name="T1" fmla="*/ 0 h 195"/>
                  <a:gd name="T2" fmla="*/ 0 w 195"/>
                  <a:gd name="T3" fmla="*/ 97 h 195"/>
                  <a:gd name="T4" fmla="*/ 98 w 195"/>
                  <a:gd name="T5" fmla="*/ 195 h 195"/>
                  <a:gd name="T6" fmla="*/ 195 w 195"/>
                  <a:gd name="T7" fmla="*/ 97 h 195"/>
                  <a:gd name="T8" fmla="*/ 98 w 195"/>
                  <a:gd name="T9" fmla="*/ 0 h 195"/>
                  <a:gd name="T10" fmla="*/ 98 w 195"/>
                  <a:gd name="T11" fmla="*/ 142 h 195"/>
                  <a:gd name="T12" fmla="*/ 53 w 195"/>
                  <a:gd name="T13" fmla="*/ 97 h 195"/>
                  <a:gd name="T14" fmla="*/ 98 w 195"/>
                  <a:gd name="T15" fmla="*/ 52 h 195"/>
                  <a:gd name="T16" fmla="*/ 142 w 195"/>
                  <a:gd name="T17" fmla="*/ 97 h 195"/>
                  <a:gd name="T18" fmla="*/ 98 w 195"/>
                  <a:gd name="T19" fmla="*/ 142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5">
                    <a:moveTo>
                      <a:pt x="98" y="0"/>
                    </a:moveTo>
                    <a:cubicBezTo>
                      <a:pt x="44" y="0"/>
                      <a:pt x="0" y="43"/>
                      <a:pt x="0" y="97"/>
                    </a:cubicBezTo>
                    <a:cubicBezTo>
                      <a:pt x="0" y="151"/>
                      <a:pt x="44" y="195"/>
                      <a:pt x="98" y="195"/>
                    </a:cubicBezTo>
                    <a:cubicBezTo>
                      <a:pt x="151" y="195"/>
                      <a:pt x="195" y="151"/>
                      <a:pt x="195" y="97"/>
                    </a:cubicBezTo>
                    <a:cubicBezTo>
                      <a:pt x="195" y="43"/>
                      <a:pt x="151" y="0"/>
                      <a:pt x="98" y="0"/>
                    </a:cubicBezTo>
                    <a:close/>
                    <a:moveTo>
                      <a:pt x="98" y="142"/>
                    </a:moveTo>
                    <a:cubicBezTo>
                      <a:pt x="73" y="142"/>
                      <a:pt x="53" y="122"/>
                      <a:pt x="53" y="97"/>
                    </a:cubicBezTo>
                    <a:cubicBezTo>
                      <a:pt x="53" y="73"/>
                      <a:pt x="73" y="52"/>
                      <a:pt x="98" y="52"/>
                    </a:cubicBezTo>
                    <a:cubicBezTo>
                      <a:pt x="122" y="52"/>
                      <a:pt x="142" y="73"/>
                      <a:pt x="142" y="97"/>
                    </a:cubicBezTo>
                    <a:cubicBezTo>
                      <a:pt x="142" y="122"/>
                      <a:pt x="122" y="142"/>
                      <a:pt x="98"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80" name="Freeform 74"/>
              <p:cNvSpPr>
                <a:spLocks noEditPoints="1"/>
              </p:cNvSpPr>
              <p:nvPr userDrawn="1"/>
            </p:nvSpPr>
            <p:spPr bwMode="auto">
              <a:xfrm>
                <a:off x="13817500" y="2987273"/>
                <a:ext cx="98425" cy="98425"/>
              </a:xfrm>
              <a:custGeom>
                <a:avLst/>
                <a:gdLst>
                  <a:gd name="T0" fmla="*/ 98 w 195"/>
                  <a:gd name="T1" fmla="*/ 0 h 195"/>
                  <a:gd name="T2" fmla="*/ 0 w 195"/>
                  <a:gd name="T3" fmla="*/ 97 h 195"/>
                  <a:gd name="T4" fmla="*/ 98 w 195"/>
                  <a:gd name="T5" fmla="*/ 195 h 195"/>
                  <a:gd name="T6" fmla="*/ 195 w 195"/>
                  <a:gd name="T7" fmla="*/ 97 h 195"/>
                  <a:gd name="T8" fmla="*/ 98 w 195"/>
                  <a:gd name="T9" fmla="*/ 0 h 195"/>
                  <a:gd name="T10" fmla="*/ 98 w 195"/>
                  <a:gd name="T11" fmla="*/ 142 h 195"/>
                  <a:gd name="T12" fmla="*/ 53 w 195"/>
                  <a:gd name="T13" fmla="*/ 97 h 195"/>
                  <a:gd name="T14" fmla="*/ 98 w 195"/>
                  <a:gd name="T15" fmla="*/ 52 h 195"/>
                  <a:gd name="T16" fmla="*/ 143 w 195"/>
                  <a:gd name="T17" fmla="*/ 97 h 195"/>
                  <a:gd name="T18" fmla="*/ 98 w 195"/>
                  <a:gd name="T19" fmla="*/ 142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5">
                    <a:moveTo>
                      <a:pt x="98" y="0"/>
                    </a:moveTo>
                    <a:cubicBezTo>
                      <a:pt x="44" y="0"/>
                      <a:pt x="0" y="43"/>
                      <a:pt x="0" y="97"/>
                    </a:cubicBezTo>
                    <a:cubicBezTo>
                      <a:pt x="0" y="151"/>
                      <a:pt x="44" y="195"/>
                      <a:pt x="98" y="195"/>
                    </a:cubicBezTo>
                    <a:cubicBezTo>
                      <a:pt x="152" y="195"/>
                      <a:pt x="195" y="151"/>
                      <a:pt x="195" y="97"/>
                    </a:cubicBezTo>
                    <a:cubicBezTo>
                      <a:pt x="195" y="43"/>
                      <a:pt x="152" y="0"/>
                      <a:pt x="98" y="0"/>
                    </a:cubicBezTo>
                    <a:close/>
                    <a:moveTo>
                      <a:pt x="98" y="142"/>
                    </a:moveTo>
                    <a:cubicBezTo>
                      <a:pt x="73" y="142"/>
                      <a:pt x="53" y="122"/>
                      <a:pt x="53" y="97"/>
                    </a:cubicBezTo>
                    <a:cubicBezTo>
                      <a:pt x="53" y="73"/>
                      <a:pt x="73" y="52"/>
                      <a:pt x="98" y="52"/>
                    </a:cubicBezTo>
                    <a:cubicBezTo>
                      <a:pt x="122" y="52"/>
                      <a:pt x="143" y="73"/>
                      <a:pt x="143" y="97"/>
                    </a:cubicBezTo>
                    <a:cubicBezTo>
                      <a:pt x="143" y="122"/>
                      <a:pt x="122" y="142"/>
                      <a:pt x="98"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grpSp>
          <p:nvGrpSpPr>
            <p:cNvPr id="56" name="Group 55"/>
            <p:cNvGrpSpPr/>
            <p:nvPr userDrawn="1"/>
          </p:nvGrpSpPr>
          <p:grpSpPr>
            <a:xfrm>
              <a:off x="11510812" y="6996124"/>
              <a:ext cx="289818" cy="341042"/>
              <a:chOff x="19234050" y="-1743477"/>
              <a:chExt cx="682625" cy="803275"/>
            </a:xfrm>
            <a:solidFill>
              <a:schemeClr val="accent5">
                <a:lumMod val="75000"/>
              </a:schemeClr>
            </a:solidFill>
          </p:grpSpPr>
          <p:sp>
            <p:nvSpPr>
              <p:cNvPr id="71" name="Freeform 19"/>
              <p:cNvSpPr>
                <a:spLocks noEditPoints="1"/>
              </p:cNvSpPr>
              <p:nvPr userDrawn="1"/>
            </p:nvSpPr>
            <p:spPr bwMode="auto">
              <a:xfrm>
                <a:off x="19234050" y="-1743477"/>
                <a:ext cx="682625" cy="803275"/>
              </a:xfrm>
              <a:custGeom>
                <a:avLst/>
                <a:gdLst>
                  <a:gd name="T0" fmla="*/ 1352 w 1359"/>
                  <a:gd name="T1" fmla="*/ 772 h 1600"/>
                  <a:gd name="T2" fmla="*/ 1166 w 1359"/>
                  <a:gd name="T3" fmla="*/ 623 h 1600"/>
                  <a:gd name="T4" fmla="*/ 1102 w 1359"/>
                  <a:gd name="T5" fmla="*/ 342 h 1600"/>
                  <a:gd name="T6" fmla="*/ 1102 w 1359"/>
                  <a:gd name="T7" fmla="*/ 341 h 1600"/>
                  <a:gd name="T8" fmla="*/ 1101 w 1359"/>
                  <a:gd name="T9" fmla="*/ 333 h 1600"/>
                  <a:gd name="T10" fmla="*/ 1099 w 1359"/>
                  <a:gd name="T11" fmla="*/ 330 h 1600"/>
                  <a:gd name="T12" fmla="*/ 1097 w 1359"/>
                  <a:gd name="T13" fmla="*/ 326 h 1600"/>
                  <a:gd name="T14" fmla="*/ 779 w 1359"/>
                  <a:gd name="T15" fmla="*/ 8 h 1600"/>
                  <a:gd name="T16" fmla="*/ 775 w 1359"/>
                  <a:gd name="T17" fmla="*/ 5 h 1600"/>
                  <a:gd name="T18" fmla="*/ 772 w 1359"/>
                  <a:gd name="T19" fmla="*/ 3 h 1600"/>
                  <a:gd name="T20" fmla="*/ 768 w 1359"/>
                  <a:gd name="T21" fmla="*/ 1 h 1600"/>
                  <a:gd name="T22" fmla="*/ 765 w 1359"/>
                  <a:gd name="T23" fmla="*/ 0 h 1600"/>
                  <a:gd name="T24" fmla="*/ 761 w 1359"/>
                  <a:gd name="T25" fmla="*/ 0 h 1600"/>
                  <a:gd name="T26" fmla="*/ 74 w 1359"/>
                  <a:gd name="T27" fmla="*/ 0 h 1600"/>
                  <a:gd name="T28" fmla="*/ 0 w 1359"/>
                  <a:gd name="T29" fmla="*/ 1526 h 1600"/>
                  <a:gd name="T30" fmla="*/ 1029 w 1359"/>
                  <a:gd name="T31" fmla="*/ 1600 h 1600"/>
                  <a:gd name="T32" fmla="*/ 1102 w 1359"/>
                  <a:gd name="T33" fmla="*/ 1058 h 1600"/>
                  <a:gd name="T34" fmla="*/ 1248 w 1359"/>
                  <a:gd name="T35" fmla="*/ 913 h 1600"/>
                  <a:gd name="T36" fmla="*/ 1352 w 1359"/>
                  <a:gd name="T37" fmla="*/ 809 h 1600"/>
                  <a:gd name="T38" fmla="*/ 847 w 1359"/>
                  <a:gd name="T39" fmla="*/ 1239 h 1600"/>
                  <a:gd name="T40" fmla="*/ 1081 w 1359"/>
                  <a:gd name="T41" fmla="*/ 782 h 1600"/>
                  <a:gd name="T42" fmla="*/ 847 w 1359"/>
                  <a:gd name="T43" fmla="*/ 1239 h 1600"/>
                  <a:gd name="T44" fmla="*/ 793 w 1359"/>
                  <a:gd name="T45" fmla="*/ 1260 h 1600"/>
                  <a:gd name="T46" fmla="*/ 715 w 1359"/>
                  <a:gd name="T47" fmla="*/ 1181 h 1600"/>
                  <a:gd name="T48" fmla="*/ 1012 w 1359"/>
                  <a:gd name="T49" fmla="*/ 316 h 1600"/>
                  <a:gd name="T50" fmla="*/ 786 w 1359"/>
                  <a:gd name="T51" fmla="*/ 295 h 1600"/>
                  <a:gd name="T52" fmla="*/ 1050 w 1359"/>
                  <a:gd name="T53" fmla="*/ 1526 h 1600"/>
                  <a:gd name="T54" fmla="*/ 74 w 1359"/>
                  <a:gd name="T55" fmla="*/ 1547 h 1600"/>
                  <a:gd name="T56" fmla="*/ 53 w 1359"/>
                  <a:gd name="T57" fmla="*/ 73 h 1600"/>
                  <a:gd name="T58" fmla="*/ 734 w 1359"/>
                  <a:gd name="T59" fmla="*/ 53 h 1600"/>
                  <a:gd name="T60" fmla="*/ 807 w 1359"/>
                  <a:gd name="T61" fmla="*/ 368 h 1600"/>
                  <a:gd name="T62" fmla="*/ 1050 w 1359"/>
                  <a:gd name="T63" fmla="*/ 739 h 1600"/>
                  <a:gd name="T64" fmla="*/ 677 w 1359"/>
                  <a:gd name="T65" fmla="*/ 1111 h 1600"/>
                  <a:gd name="T66" fmla="*/ 674 w 1359"/>
                  <a:gd name="T67" fmla="*/ 1118 h 1600"/>
                  <a:gd name="T68" fmla="*/ 672 w 1359"/>
                  <a:gd name="T69" fmla="*/ 1122 h 1600"/>
                  <a:gd name="T70" fmla="*/ 638 w 1359"/>
                  <a:gd name="T71" fmla="*/ 1306 h 1600"/>
                  <a:gd name="T72" fmla="*/ 664 w 1359"/>
                  <a:gd name="T73" fmla="*/ 1337 h 1600"/>
                  <a:gd name="T74" fmla="*/ 852 w 1359"/>
                  <a:gd name="T75" fmla="*/ 1302 h 1600"/>
                  <a:gd name="T76" fmla="*/ 855 w 1359"/>
                  <a:gd name="T77" fmla="*/ 1301 h 1600"/>
                  <a:gd name="T78" fmla="*/ 862 w 1359"/>
                  <a:gd name="T79" fmla="*/ 1298 h 1600"/>
                  <a:gd name="T80" fmla="*/ 866 w 1359"/>
                  <a:gd name="T81" fmla="*/ 1295 h 1600"/>
                  <a:gd name="T82" fmla="*/ 1050 w 1359"/>
                  <a:gd name="T83" fmla="*/ 1526 h 1600"/>
                  <a:gd name="T84" fmla="*/ 1118 w 1359"/>
                  <a:gd name="T85" fmla="*/ 745 h 1600"/>
                  <a:gd name="T86" fmla="*/ 1296 w 1359"/>
                  <a:gd name="T87" fmla="*/ 790 h 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59" h="1600">
                    <a:moveTo>
                      <a:pt x="1359" y="790"/>
                    </a:moveTo>
                    <a:cubicBezTo>
                      <a:pt x="1359" y="783"/>
                      <a:pt x="1357" y="777"/>
                      <a:pt x="1352" y="772"/>
                    </a:cubicBezTo>
                    <a:cubicBezTo>
                      <a:pt x="1203" y="623"/>
                      <a:pt x="1203" y="623"/>
                      <a:pt x="1203" y="623"/>
                    </a:cubicBezTo>
                    <a:cubicBezTo>
                      <a:pt x="1193" y="612"/>
                      <a:pt x="1176" y="612"/>
                      <a:pt x="1166" y="623"/>
                    </a:cubicBezTo>
                    <a:cubicBezTo>
                      <a:pt x="1102" y="686"/>
                      <a:pt x="1102" y="686"/>
                      <a:pt x="1102" y="686"/>
                    </a:cubicBezTo>
                    <a:cubicBezTo>
                      <a:pt x="1102" y="342"/>
                      <a:pt x="1102" y="342"/>
                      <a:pt x="1102" y="342"/>
                    </a:cubicBezTo>
                    <a:cubicBezTo>
                      <a:pt x="1102" y="342"/>
                      <a:pt x="1102" y="341"/>
                      <a:pt x="1102" y="341"/>
                    </a:cubicBezTo>
                    <a:cubicBezTo>
                      <a:pt x="1102" y="341"/>
                      <a:pt x="1102" y="341"/>
                      <a:pt x="1102" y="341"/>
                    </a:cubicBezTo>
                    <a:cubicBezTo>
                      <a:pt x="1102" y="338"/>
                      <a:pt x="1102" y="336"/>
                      <a:pt x="1101" y="334"/>
                    </a:cubicBezTo>
                    <a:cubicBezTo>
                      <a:pt x="1101" y="333"/>
                      <a:pt x="1101" y="333"/>
                      <a:pt x="1101" y="333"/>
                    </a:cubicBezTo>
                    <a:cubicBezTo>
                      <a:pt x="1100" y="332"/>
                      <a:pt x="1100" y="331"/>
                      <a:pt x="1099" y="330"/>
                    </a:cubicBezTo>
                    <a:cubicBezTo>
                      <a:pt x="1099" y="330"/>
                      <a:pt x="1099" y="330"/>
                      <a:pt x="1099" y="330"/>
                    </a:cubicBezTo>
                    <a:cubicBezTo>
                      <a:pt x="1099" y="329"/>
                      <a:pt x="1098" y="328"/>
                      <a:pt x="1097" y="327"/>
                    </a:cubicBezTo>
                    <a:cubicBezTo>
                      <a:pt x="1097" y="327"/>
                      <a:pt x="1097" y="326"/>
                      <a:pt x="1097" y="326"/>
                    </a:cubicBezTo>
                    <a:cubicBezTo>
                      <a:pt x="1096" y="325"/>
                      <a:pt x="1095" y="324"/>
                      <a:pt x="1095" y="324"/>
                    </a:cubicBezTo>
                    <a:cubicBezTo>
                      <a:pt x="779" y="8"/>
                      <a:pt x="779" y="8"/>
                      <a:pt x="779" y="8"/>
                    </a:cubicBezTo>
                    <a:cubicBezTo>
                      <a:pt x="778" y="7"/>
                      <a:pt x="777" y="6"/>
                      <a:pt x="776" y="5"/>
                    </a:cubicBezTo>
                    <a:cubicBezTo>
                      <a:pt x="776" y="5"/>
                      <a:pt x="775" y="5"/>
                      <a:pt x="775" y="5"/>
                    </a:cubicBezTo>
                    <a:cubicBezTo>
                      <a:pt x="774" y="4"/>
                      <a:pt x="773" y="3"/>
                      <a:pt x="772" y="3"/>
                    </a:cubicBezTo>
                    <a:cubicBezTo>
                      <a:pt x="772" y="3"/>
                      <a:pt x="772" y="3"/>
                      <a:pt x="772" y="3"/>
                    </a:cubicBezTo>
                    <a:cubicBezTo>
                      <a:pt x="771" y="2"/>
                      <a:pt x="770" y="2"/>
                      <a:pt x="769" y="2"/>
                    </a:cubicBezTo>
                    <a:cubicBezTo>
                      <a:pt x="769" y="1"/>
                      <a:pt x="769" y="1"/>
                      <a:pt x="768" y="1"/>
                    </a:cubicBezTo>
                    <a:cubicBezTo>
                      <a:pt x="767" y="1"/>
                      <a:pt x="766" y="1"/>
                      <a:pt x="765" y="0"/>
                    </a:cubicBezTo>
                    <a:cubicBezTo>
                      <a:pt x="765" y="0"/>
                      <a:pt x="765" y="0"/>
                      <a:pt x="765" y="0"/>
                    </a:cubicBezTo>
                    <a:cubicBezTo>
                      <a:pt x="764" y="0"/>
                      <a:pt x="763" y="0"/>
                      <a:pt x="762" y="0"/>
                    </a:cubicBezTo>
                    <a:cubicBezTo>
                      <a:pt x="761" y="0"/>
                      <a:pt x="761" y="0"/>
                      <a:pt x="761" y="0"/>
                    </a:cubicBezTo>
                    <a:cubicBezTo>
                      <a:pt x="761" y="0"/>
                      <a:pt x="760" y="0"/>
                      <a:pt x="760" y="0"/>
                    </a:cubicBezTo>
                    <a:cubicBezTo>
                      <a:pt x="74" y="0"/>
                      <a:pt x="74" y="0"/>
                      <a:pt x="74" y="0"/>
                    </a:cubicBezTo>
                    <a:cubicBezTo>
                      <a:pt x="33" y="0"/>
                      <a:pt x="0" y="33"/>
                      <a:pt x="0" y="73"/>
                    </a:cubicBezTo>
                    <a:cubicBezTo>
                      <a:pt x="0" y="1526"/>
                      <a:pt x="0" y="1526"/>
                      <a:pt x="0" y="1526"/>
                    </a:cubicBezTo>
                    <a:cubicBezTo>
                      <a:pt x="0" y="1567"/>
                      <a:pt x="33" y="1600"/>
                      <a:pt x="74" y="1600"/>
                    </a:cubicBezTo>
                    <a:cubicBezTo>
                      <a:pt x="1029" y="1600"/>
                      <a:pt x="1029" y="1600"/>
                      <a:pt x="1029" y="1600"/>
                    </a:cubicBezTo>
                    <a:cubicBezTo>
                      <a:pt x="1069" y="1600"/>
                      <a:pt x="1102" y="1567"/>
                      <a:pt x="1102" y="1526"/>
                    </a:cubicBezTo>
                    <a:cubicBezTo>
                      <a:pt x="1102" y="1058"/>
                      <a:pt x="1102" y="1058"/>
                      <a:pt x="1102" y="1058"/>
                    </a:cubicBezTo>
                    <a:cubicBezTo>
                      <a:pt x="1248" y="913"/>
                      <a:pt x="1248" y="913"/>
                      <a:pt x="1248" y="913"/>
                    </a:cubicBezTo>
                    <a:cubicBezTo>
                      <a:pt x="1248" y="913"/>
                      <a:pt x="1248" y="913"/>
                      <a:pt x="1248" y="913"/>
                    </a:cubicBezTo>
                    <a:cubicBezTo>
                      <a:pt x="1248" y="913"/>
                      <a:pt x="1248" y="913"/>
                      <a:pt x="1248" y="913"/>
                    </a:cubicBezTo>
                    <a:cubicBezTo>
                      <a:pt x="1352" y="809"/>
                      <a:pt x="1352" y="809"/>
                      <a:pt x="1352" y="809"/>
                    </a:cubicBezTo>
                    <a:cubicBezTo>
                      <a:pt x="1357" y="804"/>
                      <a:pt x="1359" y="797"/>
                      <a:pt x="1359" y="790"/>
                    </a:cubicBezTo>
                    <a:close/>
                    <a:moveTo>
                      <a:pt x="847" y="1239"/>
                    </a:moveTo>
                    <a:cubicBezTo>
                      <a:pt x="736" y="1127"/>
                      <a:pt x="736" y="1127"/>
                      <a:pt x="736" y="1127"/>
                    </a:cubicBezTo>
                    <a:cubicBezTo>
                      <a:pt x="1081" y="782"/>
                      <a:pt x="1081" y="782"/>
                      <a:pt x="1081" y="782"/>
                    </a:cubicBezTo>
                    <a:cubicBezTo>
                      <a:pt x="1192" y="894"/>
                      <a:pt x="1192" y="894"/>
                      <a:pt x="1192" y="894"/>
                    </a:cubicBezTo>
                    <a:lnTo>
                      <a:pt x="847" y="1239"/>
                    </a:lnTo>
                    <a:close/>
                    <a:moveTo>
                      <a:pt x="715" y="1181"/>
                    </a:moveTo>
                    <a:cubicBezTo>
                      <a:pt x="793" y="1260"/>
                      <a:pt x="793" y="1260"/>
                      <a:pt x="793" y="1260"/>
                    </a:cubicBezTo>
                    <a:cubicBezTo>
                      <a:pt x="697" y="1277"/>
                      <a:pt x="697" y="1277"/>
                      <a:pt x="697" y="1277"/>
                    </a:cubicBezTo>
                    <a:lnTo>
                      <a:pt x="715" y="1181"/>
                    </a:lnTo>
                    <a:close/>
                    <a:moveTo>
                      <a:pt x="786" y="90"/>
                    </a:moveTo>
                    <a:cubicBezTo>
                      <a:pt x="1012" y="316"/>
                      <a:pt x="1012" y="316"/>
                      <a:pt x="1012" y="316"/>
                    </a:cubicBezTo>
                    <a:cubicBezTo>
                      <a:pt x="807" y="316"/>
                      <a:pt x="807" y="316"/>
                      <a:pt x="807" y="316"/>
                    </a:cubicBezTo>
                    <a:cubicBezTo>
                      <a:pt x="796" y="316"/>
                      <a:pt x="786" y="307"/>
                      <a:pt x="786" y="295"/>
                    </a:cubicBezTo>
                    <a:lnTo>
                      <a:pt x="786" y="90"/>
                    </a:lnTo>
                    <a:close/>
                    <a:moveTo>
                      <a:pt x="1050" y="1526"/>
                    </a:moveTo>
                    <a:cubicBezTo>
                      <a:pt x="1050" y="1538"/>
                      <a:pt x="1040" y="1547"/>
                      <a:pt x="1029" y="1547"/>
                    </a:cubicBezTo>
                    <a:cubicBezTo>
                      <a:pt x="74" y="1547"/>
                      <a:pt x="74" y="1547"/>
                      <a:pt x="74" y="1547"/>
                    </a:cubicBezTo>
                    <a:cubicBezTo>
                      <a:pt x="62" y="1547"/>
                      <a:pt x="53" y="1538"/>
                      <a:pt x="53" y="1526"/>
                    </a:cubicBezTo>
                    <a:cubicBezTo>
                      <a:pt x="53" y="73"/>
                      <a:pt x="53" y="73"/>
                      <a:pt x="53" y="73"/>
                    </a:cubicBezTo>
                    <a:cubicBezTo>
                      <a:pt x="53" y="62"/>
                      <a:pt x="62" y="53"/>
                      <a:pt x="74" y="53"/>
                    </a:cubicBezTo>
                    <a:cubicBezTo>
                      <a:pt x="734" y="53"/>
                      <a:pt x="734" y="53"/>
                      <a:pt x="734" y="53"/>
                    </a:cubicBezTo>
                    <a:cubicBezTo>
                      <a:pt x="734" y="295"/>
                      <a:pt x="734" y="295"/>
                      <a:pt x="734" y="295"/>
                    </a:cubicBezTo>
                    <a:cubicBezTo>
                      <a:pt x="734" y="336"/>
                      <a:pt x="767" y="368"/>
                      <a:pt x="807" y="368"/>
                    </a:cubicBezTo>
                    <a:cubicBezTo>
                      <a:pt x="1050" y="368"/>
                      <a:pt x="1050" y="368"/>
                      <a:pt x="1050" y="368"/>
                    </a:cubicBezTo>
                    <a:cubicBezTo>
                      <a:pt x="1050" y="739"/>
                      <a:pt x="1050" y="739"/>
                      <a:pt x="1050" y="739"/>
                    </a:cubicBezTo>
                    <a:cubicBezTo>
                      <a:pt x="680" y="1109"/>
                      <a:pt x="680" y="1109"/>
                      <a:pt x="680" y="1109"/>
                    </a:cubicBezTo>
                    <a:cubicBezTo>
                      <a:pt x="679" y="1110"/>
                      <a:pt x="678" y="1110"/>
                      <a:pt x="677" y="1111"/>
                    </a:cubicBezTo>
                    <a:cubicBezTo>
                      <a:pt x="677" y="1112"/>
                      <a:pt x="677" y="1112"/>
                      <a:pt x="677" y="1112"/>
                    </a:cubicBezTo>
                    <a:cubicBezTo>
                      <a:pt x="675" y="1114"/>
                      <a:pt x="674" y="1116"/>
                      <a:pt x="674" y="1118"/>
                    </a:cubicBezTo>
                    <a:cubicBezTo>
                      <a:pt x="673" y="1118"/>
                      <a:pt x="673" y="1119"/>
                      <a:pt x="673" y="1119"/>
                    </a:cubicBezTo>
                    <a:cubicBezTo>
                      <a:pt x="673" y="1120"/>
                      <a:pt x="673" y="1121"/>
                      <a:pt x="672" y="1122"/>
                    </a:cubicBezTo>
                    <a:cubicBezTo>
                      <a:pt x="672" y="1122"/>
                      <a:pt x="672" y="1122"/>
                      <a:pt x="672" y="1122"/>
                    </a:cubicBezTo>
                    <a:cubicBezTo>
                      <a:pt x="638" y="1306"/>
                      <a:pt x="638" y="1306"/>
                      <a:pt x="638" y="1306"/>
                    </a:cubicBezTo>
                    <a:cubicBezTo>
                      <a:pt x="637" y="1314"/>
                      <a:pt x="639" y="1323"/>
                      <a:pt x="645" y="1329"/>
                    </a:cubicBezTo>
                    <a:cubicBezTo>
                      <a:pt x="650" y="1334"/>
                      <a:pt x="657" y="1337"/>
                      <a:pt x="664" y="1337"/>
                    </a:cubicBezTo>
                    <a:cubicBezTo>
                      <a:pt x="666" y="1337"/>
                      <a:pt x="667" y="1337"/>
                      <a:pt x="669" y="1336"/>
                    </a:cubicBezTo>
                    <a:cubicBezTo>
                      <a:pt x="852" y="1302"/>
                      <a:pt x="852" y="1302"/>
                      <a:pt x="852" y="1302"/>
                    </a:cubicBezTo>
                    <a:cubicBezTo>
                      <a:pt x="852" y="1302"/>
                      <a:pt x="852" y="1302"/>
                      <a:pt x="852" y="1302"/>
                    </a:cubicBezTo>
                    <a:cubicBezTo>
                      <a:pt x="853" y="1302"/>
                      <a:pt x="854" y="1302"/>
                      <a:pt x="855" y="1301"/>
                    </a:cubicBezTo>
                    <a:cubicBezTo>
                      <a:pt x="856" y="1301"/>
                      <a:pt x="856" y="1301"/>
                      <a:pt x="856" y="1301"/>
                    </a:cubicBezTo>
                    <a:cubicBezTo>
                      <a:pt x="858" y="1300"/>
                      <a:pt x="861" y="1299"/>
                      <a:pt x="862" y="1298"/>
                    </a:cubicBezTo>
                    <a:cubicBezTo>
                      <a:pt x="863" y="1297"/>
                      <a:pt x="863" y="1297"/>
                      <a:pt x="863" y="1297"/>
                    </a:cubicBezTo>
                    <a:cubicBezTo>
                      <a:pt x="864" y="1296"/>
                      <a:pt x="865" y="1296"/>
                      <a:pt x="866" y="1295"/>
                    </a:cubicBezTo>
                    <a:cubicBezTo>
                      <a:pt x="1050" y="1111"/>
                      <a:pt x="1050" y="1111"/>
                      <a:pt x="1050" y="1111"/>
                    </a:cubicBezTo>
                    <a:lnTo>
                      <a:pt x="1050" y="1526"/>
                    </a:lnTo>
                    <a:close/>
                    <a:moveTo>
                      <a:pt x="1230" y="857"/>
                    </a:moveTo>
                    <a:cubicBezTo>
                      <a:pt x="1118" y="745"/>
                      <a:pt x="1118" y="745"/>
                      <a:pt x="1118" y="745"/>
                    </a:cubicBezTo>
                    <a:cubicBezTo>
                      <a:pt x="1184" y="679"/>
                      <a:pt x="1184" y="679"/>
                      <a:pt x="1184" y="679"/>
                    </a:cubicBezTo>
                    <a:cubicBezTo>
                      <a:pt x="1296" y="790"/>
                      <a:pt x="1296" y="790"/>
                      <a:pt x="1296" y="790"/>
                    </a:cubicBezTo>
                    <a:lnTo>
                      <a:pt x="1230" y="8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72" name="Freeform 20"/>
              <p:cNvSpPr>
                <a:spLocks/>
              </p:cNvSpPr>
              <p:nvPr userDrawn="1"/>
            </p:nvSpPr>
            <p:spPr bwMode="auto">
              <a:xfrm>
                <a:off x="19318187" y="-1610127"/>
                <a:ext cx="192088" cy="25400"/>
              </a:xfrm>
              <a:custGeom>
                <a:avLst/>
                <a:gdLst>
                  <a:gd name="T0" fmla="*/ 26 w 384"/>
                  <a:gd name="T1" fmla="*/ 52 h 52"/>
                  <a:gd name="T2" fmla="*/ 358 w 384"/>
                  <a:gd name="T3" fmla="*/ 52 h 52"/>
                  <a:gd name="T4" fmla="*/ 384 w 384"/>
                  <a:gd name="T5" fmla="*/ 26 h 52"/>
                  <a:gd name="T6" fmla="*/ 358 w 384"/>
                  <a:gd name="T7" fmla="*/ 0 h 52"/>
                  <a:gd name="T8" fmla="*/ 26 w 384"/>
                  <a:gd name="T9" fmla="*/ 0 h 52"/>
                  <a:gd name="T10" fmla="*/ 0 w 384"/>
                  <a:gd name="T11" fmla="*/ 26 h 52"/>
                  <a:gd name="T12" fmla="*/ 26 w 384"/>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84" h="52">
                    <a:moveTo>
                      <a:pt x="26" y="52"/>
                    </a:moveTo>
                    <a:cubicBezTo>
                      <a:pt x="358" y="52"/>
                      <a:pt x="358" y="52"/>
                      <a:pt x="358" y="52"/>
                    </a:cubicBezTo>
                    <a:cubicBezTo>
                      <a:pt x="372" y="52"/>
                      <a:pt x="384" y="41"/>
                      <a:pt x="384" y="26"/>
                    </a:cubicBezTo>
                    <a:cubicBezTo>
                      <a:pt x="384" y="11"/>
                      <a:pt x="372" y="0"/>
                      <a:pt x="358" y="0"/>
                    </a:cubicBezTo>
                    <a:cubicBezTo>
                      <a:pt x="26" y="0"/>
                      <a:pt x="26" y="0"/>
                      <a:pt x="26" y="0"/>
                    </a:cubicBezTo>
                    <a:cubicBezTo>
                      <a:pt x="12" y="0"/>
                      <a:pt x="0" y="11"/>
                      <a:pt x="0" y="26"/>
                    </a:cubicBezTo>
                    <a:cubicBezTo>
                      <a:pt x="0" y="41"/>
                      <a:pt x="12" y="52"/>
                      <a:pt x="2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73" name="Freeform 21"/>
              <p:cNvSpPr>
                <a:spLocks/>
              </p:cNvSpPr>
              <p:nvPr userDrawn="1"/>
            </p:nvSpPr>
            <p:spPr bwMode="auto">
              <a:xfrm>
                <a:off x="19318187" y="-1532339"/>
                <a:ext cx="271463" cy="26988"/>
              </a:xfrm>
              <a:custGeom>
                <a:avLst/>
                <a:gdLst>
                  <a:gd name="T0" fmla="*/ 26 w 542"/>
                  <a:gd name="T1" fmla="*/ 52 h 52"/>
                  <a:gd name="T2" fmla="*/ 516 w 542"/>
                  <a:gd name="T3" fmla="*/ 52 h 52"/>
                  <a:gd name="T4" fmla="*/ 542 w 542"/>
                  <a:gd name="T5" fmla="*/ 26 h 52"/>
                  <a:gd name="T6" fmla="*/ 516 w 542"/>
                  <a:gd name="T7" fmla="*/ 0 h 52"/>
                  <a:gd name="T8" fmla="*/ 26 w 542"/>
                  <a:gd name="T9" fmla="*/ 0 h 52"/>
                  <a:gd name="T10" fmla="*/ 0 w 542"/>
                  <a:gd name="T11" fmla="*/ 26 h 52"/>
                  <a:gd name="T12" fmla="*/ 26 w 54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542" h="52">
                    <a:moveTo>
                      <a:pt x="26" y="52"/>
                    </a:moveTo>
                    <a:cubicBezTo>
                      <a:pt x="516" y="52"/>
                      <a:pt x="516" y="52"/>
                      <a:pt x="516" y="52"/>
                    </a:cubicBezTo>
                    <a:cubicBezTo>
                      <a:pt x="530" y="52"/>
                      <a:pt x="542" y="41"/>
                      <a:pt x="542" y="26"/>
                    </a:cubicBezTo>
                    <a:cubicBezTo>
                      <a:pt x="542" y="11"/>
                      <a:pt x="530" y="0"/>
                      <a:pt x="516" y="0"/>
                    </a:cubicBezTo>
                    <a:cubicBezTo>
                      <a:pt x="26" y="0"/>
                      <a:pt x="26" y="0"/>
                      <a:pt x="26" y="0"/>
                    </a:cubicBezTo>
                    <a:cubicBezTo>
                      <a:pt x="12" y="0"/>
                      <a:pt x="0" y="11"/>
                      <a:pt x="0" y="26"/>
                    </a:cubicBezTo>
                    <a:cubicBezTo>
                      <a:pt x="0" y="41"/>
                      <a:pt x="12" y="52"/>
                      <a:pt x="2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74" name="Freeform 22"/>
              <p:cNvSpPr>
                <a:spLocks/>
              </p:cNvSpPr>
              <p:nvPr userDrawn="1"/>
            </p:nvSpPr>
            <p:spPr bwMode="auto">
              <a:xfrm>
                <a:off x="19318187" y="-1452964"/>
                <a:ext cx="192088" cy="26988"/>
              </a:xfrm>
              <a:custGeom>
                <a:avLst/>
                <a:gdLst>
                  <a:gd name="T0" fmla="*/ 26 w 384"/>
                  <a:gd name="T1" fmla="*/ 52 h 52"/>
                  <a:gd name="T2" fmla="*/ 358 w 384"/>
                  <a:gd name="T3" fmla="*/ 52 h 52"/>
                  <a:gd name="T4" fmla="*/ 384 w 384"/>
                  <a:gd name="T5" fmla="*/ 26 h 52"/>
                  <a:gd name="T6" fmla="*/ 358 w 384"/>
                  <a:gd name="T7" fmla="*/ 0 h 52"/>
                  <a:gd name="T8" fmla="*/ 26 w 384"/>
                  <a:gd name="T9" fmla="*/ 0 h 52"/>
                  <a:gd name="T10" fmla="*/ 0 w 384"/>
                  <a:gd name="T11" fmla="*/ 26 h 52"/>
                  <a:gd name="T12" fmla="*/ 26 w 384"/>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84" h="52">
                    <a:moveTo>
                      <a:pt x="26" y="52"/>
                    </a:moveTo>
                    <a:cubicBezTo>
                      <a:pt x="358" y="52"/>
                      <a:pt x="358" y="52"/>
                      <a:pt x="358" y="52"/>
                    </a:cubicBezTo>
                    <a:cubicBezTo>
                      <a:pt x="372" y="52"/>
                      <a:pt x="384" y="40"/>
                      <a:pt x="384" y="26"/>
                    </a:cubicBezTo>
                    <a:cubicBezTo>
                      <a:pt x="384" y="11"/>
                      <a:pt x="372" y="0"/>
                      <a:pt x="358" y="0"/>
                    </a:cubicBezTo>
                    <a:cubicBezTo>
                      <a:pt x="26" y="0"/>
                      <a:pt x="26" y="0"/>
                      <a:pt x="26" y="0"/>
                    </a:cubicBezTo>
                    <a:cubicBezTo>
                      <a:pt x="12" y="0"/>
                      <a:pt x="0" y="11"/>
                      <a:pt x="0" y="26"/>
                    </a:cubicBezTo>
                    <a:cubicBezTo>
                      <a:pt x="0" y="40"/>
                      <a:pt x="12" y="52"/>
                      <a:pt x="2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75" name="Freeform 23"/>
              <p:cNvSpPr>
                <a:spLocks/>
              </p:cNvSpPr>
              <p:nvPr userDrawn="1"/>
            </p:nvSpPr>
            <p:spPr bwMode="auto">
              <a:xfrm>
                <a:off x="19318187" y="-1373589"/>
                <a:ext cx="231775" cy="26988"/>
              </a:xfrm>
              <a:custGeom>
                <a:avLst/>
                <a:gdLst>
                  <a:gd name="T0" fmla="*/ 437 w 463"/>
                  <a:gd name="T1" fmla="*/ 0 h 52"/>
                  <a:gd name="T2" fmla="*/ 26 w 463"/>
                  <a:gd name="T3" fmla="*/ 0 h 52"/>
                  <a:gd name="T4" fmla="*/ 0 w 463"/>
                  <a:gd name="T5" fmla="*/ 26 h 52"/>
                  <a:gd name="T6" fmla="*/ 26 w 463"/>
                  <a:gd name="T7" fmla="*/ 52 h 52"/>
                  <a:gd name="T8" fmla="*/ 437 w 463"/>
                  <a:gd name="T9" fmla="*/ 52 h 52"/>
                  <a:gd name="T10" fmla="*/ 463 w 463"/>
                  <a:gd name="T11" fmla="*/ 26 h 52"/>
                  <a:gd name="T12" fmla="*/ 437 w 463"/>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463" h="52">
                    <a:moveTo>
                      <a:pt x="437" y="0"/>
                    </a:moveTo>
                    <a:cubicBezTo>
                      <a:pt x="26" y="0"/>
                      <a:pt x="26" y="0"/>
                      <a:pt x="26" y="0"/>
                    </a:cubicBezTo>
                    <a:cubicBezTo>
                      <a:pt x="12" y="0"/>
                      <a:pt x="0" y="11"/>
                      <a:pt x="0" y="26"/>
                    </a:cubicBezTo>
                    <a:cubicBezTo>
                      <a:pt x="0" y="40"/>
                      <a:pt x="12" y="52"/>
                      <a:pt x="26" y="52"/>
                    </a:cubicBezTo>
                    <a:cubicBezTo>
                      <a:pt x="437" y="52"/>
                      <a:pt x="437" y="52"/>
                      <a:pt x="437" y="52"/>
                    </a:cubicBezTo>
                    <a:cubicBezTo>
                      <a:pt x="451" y="52"/>
                      <a:pt x="463" y="40"/>
                      <a:pt x="463" y="26"/>
                    </a:cubicBezTo>
                    <a:cubicBezTo>
                      <a:pt x="463" y="11"/>
                      <a:pt x="451" y="0"/>
                      <a:pt x="4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76" name="Freeform 24"/>
              <p:cNvSpPr>
                <a:spLocks noEditPoints="1"/>
              </p:cNvSpPr>
              <p:nvPr userDrawn="1"/>
            </p:nvSpPr>
            <p:spPr bwMode="auto">
              <a:xfrm>
                <a:off x="19329300" y="-1229127"/>
                <a:ext cx="176213" cy="219075"/>
              </a:xfrm>
              <a:custGeom>
                <a:avLst/>
                <a:gdLst>
                  <a:gd name="T0" fmla="*/ 342 w 349"/>
                  <a:gd name="T1" fmla="*/ 186 h 438"/>
                  <a:gd name="T2" fmla="*/ 324 w 349"/>
                  <a:gd name="T3" fmla="*/ 188 h 438"/>
                  <a:gd name="T4" fmla="*/ 223 w 349"/>
                  <a:gd name="T5" fmla="*/ 233 h 438"/>
                  <a:gd name="T6" fmla="*/ 209 w 349"/>
                  <a:gd name="T7" fmla="*/ 237 h 438"/>
                  <a:gd name="T8" fmla="*/ 156 w 349"/>
                  <a:gd name="T9" fmla="*/ 266 h 438"/>
                  <a:gd name="T10" fmla="*/ 155 w 349"/>
                  <a:gd name="T11" fmla="*/ 265 h 438"/>
                  <a:gd name="T12" fmla="*/ 142 w 349"/>
                  <a:gd name="T13" fmla="*/ 16 h 438"/>
                  <a:gd name="T14" fmla="*/ 109 w 349"/>
                  <a:gd name="T15" fmla="*/ 0 h 438"/>
                  <a:gd name="T16" fmla="*/ 109 w 349"/>
                  <a:gd name="T17" fmla="*/ 0 h 438"/>
                  <a:gd name="T18" fmla="*/ 105 w 349"/>
                  <a:gd name="T19" fmla="*/ 0 h 438"/>
                  <a:gd name="T20" fmla="*/ 47 w 349"/>
                  <a:gd name="T21" fmla="*/ 28 h 438"/>
                  <a:gd name="T22" fmla="*/ 103 w 349"/>
                  <a:gd name="T23" fmla="*/ 229 h 438"/>
                  <a:gd name="T24" fmla="*/ 104 w 349"/>
                  <a:gd name="T25" fmla="*/ 231 h 438"/>
                  <a:gd name="T26" fmla="*/ 116 w 349"/>
                  <a:gd name="T27" fmla="*/ 251 h 438"/>
                  <a:gd name="T28" fmla="*/ 119 w 349"/>
                  <a:gd name="T29" fmla="*/ 255 h 438"/>
                  <a:gd name="T30" fmla="*/ 115 w 349"/>
                  <a:gd name="T31" fmla="*/ 253 h 438"/>
                  <a:gd name="T32" fmla="*/ 30 w 349"/>
                  <a:gd name="T33" fmla="*/ 251 h 438"/>
                  <a:gd name="T34" fmla="*/ 7 w 349"/>
                  <a:gd name="T35" fmla="*/ 311 h 438"/>
                  <a:gd name="T36" fmla="*/ 81 w 349"/>
                  <a:gd name="T37" fmla="*/ 383 h 438"/>
                  <a:gd name="T38" fmla="*/ 74 w 349"/>
                  <a:gd name="T39" fmla="*/ 393 h 438"/>
                  <a:gd name="T40" fmla="*/ 74 w 349"/>
                  <a:gd name="T41" fmla="*/ 430 h 438"/>
                  <a:gd name="T42" fmla="*/ 93 w 349"/>
                  <a:gd name="T43" fmla="*/ 438 h 438"/>
                  <a:gd name="T44" fmla="*/ 112 w 349"/>
                  <a:gd name="T45" fmla="*/ 430 h 438"/>
                  <a:gd name="T46" fmla="*/ 137 w 349"/>
                  <a:gd name="T47" fmla="*/ 387 h 438"/>
                  <a:gd name="T48" fmla="*/ 155 w 349"/>
                  <a:gd name="T49" fmla="*/ 378 h 438"/>
                  <a:gd name="T50" fmla="*/ 169 w 349"/>
                  <a:gd name="T51" fmla="*/ 292 h 438"/>
                  <a:gd name="T52" fmla="*/ 223 w 349"/>
                  <a:gd name="T53" fmla="*/ 260 h 438"/>
                  <a:gd name="T54" fmla="*/ 344 w 349"/>
                  <a:gd name="T55" fmla="*/ 205 h 438"/>
                  <a:gd name="T56" fmla="*/ 342 w 349"/>
                  <a:gd name="T57" fmla="*/ 186 h 438"/>
                  <a:gd name="T58" fmla="*/ 70 w 349"/>
                  <a:gd name="T59" fmla="*/ 41 h 438"/>
                  <a:gd name="T60" fmla="*/ 105 w 349"/>
                  <a:gd name="T61" fmla="*/ 26 h 438"/>
                  <a:gd name="T62" fmla="*/ 109 w 349"/>
                  <a:gd name="T63" fmla="*/ 27 h 438"/>
                  <a:gd name="T64" fmla="*/ 122 w 349"/>
                  <a:gd name="T65" fmla="*/ 33 h 438"/>
                  <a:gd name="T66" fmla="*/ 134 w 349"/>
                  <a:gd name="T67" fmla="*/ 230 h 438"/>
                  <a:gd name="T68" fmla="*/ 127 w 349"/>
                  <a:gd name="T69" fmla="*/ 218 h 438"/>
                  <a:gd name="T70" fmla="*/ 126 w 349"/>
                  <a:gd name="T71" fmla="*/ 216 h 438"/>
                  <a:gd name="T72" fmla="*/ 70 w 349"/>
                  <a:gd name="T73" fmla="*/ 41 h 438"/>
                  <a:gd name="T74" fmla="*/ 33 w 349"/>
                  <a:gd name="T75" fmla="*/ 304 h 438"/>
                  <a:gd name="T76" fmla="*/ 45 w 349"/>
                  <a:gd name="T77" fmla="*/ 272 h 438"/>
                  <a:gd name="T78" fmla="*/ 104 w 349"/>
                  <a:gd name="T79" fmla="*/ 277 h 438"/>
                  <a:gd name="T80" fmla="*/ 125 w 349"/>
                  <a:gd name="T81" fmla="*/ 286 h 438"/>
                  <a:gd name="T82" fmla="*/ 108 w 349"/>
                  <a:gd name="T83" fmla="*/ 351 h 438"/>
                  <a:gd name="T84" fmla="*/ 93 w 349"/>
                  <a:gd name="T85" fmla="*/ 359 h 438"/>
                  <a:gd name="T86" fmla="*/ 33 w 349"/>
                  <a:gd name="T87" fmla="*/ 304 h 438"/>
                  <a:gd name="T88" fmla="*/ 139 w 349"/>
                  <a:gd name="T89" fmla="*/ 357 h 438"/>
                  <a:gd name="T90" fmla="*/ 133 w 349"/>
                  <a:gd name="T91" fmla="*/ 361 h 438"/>
                  <a:gd name="T92" fmla="*/ 133 w 349"/>
                  <a:gd name="T93" fmla="*/ 360 h 438"/>
                  <a:gd name="T94" fmla="*/ 147 w 349"/>
                  <a:gd name="T95" fmla="*/ 309 h 438"/>
                  <a:gd name="T96" fmla="*/ 139 w 349"/>
                  <a:gd name="T97" fmla="*/ 357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9" h="438">
                    <a:moveTo>
                      <a:pt x="342" y="186"/>
                    </a:moveTo>
                    <a:cubicBezTo>
                      <a:pt x="337" y="182"/>
                      <a:pt x="328" y="183"/>
                      <a:pt x="324" y="188"/>
                    </a:cubicBezTo>
                    <a:cubicBezTo>
                      <a:pt x="309" y="207"/>
                      <a:pt x="269" y="249"/>
                      <a:pt x="223" y="233"/>
                    </a:cubicBezTo>
                    <a:cubicBezTo>
                      <a:pt x="218" y="231"/>
                      <a:pt x="212" y="233"/>
                      <a:pt x="209" y="237"/>
                    </a:cubicBezTo>
                    <a:cubicBezTo>
                      <a:pt x="187" y="263"/>
                      <a:pt x="169" y="267"/>
                      <a:pt x="156" y="266"/>
                    </a:cubicBezTo>
                    <a:cubicBezTo>
                      <a:pt x="156" y="266"/>
                      <a:pt x="155" y="266"/>
                      <a:pt x="155" y="265"/>
                    </a:cubicBezTo>
                    <a:cubicBezTo>
                      <a:pt x="171" y="175"/>
                      <a:pt x="176" y="57"/>
                      <a:pt x="142" y="16"/>
                    </a:cubicBezTo>
                    <a:cubicBezTo>
                      <a:pt x="133" y="6"/>
                      <a:pt x="122" y="0"/>
                      <a:pt x="109" y="0"/>
                    </a:cubicBezTo>
                    <a:cubicBezTo>
                      <a:pt x="109" y="0"/>
                      <a:pt x="109" y="0"/>
                      <a:pt x="109" y="0"/>
                    </a:cubicBezTo>
                    <a:cubicBezTo>
                      <a:pt x="108" y="0"/>
                      <a:pt x="107" y="0"/>
                      <a:pt x="105" y="0"/>
                    </a:cubicBezTo>
                    <a:cubicBezTo>
                      <a:pt x="77" y="0"/>
                      <a:pt x="58" y="10"/>
                      <a:pt x="47" y="28"/>
                    </a:cubicBezTo>
                    <a:cubicBezTo>
                      <a:pt x="27" y="64"/>
                      <a:pt x="46" y="132"/>
                      <a:pt x="103" y="229"/>
                    </a:cubicBezTo>
                    <a:cubicBezTo>
                      <a:pt x="104" y="231"/>
                      <a:pt x="104" y="231"/>
                      <a:pt x="104" y="231"/>
                    </a:cubicBezTo>
                    <a:cubicBezTo>
                      <a:pt x="108" y="237"/>
                      <a:pt x="112" y="244"/>
                      <a:pt x="116" y="251"/>
                    </a:cubicBezTo>
                    <a:cubicBezTo>
                      <a:pt x="117" y="252"/>
                      <a:pt x="118" y="253"/>
                      <a:pt x="119" y="255"/>
                    </a:cubicBezTo>
                    <a:cubicBezTo>
                      <a:pt x="117" y="254"/>
                      <a:pt x="116" y="254"/>
                      <a:pt x="115" y="253"/>
                    </a:cubicBezTo>
                    <a:cubicBezTo>
                      <a:pt x="89" y="241"/>
                      <a:pt x="60" y="228"/>
                      <a:pt x="30" y="251"/>
                    </a:cubicBezTo>
                    <a:cubicBezTo>
                      <a:pt x="8" y="266"/>
                      <a:pt x="0" y="287"/>
                      <a:pt x="7" y="311"/>
                    </a:cubicBezTo>
                    <a:cubicBezTo>
                      <a:pt x="16" y="341"/>
                      <a:pt x="47" y="370"/>
                      <a:pt x="81" y="383"/>
                    </a:cubicBezTo>
                    <a:cubicBezTo>
                      <a:pt x="77" y="390"/>
                      <a:pt x="75" y="392"/>
                      <a:pt x="74" y="393"/>
                    </a:cubicBezTo>
                    <a:cubicBezTo>
                      <a:pt x="64" y="403"/>
                      <a:pt x="64" y="420"/>
                      <a:pt x="74" y="430"/>
                    </a:cubicBezTo>
                    <a:cubicBezTo>
                      <a:pt x="80" y="435"/>
                      <a:pt x="86" y="438"/>
                      <a:pt x="93" y="438"/>
                    </a:cubicBezTo>
                    <a:cubicBezTo>
                      <a:pt x="100" y="438"/>
                      <a:pt x="107" y="435"/>
                      <a:pt x="112" y="430"/>
                    </a:cubicBezTo>
                    <a:cubicBezTo>
                      <a:pt x="121" y="421"/>
                      <a:pt x="129" y="407"/>
                      <a:pt x="137" y="387"/>
                    </a:cubicBezTo>
                    <a:cubicBezTo>
                      <a:pt x="144" y="385"/>
                      <a:pt x="150" y="382"/>
                      <a:pt x="155" y="378"/>
                    </a:cubicBezTo>
                    <a:cubicBezTo>
                      <a:pt x="188" y="354"/>
                      <a:pt x="179" y="317"/>
                      <a:pt x="169" y="292"/>
                    </a:cubicBezTo>
                    <a:cubicBezTo>
                      <a:pt x="188" y="289"/>
                      <a:pt x="206" y="279"/>
                      <a:pt x="223" y="260"/>
                    </a:cubicBezTo>
                    <a:cubicBezTo>
                      <a:pt x="264" y="270"/>
                      <a:pt x="308" y="250"/>
                      <a:pt x="344" y="205"/>
                    </a:cubicBezTo>
                    <a:cubicBezTo>
                      <a:pt x="349" y="199"/>
                      <a:pt x="348" y="191"/>
                      <a:pt x="342" y="186"/>
                    </a:cubicBezTo>
                    <a:close/>
                    <a:moveTo>
                      <a:pt x="70" y="41"/>
                    </a:moveTo>
                    <a:cubicBezTo>
                      <a:pt x="72" y="37"/>
                      <a:pt x="79" y="26"/>
                      <a:pt x="105" y="26"/>
                    </a:cubicBezTo>
                    <a:cubicBezTo>
                      <a:pt x="106" y="26"/>
                      <a:pt x="107" y="27"/>
                      <a:pt x="109" y="27"/>
                    </a:cubicBezTo>
                    <a:cubicBezTo>
                      <a:pt x="112" y="27"/>
                      <a:pt x="117" y="27"/>
                      <a:pt x="122" y="33"/>
                    </a:cubicBezTo>
                    <a:cubicBezTo>
                      <a:pt x="142" y="58"/>
                      <a:pt x="147" y="137"/>
                      <a:pt x="134" y="230"/>
                    </a:cubicBezTo>
                    <a:cubicBezTo>
                      <a:pt x="132" y="226"/>
                      <a:pt x="129" y="222"/>
                      <a:pt x="127" y="218"/>
                    </a:cubicBezTo>
                    <a:cubicBezTo>
                      <a:pt x="126" y="216"/>
                      <a:pt x="126" y="216"/>
                      <a:pt x="126" y="216"/>
                    </a:cubicBezTo>
                    <a:cubicBezTo>
                      <a:pt x="55" y="95"/>
                      <a:pt x="63" y="53"/>
                      <a:pt x="70" y="41"/>
                    </a:cubicBezTo>
                    <a:close/>
                    <a:moveTo>
                      <a:pt x="33" y="304"/>
                    </a:moveTo>
                    <a:cubicBezTo>
                      <a:pt x="29" y="291"/>
                      <a:pt x="33" y="281"/>
                      <a:pt x="45" y="272"/>
                    </a:cubicBezTo>
                    <a:cubicBezTo>
                      <a:pt x="63" y="259"/>
                      <a:pt x="78" y="265"/>
                      <a:pt x="104" y="277"/>
                    </a:cubicBezTo>
                    <a:cubicBezTo>
                      <a:pt x="110" y="280"/>
                      <a:pt x="117" y="283"/>
                      <a:pt x="125" y="286"/>
                    </a:cubicBezTo>
                    <a:cubicBezTo>
                      <a:pt x="120" y="310"/>
                      <a:pt x="114" y="332"/>
                      <a:pt x="108" y="351"/>
                    </a:cubicBezTo>
                    <a:cubicBezTo>
                      <a:pt x="102" y="352"/>
                      <a:pt x="97" y="355"/>
                      <a:pt x="93" y="359"/>
                    </a:cubicBezTo>
                    <a:cubicBezTo>
                      <a:pt x="66" y="350"/>
                      <a:pt x="39" y="327"/>
                      <a:pt x="33" y="304"/>
                    </a:cubicBezTo>
                    <a:close/>
                    <a:moveTo>
                      <a:pt x="139" y="357"/>
                    </a:moveTo>
                    <a:cubicBezTo>
                      <a:pt x="138" y="359"/>
                      <a:pt x="135" y="360"/>
                      <a:pt x="133" y="361"/>
                    </a:cubicBezTo>
                    <a:cubicBezTo>
                      <a:pt x="133" y="360"/>
                      <a:pt x="133" y="360"/>
                      <a:pt x="133" y="360"/>
                    </a:cubicBezTo>
                    <a:cubicBezTo>
                      <a:pt x="138" y="345"/>
                      <a:pt x="142" y="327"/>
                      <a:pt x="147" y="309"/>
                    </a:cubicBezTo>
                    <a:cubicBezTo>
                      <a:pt x="157" y="338"/>
                      <a:pt x="149" y="350"/>
                      <a:pt x="139" y="3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grpSp>
          <p:nvGrpSpPr>
            <p:cNvPr id="57" name="Group 56"/>
            <p:cNvGrpSpPr/>
            <p:nvPr userDrawn="1"/>
          </p:nvGrpSpPr>
          <p:grpSpPr>
            <a:xfrm>
              <a:off x="11149540" y="7001204"/>
              <a:ext cx="231675" cy="335962"/>
              <a:chOff x="14846200" y="1255311"/>
              <a:chExt cx="525463" cy="762000"/>
            </a:xfrm>
            <a:solidFill>
              <a:schemeClr val="accent5">
                <a:lumMod val="75000"/>
              </a:schemeClr>
            </a:solidFill>
          </p:grpSpPr>
          <p:sp>
            <p:nvSpPr>
              <p:cNvPr id="67" name="Freeform 57"/>
              <p:cNvSpPr>
                <a:spLocks noEditPoints="1"/>
              </p:cNvSpPr>
              <p:nvPr userDrawn="1"/>
            </p:nvSpPr>
            <p:spPr bwMode="auto">
              <a:xfrm>
                <a:off x="14846200" y="1255311"/>
                <a:ext cx="525463" cy="762000"/>
              </a:xfrm>
              <a:custGeom>
                <a:avLst/>
                <a:gdLst>
                  <a:gd name="T0" fmla="*/ 857 w 1047"/>
                  <a:gd name="T1" fmla="*/ 396 h 1518"/>
                  <a:gd name="T2" fmla="*/ 822 w 1047"/>
                  <a:gd name="T3" fmla="*/ 383 h 1518"/>
                  <a:gd name="T4" fmla="*/ 749 w 1047"/>
                  <a:gd name="T5" fmla="*/ 0 h 1518"/>
                  <a:gd name="T6" fmla="*/ 0 w 1047"/>
                  <a:gd name="T7" fmla="*/ 72 h 1518"/>
                  <a:gd name="T8" fmla="*/ 73 w 1047"/>
                  <a:gd name="T9" fmla="*/ 1518 h 1518"/>
                  <a:gd name="T10" fmla="*/ 822 w 1047"/>
                  <a:gd name="T11" fmla="*/ 1446 h 1518"/>
                  <a:gd name="T12" fmla="*/ 960 w 1047"/>
                  <a:gd name="T13" fmla="*/ 842 h 1518"/>
                  <a:gd name="T14" fmla="*/ 1040 w 1047"/>
                  <a:gd name="T15" fmla="*/ 833 h 1518"/>
                  <a:gd name="T16" fmla="*/ 73 w 1047"/>
                  <a:gd name="T17" fmla="*/ 52 h 1518"/>
                  <a:gd name="T18" fmla="*/ 769 w 1047"/>
                  <a:gd name="T19" fmla="*/ 72 h 1518"/>
                  <a:gd name="T20" fmla="*/ 53 w 1047"/>
                  <a:gd name="T21" fmla="*/ 180 h 1518"/>
                  <a:gd name="T22" fmla="*/ 73 w 1047"/>
                  <a:gd name="T23" fmla="*/ 52 h 1518"/>
                  <a:gd name="T24" fmla="*/ 73 w 1047"/>
                  <a:gd name="T25" fmla="*/ 1466 h 1518"/>
                  <a:gd name="T26" fmla="*/ 53 w 1047"/>
                  <a:gd name="T27" fmla="*/ 1338 h 1518"/>
                  <a:gd name="T28" fmla="*/ 411 w 1047"/>
                  <a:gd name="T29" fmla="*/ 1383 h 1518"/>
                  <a:gd name="T30" fmla="*/ 769 w 1047"/>
                  <a:gd name="T31" fmla="*/ 1338 h 1518"/>
                  <a:gd name="T32" fmla="*/ 749 w 1047"/>
                  <a:gd name="T33" fmla="*/ 1466 h 1518"/>
                  <a:gd name="T34" fmla="*/ 53 w 1047"/>
                  <a:gd name="T35" fmla="*/ 1286 h 1518"/>
                  <a:gd name="T36" fmla="*/ 769 w 1047"/>
                  <a:gd name="T37" fmla="*/ 232 h 1518"/>
                  <a:gd name="T38" fmla="*/ 535 w 1047"/>
                  <a:gd name="T39" fmla="*/ 631 h 1518"/>
                  <a:gd name="T40" fmla="*/ 376 w 1047"/>
                  <a:gd name="T41" fmla="*/ 695 h 1518"/>
                  <a:gd name="T42" fmla="*/ 363 w 1047"/>
                  <a:gd name="T43" fmla="*/ 730 h 1518"/>
                  <a:gd name="T44" fmla="*/ 480 w 1047"/>
                  <a:gd name="T45" fmla="*/ 971 h 1518"/>
                  <a:gd name="T46" fmla="*/ 500 w 1047"/>
                  <a:gd name="T47" fmla="*/ 970 h 1518"/>
                  <a:gd name="T48" fmla="*/ 526 w 1047"/>
                  <a:gd name="T49" fmla="*/ 1112 h 1518"/>
                  <a:gd name="T50" fmla="*/ 592 w 1047"/>
                  <a:gd name="T51" fmla="*/ 1180 h 1518"/>
                  <a:gd name="T52" fmla="*/ 707 w 1047"/>
                  <a:gd name="T53" fmla="*/ 1078 h 1518"/>
                  <a:gd name="T54" fmla="*/ 769 w 1047"/>
                  <a:gd name="T55" fmla="*/ 863 h 1518"/>
                  <a:gd name="T56" fmla="*/ 556 w 1047"/>
                  <a:gd name="T57" fmla="*/ 945 h 1518"/>
                  <a:gd name="T58" fmla="*/ 659 w 1047"/>
                  <a:gd name="T59" fmla="*/ 1099 h 1518"/>
                  <a:gd name="T60" fmla="*/ 578 w 1047"/>
                  <a:gd name="T61" fmla="*/ 1125 h 1518"/>
                  <a:gd name="T62" fmla="*/ 556 w 1047"/>
                  <a:gd name="T63" fmla="*/ 945 h 1518"/>
                  <a:gd name="T64" fmla="*/ 503 w 1047"/>
                  <a:gd name="T65" fmla="*/ 912 h 1518"/>
                  <a:gd name="T66" fmla="*/ 513 w 1047"/>
                  <a:gd name="T67" fmla="*/ 691 h 1518"/>
                  <a:gd name="T68" fmla="*/ 594 w 1047"/>
                  <a:gd name="T69" fmla="*/ 870 h 1518"/>
                  <a:gd name="T70" fmla="*/ 640 w 1047"/>
                  <a:gd name="T71" fmla="*/ 843 h 1518"/>
                  <a:gd name="T72" fmla="*/ 564 w 1047"/>
                  <a:gd name="T73" fmla="*/ 675 h 1518"/>
                  <a:gd name="T74" fmla="*/ 977 w 1047"/>
                  <a:gd name="T75" fmla="*/ 789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7" h="1518">
                    <a:moveTo>
                      <a:pt x="1043" y="807"/>
                    </a:moveTo>
                    <a:cubicBezTo>
                      <a:pt x="857" y="396"/>
                      <a:pt x="857" y="396"/>
                      <a:pt x="857" y="396"/>
                    </a:cubicBezTo>
                    <a:cubicBezTo>
                      <a:pt x="853" y="387"/>
                      <a:pt x="845" y="382"/>
                      <a:pt x="836" y="381"/>
                    </a:cubicBezTo>
                    <a:cubicBezTo>
                      <a:pt x="831" y="380"/>
                      <a:pt x="826" y="381"/>
                      <a:pt x="822" y="383"/>
                    </a:cubicBezTo>
                    <a:cubicBezTo>
                      <a:pt x="822" y="72"/>
                      <a:pt x="822" y="72"/>
                      <a:pt x="822" y="72"/>
                    </a:cubicBezTo>
                    <a:cubicBezTo>
                      <a:pt x="822" y="32"/>
                      <a:pt x="789" y="0"/>
                      <a:pt x="749" y="0"/>
                    </a:cubicBezTo>
                    <a:cubicBezTo>
                      <a:pt x="73" y="0"/>
                      <a:pt x="73" y="0"/>
                      <a:pt x="73" y="0"/>
                    </a:cubicBezTo>
                    <a:cubicBezTo>
                      <a:pt x="33" y="0"/>
                      <a:pt x="0" y="32"/>
                      <a:pt x="0" y="72"/>
                    </a:cubicBezTo>
                    <a:cubicBezTo>
                      <a:pt x="0" y="1446"/>
                      <a:pt x="0" y="1446"/>
                      <a:pt x="0" y="1446"/>
                    </a:cubicBezTo>
                    <a:cubicBezTo>
                      <a:pt x="0" y="1486"/>
                      <a:pt x="33" y="1518"/>
                      <a:pt x="73" y="1518"/>
                    </a:cubicBezTo>
                    <a:cubicBezTo>
                      <a:pt x="749" y="1518"/>
                      <a:pt x="749" y="1518"/>
                      <a:pt x="749" y="1518"/>
                    </a:cubicBezTo>
                    <a:cubicBezTo>
                      <a:pt x="789" y="1518"/>
                      <a:pt x="822" y="1486"/>
                      <a:pt x="822" y="1446"/>
                    </a:cubicBezTo>
                    <a:cubicBezTo>
                      <a:pt x="822" y="854"/>
                      <a:pt x="822" y="854"/>
                      <a:pt x="822" y="854"/>
                    </a:cubicBezTo>
                    <a:cubicBezTo>
                      <a:pt x="865" y="847"/>
                      <a:pt x="913" y="842"/>
                      <a:pt x="960" y="842"/>
                    </a:cubicBezTo>
                    <a:cubicBezTo>
                      <a:pt x="980" y="842"/>
                      <a:pt x="999" y="842"/>
                      <a:pt x="1016" y="844"/>
                    </a:cubicBezTo>
                    <a:cubicBezTo>
                      <a:pt x="1026" y="845"/>
                      <a:pt x="1035" y="841"/>
                      <a:pt x="1040" y="833"/>
                    </a:cubicBezTo>
                    <a:cubicBezTo>
                      <a:pt x="1046" y="825"/>
                      <a:pt x="1047" y="816"/>
                      <a:pt x="1043" y="807"/>
                    </a:cubicBezTo>
                    <a:close/>
                    <a:moveTo>
                      <a:pt x="73" y="52"/>
                    </a:moveTo>
                    <a:cubicBezTo>
                      <a:pt x="749" y="52"/>
                      <a:pt x="749" y="52"/>
                      <a:pt x="749" y="52"/>
                    </a:cubicBezTo>
                    <a:cubicBezTo>
                      <a:pt x="760" y="52"/>
                      <a:pt x="769" y="61"/>
                      <a:pt x="769" y="72"/>
                    </a:cubicBezTo>
                    <a:cubicBezTo>
                      <a:pt x="769" y="180"/>
                      <a:pt x="769" y="180"/>
                      <a:pt x="769" y="180"/>
                    </a:cubicBezTo>
                    <a:cubicBezTo>
                      <a:pt x="53" y="180"/>
                      <a:pt x="53" y="180"/>
                      <a:pt x="53" y="180"/>
                    </a:cubicBezTo>
                    <a:cubicBezTo>
                      <a:pt x="53" y="72"/>
                      <a:pt x="53" y="72"/>
                      <a:pt x="53" y="72"/>
                    </a:cubicBezTo>
                    <a:cubicBezTo>
                      <a:pt x="53" y="61"/>
                      <a:pt x="62" y="52"/>
                      <a:pt x="73" y="52"/>
                    </a:cubicBezTo>
                    <a:close/>
                    <a:moveTo>
                      <a:pt x="749" y="1466"/>
                    </a:moveTo>
                    <a:cubicBezTo>
                      <a:pt x="73" y="1466"/>
                      <a:pt x="73" y="1466"/>
                      <a:pt x="73" y="1466"/>
                    </a:cubicBezTo>
                    <a:cubicBezTo>
                      <a:pt x="62" y="1466"/>
                      <a:pt x="53" y="1457"/>
                      <a:pt x="53" y="1446"/>
                    </a:cubicBezTo>
                    <a:cubicBezTo>
                      <a:pt x="53" y="1338"/>
                      <a:pt x="53" y="1338"/>
                      <a:pt x="53" y="1338"/>
                    </a:cubicBezTo>
                    <a:cubicBezTo>
                      <a:pt x="362" y="1338"/>
                      <a:pt x="362" y="1338"/>
                      <a:pt x="362" y="1338"/>
                    </a:cubicBezTo>
                    <a:cubicBezTo>
                      <a:pt x="365" y="1363"/>
                      <a:pt x="385" y="1383"/>
                      <a:pt x="411" y="1383"/>
                    </a:cubicBezTo>
                    <a:cubicBezTo>
                      <a:pt x="437" y="1383"/>
                      <a:pt x="458" y="1363"/>
                      <a:pt x="460" y="1338"/>
                    </a:cubicBezTo>
                    <a:cubicBezTo>
                      <a:pt x="769" y="1338"/>
                      <a:pt x="769" y="1338"/>
                      <a:pt x="769" y="1338"/>
                    </a:cubicBezTo>
                    <a:cubicBezTo>
                      <a:pt x="769" y="1446"/>
                      <a:pt x="769" y="1446"/>
                      <a:pt x="769" y="1446"/>
                    </a:cubicBezTo>
                    <a:cubicBezTo>
                      <a:pt x="769" y="1457"/>
                      <a:pt x="760" y="1466"/>
                      <a:pt x="749" y="1466"/>
                    </a:cubicBezTo>
                    <a:close/>
                    <a:moveTo>
                      <a:pt x="769" y="1286"/>
                    </a:moveTo>
                    <a:cubicBezTo>
                      <a:pt x="53" y="1286"/>
                      <a:pt x="53" y="1286"/>
                      <a:pt x="53" y="1286"/>
                    </a:cubicBezTo>
                    <a:cubicBezTo>
                      <a:pt x="53" y="232"/>
                      <a:pt x="53" y="232"/>
                      <a:pt x="53" y="232"/>
                    </a:cubicBezTo>
                    <a:cubicBezTo>
                      <a:pt x="769" y="232"/>
                      <a:pt x="769" y="232"/>
                      <a:pt x="769" y="232"/>
                    </a:cubicBezTo>
                    <a:cubicBezTo>
                      <a:pt x="769" y="443"/>
                      <a:pt x="769" y="443"/>
                      <a:pt x="769" y="443"/>
                    </a:cubicBezTo>
                    <a:cubicBezTo>
                      <a:pt x="684" y="537"/>
                      <a:pt x="576" y="606"/>
                      <a:pt x="535" y="631"/>
                    </a:cubicBezTo>
                    <a:cubicBezTo>
                      <a:pt x="528" y="629"/>
                      <a:pt x="522" y="629"/>
                      <a:pt x="516" y="632"/>
                    </a:cubicBezTo>
                    <a:cubicBezTo>
                      <a:pt x="376" y="695"/>
                      <a:pt x="376" y="695"/>
                      <a:pt x="376" y="695"/>
                    </a:cubicBezTo>
                    <a:cubicBezTo>
                      <a:pt x="370" y="698"/>
                      <a:pt x="365" y="703"/>
                      <a:pt x="362" y="710"/>
                    </a:cubicBezTo>
                    <a:cubicBezTo>
                      <a:pt x="360" y="716"/>
                      <a:pt x="360" y="724"/>
                      <a:pt x="363" y="730"/>
                    </a:cubicBezTo>
                    <a:cubicBezTo>
                      <a:pt x="466" y="957"/>
                      <a:pt x="466" y="957"/>
                      <a:pt x="466" y="957"/>
                    </a:cubicBezTo>
                    <a:cubicBezTo>
                      <a:pt x="469" y="964"/>
                      <a:pt x="474" y="969"/>
                      <a:pt x="480" y="971"/>
                    </a:cubicBezTo>
                    <a:cubicBezTo>
                      <a:pt x="483" y="972"/>
                      <a:pt x="486" y="973"/>
                      <a:pt x="490" y="973"/>
                    </a:cubicBezTo>
                    <a:cubicBezTo>
                      <a:pt x="493" y="973"/>
                      <a:pt x="497" y="972"/>
                      <a:pt x="500" y="970"/>
                    </a:cubicBezTo>
                    <a:cubicBezTo>
                      <a:pt x="508" y="967"/>
                      <a:pt x="508" y="967"/>
                      <a:pt x="508" y="967"/>
                    </a:cubicBezTo>
                    <a:cubicBezTo>
                      <a:pt x="518" y="1003"/>
                      <a:pt x="534" y="1067"/>
                      <a:pt x="526" y="1112"/>
                    </a:cubicBezTo>
                    <a:cubicBezTo>
                      <a:pt x="522" y="1135"/>
                      <a:pt x="530" y="1150"/>
                      <a:pt x="537" y="1159"/>
                    </a:cubicBezTo>
                    <a:cubicBezTo>
                      <a:pt x="545" y="1168"/>
                      <a:pt x="561" y="1180"/>
                      <a:pt x="592" y="1180"/>
                    </a:cubicBezTo>
                    <a:cubicBezTo>
                      <a:pt x="630" y="1180"/>
                      <a:pt x="682" y="1160"/>
                      <a:pt x="703" y="1128"/>
                    </a:cubicBezTo>
                    <a:cubicBezTo>
                      <a:pt x="713" y="1112"/>
                      <a:pt x="715" y="1094"/>
                      <a:pt x="707" y="1078"/>
                    </a:cubicBezTo>
                    <a:cubicBezTo>
                      <a:pt x="686" y="1032"/>
                      <a:pt x="665" y="929"/>
                      <a:pt x="658" y="892"/>
                    </a:cubicBezTo>
                    <a:cubicBezTo>
                      <a:pt x="681" y="885"/>
                      <a:pt x="721" y="874"/>
                      <a:pt x="769" y="863"/>
                    </a:cubicBezTo>
                    <a:lnTo>
                      <a:pt x="769" y="1286"/>
                    </a:lnTo>
                    <a:close/>
                    <a:moveTo>
                      <a:pt x="556" y="945"/>
                    </a:moveTo>
                    <a:cubicBezTo>
                      <a:pt x="610" y="921"/>
                      <a:pt x="610" y="921"/>
                      <a:pt x="610" y="921"/>
                    </a:cubicBezTo>
                    <a:cubicBezTo>
                      <a:pt x="619" y="968"/>
                      <a:pt x="638" y="1054"/>
                      <a:pt x="659" y="1099"/>
                    </a:cubicBezTo>
                    <a:cubicBezTo>
                      <a:pt x="654" y="1109"/>
                      <a:pt x="622" y="1127"/>
                      <a:pt x="592" y="1127"/>
                    </a:cubicBezTo>
                    <a:cubicBezTo>
                      <a:pt x="583" y="1127"/>
                      <a:pt x="579" y="1126"/>
                      <a:pt x="578" y="1125"/>
                    </a:cubicBezTo>
                    <a:cubicBezTo>
                      <a:pt x="577" y="1124"/>
                      <a:pt x="577" y="1123"/>
                      <a:pt x="578" y="1121"/>
                    </a:cubicBezTo>
                    <a:cubicBezTo>
                      <a:pt x="588" y="1062"/>
                      <a:pt x="568" y="984"/>
                      <a:pt x="556" y="945"/>
                    </a:cubicBezTo>
                    <a:close/>
                    <a:moveTo>
                      <a:pt x="594" y="870"/>
                    </a:moveTo>
                    <a:cubicBezTo>
                      <a:pt x="503" y="912"/>
                      <a:pt x="503" y="912"/>
                      <a:pt x="503" y="912"/>
                    </a:cubicBezTo>
                    <a:cubicBezTo>
                      <a:pt x="422" y="732"/>
                      <a:pt x="422" y="732"/>
                      <a:pt x="422" y="732"/>
                    </a:cubicBezTo>
                    <a:cubicBezTo>
                      <a:pt x="513" y="691"/>
                      <a:pt x="513" y="691"/>
                      <a:pt x="513" y="691"/>
                    </a:cubicBezTo>
                    <a:cubicBezTo>
                      <a:pt x="544" y="759"/>
                      <a:pt x="544" y="759"/>
                      <a:pt x="544" y="759"/>
                    </a:cubicBezTo>
                    <a:lnTo>
                      <a:pt x="594" y="870"/>
                    </a:lnTo>
                    <a:close/>
                    <a:moveTo>
                      <a:pt x="960" y="789"/>
                    </a:moveTo>
                    <a:cubicBezTo>
                      <a:pt x="824" y="789"/>
                      <a:pt x="692" y="826"/>
                      <a:pt x="640" y="843"/>
                    </a:cubicBezTo>
                    <a:cubicBezTo>
                      <a:pt x="568" y="684"/>
                      <a:pt x="568" y="684"/>
                      <a:pt x="568" y="684"/>
                    </a:cubicBezTo>
                    <a:cubicBezTo>
                      <a:pt x="564" y="675"/>
                      <a:pt x="564" y="675"/>
                      <a:pt x="564" y="675"/>
                    </a:cubicBezTo>
                    <a:cubicBezTo>
                      <a:pt x="613" y="646"/>
                      <a:pt x="735" y="566"/>
                      <a:pt x="827" y="457"/>
                    </a:cubicBezTo>
                    <a:cubicBezTo>
                      <a:pt x="977" y="789"/>
                      <a:pt x="977" y="789"/>
                      <a:pt x="977" y="789"/>
                    </a:cubicBezTo>
                    <a:cubicBezTo>
                      <a:pt x="971" y="789"/>
                      <a:pt x="966" y="789"/>
                      <a:pt x="960" y="7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nvGrpSpPr>
              <p:cNvPr id="68" name="Group 67"/>
              <p:cNvGrpSpPr/>
              <p:nvPr userDrawn="1"/>
            </p:nvGrpSpPr>
            <p:grpSpPr>
              <a:xfrm>
                <a:off x="14921447" y="1427713"/>
                <a:ext cx="153453" cy="154372"/>
                <a:chOff x="14868107" y="1392153"/>
                <a:chExt cx="265113" cy="266700"/>
              </a:xfrm>
              <a:grpFill/>
            </p:grpSpPr>
            <p:sp>
              <p:nvSpPr>
                <p:cNvPr id="69" name="Freeform 83"/>
                <p:cNvSpPr>
                  <a:spLocks noEditPoints="1"/>
                </p:cNvSpPr>
                <p:nvPr userDrawn="1"/>
              </p:nvSpPr>
              <p:spPr bwMode="auto">
                <a:xfrm>
                  <a:off x="14868107" y="1392153"/>
                  <a:ext cx="265113" cy="266700"/>
                </a:xfrm>
                <a:custGeom>
                  <a:avLst/>
                  <a:gdLst>
                    <a:gd name="T0" fmla="*/ 265 w 531"/>
                    <a:gd name="T1" fmla="*/ 0 h 531"/>
                    <a:gd name="T2" fmla="*/ 0 w 531"/>
                    <a:gd name="T3" fmla="*/ 266 h 531"/>
                    <a:gd name="T4" fmla="*/ 265 w 531"/>
                    <a:gd name="T5" fmla="*/ 531 h 531"/>
                    <a:gd name="T6" fmla="*/ 531 w 531"/>
                    <a:gd name="T7" fmla="*/ 266 h 531"/>
                    <a:gd name="T8" fmla="*/ 265 w 531"/>
                    <a:gd name="T9" fmla="*/ 0 h 531"/>
                    <a:gd name="T10" fmla="*/ 265 w 531"/>
                    <a:gd name="T11" fmla="*/ 479 h 531"/>
                    <a:gd name="T12" fmla="*/ 52 w 531"/>
                    <a:gd name="T13" fmla="*/ 266 h 531"/>
                    <a:gd name="T14" fmla="*/ 265 w 531"/>
                    <a:gd name="T15" fmla="*/ 53 h 531"/>
                    <a:gd name="T16" fmla="*/ 478 w 531"/>
                    <a:gd name="T17" fmla="*/ 266 h 531"/>
                    <a:gd name="T18" fmla="*/ 265 w 531"/>
                    <a:gd name="T19" fmla="*/ 479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1" h="531">
                      <a:moveTo>
                        <a:pt x="265" y="0"/>
                      </a:moveTo>
                      <a:cubicBezTo>
                        <a:pt x="119" y="0"/>
                        <a:pt x="0" y="119"/>
                        <a:pt x="0" y="266"/>
                      </a:cubicBezTo>
                      <a:cubicBezTo>
                        <a:pt x="0" y="412"/>
                        <a:pt x="119" y="531"/>
                        <a:pt x="265" y="531"/>
                      </a:cubicBezTo>
                      <a:cubicBezTo>
                        <a:pt x="412" y="531"/>
                        <a:pt x="531" y="412"/>
                        <a:pt x="531" y="266"/>
                      </a:cubicBezTo>
                      <a:cubicBezTo>
                        <a:pt x="531" y="119"/>
                        <a:pt x="412" y="0"/>
                        <a:pt x="265" y="0"/>
                      </a:cubicBezTo>
                      <a:close/>
                      <a:moveTo>
                        <a:pt x="265" y="479"/>
                      </a:moveTo>
                      <a:cubicBezTo>
                        <a:pt x="148" y="479"/>
                        <a:pt x="52" y="383"/>
                        <a:pt x="52" y="266"/>
                      </a:cubicBezTo>
                      <a:cubicBezTo>
                        <a:pt x="52" y="148"/>
                        <a:pt x="148" y="53"/>
                        <a:pt x="265" y="53"/>
                      </a:cubicBezTo>
                      <a:cubicBezTo>
                        <a:pt x="383" y="53"/>
                        <a:pt x="478" y="148"/>
                        <a:pt x="478" y="266"/>
                      </a:cubicBezTo>
                      <a:cubicBezTo>
                        <a:pt x="478" y="383"/>
                        <a:pt x="383" y="479"/>
                        <a:pt x="265" y="4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70" name="Freeform 84"/>
                <p:cNvSpPr>
                  <a:spLocks/>
                </p:cNvSpPr>
                <p:nvPr userDrawn="1"/>
              </p:nvSpPr>
              <p:spPr bwMode="auto">
                <a:xfrm>
                  <a:off x="14947482" y="1430253"/>
                  <a:ext cx="106363" cy="190500"/>
                </a:xfrm>
                <a:custGeom>
                  <a:avLst/>
                  <a:gdLst>
                    <a:gd name="T0" fmla="*/ 121 w 212"/>
                    <a:gd name="T1" fmla="*/ 160 h 381"/>
                    <a:gd name="T2" fmla="*/ 70 w 212"/>
                    <a:gd name="T3" fmla="*/ 124 h 381"/>
                    <a:gd name="T4" fmla="*/ 114 w 212"/>
                    <a:gd name="T5" fmla="*/ 102 h 381"/>
                    <a:gd name="T6" fmla="*/ 160 w 212"/>
                    <a:gd name="T7" fmla="*/ 113 h 381"/>
                    <a:gd name="T8" fmla="*/ 196 w 212"/>
                    <a:gd name="T9" fmla="*/ 104 h 381"/>
                    <a:gd name="T10" fmla="*/ 187 w 212"/>
                    <a:gd name="T11" fmla="*/ 68 h 381"/>
                    <a:gd name="T12" fmla="*/ 133 w 212"/>
                    <a:gd name="T13" fmla="*/ 51 h 381"/>
                    <a:gd name="T14" fmla="*/ 133 w 212"/>
                    <a:gd name="T15" fmla="*/ 26 h 381"/>
                    <a:gd name="T16" fmla="*/ 107 w 212"/>
                    <a:gd name="T17" fmla="*/ 0 h 381"/>
                    <a:gd name="T18" fmla="*/ 81 w 212"/>
                    <a:gd name="T19" fmla="*/ 26 h 381"/>
                    <a:gd name="T20" fmla="*/ 81 w 212"/>
                    <a:gd name="T21" fmla="*/ 53 h 381"/>
                    <a:gd name="T22" fmla="*/ 17 w 212"/>
                    <a:gd name="T23" fmla="*/ 124 h 381"/>
                    <a:gd name="T24" fmla="*/ 106 w 212"/>
                    <a:gd name="T25" fmla="*/ 210 h 381"/>
                    <a:gd name="T26" fmla="*/ 159 w 212"/>
                    <a:gd name="T27" fmla="*/ 250 h 381"/>
                    <a:gd name="T28" fmla="*/ 107 w 212"/>
                    <a:gd name="T29" fmla="*/ 279 h 381"/>
                    <a:gd name="T30" fmla="*/ 48 w 212"/>
                    <a:gd name="T31" fmla="*/ 256 h 381"/>
                    <a:gd name="T32" fmla="*/ 10 w 212"/>
                    <a:gd name="T33" fmla="*/ 257 h 381"/>
                    <a:gd name="T34" fmla="*/ 11 w 212"/>
                    <a:gd name="T35" fmla="*/ 294 h 381"/>
                    <a:gd name="T36" fmla="*/ 81 w 212"/>
                    <a:gd name="T37" fmla="*/ 329 h 381"/>
                    <a:gd name="T38" fmla="*/ 81 w 212"/>
                    <a:gd name="T39" fmla="*/ 355 h 381"/>
                    <a:gd name="T40" fmla="*/ 107 w 212"/>
                    <a:gd name="T41" fmla="*/ 381 h 381"/>
                    <a:gd name="T42" fmla="*/ 133 w 212"/>
                    <a:gd name="T43" fmla="*/ 355 h 381"/>
                    <a:gd name="T44" fmla="*/ 133 w 212"/>
                    <a:gd name="T45" fmla="*/ 330 h 381"/>
                    <a:gd name="T46" fmla="*/ 211 w 212"/>
                    <a:gd name="T47" fmla="*/ 251 h 381"/>
                    <a:gd name="T48" fmla="*/ 121 w 212"/>
                    <a:gd name="T49" fmla="*/ 16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2" h="381">
                      <a:moveTo>
                        <a:pt x="121" y="160"/>
                      </a:moveTo>
                      <a:cubicBezTo>
                        <a:pt x="82" y="148"/>
                        <a:pt x="70" y="142"/>
                        <a:pt x="70" y="124"/>
                      </a:cubicBezTo>
                      <a:cubicBezTo>
                        <a:pt x="70" y="109"/>
                        <a:pt x="92" y="102"/>
                        <a:pt x="114" y="102"/>
                      </a:cubicBezTo>
                      <a:cubicBezTo>
                        <a:pt x="130" y="102"/>
                        <a:pt x="148" y="106"/>
                        <a:pt x="160" y="113"/>
                      </a:cubicBezTo>
                      <a:cubicBezTo>
                        <a:pt x="172" y="121"/>
                        <a:pt x="188" y="117"/>
                        <a:pt x="196" y="104"/>
                      </a:cubicBezTo>
                      <a:cubicBezTo>
                        <a:pt x="203" y="92"/>
                        <a:pt x="199" y="75"/>
                        <a:pt x="187" y="68"/>
                      </a:cubicBezTo>
                      <a:cubicBezTo>
                        <a:pt x="172" y="59"/>
                        <a:pt x="153" y="53"/>
                        <a:pt x="133" y="51"/>
                      </a:cubicBezTo>
                      <a:cubicBezTo>
                        <a:pt x="133" y="26"/>
                        <a:pt x="133" y="26"/>
                        <a:pt x="133" y="26"/>
                      </a:cubicBezTo>
                      <a:cubicBezTo>
                        <a:pt x="133" y="12"/>
                        <a:pt x="122" y="0"/>
                        <a:pt x="107" y="0"/>
                      </a:cubicBezTo>
                      <a:cubicBezTo>
                        <a:pt x="93" y="0"/>
                        <a:pt x="81" y="12"/>
                        <a:pt x="81" y="26"/>
                      </a:cubicBezTo>
                      <a:cubicBezTo>
                        <a:pt x="81" y="53"/>
                        <a:pt x="81" y="53"/>
                        <a:pt x="81" y="53"/>
                      </a:cubicBezTo>
                      <a:cubicBezTo>
                        <a:pt x="37" y="63"/>
                        <a:pt x="17" y="94"/>
                        <a:pt x="17" y="124"/>
                      </a:cubicBezTo>
                      <a:cubicBezTo>
                        <a:pt x="17" y="184"/>
                        <a:pt x="70" y="200"/>
                        <a:pt x="106" y="210"/>
                      </a:cubicBezTo>
                      <a:cubicBezTo>
                        <a:pt x="147" y="223"/>
                        <a:pt x="159" y="229"/>
                        <a:pt x="159" y="250"/>
                      </a:cubicBezTo>
                      <a:cubicBezTo>
                        <a:pt x="159" y="278"/>
                        <a:pt x="116" y="279"/>
                        <a:pt x="107" y="279"/>
                      </a:cubicBezTo>
                      <a:cubicBezTo>
                        <a:pt x="86" y="279"/>
                        <a:pt x="62" y="270"/>
                        <a:pt x="48" y="256"/>
                      </a:cubicBezTo>
                      <a:cubicBezTo>
                        <a:pt x="37" y="246"/>
                        <a:pt x="20" y="246"/>
                        <a:pt x="10" y="257"/>
                      </a:cubicBezTo>
                      <a:cubicBezTo>
                        <a:pt x="0" y="267"/>
                        <a:pt x="1" y="284"/>
                        <a:pt x="11" y="294"/>
                      </a:cubicBezTo>
                      <a:cubicBezTo>
                        <a:pt x="29" y="311"/>
                        <a:pt x="55" y="324"/>
                        <a:pt x="81" y="329"/>
                      </a:cubicBezTo>
                      <a:cubicBezTo>
                        <a:pt x="81" y="355"/>
                        <a:pt x="81" y="355"/>
                        <a:pt x="81" y="355"/>
                      </a:cubicBezTo>
                      <a:cubicBezTo>
                        <a:pt x="81" y="370"/>
                        <a:pt x="93" y="381"/>
                        <a:pt x="107" y="381"/>
                      </a:cubicBezTo>
                      <a:cubicBezTo>
                        <a:pt x="122" y="381"/>
                        <a:pt x="133" y="370"/>
                        <a:pt x="133" y="355"/>
                      </a:cubicBezTo>
                      <a:cubicBezTo>
                        <a:pt x="133" y="330"/>
                        <a:pt x="133" y="330"/>
                        <a:pt x="133" y="330"/>
                      </a:cubicBezTo>
                      <a:cubicBezTo>
                        <a:pt x="181" y="322"/>
                        <a:pt x="211" y="292"/>
                        <a:pt x="211" y="251"/>
                      </a:cubicBezTo>
                      <a:cubicBezTo>
                        <a:pt x="212" y="187"/>
                        <a:pt x="159" y="172"/>
                        <a:pt x="121"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grpSp>
        <p:grpSp>
          <p:nvGrpSpPr>
            <p:cNvPr id="58" name="Group 57"/>
            <p:cNvGrpSpPr/>
            <p:nvPr userDrawn="1"/>
          </p:nvGrpSpPr>
          <p:grpSpPr>
            <a:xfrm>
              <a:off x="10649900" y="7001962"/>
              <a:ext cx="400525" cy="335204"/>
              <a:chOff x="13249175" y="1326748"/>
              <a:chExt cx="739775" cy="619125"/>
            </a:xfrm>
            <a:solidFill>
              <a:schemeClr val="accent5">
                <a:lumMod val="75000"/>
              </a:schemeClr>
            </a:solidFill>
          </p:grpSpPr>
          <p:sp>
            <p:nvSpPr>
              <p:cNvPr id="65" name="Freeform 55"/>
              <p:cNvSpPr>
                <a:spLocks noEditPoints="1"/>
              </p:cNvSpPr>
              <p:nvPr userDrawn="1"/>
            </p:nvSpPr>
            <p:spPr bwMode="auto">
              <a:xfrm>
                <a:off x="13249175" y="1326748"/>
                <a:ext cx="739775" cy="619125"/>
              </a:xfrm>
              <a:custGeom>
                <a:avLst/>
                <a:gdLst>
                  <a:gd name="T0" fmla="*/ 1410 w 1475"/>
                  <a:gd name="T1" fmla="*/ 0 h 1232"/>
                  <a:gd name="T2" fmla="*/ 65 w 1475"/>
                  <a:gd name="T3" fmla="*/ 0 h 1232"/>
                  <a:gd name="T4" fmla="*/ 0 w 1475"/>
                  <a:gd name="T5" fmla="*/ 65 h 1232"/>
                  <a:gd name="T6" fmla="*/ 0 w 1475"/>
                  <a:gd name="T7" fmla="*/ 929 h 1232"/>
                  <a:gd name="T8" fmla="*/ 65 w 1475"/>
                  <a:gd name="T9" fmla="*/ 994 h 1232"/>
                  <a:gd name="T10" fmla="*/ 545 w 1475"/>
                  <a:gd name="T11" fmla="*/ 994 h 1232"/>
                  <a:gd name="T12" fmla="*/ 464 w 1475"/>
                  <a:gd name="T13" fmla="*/ 1187 h 1232"/>
                  <a:gd name="T14" fmla="*/ 459 w 1475"/>
                  <a:gd name="T15" fmla="*/ 1216 h 1232"/>
                  <a:gd name="T16" fmla="*/ 483 w 1475"/>
                  <a:gd name="T17" fmla="*/ 1232 h 1232"/>
                  <a:gd name="T18" fmla="*/ 992 w 1475"/>
                  <a:gd name="T19" fmla="*/ 1232 h 1232"/>
                  <a:gd name="T20" fmla="*/ 1016 w 1475"/>
                  <a:gd name="T21" fmla="*/ 1216 h 1232"/>
                  <a:gd name="T22" fmla="*/ 1011 w 1475"/>
                  <a:gd name="T23" fmla="*/ 1187 h 1232"/>
                  <a:gd name="T24" fmla="*/ 931 w 1475"/>
                  <a:gd name="T25" fmla="*/ 994 h 1232"/>
                  <a:gd name="T26" fmla="*/ 1410 w 1475"/>
                  <a:gd name="T27" fmla="*/ 994 h 1232"/>
                  <a:gd name="T28" fmla="*/ 1475 w 1475"/>
                  <a:gd name="T29" fmla="*/ 929 h 1232"/>
                  <a:gd name="T30" fmla="*/ 1475 w 1475"/>
                  <a:gd name="T31" fmla="*/ 65 h 1232"/>
                  <a:gd name="T32" fmla="*/ 1410 w 1475"/>
                  <a:gd name="T33" fmla="*/ 0 h 1232"/>
                  <a:gd name="T34" fmla="*/ 65 w 1475"/>
                  <a:gd name="T35" fmla="*/ 52 h 1232"/>
                  <a:gd name="T36" fmla="*/ 1410 w 1475"/>
                  <a:gd name="T37" fmla="*/ 52 h 1232"/>
                  <a:gd name="T38" fmla="*/ 1422 w 1475"/>
                  <a:gd name="T39" fmla="*/ 65 h 1232"/>
                  <a:gd name="T40" fmla="*/ 1422 w 1475"/>
                  <a:gd name="T41" fmla="*/ 792 h 1232"/>
                  <a:gd name="T42" fmla="*/ 53 w 1475"/>
                  <a:gd name="T43" fmla="*/ 792 h 1232"/>
                  <a:gd name="T44" fmla="*/ 53 w 1475"/>
                  <a:gd name="T45" fmla="*/ 65 h 1232"/>
                  <a:gd name="T46" fmla="*/ 65 w 1475"/>
                  <a:gd name="T47" fmla="*/ 52 h 1232"/>
                  <a:gd name="T48" fmla="*/ 939 w 1475"/>
                  <a:gd name="T49" fmla="*/ 1180 h 1232"/>
                  <a:gd name="T50" fmla="*/ 536 w 1475"/>
                  <a:gd name="T51" fmla="*/ 1180 h 1232"/>
                  <a:gd name="T52" fmla="*/ 598 w 1475"/>
                  <a:gd name="T53" fmla="*/ 994 h 1232"/>
                  <a:gd name="T54" fmla="*/ 877 w 1475"/>
                  <a:gd name="T55" fmla="*/ 994 h 1232"/>
                  <a:gd name="T56" fmla="*/ 939 w 1475"/>
                  <a:gd name="T57" fmla="*/ 1180 h 1232"/>
                  <a:gd name="T58" fmla="*/ 1410 w 1475"/>
                  <a:gd name="T59" fmla="*/ 942 h 1232"/>
                  <a:gd name="T60" fmla="*/ 1280 w 1475"/>
                  <a:gd name="T61" fmla="*/ 942 h 1232"/>
                  <a:gd name="T62" fmla="*/ 1280 w 1475"/>
                  <a:gd name="T63" fmla="*/ 920 h 1232"/>
                  <a:gd name="T64" fmla="*/ 1254 w 1475"/>
                  <a:gd name="T65" fmla="*/ 894 h 1232"/>
                  <a:gd name="T66" fmla="*/ 1227 w 1475"/>
                  <a:gd name="T67" fmla="*/ 920 h 1232"/>
                  <a:gd name="T68" fmla="*/ 1227 w 1475"/>
                  <a:gd name="T69" fmla="*/ 942 h 1232"/>
                  <a:gd name="T70" fmla="*/ 1122 w 1475"/>
                  <a:gd name="T71" fmla="*/ 942 h 1232"/>
                  <a:gd name="T72" fmla="*/ 1122 w 1475"/>
                  <a:gd name="T73" fmla="*/ 920 h 1232"/>
                  <a:gd name="T74" fmla="*/ 1096 w 1475"/>
                  <a:gd name="T75" fmla="*/ 894 h 1232"/>
                  <a:gd name="T76" fmla="*/ 1069 w 1475"/>
                  <a:gd name="T77" fmla="*/ 920 h 1232"/>
                  <a:gd name="T78" fmla="*/ 1069 w 1475"/>
                  <a:gd name="T79" fmla="*/ 942 h 1232"/>
                  <a:gd name="T80" fmla="*/ 900 w 1475"/>
                  <a:gd name="T81" fmla="*/ 942 h 1232"/>
                  <a:gd name="T82" fmla="*/ 575 w 1475"/>
                  <a:gd name="T83" fmla="*/ 942 h 1232"/>
                  <a:gd name="T84" fmla="*/ 65 w 1475"/>
                  <a:gd name="T85" fmla="*/ 942 h 1232"/>
                  <a:gd name="T86" fmla="*/ 53 w 1475"/>
                  <a:gd name="T87" fmla="*/ 929 h 1232"/>
                  <a:gd name="T88" fmla="*/ 53 w 1475"/>
                  <a:gd name="T89" fmla="*/ 844 h 1232"/>
                  <a:gd name="T90" fmla="*/ 1422 w 1475"/>
                  <a:gd name="T91" fmla="*/ 844 h 1232"/>
                  <a:gd name="T92" fmla="*/ 1422 w 1475"/>
                  <a:gd name="T93" fmla="*/ 929 h 1232"/>
                  <a:gd name="T94" fmla="*/ 1410 w 1475"/>
                  <a:gd name="T95" fmla="*/ 942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75" h="1232">
                    <a:moveTo>
                      <a:pt x="1410" y="0"/>
                    </a:moveTo>
                    <a:cubicBezTo>
                      <a:pt x="65" y="0"/>
                      <a:pt x="65" y="0"/>
                      <a:pt x="65" y="0"/>
                    </a:cubicBezTo>
                    <a:cubicBezTo>
                      <a:pt x="30" y="0"/>
                      <a:pt x="0" y="29"/>
                      <a:pt x="0" y="65"/>
                    </a:cubicBezTo>
                    <a:cubicBezTo>
                      <a:pt x="0" y="929"/>
                      <a:pt x="0" y="929"/>
                      <a:pt x="0" y="929"/>
                    </a:cubicBezTo>
                    <a:cubicBezTo>
                      <a:pt x="0" y="965"/>
                      <a:pt x="30" y="994"/>
                      <a:pt x="65" y="994"/>
                    </a:cubicBezTo>
                    <a:cubicBezTo>
                      <a:pt x="545" y="994"/>
                      <a:pt x="545" y="994"/>
                      <a:pt x="545" y="994"/>
                    </a:cubicBezTo>
                    <a:cubicBezTo>
                      <a:pt x="537" y="1042"/>
                      <a:pt x="515" y="1137"/>
                      <a:pt x="464" y="1187"/>
                    </a:cubicBezTo>
                    <a:cubicBezTo>
                      <a:pt x="457" y="1195"/>
                      <a:pt x="455" y="1206"/>
                      <a:pt x="459" y="1216"/>
                    </a:cubicBezTo>
                    <a:cubicBezTo>
                      <a:pt x="463" y="1226"/>
                      <a:pt x="472" y="1232"/>
                      <a:pt x="483" y="1232"/>
                    </a:cubicBezTo>
                    <a:cubicBezTo>
                      <a:pt x="992" y="1232"/>
                      <a:pt x="992" y="1232"/>
                      <a:pt x="992" y="1232"/>
                    </a:cubicBezTo>
                    <a:cubicBezTo>
                      <a:pt x="1003" y="1232"/>
                      <a:pt x="1012" y="1226"/>
                      <a:pt x="1016" y="1216"/>
                    </a:cubicBezTo>
                    <a:cubicBezTo>
                      <a:pt x="1021" y="1206"/>
                      <a:pt x="1018" y="1195"/>
                      <a:pt x="1011" y="1187"/>
                    </a:cubicBezTo>
                    <a:cubicBezTo>
                      <a:pt x="960" y="1137"/>
                      <a:pt x="938" y="1042"/>
                      <a:pt x="931" y="994"/>
                    </a:cubicBezTo>
                    <a:cubicBezTo>
                      <a:pt x="1410" y="994"/>
                      <a:pt x="1410" y="994"/>
                      <a:pt x="1410" y="994"/>
                    </a:cubicBezTo>
                    <a:cubicBezTo>
                      <a:pt x="1446" y="994"/>
                      <a:pt x="1475" y="965"/>
                      <a:pt x="1475" y="929"/>
                    </a:cubicBezTo>
                    <a:cubicBezTo>
                      <a:pt x="1475" y="65"/>
                      <a:pt x="1475" y="65"/>
                      <a:pt x="1475" y="65"/>
                    </a:cubicBezTo>
                    <a:cubicBezTo>
                      <a:pt x="1475" y="29"/>
                      <a:pt x="1446" y="0"/>
                      <a:pt x="1410" y="0"/>
                    </a:cubicBezTo>
                    <a:close/>
                    <a:moveTo>
                      <a:pt x="65" y="52"/>
                    </a:moveTo>
                    <a:cubicBezTo>
                      <a:pt x="1410" y="52"/>
                      <a:pt x="1410" y="52"/>
                      <a:pt x="1410" y="52"/>
                    </a:cubicBezTo>
                    <a:cubicBezTo>
                      <a:pt x="1417" y="52"/>
                      <a:pt x="1422" y="58"/>
                      <a:pt x="1422" y="65"/>
                    </a:cubicBezTo>
                    <a:cubicBezTo>
                      <a:pt x="1422" y="792"/>
                      <a:pt x="1422" y="792"/>
                      <a:pt x="1422" y="792"/>
                    </a:cubicBezTo>
                    <a:cubicBezTo>
                      <a:pt x="53" y="792"/>
                      <a:pt x="53" y="792"/>
                      <a:pt x="53" y="792"/>
                    </a:cubicBezTo>
                    <a:cubicBezTo>
                      <a:pt x="53" y="65"/>
                      <a:pt x="53" y="65"/>
                      <a:pt x="53" y="65"/>
                    </a:cubicBezTo>
                    <a:cubicBezTo>
                      <a:pt x="53" y="58"/>
                      <a:pt x="59" y="52"/>
                      <a:pt x="65" y="52"/>
                    </a:cubicBezTo>
                    <a:close/>
                    <a:moveTo>
                      <a:pt x="939" y="1180"/>
                    </a:moveTo>
                    <a:cubicBezTo>
                      <a:pt x="536" y="1180"/>
                      <a:pt x="536" y="1180"/>
                      <a:pt x="536" y="1180"/>
                    </a:cubicBezTo>
                    <a:cubicBezTo>
                      <a:pt x="576" y="1115"/>
                      <a:pt x="592" y="1034"/>
                      <a:pt x="598" y="994"/>
                    </a:cubicBezTo>
                    <a:cubicBezTo>
                      <a:pt x="877" y="994"/>
                      <a:pt x="877" y="994"/>
                      <a:pt x="877" y="994"/>
                    </a:cubicBezTo>
                    <a:cubicBezTo>
                      <a:pt x="883" y="1034"/>
                      <a:pt x="899" y="1115"/>
                      <a:pt x="939" y="1180"/>
                    </a:cubicBezTo>
                    <a:close/>
                    <a:moveTo>
                      <a:pt x="1410" y="942"/>
                    </a:moveTo>
                    <a:cubicBezTo>
                      <a:pt x="1280" y="942"/>
                      <a:pt x="1280" y="942"/>
                      <a:pt x="1280" y="942"/>
                    </a:cubicBezTo>
                    <a:cubicBezTo>
                      <a:pt x="1280" y="920"/>
                      <a:pt x="1280" y="920"/>
                      <a:pt x="1280" y="920"/>
                    </a:cubicBezTo>
                    <a:cubicBezTo>
                      <a:pt x="1280" y="906"/>
                      <a:pt x="1268" y="894"/>
                      <a:pt x="1254" y="894"/>
                    </a:cubicBezTo>
                    <a:cubicBezTo>
                      <a:pt x="1239" y="894"/>
                      <a:pt x="1227" y="906"/>
                      <a:pt x="1227" y="920"/>
                    </a:cubicBezTo>
                    <a:cubicBezTo>
                      <a:pt x="1227" y="942"/>
                      <a:pt x="1227" y="942"/>
                      <a:pt x="1227" y="942"/>
                    </a:cubicBezTo>
                    <a:cubicBezTo>
                      <a:pt x="1122" y="942"/>
                      <a:pt x="1122" y="942"/>
                      <a:pt x="1122" y="942"/>
                    </a:cubicBezTo>
                    <a:cubicBezTo>
                      <a:pt x="1122" y="920"/>
                      <a:pt x="1122" y="920"/>
                      <a:pt x="1122" y="920"/>
                    </a:cubicBezTo>
                    <a:cubicBezTo>
                      <a:pt x="1122" y="906"/>
                      <a:pt x="1110" y="894"/>
                      <a:pt x="1096" y="894"/>
                    </a:cubicBezTo>
                    <a:cubicBezTo>
                      <a:pt x="1081" y="894"/>
                      <a:pt x="1069" y="906"/>
                      <a:pt x="1069" y="920"/>
                    </a:cubicBezTo>
                    <a:cubicBezTo>
                      <a:pt x="1069" y="942"/>
                      <a:pt x="1069" y="942"/>
                      <a:pt x="1069" y="942"/>
                    </a:cubicBezTo>
                    <a:cubicBezTo>
                      <a:pt x="900" y="942"/>
                      <a:pt x="900" y="942"/>
                      <a:pt x="900" y="942"/>
                    </a:cubicBezTo>
                    <a:cubicBezTo>
                      <a:pt x="575" y="942"/>
                      <a:pt x="575" y="942"/>
                      <a:pt x="575" y="942"/>
                    </a:cubicBezTo>
                    <a:cubicBezTo>
                      <a:pt x="65" y="942"/>
                      <a:pt x="65" y="942"/>
                      <a:pt x="65" y="942"/>
                    </a:cubicBezTo>
                    <a:cubicBezTo>
                      <a:pt x="59" y="942"/>
                      <a:pt x="53" y="936"/>
                      <a:pt x="53" y="929"/>
                    </a:cubicBezTo>
                    <a:cubicBezTo>
                      <a:pt x="53" y="844"/>
                      <a:pt x="53" y="844"/>
                      <a:pt x="53" y="844"/>
                    </a:cubicBezTo>
                    <a:cubicBezTo>
                      <a:pt x="1422" y="844"/>
                      <a:pt x="1422" y="844"/>
                      <a:pt x="1422" y="844"/>
                    </a:cubicBezTo>
                    <a:cubicBezTo>
                      <a:pt x="1422" y="929"/>
                      <a:pt x="1422" y="929"/>
                      <a:pt x="1422" y="929"/>
                    </a:cubicBezTo>
                    <a:cubicBezTo>
                      <a:pt x="1422" y="936"/>
                      <a:pt x="1417" y="942"/>
                      <a:pt x="1410" y="9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66" name="Freeform 56"/>
              <p:cNvSpPr>
                <a:spLocks noEditPoints="1"/>
              </p:cNvSpPr>
              <p:nvPr userDrawn="1"/>
            </p:nvSpPr>
            <p:spPr bwMode="auto">
              <a:xfrm>
                <a:off x="13323787" y="1410886"/>
                <a:ext cx="590550" cy="217488"/>
              </a:xfrm>
              <a:custGeom>
                <a:avLst/>
                <a:gdLst>
                  <a:gd name="T0" fmla="*/ 78 w 1175"/>
                  <a:gd name="T1" fmla="*/ 300 h 435"/>
                  <a:gd name="T2" fmla="*/ 144 w 1175"/>
                  <a:gd name="T3" fmla="*/ 263 h 435"/>
                  <a:gd name="T4" fmla="*/ 511 w 1175"/>
                  <a:gd name="T5" fmla="*/ 369 h 435"/>
                  <a:gd name="T6" fmla="*/ 588 w 1175"/>
                  <a:gd name="T7" fmla="*/ 435 h 435"/>
                  <a:gd name="T8" fmla="*/ 665 w 1175"/>
                  <a:gd name="T9" fmla="*/ 357 h 435"/>
                  <a:gd name="T10" fmla="*/ 665 w 1175"/>
                  <a:gd name="T11" fmla="*/ 348 h 435"/>
                  <a:gd name="T12" fmla="*/ 1043 w 1175"/>
                  <a:gd name="T13" fmla="*/ 133 h 435"/>
                  <a:gd name="T14" fmla="*/ 1097 w 1175"/>
                  <a:gd name="T15" fmla="*/ 155 h 435"/>
                  <a:gd name="T16" fmla="*/ 1175 w 1175"/>
                  <a:gd name="T17" fmla="*/ 78 h 435"/>
                  <a:gd name="T18" fmla="*/ 1097 w 1175"/>
                  <a:gd name="T19" fmla="*/ 0 h 435"/>
                  <a:gd name="T20" fmla="*/ 1019 w 1175"/>
                  <a:gd name="T21" fmla="*/ 78 h 435"/>
                  <a:gd name="T22" fmla="*/ 1020 w 1175"/>
                  <a:gd name="T23" fmla="*/ 85 h 435"/>
                  <a:gd name="T24" fmla="*/ 641 w 1175"/>
                  <a:gd name="T25" fmla="*/ 300 h 435"/>
                  <a:gd name="T26" fmla="*/ 588 w 1175"/>
                  <a:gd name="T27" fmla="*/ 279 h 435"/>
                  <a:gd name="T28" fmla="*/ 521 w 1175"/>
                  <a:gd name="T29" fmla="*/ 317 h 435"/>
                  <a:gd name="T30" fmla="*/ 155 w 1175"/>
                  <a:gd name="T31" fmla="*/ 211 h 435"/>
                  <a:gd name="T32" fmla="*/ 78 w 1175"/>
                  <a:gd name="T33" fmla="*/ 145 h 435"/>
                  <a:gd name="T34" fmla="*/ 0 w 1175"/>
                  <a:gd name="T35" fmla="*/ 223 h 435"/>
                  <a:gd name="T36" fmla="*/ 78 w 1175"/>
                  <a:gd name="T37" fmla="*/ 300 h 435"/>
                  <a:gd name="T38" fmla="*/ 1097 w 1175"/>
                  <a:gd name="T39" fmla="*/ 53 h 435"/>
                  <a:gd name="T40" fmla="*/ 1122 w 1175"/>
                  <a:gd name="T41" fmla="*/ 78 h 435"/>
                  <a:gd name="T42" fmla="*/ 1097 w 1175"/>
                  <a:gd name="T43" fmla="*/ 103 h 435"/>
                  <a:gd name="T44" fmla="*/ 1074 w 1175"/>
                  <a:gd name="T45" fmla="*/ 88 h 435"/>
                  <a:gd name="T46" fmla="*/ 1074 w 1175"/>
                  <a:gd name="T47" fmla="*/ 87 h 435"/>
                  <a:gd name="T48" fmla="*/ 1072 w 1175"/>
                  <a:gd name="T49" fmla="*/ 78 h 435"/>
                  <a:gd name="T50" fmla="*/ 1097 w 1175"/>
                  <a:gd name="T51" fmla="*/ 53 h 435"/>
                  <a:gd name="T52" fmla="*/ 588 w 1175"/>
                  <a:gd name="T53" fmla="*/ 332 h 435"/>
                  <a:gd name="T54" fmla="*/ 613 w 1175"/>
                  <a:gd name="T55" fmla="*/ 357 h 435"/>
                  <a:gd name="T56" fmla="*/ 588 w 1175"/>
                  <a:gd name="T57" fmla="*/ 382 h 435"/>
                  <a:gd name="T58" fmla="*/ 563 w 1175"/>
                  <a:gd name="T59" fmla="*/ 357 h 435"/>
                  <a:gd name="T60" fmla="*/ 563 w 1175"/>
                  <a:gd name="T61" fmla="*/ 354 h 435"/>
                  <a:gd name="T62" fmla="*/ 563 w 1175"/>
                  <a:gd name="T63" fmla="*/ 353 h 435"/>
                  <a:gd name="T64" fmla="*/ 588 w 1175"/>
                  <a:gd name="T65" fmla="*/ 332 h 435"/>
                  <a:gd name="T66" fmla="*/ 78 w 1175"/>
                  <a:gd name="T67" fmla="*/ 198 h 435"/>
                  <a:gd name="T68" fmla="*/ 103 w 1175"/>
                  <a:gd name="T69" fmla="*/ 223 h 435"/>
                  <a:gd name="T70" fmla="*/ 78 w 1175"/>
                  <a:gd name="T71" fmla="*/ 248 h 435"/>
                  <a:gd name="T72" fmla="*/ 53 w 1175"/>
                  <a:gd name="T73" fmla="*/ 223 h 435"/>
                  <a:gd name="T74" fmla="*/ 78 w 1175"/>
                  <a:gd name="T75" fmla="*/ 198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5" h="435">
                    <a:moveTo>
                      <a:pt x="78" y="300"/>
                    </a:moveTo>
                    <a:cubicBezTo>
                      <a:pt x="106" y="300"/>
                      <a:pt x="131" y="285"/>
                      <a:pt x="144" y="263"/>
                    </a:cubicBezTo>
                    <a:cubicBezTo>
                      <a:pt x="511" y="369"/>
                      <a:pt x="511" y="369"/>
                      <a:pt x="511" y="369"/>
                    </a:cubicBezTo>
                    <a:cubicBezTo>
                      <a:pt x="517" y="406"/>
                      <a:pt x="549" y="435"/>
                      <a:pt x="588" y="435"/>
                    </a:cubicBezTo>
                    <a:cubicBezTo>
                      <a:pt x="630" y="435"/>
                      <a:pt x="665" y="400"/>
                      <a:pt x="665" y="357"/>
                    </a:cubicBezTo>
                    <a:cubicBezTo>
                      <a:pt x="665" y="354"/>
                      <a:pt x="665" y="351"/>
                      <a:pt x="665" y="348"/>
                    </a:cubicBezTo>
                    <a:cubicBezTo>
                      <a:pt x="1043" y="133"/>
                      <a:pt x="1043" y="133"/>
                      <a:pt x="1043" y="133"/>
                    </a:cubicBezTo>
                    <a:cubicBezTo>
                      <a:pt x="1057" y="147"/>
                      <a:pt x="1076" y="155"/>
                      <a:pt x="1097" y="155"/>
                    </a:cubicBezTo>
                    <a:cubicBezTo>
                      <a:pt x="1140" y="155"/>
                      <a:pt x="1175" y="121"/>
                      <a:pt x="1175" y="78"/>
                    </a:cubicBezTo>
                    <a:cubicBezTo>
                      <a:pt x="1175" y="35"/>
                      <a:pt x="1140" y="0"/>
                      <a:pt x="1097" y="0"/>
                    </a:cubicBezTo>
                    <a:cubicBezTo>
                      <a:pt x="1054" y="0"/>
                      <a:pt x="1019" y="35"/>
                      <a:pt x="1019" y="78"/>
                    </a:cubicBezTo>
                    <a:cubicBezTo>
                      <a:pt x="1019" y="80"/>
                      <a:pt x="1020" y="83"/>
                      <a:pt x="1020" y="85"/>
                    </a:cubicBezTo>
                    <a:cubicBezTo>
                      <a:pt x="641" y="300"/>
                      <a:pt x="641" y="300"/>
                      <a:pt x="641" y="300"/>
                    </a:cubicBezTo>
                    <a:cubicBezTo>
                      <a:pt x="627" y="287"/>
                      <a:pt x="608" y="279"/>
                      <a:pt x="588" y="279"/>
                    </a:cubicBezTo>
                    <a:cubicBezTo>
                      <a:pt x="559" y="279"/>
                      <a:pt x="534" y="295"/>
                      <a:pt x="521" y="317"/>
                    </a:cubicBezTo>
                    <a:cubicBezTo>
                      <a:pt x="155" y="211"/>
                      <a:pt x="155" y="211"/>
                      <a:pt x="155" y="211"/>
                    </a:cubicBezTo>
                    <a:cubicBezTo>
                      <a:pt x="149" y="174"/>
                      <a:pt x="117" y="145"/>
                      <a:pt x="78" y="145"/>
                    </a:cubicBezTo>
                    <a:cubicBezTo>
                      <a:pt x="35" y="145"/>
                      <a:pt x="0" y="180"/>
                      <a:pt x="0" y="223"/>
                    </a:cubicBezTo>
                    <a:cubicBezTo>
                      <a:pt x="0" y="265"/>
                      <a:pt x="35" y="300"/>
                      <a:pt x="78" y="300"/>
                    </a:cubicBezTo>
                    <a:close/>
                    <a:moveTo>
                      <a:pt x="1097" y="53"/>
                    </a:moveTo>
                    <a:cubicBezTo>
                      <a:pt x="1111" y="53"/>
                      <a:pt x="1122" y="64"/>
                      <a:pt x="1122" y="78"/>
                    </a:cubicBezTo>
                    <a:cubicBezTo>
                      <a:pt x="1122" y="92"/>
                      <a:pt x="1111" y="103"/>
                      <a:pt x="1097" y="103"/>
                    </a:cubicBezTo>
                    <a:cubicBezTo>
                      <a:pt x="1087" y="103"/>
                      <a:pt x="1078" y="97"/>
                      <a:pt x="1074" y="88"/>
                    </a:cubicBezTo>
                    <a:cubicBezTo>
                      <a:pt x="1074" y="88"/>
                      <a:pt x="1074" y="88"/>
                      <a:pt x="1074" y="87"/>
                    </a:cubicBezTo>
                    <a:cubicBezTo>
                      <a:pt x="1073" y="84"/>
                      <a:pt x="1072" y="81"/>
                      <a:pt x="1072" y="78"/>
                    </a:cubicBezTo>
                    <a:cubicBezTo>
                      <a:pt x="1072" y="64"/>
                      <a:pt x="1083" y="53"/>
                      <a:pt x="1097" y="53"/>
                    </a:cubicBezTo>
                    <a:close/>
                    <a:moveTo>
                      <a:pt x="588" y="332"/>
                    </a:moveTo>
                    <a:cubicBezTo>
                      <a:pt x="601" y="332"/>
                      <a:pt x="613" y="343"/>
                      <a:pt x="613" y="357"/>
                    </a:cubicBezTo>
                    <a:cubicBezTo>
                      <a:pt x="613" y="371"/>
                      <a:pt x="601" y="382"/>
                      <a:pt x="588" y="382"/>
                    </a:cubicBezTo>
                    <a:cubicBezTo>
                      <a:pt x="574" y="382"/>
                      <a:pt x="563" y="371"/>
                      <a:pt x="563" y="357"/>
                    </a:cubicBezTo>
                    <a:cubicBezTo>
                      <a:pt x="563" y="356"/>
                      <a:pt x="563" y="355"/>
                      <a:pt x="563" y="354"/>
                    </a:cubicBezTo>
                    <a:cubicBezTo>
                      <a:pt x="563" y="354"/>
                      <a:pt x="563" y="353"/>
                      <a:pt x="563" y="353"/>
                    </a:cubicBezTo>
                    <a:cubicBezTo>
                      <a:pt x="565" y="341"/>
                      <a:pt x="575" y="332"/>
                      <a:pt x="588" y="332"/>
                    </a:cubicBezTo>
                    <a:close/>
                    <a:moveTo>
                      <a:pt x="78" y="198"/>
                    </a:moveTo>
                    <a:cubicBezTo>
                      <a:pt x="92" y="198"/>
                      <a:pt x="103" y="209"/>
                      <a:pt x="103" y="223"/>
                    </a:cubicBezTo>
                    <a:cubicBezTo>
                      <a:pt x="103" y="236"/>
                      <a:pt x="92" y="248"/>
                      <a:pt x="78" y="248"/>
                    </a:cubicBezTo>
                    <a:cubicBezTo>
                      <a:pt x="64" y="248"/>
                      <a:pt x="53" y="236"/>
                      <a:pt x="53" y="223"/>
                    </a:cubicBezTo>
                    <a:cubicBezTo>
                      <a:pt x="53" y="209"/>
                      <a:pt x="64" y="198"/>
                      <a:pt x="78"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cxnSp>
          <p:nvCxnSpPr>
            <p:cNvPr id="59" name="Straight Connector 58"/>
            <p:cNvCxnSpPr/>
            <p:nvPr userDrawn="1"/>
          </p:nvCxnSpPr>
          <p:spPr bwMode="auto">
            <a:xfrm flipH="1">
              <a:off x="9437370" y="7331404"/>
              <a:ext cx="273050" cy="0"/>
            </a:xfrm>
            <a:prstGeom prst="line">
              <a:avLst/>
            </a:prstGeom>
            <a:solidFill>
              <a:schemeClr val="accent5">
                <a:lumMod val="75000"/>
              </a:schemeClr>
            </a:solidFill>
            <a:ln w="9525" cap="flat" cmpd="sng" algn="ctr">
              <a:solidFill>
                <a:schemeClr val="accent5">
                  <a:lumMod val="75000"/>
                </a:schemeClr>
              </a:solidFill>
              <a:prstDash val="solid"/>
              <a:round/>
              <a:headEnd type="none" w="med" len="med"/>
              <a:tailEnd type="none" w="med" len="med"/>
            </a:ln>
            <a:effectLst/>
          </p:spPr>
        </p:cxnSp>
        <p:cxnSp>
          <p:nvCxnSpPr>
            <p:cNvPr id="60" name="Straight Connector 59"/>
            <p:cNvCxnSpPr/>
            <p:nvPr userDrawn="1"/>
          </p:nvCxnSpPr>
          <p:spPr bwMode="auto">
            <a:xfrm flipH="1">
              <a:off x="9799320" y="7331404"/>
              <a:ext cx="273050" cy="0"/>
            </a:xfrm>
            <a:prstGeom prst="line">
              <a:avLst/>
            </a:prstGeom>
            <a:solidFill>
              <a:schemeClr val="accent5">
                <a:lumMod val="75000"/>
              </a:schemeClr>
            </a:solidFill>
            <a:ln w="9525" cap="flat" cmpd="sng" algn="ctr">
              <a:solidFill>
                <a:schemeClr val="accent5">
                  <a:lumMod val="75000"/>
                </a:schemeClr>
              </a:solidFill>
              <a:prstDash val="solid"/>
              <a:round/>
              <a:headEnd type="none" w="med" len="med"/>
              <a:tailEnd type="none" w="med" len="med"/>
            </a:ln>
            <a:effectLst/>
          </p:spPr>
        </p:cxnSp>
        <p:cxnSp>
          <p:nvCxnSpPr>
            <p:cNvPr id="61" name="Straight Connector 60"/>
            <p:cNvCxnSpPr/>
            <p:nvPr userDrawn="1"/>
          </p:nvCxnSpPr>
          <p:spPr bwMode="auto">
            <a:xfrm flipH="1">
              <a:off x="10517505" y="7331404"/>
              <a:ext cx="273050" cy="0"/>
            </a:xfrm>
            <a:prstGeom prst="line">
              <a:avLst/>
            </a:prstGeom>
            <a:solidFill>
              <a:schemeClr val="accent5">
                <a:lumMod val="75000"/>
              </a:schemeClr>
            </a:solidFill>
            <a:ln w="9525" cap="flat" cmpd="sng" algn="ctr">
              <a:solidFill>
                <a:schemeClr val="accent5">
                  <a:lumMod val="75000"/>
                </a:schemeClr>
              </a:solidFill>
              <a:prstDash val="solid"/>
              <a:round/>
              <a:headEnd type="none" w="med" len="med"/>
              <a:tailEnd type="none" w="med" len="med"/>
            </a:ln>
            <a:effectLst/>
          </p:spPr>
        </p:cxnSp>
        <p:cxnSp>
          <p:nvCxnSpPr>
            <p:cNvPr id="62" name="Straight Connector 61"/>
            <p:cNvCxnSpPr>
              <a:endCxn id="77" idx="20"/>
            </p:cNvCxnSpPr>
            <p:nvPr userDrawn="1"/>
          </p:nvCxnSpPr>
          <p:spPr bwMode="auto">
            <a:xfrm flipH="1" flipV="1">
              <a:off x="10506344" y="7264426"/>
              <a:ext cx="20686" cy="74645"/>
            </a:xfrm>
            <a:prstGeom prst="line">
              <a:avLst/>
            </a:prstGeom>
            <a:solidFill>
              <a:schemeClr val="accent5">
                <a:lumMod val="75000"/>
              </a:schemeClr>
            </a:solidFill>
            <a:ln w="12700" cap="flat" cmpd="sng" algn="ctr">
              <a:solidFill>
                <a:schemeClr val="accent5">
                  <a:lumMod val="75000"/>
                </a:schemeClr>
              </a:solidFill>
              <a:prstDash val="solid"/>
              <a:round/>
              <a:headEnd type="none" w="med" len="med"/>
              <a:tailEnd type="none" w="med" len="med"/>
            </a:ln>
            <a:effectLst/>
          </p:spPr>
        </p:cxnSp>
        <p:cxnSp>
          <p:nvCxnSpPr>
            <p:cNvPr id="63" name="Straight Connector 62"/>
            <p:cNvCxnSpPr/>
            <p:nvPr userDrawn="1"/>
          </p:nvCxnSpPr>
          <p:spPr bwMode="auto">
            <a:xfrm flipH="1">
              <a:off x="10911840" y="7331404"/>
              <a:ext cx="273050" cy="0"/>
            </a:xfrm>
            <a:prstGeom prst="line">
              <a:avLst/>
            </a:prstGeom>
            <a:solidFill>
              <a:schemeClr val="accent5">
                <a:lumMod val="75000"/>
              </a:schemeClr>
            </a:solidFill>
            <a:ln w="9525" cap="flat" cmpd="sng" algn="ctr">
              <a:solidFill>
                <a:schemeClr val="accent5">
                  <a:lumMod val="75000"/>
                </a:schemeClr>
              </a:solidFill>
              <a:prstDash val="solid"/>
              <a:round/>
              <a:headEnd type="none" w="med" len="med"/>
              <a:tailEnd type="none" w="med" len="med"/>
            </a:ln>
            <a:effectLst/>
          </p:spPr>
        </p:cxnSp>
        <p:cxnSp>
          <p:nvCxnSpPr>
            <p:cNvPr id="64" name="Straight Connector 63"/>
            <p:cNvCxnSpPr/>
            <p:nvPr userDrawn="1"/>
          </p:nvCxnSpPr>
          <p:spPr bwMode="auto">
            <a:xfrm flipH="1">
              <a:off x="11298555" y="7331404"/>
              <a:ext cx="273050" cy="0"/>
            </a:xfrm>
            <a:prstGeom prst="line">
              <a:avLst/>
            </a:prstGeom>
            <a:solidFill>
              <a:schemeClr val="accent5">
                <a:lumMod val="75000"/>
              </a:schemeClr>
            </a:solidFill>
            <a:ln w="9525" cap="flat" cmpd="sng" algn="ctr">
              <a:solidFill>
                <a:schemeClr val="accent5">
                  <a:lumMod val="75000"/>
                </a:schemeClr>
              </a:solidFill>
              <a:prstDash val="solid"/>
              <a:round/>
              <a:headEnd type="none" w="med" len="med"/>
              <a:tailEnd type="none" w="med" len="med"/>
            </a:ln>
            <a:effectLst/>
          </p:spPr>
        </p:cxnSp>
      </p:grpSp>
    </p:spTree>
    <p:extLst>
      <p:ext uri="{BB962C8B-B14F-4D97-AF65-F5344CB8AC3E}">
        <p14:creationId xmlns:p14="http://schemas.microsoft.com/office/powerpoint/2010/main" val="18203841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6_Blanc">
    <p:spTree>
      <p:nvGrpSpPr>
        <p:cNvPr id="1" name=""/>
        <p:cNvGrpSpPr/>
        <p:nvPr/>
      </p:nvGrpSpPr>
      <p:grpSpPr>
        <a:xfrm>
          <a:off x="0" y="0"/>
          <a:ext cx="0" cy="0"/>
          <a:chOff x="0" y="0"/>
          <a:chExt cx="0" cy="0"/>
        </a:xfrm>
      </p:grpSpPr>
      <p:pic>
        <p:nvPicPr>
          <p:cNvPr id="68" name="Picture 67"/>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522" y="754302"/>
            <a:ext cx="12201523" cy="5646498"/>
          </a:xfrm>
          <a:prstGeom prst="rect">
            <a:avLst/>
          </a:prstGeom>
        </p:spPr>
      </p:pic>
      <p:sp>
        <p:nvSpPr>
          <p:cNvPr id="69" name="Rectangle 68"/>
          <p:cNvSpPr/>
          <p:nvPr userDrawn="1"/>
        </p:nvSpPr>
        <p:spPr>
          <a:xfrm>
            <a:off x="0" y="754302"/>
            <a:ext cx="7467601" cy="5638817"/>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3"/>
            <a:endParaRPr lang="en-US" sz="2400" dirty="0" smtClean="0">
              <a:solidFill>
                <a:srgbClr val="998C85">
                  <a:lumMod val="50000"/>
                </a:srgbClr>
              </a:solidFill>
            </a:endParaRPr>
          </a:p>
        </p:txBody>
      </p:sp>
      <p:sp>
        <p:nvSpPr>
          <p:cNvPr id="31" name="Title 1"/>
          <p:cNvSpPr>
            <a:spLocks noGrp="1"/>
          </p:cNvSpPr>
          <p:nvPr>
            <p:ph type="title"/>
            <p:custDataLst>
              <p:tags r:id="rId1"/>
            </p:custDataLst>
          </p:nvPr>
        </p:nvSpPr>
        <p:spPr>
          <a:xfrm>
            <a:off x="1" y="5"/>
            <a:ext cx="12191999" cy="754299"/>
          </a:xfrm>
          <a:prstGeom prst="rect">
            <a:avLst/>
          </a:prstGeom>
        </p:spPr>
        <p:txBody>
          <a:bodyPr vert="horz" lIns="283968" tIns="31552" rIns="157760" bIns="31552" rtlCol="0" anchor="ctr">
            <a:noAutofit/>
          </a:bodyPr>
          <a:lstStyle>
            <a:lvl1pPr>
              <a:defRPr lang="en-US" dirty="0"/>
            </a:lvl1pPr>
          </a:lstStyle>
          <a:p>
            <a:pPr lvl="0"/>
            <a:r>
              <a:rPr lang="pl-PL" noProof="0" dirty="0" err="1"/>
              <a:t>Click</a:t>
            </a:r>
            <a:r>
              <a:rPr lang="pl-PL" noProof="0" dirty="0"/>
              <a:t> to </a:t>
            </a:r>
            <a:r>
              <a:rPr lang="pl-PL" noProof="0" dirty="0" err="1"/>
              <a:t>edit</a:t>
            </a:r>
            <a:r>
              <a:rPr lang="pl-PL" noProof="0" dirty="0"/>
              <a:t> Master </a:t>
            </a:r>
            <a:r>
              <a:rPr lang="pl-PL" noProof="0" dirty="0" err="1"/>
              <a:t>title</a:t>
            </a:r>
            <a:r>
              <a:rPr lang="pl-PL" noProof="0" dirty="0"/>
              <a:t> style</a:t>
            </a:r>
            <a:endParaRPr lang="en-US" dirty="0"/>
          </a:p>
        </p:txBody>
      </p:sp>
      <p:grpSp>
        <p:nvGrpSpPr>
          <p:cNvPr id="70" name="Group 69"/>
          <p:cNvGrpSpPr/>
          <p:nvPr userDrawn="1"/>
        </p:nvGrpSpPr>
        <p:grpSpPr>
          <a:xfrm>
            <a:off x="-9523" y="6012527"/>
            <a:ext cx="12218669" cy="398827"/>
            <a:chOff x="-9524" y="6940244"/>
            <a:chExt cx="12218669" cy="398827"/>
          </a:xfrm>
        </p:grpSpPr>
        <p:cxnSp>
          <p:nvCxnSpPr>
            <p:cNvPr id="71" name="Straight Connector 70"/>
            <p:cNvCxnSpPr/>
            <p:nvPr userDrawn="1"/>
          </p:nvCxnSpPr>
          <p:spPr bwMode="auto">
            <a:xfrm flipH="1">
              <a:off x="-9524" y="7331404"/>
              <a:ext cx="9328784" cy="0"/>
            </a:xfrm>
            <a:prstGeom prst="line">
              <a:avLst/>
            </a:prstGeom>
            <a:solidFill>
              <a:schemeClr val="accent5">
                <a:lumMod val="75000"/>
              </a:schemeClr>
            </a:solidFill>
            <a:ln w="12700" cap="flat" cmpd="sng" algn="ctr">
              <a:solidFill>
                <a:schemeClr val="accent5">
                  <a:lumMod val="75000"/>
                </a:schemeClr>
              </a:solidFill>
              <a:prstDash val="solid"/>
              <a:round/>
              <a:headEnd type="none" w="med" len="med"/>
              <a:tailEnd type="none" w="med" len="med"/>
            </a:ln>
            <a:effectLst/>
          </p:spPr>
        </p:cxnSp>
        <p:cxnSp>
          <p:nvCxnSpPr>
            <p:cNvPr id="72" name="Straight Connector 71"/>
            <p:cNvCxnSpPr/>
            <p:nvPr userDrawn="1"/>
          </p:nvCxnSpPr>
          <p:spPr bwMode="auto">
            <a:xfrm flipH="1">
              <a:off x="11695969" y="7331404"/>
              <a:ext cx="513176" cy="0"/>
            </a:xfrm>
            <a:prstGeom prst="line">
              <a:avLst/>
            </a:prstGeom>
            <a:solidFill>
              <a:schemeClr val="accent5">
                <a:lumMod val="75000"/>
              </a:schemeClr>
            </a:solidFill>
            <a:ln w="9525" cap="flat" cmpd="sng" algn="ctr">
              <a:solidFill>
                <a:schemeClr val="accent5">
                  <a:lumMod val="75000"/>
                </a:schemeClr>
              </a:solidFill>
              <a:prstDash val="solid"/>
              <a:round/>
              <a:headEnd type="none" w="med" len="med"/>
              <a:tailEnd type="none" w="med" len="med"/>
            </a:ln>
            <a:effectLst/>
          </p:spPr>
        </p:cxnSp>
        <p:grpSp>
          <p:nvGrpSpPr>
            <p:cNvPr id="73" name="Group 72"/>
            <p:cNvGrpSpPr/>
            <p:nvPr userDrawn="1"/>
          </p:nvGrpSpPr>
          <p:grpSpPr>
            <a:xfrm>
              <a:off x="9265920" y="6982789"/>
              <a:ext cx="279487" cy="356282"/>
              <a:chOff x="17746562" y="-229690"/>
              <a:chExt cx="742950" cy="762000"/>
            </a:xfrm>
            <a:solidFill>
              <a:schemeClr val="accent5">
                <a:lumMod val="75000"/>
              </a:schemeClr>
            </a:solidFill>
          </p:grpSpPr>
          <p:sp>
            <p:nvSpPr>
              <p:cNvPr id="103" name="Oval 44"/>
              <p:cNvSpPr>
                <a:spLocks noChangeArrowheads="1"/>
              </p:cNvSpPr>
              <p:nvPr userDrawn="1"/>
            </p:nvSpPr>
            <p:spPr bwMode="auto">
              <a:xfrm>
                <a:off x="17973575" y="444098"/>
                <a:ext cx="49213" cy="492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104" name="Freeform 45"/>
              <p:cNvSpPr>
                <a:spLocks noEditPoints="1"/>
              </p:cNvSpPr>
              <p:nvPr userDrawn="1"/>
            </p:nvSpPr>
            <p:spPr bwMode="auto">
              <a:xfrm>
                <a:off x="17746562" y="-229690"/>
                <a:ext cx="742950" cy="762000"/>
              </a:xfrm>
              <a:custGeom>
                <a:avLst/>
                <a:gdLst>
                  <a:gd name="T0" fmla="*/ 1279 w 1480"/>
                  <a:gd name="T1" fmla="*/ 674 h 1518"/>
                  <a:gd name="T2" fmla="*/ 1269 w 1480"/>
                  <a:gd name="T3" fmla="*/ 665 h 1518"/>
                  <a:gd name="T4" fmla="*/ 1001 w 1480"/>
                  <a:gd name="T5" fmla="*/ 633 h 1518"/>
                  <a:gd name="T6" fmla="*/ 928 w 1480"/>
                  <a:gd name="T7" fmla="*/ 0 h 1518"/>
                  <a:gd name="T8" fmla="*/ 0 w 1480"/>
                  <a:gd name="T9" fmla="*/ 72 h 1518"/>
                  <a:gd name="T10" fmla="*/ 72 w 1480"/>
                  <a:gd name="T11" fmla="*/ 1518 h 1518"/>
                  <a:gd name="T12" fmla="*/ 1001 w 1480"/>
                  <a:gd name="T13" fmla="*/ 1446 h 1518"/>
                  <a:gd name="T14" fmla="*/ 1024 w 1480"/>
                  <a:gd name="T15" fmla="*/ 1210 h 1518"/>
                  <a:gd name="T16" fmla="*/ 1279 w 1480"/>
                  <a:gd name="T17" fmla="*/ 675 h 1518"/>
                  <a:gd name="T18" fmla="*/ 928 w 1480"/>
                  <a:gd name="T19" fmla="*/ 52 h 1518"/>
                  <a:gd name="T20" fmla="*/ 948 w 1480"/>
                  <a:gd name="T21" fmla="*/ 180 h 1518"/>
                  <a:gd name="T22" fmla="*/ 53 w 1480"/>
                  <a:gd name="T23" fmla="*/ 72 h 1518"/>
                  <a:gd name="T24" fmla="*/ 928 w 1480"/>
                  <a:gd name="T25" fmla="*/ 1465 h 1518"/>
                  <a:gd name="T26" fmla="*/ 53 w 1480"/>
                  <a:gd name="T27" fmla="*/ 1446 h 1518"/>
                  <a:gd name="T28" fmla="*/ 948 w 1480"/>
                  <a:gd name="T29" fmla="*/ 1338 h 1518"/>
                  <a:gd name="T30" fmla="*/ 928 w 1480"/>
                  <a:gd name="T31" fmla="*/ 1465 h 1518"/>
                  <a:gd name="T32" fmla="*/ 53 w 1480"/>
                  <a:gd name="T33" fmla="*/ 1286 h 1518"/>
                  <a:gd name="T34" fmla="*/ 948 w 1480"/>
                  <a:gd name="T35" fmla="*/ 232 h 1518"/>
                  <a:gd name="T36" fmla="*/ 835 w 1480"/>
                  <a:gd name="T37" fmla="*/ 728 h 1518"/>
                  <a:gd name="T38" fmla="*/ 732 w 1480"/>
                  <a:gd name="T39" fmla="*/ 625 h 1518"/>
                  <a:gd name="T40" fmla="*/ 714 w 1480"/>
                  <a:gd name="T41" fmla="*/ 607 h 1518"/>
                  <a:gd name="T42" fmla="*/ 569 w 1480"/>
                  <a:gd name="T43" fmla="*/ 612 h 1518"/>
                  <a:gd name="T44" fmla="*/ 569 w 1480"/>
                  <a:gd name="T45" fmla="*/ 763 h 1518"/>
                  <a:gd name="T46" fmla="*/ 797 w 1480"/>
                  <a:gd name="T47" fmla="*/ 1089 h 1518"/>
                  <a:gd name="T48" fmla="*/ 948 w 1480"/>
                  <a:gd name="T49" fmla="*/ 1286 h 1518"/>
                  <a:gd name="T50" fmla="*/ 1024 w 1480"/>
                  <a:gd name="T51" fmla="*/ 1157 h 1518"/>
                  <a:gd name="T52" fmla="*/ 835 w 1480"/>
                  <a:gd name="T53" fmla="*/ 975 h 1518"/>
                  <a:gd name="T54" fmla="*/ 887 w 1480"/>
                  <a:gd name="T55" fmla="*/ 1023 h 1518"/>
                  <a:gd name="T56" fmla="*/ 891 w 1480"/>
                  <a:gd name="T57" fmla="*/ 1010 h 1518"/>
                  <a:gd name="T58" fmla="*/ 606 w 1480"/>
                  <a:gd name="T59" fmla="*/ 649 h 1518"/>
                  <a:gd name="T60" fmla="*/ 677 w 1480"/>
                  <a:gd name="T61" fmla="*/ 644 h 1518"/>
                  <a:gd name="T62" fmla="*/ 819 w 1480"/>
                  <a:gd name="T63" fmla="*/ 786 h 1518"/>
                  <a:gd name="T64" fmla="*/ 832 w 1480"/>
                  <a:gd name="T65" fmla="*/ 796 h 1518"/>
                  <a:gd name="T66" fmla="*/ 1125 w 1480"/>
                  <a:gd name="T67" fmla="*/ 660 h 1518"/>
                  <a:gd name="T68" fmla="*/ 1242 w 1480"/>
                  <a:gd name="T69" fmla="*/ 712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80" h="1518">
                    <a:moveTo>
                      <a:pt x="1279" y="675"/>
                    </a:moveTo>
                    <a:cubicBezTo>
                      <a:pt x="1279" y="674"/>
                      <a:pt x="1279" y="674"/>
                      <a:pt x="1279" y="674"/>
                    </a:cubicBezTo>
                    <a:cubicBezTo>
                      <a:pt x="1279" y="674"/>
                      <a:pt x="1279" y="674"/>
                      <a:pt x="1279" y="674"/>
                    </a:cubicBezTo>
                    <a:cubicBezTo>
                      <a:pt x="1269" y="665"/>
                      <a:pt x="1269" y="665"/>
                      <a:pt x="1269" y="665"/>
                    </a:cubicBezTo>
                    <a:cubicBezTo>
                      <a:pt x="1230" y="627"/>
                      <a:pt x="1182" y="607"/>
                      <a:pt x="1125" y="607"/>
                    </a:cubicBezTo>
                    <a:cubicBezTo>
                      <a:pt x="1083" y="607"/>
                      <a:pt x="1041" y="618"/>
                      <a:pt x="1001" y="633"/>
                    </a:cubicBezTo>
                    <a:cubicBezTo>
                      <a:pt x="1001" y="72"/>
                      <a:pt x="1001" y="72"/>
                      <a:pt x="1001" y="72"/>
                    </a:cubicBezTo>
                    <a:cubicBezTo>
                      <a:pt x="1001" y="32"/>
                      <a:pt x="968" y="0"/>
                      <a:pt x="928" y="0"/>
                    </a:cubicBezTo>
                    <a:cubicBezTo>
                      <a:pt x="72" y="0"/>
                      <a:pt x="72" y="0"/>
                      <a:pt x="72" y="0"/>
                    </a:cubicBezTo>
                    <a:cubicBezTo>
                      <a:pt x="33" y="0"/>
                      <a:pt x="0" y="32"/>
                      <a:pt x="0" y="72"/>
                    </a:cubicBezTo>
                    <a:cubicBezTo>
                      <a:pt x="0" y="1446"/>
                      <a:pt x="0" y="1446"/>
                      <a:pt x="0" y="1446"/>
                    </a:cubicBezTo>
                    <a:cubicBezTo>
                      <a:pt x="0" y="1486"/>
                      <a:pt x="33" y="1518"/>
                      <a:pt x="72" y="1518"/>
                    </a:cubicBezTo>
                    <a:cubicBezTo>
                      <a:pt x="928" y="1518"/>
                      <a:pt x="928" y="1518"/>
                      <a:pt x="928" y="1518"/>
                    </a:cubicBezTo>
                    <a:cubicBezTo>
                      <a:pt x="968" y="1518"/>
                      <a:pt x="1001" y="1486"/>
                      <a:pt x="1001" y="1446"/>
                    </a:cubicBezTo>
                    <a:cubicBezTo>
                      <a:pt x="1001" y="1209"/>
                      <a:pt x="1001" y="1209"/>
                      <a:pt x="1001" y="1209"/>
                    </a:cubicBezTo>
                    <a:cubicBezTo>
                      <a:pt x="1008" y="1210"/>
                      <a:pt x="1016" y="1210"/>
                      <a:pt x="1024" y="1210"/>
                    </a:cubicBezTo>
                    <a:cubicBezTo>
                      <a:pt x="1106" y="1210"/>
                      <a:pt x="1189" y="1167"/>
                      <a:pt x="1278" y="1078"/>
                    </a:cubicBezTo>
                    <a:cubicBezTo>
                      <a:pt x="1480" y="876"/>
                      <a:pt x="1329" y="724"/>
                      <a:pt x="1279" y="675"/>
                    </a:cubicBezTo>
                    <a:close/>
                    <a:moveTo>
                      <a:pt x="72" y="52"/>
                    </a:moveTo>
                    <a:cubicBezTo>
                      <a:pt x="928" y="52"/>
                      <a:pt x="928" y="52"/>
                      <a:pt x="928" y="52"/>
                    </a:cubicBezTo>
                    <a:cubicBezTo>
                      <a:pt x="939" y="52"/>
                      <a:pt x="948" y="61"/>
                      <a:pt x="948" y="72"/>
                    </a:cubicBezTo>
                    <a:cubicBezTo>
                      <a:pt x="948" y="180"/>
                      <a:pt x="948" y="180"/>
                      <a:pt x="948" y="180"/>
                    </a:cubicBezTo>
                    <a:cubicBezTo>
                      <a:pt x="53" y="180"/>
                      <a:pt x="53" y="180"/>
                      <a:pt x="53" y="180"/>
                    </a:cubicBezTo>
                    <a:cubicBezTo>
                      <a:pt x="53" y="72"/>
                      <a:pt x="53" y="72"/>
                      <a:pt x="53" y="72"/>
                    </a:cubicBezTo>
                    <a:cubicBezTo>
                      <a:pt x="53" y="61"/>
                      <a:pt x="62" y="52"/>
                      <a:pt x="72" y="52"/>
                    </a:cubicBezTo>
                    <a:close/>
                    <a:moveTo>
                      <a:pt x="928" y="1465"/>
                    </a:moveTo>
                    <a:cubicBezTo>
                      <a:pt x="72" y="1465"/>
                      <a:pt x="72" y="1465"/>
                      <a:pt x="72" y="1465"/>
                    </a:cubicBezTo>
                    <a:cubicBezTo>
                      <a:pt x="62" y="1465"/>
                      <a:pt x="53" y="1457"/>
                      <a:pt x="53" y="1446"/>
                    </a:cubicBezTo>
                    <a:cubicBezTo>
                      <a:pt x="53" y="1338"/>
                      <a:pt x="53" y="1338"/>
                      <a:pt x="53" y="1338"/>
                    </a:cubicBezTo>
                    <a:cubicBezTo>
                      <a:pt x="948" y="1338"/>
                      <a:pt x="948" y="1338"/>
                      <a:pt x="948" y="1338"/>
                    </a:cubicBezTo>
                    <a:cubicBezTo>
                      <a:pt x="948" y="1446"/>
                      <a:pt x="948" y="1446"/>
                      <a:pt x="948" y="1446"/>
                    </a:cubicBezTo>
                    <a:cubicBezTo>
                      <a:pt x="948" y="1457"/>
                      <a:pt x="939" y="1465"/>
                      <a:pt x="928" y="1465"/>
                    </a:cubicBezTo>
                    <a:close/>
                    <a:moveTo>
                      <a:pt x="948" y="1286"/>
                    </a:moveTo>
                    <a:cubicBezTo>
                      <a:pt x="53" y="1286"/>
                      <a:pt x="53" y="1286"/>
                      <a:pt x="53" y="1286"/>
                    </a:cubicBezTo>
                    <a:cubicBezTo>
                      <a:pt x="53" y="232"/>
                      <a:pt x="53" y="232"/>
                      <a:pt x="53" y="232"/>
                    </a:cubicBezTo>
                    <a:cubicBezTo>
                      <a:pt x="948" y="232"/>
                      <a:pt x="948" y="232"/>
                      <a:pt x="948" y="232"/>
                    </a:cubicBezTo>
                    <a:cubicBezTo>
                      <a:pt x="948" y="657"/>
                      <a:pt x="948" y="657"/>
                      <a:pt x="948" y="657"/>
                    </a:cubicBezTo>
                    <a:cubicBezTo>
                      <a:pt x="902" y="681"/>
                      <a:pt x="862" y="708"/>
                      <a:pt x="835" y="728"/>
                    </a:cubicBezTo>
                    <a:cubicBezTo>
                      <a:pt x="818" y="711"/>
                      <a:pt x="795" y="688"/>
                      <a:pt x="774" y="667"/>
                    </a:cubicBezTo>
                    <a:cubicBezTo>
                      <a:pt x="732" y="625"/>
                      <a:pt x="732" y="625"/>
                      <a:pt x="732" y="625"/>
                    </a:cubicBezTo>
                    <a:cubicBezTo>
                      <a:pt x="723" y="616"/>
                      <a:pt x="718" y="610"/>
                      <a:pt x="714" y="607"/>
                    </a:cubicBezTo>
                    <a:cubicBezTo>
                      <a:pt x="714" y="607"/>
                      <a:pt x="714" y="607"/>
                      <a:pt x="714" y="607"/>
                    </a:cubicBezTo>
                    <a:cubicBezTo>
                      <a:pt x="696" y="589"/>
                      <a:pt x="672" y="579"/>
                      <a:pt x="646" y="579"/>
                    </a:cubicBezTo>
                    <a:cubicBezTo>
                      <a:pt x="617" y="579"/>
                      <a:pt x="589" y="591"/>
                      <a:pt x="569" y="612"/>
                    </a:cubicBezTo>
                    <a:cubicBezTo>
                      <a:pt x="548" y="632"/>
                      <a:pt x="537" y="659"/>
                      <a:pt x="537" y="687"/>
                    </a:cubicBezTo>
                    <a:cubicBezTo>
                      <a:pt x="537" y="716"/>
                      <a:pt x="548" y="742"/>
                      <a:pt x="569" y="763"/>
                    </a:cubicBezTo>
                    <a:cubicBezTo>
                      <a:pt x="776" y="970"/>
                      <a:pt x="776" y="970"/>
                      <a:pt x="776" y="970"/>
                    </a:cubicBezTo>
                    <a:cubicBezTo>
                      <a:pt x="761" y="1007"/>
                      <a:pt x="763" y="1054"/>
                      <a:pt x="797" y="1089"/>
                    </a:cubicBezTo>
                    <a:cubicBezTo>
                      <a:pt x="836" y="1130"/>
                      <a:pt x="885" y="1175"/>
                      <a:pt x="948" y="1197"/>
                    </a:cubicBezTo>
                    <a:lnTo>
                      <a:pt x="948" y="1286"/>
                    </a:lnTo>
                    <a:close/>
                    <a:moveTo>
                      <a:pt x="1240" y="1041"/>
                    </a:moveTo>
                    <a:cubicBezTo>
                      <a:pt x="1156" y="1125"/>
                      <a:pt x="1085" y="1157"/>
                      <a:pt x="1024" y="1157"/>
                    </a:cubicBezTo>
                    <a:cubicBezTo>
                      <a:pt x="950" y="1157"/>
                      <a:pt x="890" y="1110"/>
                      <a:pt x="835" y="1053"/>
                    </a:cubicBezTo>
                    <a:cubicBezTo>
                      <a:pt x="811" y="1028"/>
                      <a:pt x="818" y="992"/>
                      <a:pt x="835" y="975"/>
                    </a:cubicBezTo>
                    <a:cubicBezTo>
                      <a:pt x="880" y="1020"/>
                      <a:pt x="880" y="1020"/>
                      <a:pt x="880" y="1020"/>
                    </a:cubicBezTo>
                    <a:cubicBezTo>
                      <a:pt x="883" y="1022"/>
                      <a:pt x="885" y="1023"/>
                      <a:pt x="887" y="1023"/>
                    </a:cubicBezTo>
                    <a:cubicBezTo>
                      <a:pt x="889" y="1023"/>
                      <a:pt x="891" y="1022"/>
                      <a:pt x="892" y="1021"/>
                    </a:cubicBezTo>
                    <a:cubicBezTo>
                      <a:pt x="893" y="1020"/>
                      <a:pt x="896" y="1016"/>
                      <a:pt x="891" y="1010"/>
                    </a:cubicBezTo>
                    <a:cubicBezTo>
                      <a:pt x="885" y="1005"/>
                      <a:pt x="606" y="725"/>
                      <a:pt x="606" y="725"/>
                    </a:cubicBezTo>
                    <a:cubicBezTo>
                      <a:pt x="585" y="704"/>
                      <a:pt x="585" y="670"/>
                      <a:pt x="606" y="649"/>
                    </a:cubicBezTo>
                    <a:cubicBezTo>
                      <a:pt x="617" y="638"/>
                      <a:pt x="632" y="632"/>
                      <a:pt x="646" y="632"/>
                    </a:cubicBezTo>
                    <a:cubicBezTo>
                      <a:pt x="658" y="632"/>
                      <a:pt x="669" y="636"/>
                      <a:pt x="677" y="644"/>
                    </a:cubicBezTo>
                    <a:cubicBezTo>
                      <a:pt x="677" y="644"/>
                      <a:pt x="784" y="751"/>
                      <a:pt x="819" y="786"/>
                    </a:cubicBezTo>
                    <a:cubicBezTo>
                      <a:pt x="819" y="786"/>
                      <a:pt x="819" y="786"/>
                      <a:pt x="819" y="786"/>
                    </a:cubicBezTo>
                    <a:cubicBezTo>
                      <a:pt x="826" y="793"/>
                      <a:pt x="826" y="793"/>
                      <a:pt x="826" y="793"/>
                    </a:cubicBezTo>
                    <a:cubicBezTo>
                      <a:pt x="828" y="795"/>
                      <a:pt x="830" y="796"/>
                      <a:pt x="832" y="796"/>
                    </a:cubicBezTo>
                    <a:cubicBezTo>
                      <a:pt x="834" y="796"/>
                      <a:pt x="837" y="795"/>
                      <a:pt x="838" y="793"/>
                    </a:cubicBezTo>
                    <a:cubicBezTo>
                      <a:pt x="841" y="791"/>
                      <a:pt x="994" y="660"/>
                      <a:pt x="1125" y="660"/>
                    </a:cubicBezTo>
                    <a:cubicBezTo>
                      <a:pt x="1164" y="660"/>
                      <a:pt x="1201" y="672"/>
                      <a:pt x="1232" y="702"/>
                    </a:cubicBezTo>
                    <a:cubicBezTo>
                      <a:pt x="1242" y="712"/>
                      <a:pt x="1242" y="712"/>
                      <a:pt x="1242" y="712"/>
                    </a:cubicBezTo>
                    <a:cubicBezTo>
                      <a:pt x="1307" y="777"/>
                      <a:pt x="1397" y="885"/>
                      <a:pt x="1240" y="10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105" name="Freeform 46"/>
              <p:cNvSpPr>
                <a:spLocks/>
              </p:cNvSpPr>
              <p:nvPr userDrawn="1"/>
            </p:nvSpPr>
            <p:spPr bwMode="auto">
              <a:xfrm>
                <a:off x="17940237" y="-19452"/>
                <a:ext cx="206375" cy="203200"/>
              </a:xfrm>
              <a:custGeom>
                <a:avLst/>
                <a:gdLst>
                  <a:gd name="T0" fmla="*/ 124 w 410"/>
                  <a:gd name="T1" fmla="*/ 123 h 407"/>
                  <a:gd name="T2" fmla="*/ 362 w 410"/>
                  <a:gd name="T3" fmla="*/ 123 h 407"/>
                  <a:gd name="T4" fmla="*/ 399 w 410"/>
                  <a:gd name="T5" fmla="*/ 123 h 407"/>
                  <a:gd name="T6" fmla="*/ 399 w 410"/>
                  <a:gd name="T7" fmla="*/ 86 h 407"/>
                  <a:gd name="T8" fmla="*/ 86 w 410"/>
                  <a:gd name="T9" fmla="*/ 86 h 407"/>
                  <a:gd name="T10" fmla="*/ 86 w 410"/>
                  <a:gd name="T11" fmla="*/ 399 h 407"/>
                  <a:gd name="T12" fmla="*/ 105 w 410"/>
                  <a:gd name="T13" fmla="*/ 407 h 407"/>
                  <a:gd name="T14" fmla="*/ 124 w 410"/>
                  <a:gd name="T15" fmla="*/ 399 h 407"/>
                  <a:gd name="T16" fmla="*/ 124 w 410"/>
                  <a:gd name="T17" fmla="*/ 362 h 407"/>
                  <a:gd name="T18" fmla="*/ 124 w 410"/>
                  <a:gd name="T19" fmla="*/ 123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0" h="407">
                    <a:moveTo>
                      <a:pt x="124" y="123"/>
                    </a:moveTo>
                    <a:cubicBezTo>
                      <a:pt x="189" y="58"/>
                      <a:pt x="296" y="58"/>
                      <a:pt x="362" y="123"/>
                    </a:cubicBezTo>
                    <a:cubicBezTo>
                      <a:pt x="372" y="134"/>
                      <a:pt x="389" y="134"/>
                      <a:pt x="399" y="123"/>
                    </a:cubicBezTo>
                    <a:cubicBezTo>
                      <a:pt x="410" y="113"/>
                      <a:pt x="410" y="97"/>
                      <a:pt x="399" y="86"/>
                    </a:cubicBezTo>
                    <a:cubicBezTo>
                      <a:pt x="313" y="0"/>
                      <a:pt x="173" y="0"/>
                      <a:pt x="86" y="86"/>
                    </a:cubicBezTo>
                    <a:cubicBezTo>
                      <a:pt x="0" y="172"/>
                      <a:pt x="0" y="313"/>
                      <a:pt x="86" y="399"/>
                    </a:cubicBezTo>
                    <a:cubicBezTo>
                      <a:pt x="92" y="404"/>
                      <a:pt x="98" y="407"/>
                      <a:pt x="105" y="407"/>
                    </a:cubicBezTo>
                    <a:cubicBezTo>
                      <a:pt x="112" y="407"/>
                      <a:pt x="119" y="404"/>
                      <a:pt x="124" y="399"/>
                    </a:cubicBezTo>
                    <a:cubicBezTo>
                      <a:pt x="134" y="389"/>
                      <a:pt x="134" y="372"/>
                      <a:pt x="124" y="362"/>
                    </a:cubicBezTo>
                    <a:cubicBezTo>
                      <a:pt x="58" y="296"/>
                      <a:pt x="58" y="189"/>
                      <a:pt x="124"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grpSp>
          <p:nvGrpSpPr>
            <p:cNvPr id="74" name="Group 73"/>
            <p:cNvGrpSpPr/>
            <p:nvPr userDrawn="1"/>
          </p:nvGrpSpPr>
          <p:grpSpPr>
            <a:xfrm>
              <a:off x="9575942" y="6940244"/>
              <a:ext cx="375098" cy="396922"/>
              <a:chOff x="17605275" y="4174723"/>
              <a:chExt cx="873125" cy="923925"/>
            </a:xfrm>
            <a:solidFill>
              <a:schemeClr val="accent5">
                <a:lumMod val="75000"/>
              </a:schemeClr>
            </a:solidFill>
          </p:grpSpPr>
          <p:sp>
            <p:nvSpPr>
              <p:cNvPr id="101" name="Freeform 53"/>
              <p:cNvSpPr>
                <a:spLocks noEditPoints="1"/>
              </p:cNvSpPr>
              <p:nvPr userDrawn="1"/>
            </p:nvSpPr>
            <p:spPr bwMode="auto">
              <a:xfrm>
                <a:off x="17605275" y="4174723"/>
                <a:ext cx="873125" cy="776288"/>
              </a:xfrm>
              <a:custGeom>
                <a:avLst/>
                <a:gdLst>
                  <a:gd name="T0" fmla="*/ 1738 w 1738"/>
                  <a:gd name="T1" fmla="*/ 595 h 1548"/>
                  <a:gd name="T2" fmla="*/ 1046 w 1738"/>
                  <a:gd name="T3" fmla="*/ 262 h 1548"/>
                  <a:gd name="T4" fmla="*/ 678 w 1738"/>
                  <a:gd name="T5" fmla="*/ 191 h 1548"/>
                  <a:gd name="T6" fmla="*/ 191 w 1738"/>
                  <a:gd name="T7" fmla="*/ 404 h 1548"/>
                  <a:gd name="T8" fmla="*/ 165 w 1738"/>
                  <a:gd name="T9" fmla="*/ 1169 h 1548"/>
                  <a:gd name="T10" fmla="*/ 352 w 1738"/>
                  <a:gd name="T11" fmla="*/ 1460 h 1548"/>
                  <a:gd name="T12" fmla="*/ 634 w 1738"/>
                  <a:gd name="T13" fmla="*/ 1292 h 1548"/>
                  <a:gd name="T14" fmla="*/ 371 w 1738"/>
                  <a:gd name="T15" fmla="*/ 1239 h 1548"/>
                  <a:gd name="T16" fmla="*/ 521 w 1738"/>
                  <a:gd name="T17" fmla="*/ 979 h 1548"/>
                  <a:gd name="T18" fmla="*/ 519 w 1738"/>
                  <a:gd name="T19" fmla="*/ 969 h 1548"/>
                  <a:gd name="T20" fmla="*/ 517 w 1738"/>
                  <a:gd name="T21" fmla="*/ 966 h 1548"/>
                  <a:gd name="T22" fmla="*/ 609 w 1738"/>
                  <a:gd name="T23" fmla="*/ 701 h 1548"/>
                  <a:gd name="T24" fmla="*/ 382 w 1738"/>
                  <a:gd name="T25" fmla="*/ 595 h 1548"/>
                  <a:gd name="T26" fmla="*/ 826 w 1738"/>
                  <a:gd name="T27" fmla="*/ 376 h 1548"/>
                  <a:gd name="T28" fmla="*/ 724 w 1738"/>
                  <a:gd name="T29" fmla="*/ 623 h 1548"/>
                  <a:gd name="T30" fmla="*/ 992 w 1738"/>
                  <a:gd name="T31" fmla="*/ 610 h 1548"/>
                  <a:gd name="T32" fmla="*/ 1037 w 1738"/>
                  <a:gd name="T33" fmla="*/ 583 h 1548"/>
                  <a:gd name="T34" fmla="*/ 1375 w 1738"/>
                  <a:gd name="T35" fmla="*/ 513 h 1548"/>
                  <a:gd name="T36" fmla="*/ 1155 w 1738"/>
                  <a:gd name="T37" fmla="*/ 675 h 1548"/>
                  <a:gd name="T38" fmla="*/ 1367 w 1738"/>
                  <a:gd name="T39" fmla="*/ 727 h 1548"/>
                  <a:gd name="T40" fmla="*/ 1220 w 1738"/>
                  <a:gd name="T41" fmla="*/ 968 h 1548"/>
                  <a:gd name="T42" fmla="*/ 1217 w 1738"/>
                  <a:gd name="T43" fmla="*/ 980 h 1548"/>
                  <a:gd name="T44" fmla="*/ 1219 w 1738"/>
                  <a:gd name="T45" fmla="*/ 990 h 1548"/>
                  <a:gd name="T46" fmla="*/ 1221 w 1738"/>
                  <a:gd name="T47" fmla="*/ 993 h 1548"/>
                  <a:gd name="T48" fmla="*/ 1105 w 1738"/>
                  <a:gd name="T49" fmla="*/ 1239 h 1548"/>
                  <a:gd name="T50" fmla="*/ 1368 w 1738"/>
                  <a:gd name="T51" fmla="*/ 1292 h 1548"/>
                  <a:gd name="T52" fmla="*/ 1738 w 1738"/>
                  <a:gd name="T53" fmla="*/ 1358 h 1548"/>
                  <a:gd name="T54" fmla="*/ 191 w 1738"/>
                  <a:gd name="T55" fmla="*/ 457 h 1548"/>
                  <a:gd name="T56" fmla="*/ 53 w 1738"/>
                  <a:gd name="T57" fmla="*/ 595 h 1548"/>
                  <a:gd name="T58" fmla="*/ 191 w 1738"/>
                  <a:gd name="T59" fmla="*/ 1220 h 1548"/>
                  <a:gd name="T60" fmla="*/ 310 w 1738"/>
                  <a:gd name="T61" fmla="*/ 1287 h 1548"/>
                  <a:gd name="T62" fmla="*/ 191 w 1738"/>
                  <a:gd name="T63" fmla="*/ 1496 h 1548"/>
                  <a:gd name="T64" fmla="*/ 217 w 1738"/>
                  <a:gd name="T65" fmla="*/ 1169 h 1548"/>
                  <a:gd name="T66" fmla="*/ 464 w 1738"/>
                  <a:gd name="T67" fmla="*/ 980 h 1548"/>
                  <a:gd name="T68" fmla="*/ 869 w 1738"/>
                  <a:gd name="T69" fmla="*/ 328 h 1548"/>
                  <a:gd name="T70" fmla="*/ 869 w 1738"/>
                  <a:gd name="T71" fmla="*/ 53 h 1548"/>
                  <a:gd name="T72" fmla="*/ 989 w 1738"/>
                  <a:gd name="T73" fmla="*/ 260 h 1548"/>
                  <a:gd name="T74" fmla="*/ 873 w 1738"/>
                  <a:gd name="T75" fmla="*/ 329 h 1548"/>
                  <a:gd name="T76" fmla="*/ 1547 w 1738"/>
                  <a:gd name="T77" fmla="*/ 733 h 1548"/>
                  <a:gd name="T78" fmla="*/ 1422 w 1738"/>
                  <a:gd name="T79" fmla="*/ 738 h 1548"/>
                  <a:gd name="T80" fmla="*/ 1417 w 1738"/>
                  <a:gd name="T81" fmla="*/ 1219 h 1548"/>
                  <a:gd name="T82" fmla="*/ 1547 w 1738"/>
                  <a:gd name="T83" fmla="*/ 1496 h 1548"/>
                  <a:gd name="T84" fmla="*/ 1437 w 1738"/>
                  <a:gd name="T85" fmla="*/ 1278 h 1548"/>
                  <a:gd name="T86" fmla="*/ 1685 w 1738"/>
                  <a:gd name="T87" fmla="*/ 1358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38" h="1548">
                    <a:moveTo>
                      <a:pt x="1574" y="1169"/>
                    </a:moveTo>
                    <a:cubicBezTo>
                      <a:pt x="1574" y="784"/>
                      <a:pt x="1574" y="784"/>
                      <a:pt x="1574" y="784"/>
                    </a:cubicBezTo>
                    <a:cubicBezTo>
                      <a:pt x="1667" y="771"/>
                      <a:pt x="1738" y="691"/>
                      <a:pt x="1738" y="595"/>
                    </a:cubicBezTo>
                    <a:cubicBezTo>
                      <a:pt x="1738" y="490"/>
                      <a:pt x="1653" y="404"/>
                      <a:pt x="1547" y="404"/>
                    </a:cubicBezTo>
                    <a:cubicBezTo>
                      <a:pt x="1490" y="404"/>
                      <a:pt x="1439" y="429"/>
                      <a:pt x="1404" y="469"/>
                    </a:cubicBezTo>
                    <a:cubicBezTo>
                      <a:pt x="1046" y="262"/>
                      <a:pt x="1046" y="262"/>
                      <a:pt x="1046" y="262"/>
                    </a:cubicBezTo>
                    <a:cubicBezTo>
                      <a:pt x="1055" y="240"/>
                      <a:pt x="1060" y="215"/>
                      <a:pt x="1060" y="191"/>
                    </a:cubicBezTo>
                    <a:cubicBezTo>
                      <a:pt x="1060" y="86"/>
                      <a:pt x="974" y="0"/>
                      <a:pt x="869" y="0"/>
                    </a:cubicBezTo>
                    <a:cubicBezTo>
                      <a:pt x="764" y="0"/>
                      <a:pt x="678" y="86"/>
                      <a:pt x="678" y="191"/>
                    </a:cubicBezTo>
                    <a:cubicBezTo>
                      <a:pt x="678" y="216"/>
                      <a:pt x="683" y="240"/>
                      <a:pt x="692" y="262"/>
                    </a:cubicBezTo>
                    <a:cubicBezTo>
                      <a:pt x="334" y="469"/>
                      <a:pt x="334" y="469"/>
                      <a:pt x="334" y="469"/>
                    </a:cubicBezTo>
                    <a:cubicBezTo>
                      <a:pt x="299" y="429"/>
                      <a:pt x="248" y="404"/>
                      <a:pt x="191" y="404"/>
                    </a:cubicBezTo>
                    <a:cubicBezTo>
                      <a:pt x="86" y="404"/>
                      <a:pt x="0" y="490"/>
                      <a:pt x="0" y="595"/>
                    </a:cubicBezTo>
                    <a:cubicBezTo>
                      <a:pt x="0" y="691"/>
                      <a:pt x="72" y="771"/>
                      <a:pt x="165" y="784"/>
                    </a:cubicBezTo>
                    <a:cubicBezTo>
                      <a:pt x="165" y="1169"/>
                      <a:pt x="165" y="1169"/>
                      <a:pt x="165" y="1169"/>
                    </a:cubicBezTo>
                    <a:cubicBezTo>
                      <a:pt x="72" y="1182"/>
                      <a:pt x="0" y="1261"/>
                      <a:pt x="0" y="1358"/>
                    </a:cubicBezTo>
                    <a:cubicBezTo>
                      <a:pt x="0" y="1463"/>
                      <a:pt x="86" y="1548"/>
                      <a:pt x="191" y="1548"/>
                    </a:cubicBezTo>
                    <a:cubicBezTo>
                      <a:pt x="256" y="1548"/>
                      <a:pt x="317" y="1515"/>
                      <a:pt x="352" y="1460"/>
                    </a:cubicBezTo>
                    <a:cubicBezTo>
                      <a:pt x="371" y="1429"/>
                      <a:pt x="382" y="1394"/>
                      <a:pt x="382" y="1358"/>
                    </a:cubicBezTo>
                    <a:cubicBezTo>
                      <a:pt x="382" y="1335"/>
                      <a:pt x="378" y="1313"/>
                      <a:pt x="370" y="1292"/>
                    </a:cubicBezTo>
                    <a:cubicBezTo>
                      <a:pt x="634" y="1292"/>
                      <a:pt x="634" y="1292"/>
                      <a:pt x="634" y="1292"/>
                    </a:cubicBezTo>
                    <a:cubicBezTo>
                      <a:pt x="648" y="1292"/>
                      <a:pt x="660" y="1280"/>
                      <a:pt x="660" y="1265"/>
                    </a:cubicBezTo>
                    <a:cubicBezTo>
                      <a:pt x="660" y="1251"/>
                      <a:pt x="648" y="1239"/>
                      <a:pt x="634" y="1239"/>
                    </a:cubicBezTo>
                    <a:cubicBezTo>
                      <a:pt x="371" y="1239"/>
                      <a:pt x="371" y="1239"/>
                      <a:pt x="371" y="1239"/>
                    </a:cubicBezTo>
                    <a:cubicBezTo>
                      <a:pt x="518" y="994"/>
                      <a:pt x="518" y="994"/>
                      <a:pt x="518" y="994"/>
                    </a:cubicBezTo>
                    <a:cubicBezTo>
                      <a:pt x="520" y="989"/>
                      <a:pt x="521" y="984"/>
                      <a:pt x="521" y="980"/>
                    </a:cubicBezTo>
                    <a:cubicBezTo>
                      <a:pt x="521" y="979"/>
                      <a:pt x="521" y="979"/>
                      <a:pt x="521" y="979"/>
                    </a:cubicBezTo>
                    <a:cubicBezTo>
                      <a:pt x="521" y="979"/>
                      <a:pt x="521" y="979"/>
                      <a:pt x="521" y="979"/>
                    </a:cubicBezTo>
                    <a:cubicBezTo>
                      <a:pt x="521" y="975"/>
                      <a:pt x="520" y="972"/>
                      <a:pt x="519" y="969"/>
                    </a:cubicBezTo>
                    <a:cubicBezTo>
                      <a:pt x="519" y="969"/>
                      <a:pt x="519" y="969"/>
                      <a:pt x="519" y="969"/>
                    </a:cubicBezTo>
                    <a:cubicBezTo>
                      <a:pt x="519" y="968"/>
                      <a:pt x="518" y="968"/>
                      <a:pt x="518" y="968"/>
                    </a:cubicBezTo>
                    <a:cubicBezTo>
                      <a:pt x="518" y="967"/>
                      <a:pt x="518" y="967"/>
                      <a:pt x="518" y="967"/>
                    </a:cubicBezTo>
                    <a:cubicBezTo>
                      <a:pt x="518" y="967"/>
                      <a:pt x="518" y="966"/>
                      <a:pt x="517" y="966"/>
                    </a:cubicBezTo>
                    <a:cubicBezTo>
                      <a:pt x="371" y="727"/>
                      <a:pt x="371" y="727"/>
                      <a:pt x="371" y="727"/>
                    </a:cubicBezTo>
                    <a:cubicBezTo>
                      <a:pt x="583" y="727"/>
                      <a:pt x="583" y="727"/>
                      <a:pt x="583" y="727"/>
                    </a:cubicBezTo>
                    <a:cubicBezTo>
                      <a:pt x="598" y="727"/>
                      <a:pt x="609" y="716"/>
                      <a:pt x="609" y="701"/>
                    </a:cubicBezTo>
                    <a:cubicBezTo>
                      <a:pt x="609" y="687"/>
                      <a:pt x="598" y="675"/>
                      <a:pt x="583" y="675"/>
                    </a:cubicBezTo>
                    <a:cubicBezTo>
                      <a:pt x="364" y="675"/>
                      <a:pt x="364" y="675"/>
                      <a:pt x="364" y="675"/>
                    </a:cubicBezTo>
                    <a:cubicBezTo>
                      <a:pt x="375" y="650"/>
                      <a:pt x="382" y="623"/>
                      <a:pt x="382" y="595"/>
                    </a:cubicBezTo>
                    <a:cubicBezTo>
                      <a:pt x="382" y="566"/>
                      <a:pt x="375" y="538"/>
                      <a:pt x="363" y="513"/>
                    </a:cubicBezTo>
                    <a:cubicBezTo>
                      <a:pt x="719" y="308"/>
                      <a:pt x="719" y="308"/>
                      <a:pt x="719" y="308"/>
                    </a:cubicBezTo>
                    <a:cubicBezTo>
                      <a:pt x="745" y="342"/>
                      <a:pt x="783" y="366"/>
                      <a:pt x="826" y="376"/>
                    </a:cubicBezTo>
                    <a:cubicBezTo>
                      <a:pt x="702" y="583"/>
                      <a:pt x="702" y="583"/>
                      <a:pt x="702" y="583"/>
                    </a:cubicBezTo>
                    <a:cubicBezTo>
                      <a:pt x="694" y="596"/>
                      <a:pt x="698" y="612"/>
                      <a:pt x="711" y="620"/>
                    </a:cubicBezTo>
                    <a:cubicBezTo>
                      <a:pt x="715" y="622"/>
                      <a:pt x="720" y="623"/>
                      <a:pt x="724" y="623"/>
                    </a:cubicBezTo>
                    <a:cubicBezTo>
                      <a:pt x="733" y="623"/>
                      <a:pt x="742" y="619"/>
                      <a:pt x="747" y="610"/>
                    </a:cubicBezTo>
                    <a:cubicBezTo>
                      <a:pt x="869" y="406"/>
                      <a:pt x="869" y="406"/>
                      <a:pt x="869" y="406"/>
                    </a:cubicBezTo>
                    <a:cubicBezTo>
                      <a:pt x="992" y="610"/>
                      <a:pt x="992" y="610"/>
                      <a:pt x="992" y="610"/>
                    </a:cubicBezTo>
                    <a:cubicBezTo>
                      <a:pt x="996" y="619"/>
                      <a:pt x="1005" y="623"/>
                      <a:pt x="1014" y="623"/>
                    </a:cubicBezTo>
                    <a:cubicBezTo>
                      <a:pt x="1019" y="623"/>
                      <a:pt x="1023" y="622"/>
                      <a:pt x="1028" y="620"/>
                    </a:cubicBezTo>
                    <a:cubicBezTo>
                      <a:pt x="1040" y="612"/>
                      <a:pt x="1044" y="596"/>
                      <a:pt x="1037" y="583"/>
                    </a:cubicBezTo>
                    <a:cubicBezTo>
                      <a:pt x="913" y="376"/>
                      <a:pt x="913" y="376"/>
                      <a:pt x="913" y="376"/>
                    </a:cubicBezTo>
                    <a:cubicBezTo>
                      <a:pt x="955" y="366"/>
                      <a:pt x="993" y="342"/>
                      <a:pt x="1020" y="308"/>
                    </a:cubicBezTo>
                    <a:cubicBezTo>
                      <a:pt x="1375" y="513"/>
                      <a:pt x="1375" y="513"/>
                      <a:pt x="1375" y="513"/>
                    </a:cubicBezTo>
                    <a:cubicBezTo>
                      <a:pt x="1363" y="538"/>
                      <a:pt x="1357" y="566"/>
                      <a:pt x="1357" y="595"/>
                    </a:cubicBezTo>
                    <a:cubicBezTo>
                      <a:pt x="1357" y="623"/>
                      <a:pt x="1363" y="650"/>
                      <a:pt x="1374" y="675"/>
                    </a:cubicBezTo>
                    <a:cubicBezTo>
                      <a:pt x="1155" y="675"/>
                      <a:pt x="1155" y="675"/>
                      <a:pt x="1155" y="675"/>
                    </a:cubicBezTo>
                    <a:cubicBezTo>
                      <a:pt x="1141" y="675"/>
                      <a:pt x="1129" y="687"/>
                      <a:pt x="1129" y="701"/>
                    </a:cubicBezTo>
                    <a:cubicBezTo>
                      <a:pt x="1129" y="716"/>
                      <a:pt x="1141" y="727"/>
                      <a:pt x="1155" y="727"/>
                    </a:cubicBezTo>
                    <a:cubicBezTo>
                      <a:pt x="1367" y="727"/>
                      <a:pt x="1367" y="727"/>
                      <a:pt x="1367" y="727"/>
                    </a:cubicBezTo>
                    <a:cubicBezTo>
                      <a:pt x="1221" y="966"/>
                      <a:pt x="1221" y="966"/>
                      <a:pt x="1221" y="966"/>
                    </a:cubicBezTo>
                    <a:cubicBezTo>
                      <a:pt x="1221" y="966"/>
                      <a:pt x="1221" y="966"/>
                      <a:pt x="1221" y="967"/>
                    </a:cubicBezTo>
                    <a:cubicBezTo>
                      <a:pt x="1221" y="967"/>
                      <a:pt x="1220" y="968"/>
                      <a:pt x="1220" y="968"/>
                    </a:cubicBezTo>
                    <a:cubicBezTo>
                      <a:pt x="1220" y="968"/>
                      <a:pt x="1220" y="969"/>
                      <a:pt x="1220" y="969"/>
                    </a:cubicBezTo>
                    <a:cubicBezTo>
                      <a:pt x="1219" y="969"/>
                      <a:pt x="1219" y="970"/>
                      <a:pt x="1219" y="970"/>
                    </a:cubicBezTo>
                    <a:cubicBezTo>
                      <a:pt x="1218" y="973"/>
                      <a:pt x="1217" y="977"/>
                      <a:pt x="1217" y="980"/>
                    </a:cubicBezTo>
                    <a:cubicBezTo>
                      <a:pt x="1217" y="981"/>
                      <a:pt x="1217" y="981"/>
                      <a:pt x="1217" y="981"/>
                    </a:cubicBezTo>
                    <a:cubicBezTo>
                      <a:pt x="1217" y="981"/>
                      <a:pt x="1217" y="981"/>
                      <a:pt x="1217" y="981"/>
                    </a:cubicBezTo>
                    <a:cubicBezTo>
                      <a:pt x="1217" y="984"/>
                      <a:pt x="1218" y="987"/>
                      <a:pt x="1219" y="990"/>
                    </a:cubicBezTo>
                    <a:cubicBezTo>
                      <a:pt x="1219" y="991"/>
                      <a:pt x="1219" y="991"/>
                      <a:pt x="1219" y="991"/>
                    </a:cubicBezTo>
                    <a:cubicBezTo>
                      <a:pt x="1220" y="992"/>
                      <a:pt x="1220" y="992"/>
                      <a:pt x="1220" y="992"/>
                    </a:cubicBezTo>
                    <a:cubicBezTo>
                      <a:pt x="1220" y="993"/>
                      <a:pt x="1220" y="993"/>
                      <a:pt x="1221" y="993"/>
                    </a:cubicBezTo>
                    <a:cubicBezTo>
                      <a:pt x="1221" y="994"/>
                      <a:pt x="1221" y="994"/>
                      <a:pt x="1221" y="994"/>
                    </a:cubicBezTo>
                    <a:cubicBezTo>
                      <a:pt x="1368" y="1239"/>
                      <a:pt x="1368" y="1239"/>
                      <a:pt x="1368" y="1239"/>
                    </a:cubicBezTo>
                    <a:cubicBezTo>
                      <a:pt x="1105" y="1239"/>
                      <a:pt x="1105" y="1239"/>
                      <a:pt x="1105" y="1239"/>
                    </a:cubicBezTo>
                    <a:cubicBezTo>
                      <a:pt x="1090" y="1239"/>
                      <a:pt x="1078" y="1251"/>
                      <a:pt x="1078" y="1265"/>
                    </a:cubicBezTo>
                    <a:cubicBezTo>
                      <a:pt x="1078" y="1280"/>
                      <a:pt x="1090" y="1292"/>
                      <a:pt x="1105" y="1292"/>
                    </a:cubicBezTo>
                    <a:cubicBezTo>
                      <a:pt x="1368" y="1292"/>
                      <a:pt x="1368" y="1292"/>
                      <a:pt x="1368" y="1292"/>
                    </a:cubicBezTo>
                    <a:cubicBezTo>
                      <a:pt x="1361" y="1313"/>
                      <a:pt x="1357" y="1335"/>
                      <a:pt x="1357" y="1358"/>
                    </a:cubicBezTo>
                    <a:cubicBezTo>
                      <a:pt x="1357" y="1463"/>
                      <a:pt x="1442" y="1548"/>
                      <a:pt x="1547" y="1548"/>
                    </a:cubicBezTo>
                    <a:cubicBezTo>
                      <a:pt x="1653" y="1548"/>
                      <a:pt x="1738" y="1463"/>
                      <a:pt x="1738" y="1358"/>
                    </a:cubicBezTo>
                    <a:cubicBezTo>
                      <a:pt x="1738" y="1261"/>
                      <a:pt x="1667" y="1182"/>
                      <a:pt x="1574" y="1169"/>
                    </a:cubicBezTo>
                    <a:close/>
                    <a:moveTo>
                      <a:pt x="53" y="595"/>
                    </a:moveTo>
                    <a:cubicBezTo>
                      <a:pt x="53" y="519"/>
                      <a:pt x="115" y="457"/>
                      <a:pt x="191" y="457"/>
                    </a:cubicBezTo>
                    <a:cubicBezTo>
                      <a:pt x="267" y="457"/>
                      <a:pt x="329" y="519"/>
                      <a:pt x="329" y="595"/>
                    </a:cubicBezTo>
                    <a:cubicBezTo>
                      <a:pt x="329" y="671"/>
                      <a:pt x="267" y="733"/>
                      <a:pt x="191" y="733"/>
                    </a:cubicBezTo>
                    <a:cubicBezTo>
                      <a:pt x="115" y="733"/>
                      <a:pt x="53" y="671"/>
                      <a:pt x="53" y="595"/>
                    </a:cubicBezTo>
                    <a:close/>
                    <a:moveTo>
                      <a:pt x="191" y="1496"/>
                    </a:moveTo>
                    <a:cubicBezTo>
                      <a:pt x="115" y="1496"/>
                      <a:pt x="53" y="1434"/>
                      <a:pt x="53" y="1358"/>
                    </a:cubicBezTo>
                    <a:cubicBezTo>
                      <a:pt x="53" y="1281"/>
                      <a:pt x="115" y="1220"/>
                      <a:pt x="191" y="1220"/>
                    </a:cubicBezTo>
                    <a:cubicBezTo>
                      <a:pt x="233" y="1220"/>
                      <a:pt x="273" y="1239"/>
                      <a:pt x="299" y="1271"/>
                    </a:cubicBezTo>
                    <a:cubicBezTo>
                      <a:pt x="299" y="1274"/>
                      <a:pt x="300" y="1276"/>
                      <a:pt x="302" y="1278"/>
                    </a:cubicBezTo>
                    <a:cubicBezTo>
                      <a:pt x="304" y="1282"/>
                      <a:pt x="306" y="1285"/>
                      <a:pt x="310" y="1287"/>
                    </a:cubicBezTo>
                    <a:cubicBezTo>
                      <a:pt x="322" y="1308"/>
                      <a:pt x="329" y="1333"/>
                      <a:pt x="329" y="1358"/>
                    </a:cubicBezTo>
                    <a:cubicBezTo>
                      <a:pt x="329" y="1384"/>
                      <a:pt x="322" y="1409"/>
                      <a:pt x="307" y="1431"/>
                    </a:cubicBezTo>
                    <a:cubicBezTo>
                      <a:pt x="282" y="1472"/>
                      <a:pt x="238" y="1496"/>
                      <a:pt x="191" y="1496"/>
                    </a:cubicBezTo>
                    <a:close/>
                    <a:moveTo>
                      <a:pt x="464" y="980"/>
                    </a:moveTo>
                    <a:cubicBezTo>
                      <a:pt x="322" y="1219"/>
                      <a:pt x="322" y="1219"/>
                      <a:pt x="322" y="1219"/>
                    </a:cubicBezTo>
                    <a:cubicBezTo>
                      <a:pt x="293" y="1192"/>
                      <a:pt x="256" y="1174"/>
                      <a:pt x="217" y="1169"/>
                    </a:cubicBezTo>
                    <a:cubicBezTo>
                      <a:pt x="217" y="784"/>
                      <a:pt x="217" y="784"/>
                      <a:pt x="217" y="784"/>
                    </a:cubicBezTo>
                    <a:cubicBezTo>
                      <a:pt x="255" y="779"/>
                      <a:pt x="289" y="762"/>
                      <a:pt x="316" y="738"/>
                    </a:cubicBezTo>
                    <a:lnTo>
                      <a:pt x="464" y="980"/>
                    </a:lnTo>
                    <a:close/>
                    <a:moveTo>
                      <a:pt x="873" y="329"/>
                    </a:moveTo>
                    <a:cubicBezTo>
                      <a:pt x="872" y="328"/>
                      <a:pt x="870" y="328"/>
                      <a:pt x="869" y="328"/>
                    </a:cubicBezTo>
                    <a:cubicBezTo>
                      <a:pt x="869" y="328"/>
                      <a:pt x="869" y="328"/>
                      <a:pt x="869" y="328"/>
                    </a:cubicBezTo>
                    <a:cubicBezTo>
                      <a:pt x="868" y="328"/>
                      <a:pt x="866" y="329"/>
                      <a:pt x="865" y="329"/>
                    </a:cubicBezTo>
                    <a:cubicBezTo>
                      <a:pt x="791" y="327"/>
                      <a:pt x="731" y="265"/>
                      <a:pt x="731" y="191"/>
                    </a:cubicBezTo>
                    <a:cubicBezTo>
                      <a:pt x="731" y="115"/>
                      <a:pt x="793" y="53"/>
                      <a:pt x="869" y="53"/>
                    </a:cubicBezTo>
                    <a:cubicBezTo>
                      <a:pt x="945" y="53"/>
                      <a:pt x="1007" y="115"/>
                      <a:pt x="1007" y="191"/>
                    </a:cubicBezTo>
                    <a:cubicBezTo>
                      <a:pt x="1007" y="215"/>
                      <a:pt x="1001" y="239"/>
                      <a:pt x="989" y="260"/>
                    </a:cubicBezTo>
                    <a:cubicBezTo>
                      <a:pt x="989" y="260"/>
                      <a:pt x="989" y="260"/>
                      <a:pt x="989" y="260"/>
                    </a:cubicBezTo>
                    <a:cubicBezTo>
                      <a:pt x="989" y="260"/>
                      <a:pt x="989" y="260"/>
                      <a:pt x="989" y="260"/>
                    </a:cubicBezTo>
                    <a:cubicBezTo>
                      <a:pt x="989" y="260"/>
                      <a:pt x="989" y="260"/>
                      <a:pt x="989" y="260"/>
                    </a:cubicBezTo>
                    <a:cubicBezTo>
                      <a:pt x="965" y="301"/>
                      <a:pt x="921" y="327"/>
                      <a:pt x="873" y="329"/>
                    </a:cubicBezTo>
                    <a:close/>
                    <a:moveTo>
                      <a:pt x="1547" y="457"/>
                    </a:moveTo>
                    <a:cubicBezTo>
                      <a:pt x="1624" y="457"/>
                      <a:pt x="1685" y="519"/>
                      <a:pt x="1685" y="595"/>
                    </a:cubicBezTo>
                    <a:cubicBezTo>
                      <a:pt x="1685" y="671"/>
                      <a:pt x="1624" y="733"/>
                      <a:pt x="1547" y="733"/>
                    </a:cubicBezTo>
                    <a:cubicBezTo>
                      <a:pt x="1471" y="733"/>
                      <a:pt x="1409" y="671"/>
                      <a:pt x="1409" y="595"/>
                    </a:cubicBezTo>
                    <a:cubicBezTo>
                      <a:pt x="1409" y="519"/>
                      <a:pt x="1471" y="457"/>
                      <a:pt x="1547" y="457"/>
                    </a:cubicBezTo>
                    <a:close/>
                    <a:moveTo>
                      <a:pt x="1422" y="738"/>
                    </a:moveTo>
                    <a:cubicBezTo>
                      <a:pt x="1449" y="762"/>
                      <a:pt x="1483" y="779"/>
                      <a:pt x="1521" y="784"/>
                    </a:cubicBezTo>
                    <a:cubicBezTo>
                      <a:pt x="1521" y="1169"/>
                      <a:pt x="1521" y="1169"/>
                      <a:pt x="1521" y="1169"/>
                    </a:cubicBezTo>
                    <a:cubicBezTo>
                      <a:pt x="1482" y="1174"/>
                      <a:pt x="1446" y="1192"/>
                      <a:pt x="1417" y="1219"/>
                    </a:cubicBezTo>
                    <a:cubicBezTo>
                      <a:pt x="1274" y="980"/>
                      <a:pt x="1274" y="980"/>
                      <a:pt x="1274" y="980"/>
                    </a:cubicBezTo>
                    <a:lnTo>
                      <a:pt x="1422" y="738"/>
                    </a:lnTo>
                    <a:close/>
                    <a:moveTo>
                      <a:pt x="1547" y="1496"/>
                    </a:moveTo>
                    <a:cubicBezTo>
                      <a:pt x="1471" y="1496"/>
                      <a:pt x="1409" y="1434"/>
                      <a:pt x="1409" y="1358"/>
                    </a:cubicBezTo>
                    <a:cubicBezTo>
                      <a:pt x="1409" y="1333"/>
                      <a:pt x="1416" y="1308"/>
                      <a:pt x="1429" y="1287"/>
                    </a:cubicBezTo>
                    <a:cubicBezTo>
                      <a:pt x="1432" y="1285"/>
                      <a:pt x="1435" y="1282"/>
                      <a:pt x="1437" y="1278"/>
                    </a:cubicBezTo>
                    <a:cubicBezTo>
                      <a:pt x="1438" y="1276"/>
                      <a:pt x="1439" y="1274"/>
                      <a:pt x="1440" y="1271"/>
                    </a:cubicBezTo>
                    <a:cubicBezTo>
                      <a:pt x="1466" y="1239"/>
                      <a:pt x="1505" y="1220"/>
                      <a:pt x="1547" y="1220"/>
                    </a:cubicBezTo>
                    <a:cubicBezTo>
                      <a:pt x="1624" y="1220"/>
                      <a:pt x="1685" y="1281"/>
                      <a:pt x="1685" y="1358"/>
                    </a:cubicBezTo>
                    <a:cubicBezTo>
                      <a:pt x="1685" y="1434"/>
                      <a:pt x="1624" y="1496"/>
                      <a:pt x="1547" y="14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102" name="Freeform 54"/>
              <p:cNvSpPr>
                <a:spLocks noEditPoints="1"/>
              </p:cNvSpPr>
              <p:nvPr userDrawn="1"/>
            </p:nvSpPr>
            <p:spPr bwMode="auto">
              <a:xfrm>
                <a:off x="17778312" y="4517623"/>
                <a:ext cx="527050" cy="581025"/>
              </a:xfrm>
              <a:custGeom>
                <a:avLst/>
                <a:gdLst>
                  <a:gd name="T0" fmla="*/ 664 w 1050"/>
                  <a:gd name="T1" fmla="*/ 618 h 1158"/>
                  <a:gd name="T2" fmla="*/ 797 w 1050"/>
                  <a:gd name="T3" fmla="*/ 332 h 1158"/>
                  <a:gd name="T4" fmla="*/ 525 w 1050"/>
                  <a:gd name="T5" fmla="*/ 0 h 1158"/>
                  <a:gd name="T6" fmla="*/ 253 w 1050"/>
                  <a:gd name="T7" fmla="*/ 332 h 1158"/>
                  <a:gd name="T8" fmla="*/ 387 w 1050"/>
                  <a:gd name="T9" fmla="*/ 618 h 1158"/>
                  <a:gd name="T10" fmla="*/ 81 w 1050"/>
                  <a:gd name="T11" fmla="*/ 795 h 1158"/>
                  <a:gd name="T12" fmla="*/ 1 w 1050"/>
                  <a:gd name="T13" fmla="*/ 1131 h 1158"/>
                  <a:gd name="T14" fmla="*/ 8 w 1050"/>
                  <a:gd name="T15" fmla="*/ 1150 h 1158"/>
                  <a:gd name="T16" fmla="*/ 27 w 1050"/>
                  <a:gd name="T17" fmla="*/ 1158 h 1158"/>
                  <a:gd name="T18" fmla="*/ 1024 w 1050"/>
                  <a:gd name="T19" fmla="*/ 1158 h 1158"/>
                  <a:gd name="T20" fmla="*/ 1043 w 1050"/>
                  <a:gd name="T21" fmla="*/ 1150 h 1158"/>
                  <a:gd name="T22" fmla="*/ 1050 w 1050"/>
                  <a:gd name="T23" fmla="*/ 1131 h 1158"/>
                  <a:gd name="T24" fmla="*/ 970 w 1050"/>
                  <a:gd name="T25" fmla="*/ 795 h 1158"/>
                  <a:gd name="T26" fmla="*/ 664 w 1050"/>
                  <a:gd name="T27" fmla="*/ 618 h 1158"/>
                  <a:gd name="T28" fmla="*/ 306 w 1050"/>
                  <a:gd name="T29" fmla="*/ 332 h 1158"/>
                  <a:gd name="T30" fmla="*/ 525 w 1050"/>
                  <a:gd name="T31" fmla="*/ 52 h 1158"/>
                  <a:gd name="T32" fmla="*/ 716 w 1050"/>
                  <a:gd name="T33" fmla="*/ 129 h 1158"/>
                  <a:gd name="T34" fmla="*/ 744 w 1050"/>
                  <a:gd name="T35" fmla="*/ 332 h 1158"/>
                  <a:gd name="T36" fmla="*/ 525 w 1050"/>
                  <a:gd name="T37" fmla="*/ 612 h 1158"/>
                  <a:gd name="T38" fmla="*/ 306 w 1050"/>
                  <a:gd name="T39" fmla="*/ 332 h 1158"/>
                  <a:gd name="T40" fmla="*/ 525 w 1050"/>
                  <a:gd name="T41" fmla="*/ 665 h 1158"/>
                  <a:gd name="T42" fmla="*/ 625 w 1050"/>
                  <a:gd name="T43" fmla="*/ 641 h 1158"/>
                  <a:gd name="T44" fmla="*/ 525 w 1050"/>
                  <a:gd name="T45" fmla="*/ 786 h 1158"/>
                  <a:gd name="T46" fmla="*/ 425 w 1050"/>
                  <a:gd name="T47" fmla="*/ 641 h 1158"/>
                  <a:gd name="T48" fmla="*/ 525 w 1050"/>
                  <a:gd name="T49" fmla="*/ 665 h 1158"/>
                  <a:gd name="T50" fmla="*/ 55 w 1050"/>
                  <a:gd name="T51" fmla="*/ 1106 h 1158"/>
                  <a:gd name="T52" fmla="*/ 382 w 1050"/>
                  <a:gd name="T53" fmla="*/ 672 h 1158"/>
                  <a:gd name="T54" fmla="*/ 504 w 1050"/>
                  <a:gd name="T55" fmla="*/ 847 h 1158"/>
                  <a:gd name="T56" fmla="*/ 525 w 1050"/>
                  <a:gd name="T57" fmla="*/ 858 h 1158"/>
                  <a:gd name="T58" fmla="*/ 547 w 1050"/>
                  <a:gd name="T59" fmla="*/ 847 h 1158"/>
                  <a:gd name="T60" fmla="*/ 668 w 1050"/>
                  <a:gd name="T61" fmla="*/ 672 h 1158"/>
                  <a:gd name="T62" fmla="*/ 996 w 1050"/>
                  <a:gd name="T63" fmla="*/ 1106 h 1158"/>
                  <a:gd name="T64" fmla="*/ 55 w 1050"/>
                  <a:gd name="T65" fmla="*/ 1106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50" h="1158">
                    <a:moveTo>
                      <a:pt x="664" y="618"/>
                    </a:moveTo>
                    <a:cubicBezTo>
                      <a:pt x="743" y="560"/>
                      <a:pt x="797" y="454"/>
                      <a:pt x="797" y="332"/>
                    </a:cubicBezTo>
                    <a:cubicBezTo>
                      <a:pt x="797" y="169"/>
                      <a:pt x="797" y="0"/>
                      <a:pt x="525" y="0"/>
                    </a:cubicBezTo>
                    <a:cubicBezTo>
                      <a:pt x="253" y="0"/>
                      <a:pt x="253" y="169"/>
                      <a:pt x="253" y="332"/>
                    </a:cubicBezTo>
                    <a:cubicBezTo>
                      <a:pt x="253" y="454"/>
                      <a:pt x="307" y="560"/>
                      <a:pt x="387" y="618"/>
                    </a:cubicBezTo>
                    <a:cubicBezTo>
                      <a:pt x="242" y="639"/>
                      <a:pt x="142" y="697"/>
                      <a:pt x="81" y="795"/>
                    </a:cubicBezTo>
                    <a:cubicBezTo>
                      <a:pt x="18" y="895"/>
                      <a:pt x="5" y="1027"/>
                      <a:pt x="1" y="1131"/>
                    </a:cubicBezTo>
                    <a:cubicBezTo>
                      <a:pt x="0" y="1138"/>
                      <a:pt x="3" y="1145"/>
                      <a:pt x="8" y="1150"/>
                    </a:cubicBezTo>
                    <a:cubicBezTo>
                      <a:pt x="13" y="1155"/>
                      <a:pt x="20" y="1158"/>
                      <a:pt x="27" y="1158"/>
                    </a:cubicBezTo>
                    <a:cubicBezTo>
                      <a:pt x="1024" y="1158"/>
                      <a:pt x="1024" y="1158"/>
                      <a:pt x="1024" y="1158"/>
                    </a:cubicBezTo>
                    <a:cubicBezTo>
                      <a:pt x="1031" y="1158"/>
                      <a:pt x="1038" y="1155"/>
                      <a:pt x="1043" y="1150"/>
                    </a:cubicBezTo>
                    <a:cubicBezTo>
                      <a:pt x="1048" y="1145"/>
                      <a:pt x="1050" y="1138"/>
                      <a:pt x="1050" y="1131"/>
                    </a:cubicBezTo>
                    <a:cubicBezTo>
                      <a:pt x="1045" y="1027"/>
                      <a:pt x="1032" y="895"/>
                      <a:pt x="970" y="795"/>
                    </a:cubicBezTo>
                    <a:cubicBezTo>
                      <a:pt x="908" y="697"/>
                      <a:pt x="808" y="639"/>
                      <a:pt x="664" y="618"/>
                    </a:cubicBezTo>
                    <a:close/>
                    <a:moveTo>
                      <a:pt x="306" y="332"/>
                    </a:moveTo>
                    <a:cubicBezTo>
                      <a:pt x="306" y="153"/>
                      <a:pt x="316" y="52"/>
                      <a:pt x="525" y="52"/>
                    </a:cubicBezTo>
                    <a:cubicBezTo>
                      <a:pt x="658" y="52"/>
                      <a:pt x="697" y="96"/>
                      <a:pt x="716" y="129"/>
                    </a:cubicBezTo>
                    <a:cubicBezTo>
                      <a:pt x="744" y="180"/>
                      <a:pt x="744" y="257"/>
                      <a:pt x="744" y="332"/>
                    </a:cubicBezTo>
                    <a:cubicBezTo>
                      <a:pt x="744" y="486"/>
                      <a:pt x="646" y="612"/>
                      <a:pt x="525" y="612"/>
                    </a:cubicBezTo>
                    <a:cubicBezTo>
                      <a:pt x="404" y="612"/>
                      <a:pt x="306" y="486"/>
                      <a:pt x="306" y="332"/>
                    </a:cubicBezTo>
                    <a:close/>
                    <a:moveTo>
                      <a:pt x="525" y="665"/>
                    </a:moveTo>
                    <a:cubicBezTo>
                      <a:pt x="560" y="665"/>
                      <a:pt x="594" y="656"/>
                      <a:pt x="625" y="641"/>
                    </a:cubicBezTo>
                    <a:cubicBezTo>
                      <a:pt x="525" y="786"/>
                      <a:pt x="525" y="786"/>
                      <a:pt x="525" y="786"/>
                    </a:cubicBezTo>
                    <a:cubicBezTo>
                      <a:pt x="425" y="641"/>
                      <a:pt x="425" y="641"/>
                      <a:pt x="425" y="641"/>
                    </a:cubicBezTo>
                    <a:cubicBezTo>
                      <a:pt x="456" y="656"/>
                      <a:pt x="490" y="665"/>
                      <a:pt x="525" y="665"/>
                    </a:cubicBezTo>
                    <a:close/>
                    <a:moveTo>
                      <a:pt x="55" y="1106"/>
                    </a:moveTo>
                    <a:cubicBezTo>
                      <a:pt x="69" y="868"/>
                      <a:pt x="133" y="713"/>
                      <a:pt x="382" y="672"/>
                    </a:cubicBezTo>
                    <a:cubicBezTo>
                      <a:pt x="504" y="847"/>
                      <a:pt x="504" y="847"/>
                      <a:pt x="504" y="847"/>
                    </a:cubicBezTo>
                    <a:cubicBezTo>
                      <a:pt x="508" y="854"/>
                      <a:pt x="517" y="858"/>
                      <a:pt x="525" y="858"/>
                    </a:cubicBezTo>
                    <a:cubicBezTo>
                      <a:pt x="534" y="858"/>
                      <a:pt x="542" y="854"/>
                      <a:pt x="547" y="847"/>
                    </a:cubicBezTo>
                    <a:cubicBezTo>
                      <a:pt x="668" y="672"/>
                      <a:pt x="668" y="672"/>
                      <a:pt x="668" y="672"/>
                    </a:cubicBezTo>
                    <a:cubicBezTo>
                      <a:pt x="917" y="713"/>
                      <a:pt x="981" y="868"/>
                      <a:pt x="996" y="1106"/>
                    </a:cubicBezTo>
                    <a:lnTo>
                      <a:pt x="55" y="1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grpSp>
          <p:nvGrpSpPr>
            <p:cNvPr id="75" name="Group 74"/>
            <p:cNvGrpSpPr/>
            <p:nvPr userDrawn="1"/>
          </p:nvGrpSpPr>
          <p:grpSpPr>
            <a:xfrm>
              <a:off x="10065395" y="6985929"/>
              <a:ext cx="447290" cy="351237"/>
              <a:chOff x="13123762" y="2736448"/>
              <a:chExt cx="990600" cy="777875"/>
            </a:xfrm>
            <a:solidFill>
              <a:schemeClr val="accent5">
                <a:lumMod val="75000"/>
              </a:schemeClr>
            </a:solidFill>
          </p:grpSpPr>
          <p:sp>
            <p:nvSpPr>
              <p:cNvPr id="97" name="Freeform 71"/>
              <p:cNvSpPr>
                <a:spLocks noEditPoints="1"/>
              </p:cNvSpPr>
              <p:nvPr userDrawn="1"/>
            </p:nvSpPr>
            <p:spPr bwMode="auto">
              <a:xfrm>
                <a:off x="13123762" y="2736448"/>
                <a:ext cx="990600" cy="777875"/>
              </a:xfrm>
              <a:custGeom>
                <a:avLst/>
                <a:gdLst>
                  <a:gd name="T0" fmla="*/ 1883 w 1975"/>
                  <a:gd name="T1" fmla="*/ 883 h 1550"/>
                  <a:gd name="T2" fmla="*/ 1973 w 1975"/>
                  <a:gd name="T3" fmla="*/ 603 h 1550"/>
                  <a:gd name="T4" fmla="*/ 1740 w 1975"/>
                  <a:gd name="T5" fmla="*/ 174 h 1550"/>
                  <a:gd name="T6" fmla="*/ 1185 w 1975"/>
                  <a:gd name="T7" fmla="*/ 0 h 1550"/>
                  <a:gd name="T8" fmla="*/ 630 w 1975"/>
                  <a:gd name="T9" fmla="*/ 174 h 1550"/>
                  <a:gd name="T10" fmla="*/ 396 w 1975"/>
                  <a:gd name="T11" fmla="*/ 603 h 1550"/>
                  <a:gd name="T12" fmla="*/ 400 w 1975"/>
                  <a:gd name="T13" fmla="*/ 666 h 1550"/>
                  <a:gd name="T14" fmla="*/ 2 w 1975"/>
                  <a:gd name="T15" fmla="*/ 1089 h 1550"/>
                  <a:gd name="T16" fmla="*/ 67 w 1975"/>
                  <a:gd name="T17" fmla="*/ 1293 h 1550"/>
                  <a:gd name="T18" fmla="*/ 3 w 1975"/>
                  <a:gd name="T19" fmla="*/ 1517 h 1550"/>
                  <a:gd name="T20" fmla="*/ 12 w 1975"/>
                  <a:gd name="T21" fmla="*/ 1545 h 1550"/>
                  <a:gd name="T22" fmla="*/ 28 w 1975"/>
                  <a:gd name="T23" fmla="*/ 1550 h 1550"/>
                  <a:gd name="T24" fmla="*/ 42 w 1975"/>
                  <a:gd name="T25" fmla="*/ 1546 h 1550"/>
                  <a:gd name="T26" fmla="*/ 218 w 1975"/>
                  <a:gd name="T27" fmla="*/ 1435 h 1550"/>
                  <a:gd name="T28" fmla="*/ 581 w 1975"/>
                  <a:gd name="T29" fmla="*/ 1533 h 1550"/>
                  <a:gd name="T30" fmla="*/ 942 w 1975"/>
                  <a:gd name="T31" fmla="*/ 1437 h 1550"/>
                  <a:gd name="T32" fmla="*/ 1140 w 1975"/>
                  <a:gd name="T33" fmla="*/ 1205 h 1550"/>
                  <a:gd name="T34" fmla="*/ 1185 w 1975"/>
                  <a:gd name="T35" fmla="*/ 1206 h 1550"/>
                  <a:gd name="T36" fmla="*/ 1686 w 1975"/>
                  <a:gd name="T37" fmla="*/ 1069 h 1550"/>
                  <a:gd name="T38" fmla="*/ 1933 w 1975"/>
                  <a:gd name="T39" fmla="*/ 1225 h 1550"/>
                  <a:gd name="T40" fmla="*/ 1947 w 1975"/>
                  <a:gd name="T41" fmla="*/ 1229 h 1550"/>
                  <a:gd name="T42" fmla="*/ 1963 w 1975"/>
                  <a:gd name="T43" fmla="*/ 1224 h 1550"/>
                  <a:gd name="T44" fmla="*/ 1972 w 1975"/>
                  <a:gd name="T45" fmla="*/ 1196 h 1550"/>
                  <a:gd name="T46" fmla="*/ 1883 w 1975"/>
                  <a:gd name="T47" fmla="*/ 883 h 1550"/>
                  <a:gd name="T48" fmla="*/ 581 w 1975"/>
                  <a:gd name="T49" fmla="*/ 1481 h 1550"/>
                  <a:gd name="T50" fmla="*/ 232 w 1975"/>
                  <a:gd name="T51" fmla="*/ 1382 h 1550"/>
                  <a:gd name="T52" fmla="*/ 204 w 1975"/>
                  <a:gd name="T53" fmla="*/ 1382 h 1550"/>
                  <a:gd name="T54" fmla="*/ 72 w 1975"/>
                  <a:gd name="T55" fmla="*/ 1465 h 1550"/>
                  <a:gd name="T56" fmla="*/ 121 w 1975"/>
                  <a:gd name="T57" fmla="*/ 1296 h 1550"/>
                  <a:gd name="T58" fmla="*/ 117 w 1975"/>
                  <a:gd name="T59" fmla="*/ 1273 h 1550"/>
                  <a:gd name="T60" fmla="*/ 54 w 1975"/>
                  <a:gd name="T61" fmla="*/ 1089 h 1550"/>
                  <a:gd name="T62" fmla="*/ 410 w 1975"/>
                  <a:gd name="T63" fmla="*/ 718 h 1550"/>
                  <a:gd name="T64" fmla="*/ 630 w 1975"/>
                  <a:gd name="T65" fmla="*/ 1032 h 1550"/>
                  <a:gd name="T66" fmla="*/ 1086 w 1975"/>
                  <a:gd name="T67" fmla="*/ 1201 h 1550"/>
                  <a:gd name="T68" fmla="*/ 581 w 1975"/>
                  <a:gd name="T69" fmla="*/ 1481 h 1550"/>
                  <a:gd name="T70" fmla="*/ 1700 w 1975"/>
                  <a:gd name="T71" fmla="*/ 1015 h 1550"/>
                  <a:gd name="T72" fmla="*/ 1671 w 1975"/>
                  <a:gd name="T73" fmla="*/ 1016 h 1550"/>
                  <a:gd name="T74" fmla="*/ 1185 w 1975"/>
                  <a:gd name="T75" fmla="*/ 1153 h 1550"/>
                  <a:gd name="T76" fmla="*/ 449 w 1975"/>
                  <a:gd name="T77" fmla="*/ 603 h 1550"/>
                  <a:gd name="T78" fmla="*/ 1185 w 1975"/>
                  <a:gd name="T79" fmla="*/ 53 h 1550"/>
                  <a:gd name="T80" fmla="*/ 1921 w 1975"/>
                  <a:gd name="T81" fmla="*/ 603 h 1550"/>
                  <a:gd name="T82" fmla="*/ 1833 w 1975"/>
                  <a:gd name="T83" fmla="*/ 863 h 1550"/>
                  <a:gd name="T84" fmla="*/ 1829 w 1975"/>
                  <a:gd name="T85" fmla="*/ 886 h 1550"/>
                  <a:gd name="T86" fmla="*/ 1903 w 1975"/>
                  <a:gd name="T87" fmla="*/ 1144 h 1550"/>
                  <a:gd name="T88" fmla="*/ 1700 w 1975"/>
                  <a:gd name="T89" fmla="*/ 1015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75" h="1550">
                    <a:moveTo>
                      <a:pt x="1883" y="883"/>
                    </a:moveTo>
                    <a:cubicBezTo>
                      <a:pt x="1942" y="798"/>
                      <a:pt x="1973" y="701"/>
                      <a:pt x="1973" y="603"/>
                    </a:cubicBezTo>
                    <a:cubicBezTo>
                      <a:pt x="1973" y="441"/>
                      <a:pt x="1890" y="288"/>
                      <a:pt x="1740" y="174"/>
                    </a:cubicBezTo>
                    <a:cubicBezTo>
                      <a:pt x="1591" y="62"/>
                      <a:pt x="1394" y="0"/>
                      <a:pt x="1185" y="0"/>
                    </a:cubicBezTo>
                    <a:cubicBezTo>
                      <a:pt x="976" y="0"/>
                      <a:pt x="778" y="62"/>
                      <a:pt x="630" y="174"/>
                    </a:cubicBezTo>
                    <a:cubicBezTo>
                      <a:pt x="479" y="288"/>
                      <a:pt x="396" y="441"/>
                      <a:pt x="396" y="603"/>
                    </a:cubicBezTo>
                    <a:cubicBezTo>
                      <a:pt x="396" y="624"/>
                      <a:pt x="398" y="645"/>
                      <a:pt x="400" y="666"/>
                    </a:cubicBezTo>
                    <a:cubicBezTo>
                      <a:pt x="164" y="725"/>
                      <a:pt x="2" y="896"/>
                      <a:pt x="2" y="1089"/>
                    </a:cubicBezTo>
                    <a:cubicBezTo>
                      <a:pt x="2" y="1160"/>
                      <a:pt x="24" y="1231"/>
                      <a:pt x="67" y="1293"/>
                    </a:cubicBezTo>
                    <a:cubicBezTo>
                      <a:pt x="3" y="1517"/>
                      <a:pt x="3" y="1517"/>
                      <a:pt x="3" y="1517"/>
                    </a:cubicBezTo>
                    <a:cubicBezTo>
                      <a:pt x="0" y="1527"/>
                      <a:pt x="4" y="1538"/>
                      <a:pt x="12" y="1545"/>
                    </a:cubicBezTo>
                    <a:cubicBezTo>
                      <a:pt x="17" y="1548"/>
                      <a:pt x="23" y="1550"/>
                      <a:pt x="28" y="1550"/>
                    </a:cubicBezTo>
                    <a:cubicBezTo>
                      <a:pt x="33" y="1550"/>
                      <a:pt x="38" y="1549"/>
                      <a:pt x="42" y="1546"/>
                    </a:cubicBezTo>
                    <a:cubicBezTo>
                      <a:pt x="218" y="1435"/>
                      <a:pt x="218" y="1435"/>
                      <a:pt x="218" y="1435"/>
                    </a:cubicBezTo>
                    <a:cubicBezTo>
                      <a:pt x="320" y="1498"/>
                      <a:pt x="449" y="1533"/>
                      <a:pt x="581" y="1533"/>
                    </a:cubicBezTo>
                    <a:cubicBezTo>
                      <a:pt x="714" y="1533"/>
                      <a:pt x="838" y="1500"/>
                      <a:pt x="942" y="1437"/>
                    </a:cubicBezTo>
                    <a:cubicBezTo>
                      <a:pt x="1038" y="1378"/>
                      <a:pt x="1108" y="1296"/>
                      <a:pt x="1140" y="1205"/>
                    </a:cubicBezTo>
                    <a:cubicBezTo>
                      <a:pt x="1155" y="1206"/>
                      <a:pt x="1170" y="1206"/>
                      <a:pt x="1185" y="1206"/>
                    </a:cubicBezTo>
                    <a:cubicBezTo>
                      <a:pt x="1368" y="1206"/>
                      <a:pt x="1545" y="1157"/>
                      <a:pt x="1686" y="1069"/>
                    </a:cubicBezTo>
                    <a:cubicBezTo>
                      <a:pt x="1933" y="1225"/>
                      <a:pt x="1933" y="1225"/>
                      <a:pt x="1933" y="1225"/>
                    </a:cubicBezTo>
                    <a:cubicBezTo>
                      <a:pt x="1937" y="1228"/>
                      <a:pt x="1942" y="1229"/>
                      <a:pt x="1947" y="1229"/>
                    </a:cubicBezTo>
                    <a:cubicBezTo>
                      <a:pt x="1953" y="1229"/>
                      <a:pt x="1958" y="1227"/>
                      <a:pt x="1963" y="1224"/>
                    </a:cubicBezTo>
                    <a:cubicBezTo>
                      <a:pt x="1972" y="1217"/>
                      <a:pt x="1975" y="1206"/>
                      <a:pt x="1972" y="1196"/>
                    </a:cubicBezTo>
                    <a:lnTo>
                      <a:pt x="1883" y="883"/>
                    </a:lnTo>
                    <a:close/>
                    <a:moveTo>
                      <a:pt x="581" y="1481"/>
                    </a:moveTo>
                    <a:cubicBezTo>
                      <a:pt x="452" y="1481"/>
                      <a:pt x="328" y="1446"/>
                      <a:pt x="232" y="1382"/>
                    </a:cubicBezTo>
                    <a:cubicBezTo>
                      <a:pt x="223" y="1376"/>
                      <a:pt x="212" y="1376"/>
                      <a:pt x="204" y="1382"/>
                    </a:cubicBezTo>
                    <a:cubicBezTo>
                      <a:pt x="72" y="1465"/>
                      <a:pt x="72" y="1465"/>
                      <a:pt x="72" y="1465"/>
                    </a:cubicBezTo>
                    <a:cubicBezTo>
                      <a:pt x="121" y="1296"/>
                      <a:pt x="121" y="1296"/>
                      <a:pt x="121" y="1296"/>
                    </a:cubicBezTo>
                    <a:cubicBezTo>
                      <a:pt x="123" y="1288"/>
                      <a:pt x="121" y="1280"/>
                      <a:pt x="117" y="1273"/>
                    </a:cubicBezTo>
                    <a:cubicBezTo>
                      <a:pt x="76" y="1217"/>
                      <a:pt x="54" y="1153"/>
                      <a:pt x="54" y="1089"/>
                    </a:cubicBezTo>
                    <a:cubicBezTo>
                      <a:pt x="54" y="921"/>
                      <a:pt x="200" y="772"/>
                      <a:pt x="410" y="718"/>
                    </a:cubicBezTo>
                    <a:cubicBezTo>
                      <a:pt x="440" y="836"/>
                      <a:pt x="515" y="945"/>
                      <a:pt x="630" y="1032"/>
                    </a:cubicBezTo>
                    <a:cubicBezTo>
                      <a:pt x="755" y="1126"/>
                      <a:pt x="914" y="1185"/>
                      <a:pt x="1086" y="1201"/>
                    </a:cubicBezTo>
                    <a:cubicBezTo>
                      <a:pt x="1019" y="1365"/>
                      <a:pt x="813" y="1481"/>
                      <a:pt x="581" y="1481"/>
                    </a:cubicBezTo>
                    <a:close/>
                    <a:moveTo>
                      <a:pt x="1700" y="1015"/>
                    </a:moveTo>
                    <a:cubicBezTo>
                      <a:pt x="1691" y="1010"/>
                      <a:pt x="1680" y="1010"/>
                      <a:pt x="1671" y="1016"/>
                    </a:cubicBezTo>
                    <a:cubicBezTo>
                      <a:pt x="1537" y="1104"/>
                      <a:pt x="1364" y="1153"/>
                      <a:pt x="1185" y="1153"/>
                    </a:cubicBezTo>
                    <a:cubicBezTo>
                      <a:pt x="779" y="1153"/>
                      <a:pt x="449" y="906"/>
                      <a:pt x="449" y="603"/>
                    </a:cubicBezTo>
                    <a:cubicBezTo>
                      <a:pt x="449" y="300"/>
                      <a:pt x="779" y="53"/>
                      <a:pt x="1185" y="53"/>
                    </a:cubicBezTo>
                    <a:cubicBezTo>
                      <a:pt x="1591" y="53"/>
                      <a:pt x="1921" y="300"/>
                      <a:pt x="1921" y="603"/>
                    </a:cubicBezTo>
                    <a:cubicBezTo>
                      <a:pt x="1921" y="694"/>
                      <a:pt x="1890" y="784"/>
                      <a:pt x="1833" y="863"/>
                    </a:cubicBezTo>
                    <a:cubicBezTo>
                      <a:pt x="1828" y="870"/>
                      <a:pt x="1827" y="878"/>
                      <a:pt x="1829" y="886"/>
                    </a:cubicBezTo>
                    <a:cubicBezTo>
                      <a:pt x="1903" y="1144"/>
                      <a:pt x="1903" y="1144"/>
                      <a:pt x="1903" y="1144"/>
                    </a:cubicBezTo>
                    <a:lnTo>
                      <a:pt x="1700" y="10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98" name="Freeform 72"/>
              <p:cNvSpPr>
                <a:spLocks noEditPoints="1"/>
              </p:cNvSpPr>
              <p:nvPr userDrawn="1"/>
            </p:nvSpPr>
            <p:spPr bwMode="auto">
              <a:xfrm>
                <a:off x="13534925" y="2987273"/>
                <a:ext cx="96838" cy="98425"/>
              </a:xfrm>
              <a:custGeom>
                <a:avLst/>
                <a:gdLst>
                  <a:gd name="T0" fmla="*/ 98 w 195"/>
                  <a:gd name="T1" fmla="*/ 0 h 195"/>
                  <a:gd name="T2" fmla="*/ 0 w 195"/>
                  <a:gd name="T3" fmla="*/ 97 h 195"/>
                  <a:gd name="T4" fmla="*/ 98 w 195"/>
                  <a:gd name="T5" fmla="*/ 195 h 195"/>
                  <a:gd name="T6" fmla="*/ 195 w 195"/>
                  <a:gd name="T7" fmla="*/ 97 h 195"/>
                  <a:gd name="T8" fmla="*/ 98 w 195"/>
                  <a:gd name="T9" fmla="*/ 0 h 195"/>
                  <a:gd name="T10" fmla="*/ 98 w 195"/>
                  <a:gd name="T11" fmla="*/ 142 h 195"/>
                  <a:gd name="T12" fmla="*/ 53 w 195"/>
                  <a:gd name="T13" fmla="*/ 97 h 195"/>
                  <a:gd name="T14" fmla="*/ 98 w 195"/>
                  <a:gd name="T15" fmla="*/ 52 h 195"/>
                  <a:gd name="T16" fmla="*/ 142 w 195"/>
                  <a:gd name="T17" fmla="*/ 97 h 195"/>
                  <a:gd name="T18" fmla="*/ 98 w 195"/>
                  <a:gd name="T19" fmla="*/ 142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5">
                    <a:moveTo>
                      <a:pt x="98" y="0"/>
                    </a:moveTo>
                    <a:cubicBezTo>
                      <a:pt x="44" y="0"/>
                      <a:pt x="0" y="43"/>
                      <a:pt x="0" y="97"/>
                    </a:cubicBezTo>
                    <a:cubicBezTo>
                      <a:pt x="0" y="151"/>
                      <a:pt x="44" y="195"/>
                      <a:pt x="98" y="195"/>
                    </a:cubicBezTo>
                    <a:cubicBezTo>
                      <a:pt x="151" y="195"/>
                      <a:pt x="195" y="151"/>
                      <a:pt x="195" y="97"/>
                    </a:cubicBezTo>
                    <a:cubicBezTo>
                      <a:pt x="195" y="43"/>
                      <a:pt x="151" y="0"/>
                      <a:pt x="98" y="0"/>
                    </a:cubicBezTo>
                    <a:close/>
                    <a:moveTo>
                      <a:pt x="98" y="142"/>
                    </a:moveTo>
                    <a:cubicBezTo>
                      <a:pt x="73" y="142"/>
                      <a:pt x="53" y="122"/>
                      <a:pt x="53" y="97"/>
                    </a:cubicBezTo>
                    <a:cubicBezTo>
                      <a:pt x="53" y="73"/>
                      <a:pt x="73" y="52"/>
                      <a:pt x="98" y="52"/>
                    </a:cubicBezTo>
                    <a:cubicBezTo>
                      <a:pt x="122" y="52"/>
                      <a:pt x="142" y="73"/>
                      <a:pt x="142" y="97"/>
                    </a:cubicBezTo>
                    <a:cubicBezTo>
                      <a:pt x="142" y="122"/>
                      <a:pt x="122" y="142"/>
                      <a:pt x="98"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99" name="Freeform 73"/>
              <p:cNvSpPr>
                <a:spLocks noEditPoints="1"/>
              </p:cNvSpPr>
              <p:nvPr userDrawn="1"/>
            </p:nvSpPr>
            <p:spPr bwMode="auto">
              <a:xfrm>
                <a:off x="13676212" y="2987273"/>
                <a:ext cx="98425" cy="98425"/>
              </a:xfrm>
              <a:custGeom>
                <a:avLst/>
                <a:gdLst>
                  <a:gd name="T0" fmla="*/ 98 w 195"/>
                  <a:gd name="T1" fmla="*/ 0 h 195"/>
                  <a:gd name="T2" fmla="*/ 0 w 195"/>
                  <a:gd name="T3" fmla="*/ 97 h 195"/>
                  <a:gd name="T4" fmla="*/ 98 w 195"/>
                  <a:gd name="T5" fmla="*/ 195 h 195"/>
                  <a:gd name="T6" fmla="*/ 195 w 195"/>
                  <a:gd name="T7" fmla="*/ 97 h 195"/>
                  <a:gd name="T8" fmla="*/ 98 w 195"/>
                  <a:gd name="T9" fmla="*/ 0 h 195"/>
                  <a:gd name="T10" fmla="*/ 98 w 195"/>
                  <a:gd name="T11" fmla="*/ 142 h 195"/>
                  <a:gd name="T12" fmla="*/ 53 w 195"/>
                  <a:gd name="T13" fmla="*/ 97 h 195"/>
                  <a:gd name="T14" fmla="*/ 98 w 195"/>
                  <a:gd name="T15" fmla="*/ 52 h 195"/>
                  <a:gd name="T16" fmla="*/ 142 w 195"/>
                  <a:gd name="T17" fmla="*/ 97 h 195"/>
                  <a:gd name="T18" fmla="*/ 98 w 195"/>
                  <a:gd name="T19" fmla="*/ 142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5">
                    <a:moveTo>
                      <a:pt x="98" y="0"/>
                    </a:moveTo>
                    <a:cubicBezTo>
                      <a:pt x="44" y="0"/>
                      <a:pt x="0" y="43"/>
                      <a:pt x="0" y="97"/>
                    </a:cubicBezTo>
                    <a:cubicBezTo>
                      <a:pt x="0" y="151"/>
                      <a:pt x="44" y="195"/>
                      <a:pt x="98" y="195"/>
                    </a:cubicBezTo>
                    <a:cubicBezTo>
                      <a:pt x="151" y="195"/>
                      <a:pt x="195" y="151"/>
                      <a:pt x="195" y="97"/>
                    </a:cubicBezTo>
                    <a:cubicBezTo>
                      <a:pt x="195" y="43"/>
                      <a:pt x="151" y="0"/>
                      <a:pt x="98" y="0"/>
                    </a:cubicBezTo>
                    <a:close/>
                    <a:moveTo>
                      <a:pt x="98" y="142"/>
                    </a:moveTo>
                    <a:cubicBezTo>
                      <a:pt x="73" y="142"/>
                      <a:pt x="53" y="122"/>
                      <a:pt x="53" y="97"/>
                    </a:cubicBezTo>
                    <a:cubicBezTo>
                      <a:pt x="53" y="73"/>
                      <a:pt x="73" y="52"/>
                      <a:pt x="98" y="52"/>
                    </a:cubicBezTo>
                    <a:cubicBezTo>
                      <a:pt x="122" y="52"/>
                      <a:pt x="142" y="73"/>
                      <a:pt x="142" y="97"/>
                    </a:cubicBezTo>
                    <a:cubicBezTo>
                      <a:pt x="142" y="122"/>
                      <a:pt x="122" y="142"/>
                      <a:pt x="98"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100" name="Freeform 74"/>
              <p:cNvSpPr>
                <a:spLocks noEditPoints="1"/>
              </p:cNvSpPr>
              <p:nvPr userDrawn="1"/>
            </p:nvSpPr>
            <p:spPr bwMode="auto">
              <a:xfrm>
                <a:off x="13817500" y="2987273"/>
                <a:ext cx="98425" cy="98425"/>
              </a:xfrm>
              <a:custGeom>
                <a:avLst/>
                <a:gdLst>
                  <a:gd name="T0" fmla="*/ 98 w 195"/>
                  <a:gd name="T1" fmla="*/ 0 h 195"/>
                  <a:gd name="T2" fmla="*/ 0 w 195"/>
                  <a:gd name="T3" fmla="*/ 97 h 195"/>
                  <a:gd name="T4" fmla="*/ 98 w 195"/>
                  <a:gd name="T5" fmla="*/ 195 h 195"/>
                  <a:gd name="T6" fmla="*/ 195 w 195"/>
                  <a:gd name="T7" fmla="*/ 97 h 195"/>
                  <a:gd name="T8" fmla="*/ 98 w 195"/>
                  <a:gd name="T9" fmla="*/ 0 h 195"/>
                  <a:gd name="T10" fmla="*/ 98 w 195"/>
                  <a:gd name="T11" fmla="*/ 142 h 195"/>
                  <a:gd name="T12" fmla="*/ 53 w 195"/>
                  <a:gd name="T13" fmla="*/ 97 h 195"/>
                  <a:gd name="T14" fmla="*/ 98 w 195"/>
                  <a:gd name="T15" fmla="*/ 52 h 195"/>
                  <a:gd name="T16" fmla="*/ 143 w 195"/>
                  <a:gd name="T17" fmla="*/ 97 h 195"/>
                  <a:gd name="T18" fmla="*/ 98 w 195"/>
                  <a:gd name="T19" fmla="*/ 142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5">
                    <a:moveTo>
                      <a:pt x="98" y="0"/>
                    </a:moveTo>
                    <a:cubicBezTo>
                      <a:pt x="44" y="0"/>
                      <a:pt x="0" y="43"/>
                      <a:pt x="0" y="97"/>
                    </a:cubicBezTo>
                    <a:cubicBezTo>
                      <a:pt x="0" y="151"/>
                      <a:pt x="44" y="195"/>
                      <a:pt x="98" y="195"/>
                    </a:cubicBezTo>
                    <a:cubicBezTo>
                      <a:pt x="152" y="195"/>
                      <a:pt x="195" y="151"/>
                      <a:pt x="195" y="97"/>
                    </a:cubicBezTo>
                    <a:cubicBezTo>
                      <a:pt x="195" y="43"/>
                      <a:pt x="152" y="0"/>
                      <a:pt x="98" y="0"/>
                    </a:cubicBezTo>
                    <a:close/>
                    <a:moveTo>
                      <a:pt x="98" y="142"/>
                    </a:moveTo>
                    <a:cubicBezTo>
                      <a:pt x="73" y="142"/>
                      <a:pt x="53" y="122"/>
                      <a:pt x="53" y="97"/>
                    </a:cubicBezTo>
                    <a:cubicBezTo>
                      <a:pt x="53" y="73"/>
                      <a:pt x="73" y="52"/>
                      <a:pt x="98" y="52"/>
                    </a:cubicBezTo>
                    <a:cubicBezTo>
                      <a:pt x="122" y="52"/>
                      <a:pt x="143" y="73"/>
                      <a:pt x="143" y="97"/>
                    </a:cubicBezTo>
                    <a:cubicBezTo>
                      <a:pt x="143" y="122"/>
                      <a:pt x="122" y="142"/>
                      <a:pt x="98"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grpSp>
          <p:nvGrpSpPr>
            <p:cNvPr id="76" name="Group 75"/>
            <p:cNvGrpSpPr/>
            <p:nvPr userDrawn="1"/>
          </p:nvGrpSpPr>
          <p:grpSpPr>
            <a:xfrm>
              <a:off x="11510812" y="6996124"/>
              <a:ext cx="289818" cy="341042"/>
              <a:chOff x="19234050" y="-1743477"/>
              <a:chExt cx="682625" cy="803275"/>
            </a:xfrm>
            <a:solidFill>
              <a:schemeClr val="accent5">
                <a:lumMod val="75000"/>
              </a:schemeClr>
            </a:solidFill>
          </p:grpSpPr>
          <p:sp>
            <p:nvSpPr>
              <p:cNvPr id="91" name="Freeform 19"/>
              <p:cNvSpPr>
                <a:spLocks noEditPoints="1"/>
              </p:cNvSpPr>
              <p:nvPr userDrawn="1"/>
            </p:nvSpPr>
            <p:spPr bwMode="auto">
              <a:xfrm>
                <a:off x="19234050" y="-1743477"/>
                <a:ext cx="682625" cy="803275"/>
              </a:xfrm>
              <a:custGeom>
                <a:avLst/>
                <a:gdLst>
                  <a:gd name="T0" fmla="*/ 1352 w 1359"/>
                  <a:gd name="T1" fmla="*/ 772 h 1600"/>
                  <a:gd name="T2" fmla="*/ 1166 w 1359"/>
                  <a:gd name="T3" fmla="*/ 623 h 1600"/>
                  <a:gd name="T4" fmla="*/ 1102 w 1359"/>
                  <a:gd name="T5" fmla="*/ 342 h 1600"/>
                  <a:gd name="T6" fmla="*/ 1102 w 1359"/>
                  <a:gd name="T7" fmla="*/ 341 h 1600"/>
                  <a:gd name="T8" fmla="*/ 1101 w 1359"/>
                  <a:gd name="T9" fmla="*/ 333 h 1600"/>
                  <a:gd name="T10" fmla="*/ 1099 w 1359"/>
                  <a:gd name="T11" fmla="*/ 330 h 1600"/>
                  <a:gd name="T12" fmla="*/ 1097 w 1359"/>
                  <a:gd name="T13" fmla="*/ 326 h 1600"/>
                  <a:gd name="T14" fmla="*/ 779 w 1359"/>
                  <a:gd name="T15" fmla="*/ 8 h 1600"/>
                  <a:gd name="T16" fmla="*/ 775 w 1359"/>
                  <a:gd name="T17" fmla="*/ 5 h 1600"/>
                  <a:gd name="T18" fmla="*/ 772 w 1359"/>
                  <a:gd name="T19" fmla="*/ 3 h 1600"/>
                  <a:gd name="T20" fmla="*/ 768 w 1359"/>
                  <a:gd name="T21" fmla="*/ 1 h 1600"/>
                  <a:gd name="T22" fmla="*/ 765 w 1359"/>
                  <a:gd name="T23" fmla="*/ 0 h 1600"/>
                  <a:gd name="T24" fmla="*/ 761 w 1359"/>
                  <a:gd name="T25" fmla="*/ 0 h 1600"/>
                  <a:gd name="T26" fmla="*/ 74 w 1359"/>
                  <a:gd name="T27" fmla="*/ 0 h 1600"/>
                  <a:gd name="T28" fmla="*/ 0 w 1359"/>
                  <a:gd name="T29" fmla="*/ 1526 h 1600"/>
                  <a:gd name="T30" fmla="*/ 1029 w 1359"/>
                  <a:gd name="T31" fmla="*/ 1600 h 1600"/>
                  <a:gd name="T32" fmla="*/ 1102 w 1359"/>
                  <a:gd name="T33" fmla="*/ 1058 h 1600"/>
                  <a:gd name="T34" fmla="*/ 1248 w 1359"/>
                  <a:gd name="T35" fmla="*/ 913 h 1600"/>
                  <a:gd name="T36" fmla="*/ 1352 w 1359"/>
                  <a:gd name="T37" fmla="*/ 809 h 1600"/>
                  <a:gd name="T38" fmla="*/ 847 w 1359"/>
                  <a:gd name="T39" fmla="*/ 1239 h 1600"/>
                  <a:gd name="T40" fmla="*/ 1081 w 1359"/>
                  <a:gd name="T41" fmla="*/ 782 h 1600"/>
                  <a:gd name="T42" fmla="*/ 847 w 1359"/>
                  <a:gd name="T43" fmla="*/ 1239 h 1600"/>
                  <a:gd name="T44" fmla="*/ 793 w 1359"/>
                  <a:gd name="T45" fmla="*/ 1260 h 1600"/>
                  <a:gd name="T46" fmla="*/ 715 w 1359"/>
                  <a:gd name="T47" fmla="*/ 1181 h 1600"/>
                  <a:gd name="T48" fmla="*/ 1012 w 1359"/>
                  <a:gd name="T49" fmla="*/ 316 h 1600"/>
                  <a:gd name="T50" fmla="*/ 786 w 1359"/>
                  <a:gd name="T51" fmla="*/ 295 h 1600"/>
                  <a:gd name="T52" fmla="*/ 1050 w 1359"/>
                  <a:gd name="T53" fmla="*/ 1526 h 1600"/>
                  <a:gd name="T54" fmla="*/ 74 w 1359"/>
                  <a:gd name="T55" fmla="*/ 1547 h 1600"/>
                  <a:gd name="T56" fmla="*/ 53 w 1359"/>
                  <a:gd name="T57" fmla="*/ 73 h 1600"/>
                  <a:gd name="T58" fmla="*/ 734 w 1359"/>
                  <a:gd name="T59" fmla="*/ 53 h 1600"/>
                  <a:gd name="T60" fmla="*/ 807 w 1359"/>
                  <a:gd name="T61" fmla="*/ 368 h 1600"/>
                  <a:gd name="T62" fmla="*/ 1050 w 1359"/>
                  <a:gd name="T63" fmla="*/ 739 h 1600"/>
                  <a:gd name="T64" fmla="*/ 677 w 1359"/>
                  <a:gd name="T65" fmla="*/ 1111 h 1600"/>
                  <a:gd name="T66" fmla="*/ 674 w 1359"/>
                  <a:gd name="T67" fmla="*/ 1118 h 1600"/>
                  <a:gd name="T68" fmla="*/ 672 w 1359"/>
                  <a:gd name="T69" fmla="*/ 1122 h 1600"/>
                  <a:gd name="T70" fmla="*/ 638 w 1359"/>
                  <a:gd name="T71" fmla="*/ 1306 h 1600"/>
                  <a:gd name="T72" fmla="*/ 664 w 1359"/>
                  <a:gd name="T73" fmla="*/ 1337 h 1600"/>
                  <a:gd name="T74" fmla="*/ 852 w 1359"/>
                  <a:gd name="T75" fmla="*/ 1302 h 1600"/>
                  <a:gd name="T76" fmla="*/ 855 w 1359"/>
                  <a:gd name="T77" fmla="*/ 1301 h 1600"/>
                  <a:gd name="T78" fmla="*/ 862 w 1359"/>
                  <a:gd name="T79" fmla="*/ 1298 h 1600"/>
                  <a:gd name="T80" fmla="*/ 866 w 1359"/>
                  <a:gd name="T81" fmla="*/ 1295 h 1600"/>
                  <a:gd name="T82" fmla="*/ 1050 w 1359"/>
                  <a:gd name="T83" fmla="*/ 1526 h 1600"/>
                  <a:gd name="T84" fmla="*/ 1118 w 1359"/>
                  <a:gd name="T85" fmla="*/ 745 h 1600"/>
                  <a:gd name="T86" fmla="*/ 1296 w 1359"/>
                  <a:gd name="T87" fmla="*/ 790 h 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59" h="1600">
                    <a:moveTo>
                      <a:pt x="1359" y="790"/>
                    </a:moveTo>
                    <a:cubicBezTo>
                      <a:pt x="1359" y="783"/>
                      <a:pt x="1357" y="777"/>
                      <a:pt x="1352" y="772"/>
                    </a:cubicBezTo>
                    <a:cubicBezTo>
                      <a:pt x="1203" y="623"/>
                      <a:pt x="1203" y="623"/>
                      <a:pt x="1203" y="623"/>
                    </a:cubicBezTo>
                    <a:cubicBezTo>
                      <a:pt x="1193" y="612"/>
                      <a:pt x="1176" y="612"/>
                      <a:pt x="1166" y="623"/>
                    </a:cubicBezTo>
                    <a:cubicBezTo>
                      <a:pt x="1102" y="686"/>
                      <a:pt x="1102" y="686"/>
                      <a:pt x="1102" y="686"/>
                    </a:cubicBezTo>
                    <a:cubicBezTo>
                      <a:pt x="1102" y="342"/>
                      <a:pt x="1102" y="342"/>
                      <a:pt x="1102" y="342"/>
                    </a:cubicBezTo>
                    <a:cubicBezTo>
                      <a:pt x="1102" y="342"/>
                      <a:pt x="1102" y="341"/>
                      <a:pt x="1102" y="341"/>
                    </a:cubicBezTo>
                    <a:cubicBezTo>
                      <a:pt x="1102" y="341"/>
                      <a:pt x="1102" y="341"/>
                      <a:pt x="1102" y="341"/>
                    </a:cubicBezTo>
                    <a:cubicBezTo>
                      <a:pt x="1102" y="338"/>
                      <a:pt x="1102" y="336"/>
                      <a:pt x="1101" y="334"/>
                    </a:cubicBezTo>
                    <a:cubicBezTo>
                      <a:pt x="1101" y="333"/>
                      <a:pt x="1101" y="333"/>
                      <a:pt x="1101" y="333"/>
                    </a:cubicBezTo>
                    <a:cubicBezTo>
                      <a:pt x="1100" y="332"/>
                      <a:pt x="1100" y="331"/>
                      <a:pt x="1099" y="330"/>
                    </a:cubicBezTo>
                    <a:cubicBezTo>
                      <a:pt x="1099" y="330"/>
                      <a:pt x="1099" y="330"/>
                      <a:pt x="1099" y="330"/>
                    </a:cubicBezTo>
                    <a:cubicBezTo>
                      <a:pt x="1099" y="329"/>
                      <a:pt x="1098" y="328"/>
                      <a:pt x="1097" y="327"/>
                    </a:cubicBezTo>
                    <a:cubicBezTo>
                      <a:pt x="1097" y="327"/>
                      <a:pt x="1097" y="326"/>
                      <a:pt x="1097" y="326"/>
                    </a:cubicBezTo>
                    <a:cubicBezTo>
                      <a:pt x="1096" y="325"/>
                      <a:pt x="1095" y="324"/>
                      <a:pt x="1095" y="324"/>
                    </a:cubicBezTo>
                    <a:cubicBezTo>
                      <a:pt x="779" y="8"/>
                      <a:pt x="779" y="8"/>
                      <a:pt x="779" y="8"/>
                    </a:cubicBezTo>
                    <a:cubicBezTo>
                      <a:pt x="778" y="7"/>
                      <a:pt x="777" y="6"/>
                      <a:pt x="776" y="5"/>
                    </a:cubicBezTo>
                    <a:cubicBezTo>
                      <a:pt x="776" y="5"/>
                      <a:pt x="775" y="5"/>
                      <a:pt x="775" y="5"/>
                    </a:cubicBezTo>
                    <a:cubicBezTo>
                      <a:pt x="774" y="4"/>
                      <a:pt x="773" y="3"/>
                      <a:pt x="772" y="3"/>
                    </a:cubicBezTo>
                    <a:cubicBezTo>
                      <a:pt x="772" y="3"/>
                      <a:pt x="772" y="3"/>
                      <a:pt x="772" y="3"/>
                    </a:cubicBezTo>
                    <a:cubicBezTo>
                      <a:pt x="771" y="2"/>
                      <a:pt x="770" y="2"/>
                      <a:pt x="769" y="2"/>
                    </a:cubicBezTo>
                    <a:cubicBezTo>
                      <a:pt x="769" y="1"/>
                      <a:pt x="769" y="1"/>
                      <a:pt x="768" y="1"/>
                    </a:cubicBezTo>
                    <a:cubicBezTo>
                      <a:pt x="767" y="1"/>
                      <a:pt x="766" y="1"/>
                      <a:pt x="765" y="0"/>
                    </a:cubicBezTo>
                    <a:cubicBezTo>
                      <a:pt x="765" y="0"/>
                      <a:pt x="765" y="0"/>
                      <a:pt x="765" y="0"/>
                    </a:cubicBezTo>
                    <a:cubicBezTo>
                      <a:pt x="764" y="0"/>
                      <a:pt x="763" y="0"/>
                      <a:pt x="762" y="0"/>
                    </a:cubicBezTo>
                    <a:cubicBezTo>
                      <a:pt x="761" y="0"/>
                      <a:pt x="761" y="0"/>
                      <a:pt x="761" y="0"/>
                    </a:cubicBezTo>
                    <a:cubicBezTo>
                      <a:pt x="761" y="0"/>
                      <a:pt x="760" y="0"/>
                      <a:pt x="760" y="0"/>
                    </a:cubicBezTo>
                    <a:cubicBezTo>
                      <a:pt x="74" y="0"/>
                      <a:pt x="74" y="0"/>
                      <a:pt x="74" y="0"/>
                    </a:cubicBezTo>
                    <a:cubicBezTo>
                      <a:pt x="33" y="0"/>
                      <a:pt x="0" y="33"/>
                      <a:pt x="0" y="73"/>
                    </a:cubicBezTo>
                    <a:cubicBezTo>
                      <a:pt x="0" y="1526"/>
                      <a:pt x="0" y="1526"/>
                      <a:pt x="0" y="1526"/>
                    </a:cubicBezTo>
                    <a:cubicBezTo>
                      <a:pt x="0" y="1567"/>
                      <a:pt x="33" y="1600"/>
                      <a:pt x="74" y="1600"/>
                    </a:cubicBezTo>
                    <a:cubicBezTo>
                      <a:pt x="1029" y="1600"/>
                      <a:pt x="1029" y="1600"/>
                      <a:pt x="1029" y="1600"/>
                    </a:cubicBezTo>
                    <a:cubicBezTo>
                      <a:pt x="1069" y="1600"/>
                      <a:pt x="1102" y="1567"/>
                      <a:pt x="1102" y="1526"/>
                    </a:cubicBezTo>
                    <a:cubicBezTo>
                      <a:pt x="1102" y="1058"/>
                      <a:pt x="1102" y="1058"/>
                      <a:pt x="1102" y="1058"/>
                    </a:cubicBezTo>
                    <a:cubicBezTo>
                      <a:pt x="1248" y="913"/>
                      <a:pt x="1248" y="913"/>
                      <a:pt x="1248" y="913"/>
                    </a:cubicBezTo>
                    <a:cubicBezTo>
                      <a:pt x="1248" y="913"/>
                      <a:pt x="1248" y="913"/>
                      <a:pt x="1248" y="913"/>
                    </a:cubicBezTo>
                    <a:cubicBezTo>
                      <a:pt x="1248" y="913"/>
                      <a:pt x="1248" y="913"/>
                      <a:pt x="1248" y="913"/>
                    </a:cubicBezTo>
                    <a:cubicBezTo>
                      <a:pt x="1352" y="809"/>
                      <a:pt x="1352" y="809"/>
                      <a:pt x="1352" y="809"/>
                    </a:cubicBezTo>
                    <a:cubicBezTo>
                      <a:pt x="1357" y="804"/>
                      <a:pt x="1359" y="797"/>
                      <a:pt x="1359" y="790"/>
                    </a:cubicBezTo>
                    <a:close/>
                    <a:moveTo>
                      <a:pt x="847" y="1239"/>
                    </a:moveTo>
                    <a:cubicBezTo>
                      <a:pt x="736" y="1127"/>
                      <a:pt x="736" y="1127"/>
                      <a:pt x="736" y="1127"/>
                    </a:cubicBezTo>
                    <a:cubicBezTo>
                      <a:pt x="1081" y="782"/>
                      <a:pt x="1081" y="782"/>
                      <a:pt x="1081" y="782"/>
                    </a:cubicBezTo>
                    <a:cubicBezTo>
                      <a:pt x="1192" y="894"/>
                      <a:pt x="1192" y="894"/>
                      <a:pt x="1192" y="894"/>
                    </a:cubicBezTo>
                    <a:lnTo>
                      <a:pt x="847" y="1239"/>
                    </a:lnTo>
                    <a:close/>
                    <a:moveTo>
                      <a:pt x="715" y="1181"/>
                    </a:moveTo>
                    <a:cubicBezTo>
                      <a:pt x="793" y="1260"/>
                      <a:pt x="793" y="1260"/>
                      <a:pt x="793" y="1260"/>
                    </a:cubicBezTo>
                    <a:cubicBezTo>
                      <a:pt x="697" y="1277"/>
                      <a:pt x="697" y="1277"/>
                      <a:pt x="697" y="1277"/>
                    </a:cubicBezTo>
                    <a:lnTo>
                      <a:pt x="715" y="1181"/>
                    </a:lnTo>
                    <a:close/>
                    <a:moveTo>
                      <a:pt x="786" y="90"/>
                    </a:moveTo>
                    <a:cubicBezTo>
                      <a:pt x="1012" y="316"/>
                      <a:pt x="1012" y="316"/>
                      <a:pt x="1012" y="316"/>
                    </a:cubicBezTo>
                    <a:cubicBezTo>
                      <a:pt x="807" y="316"/>
                      <a:pt x="807" y="316"/>
                      <a:pt x="807" y="316"/>
                    </a:cubicBezTo>
                    <a:cubicBezTo>
                      <a:pt x="796" y="316"/>
                      <a:pt x="786" y="307"/>
                      <a:pt x="786" y="295"/>
                    </a:cubicBezTo>
                    <a:lnTo>
                      <a:pt x="786" y="90"/>
                    </a:lnTo>
                    <a:close/>
                    <a:moveTo>
                      <a:pt x="1050" y="1526"/>
                    </a:moveTo>
                    <a:cubicBezTo>
                      <a:pt x="1050" y="1538"/>
                      <a:pt x="1040" y="1547"/>
                      <a:pt x="1029" y="1547"/>
                    </a:cubicBezTo>
                    <a:cubicBezTo>
                      <a:pt x="74" y="1547"/>
                      <a:pt x="74" y="1547"/>
                      <a:pt x="74" y="1547"/>
                    </a:cubicBezTo>
                    <a:cubicBezTo>
                      <a:pt x="62" y="1547"/>
                      <a:pt x="53" y="1538"/>
                      <a:pt x="53" y="1526"/>
                    </a:cubicBezTo>
                    <a:cubicBezTo>
                      <a:pt x="53" y="73"/>
                      <a:pt x="53" y="73"/>
                      <a:pt x="53" y="73"/>
                    </a:cubicBezTo>
                    <a:cubicBezTo>
                      <a:pt x="53" y="62"/>
                      <a:pt x="62" y="53"/>
                      <a:pt x="74" y="53"/>
                    </a:cubicBezTo>
                    <a:cubicBezTo>
                      <a:pt x="734" y="53"/>
                      <a:pt x="734" y="53"/>
                      <a:pt x="734" y="53"/>
                    </a:cubicBezTo>
                    <a:cubicBezTo>
                      <a:pt x="734" y="295"/>
                      <a:pt x="734" y="295"/>
                      <a:pt x="734" y="295"/>
                    </a:cubicBezTo>
                    <a:cubicBezTo>
                      <a:pt x="734" y="336"/>
                      <a:pt x="767" y="368"/>
                      <a:pt x="807" y="368"/>
                    </a:cubicBezTo>
                    <a:cubicBezTo>
                      <a:pt x="1050" y="368"/>
                      <a:pt x="1050" y="368"/>
                      <a:pt x="1050" y="368"/>
                    </a:cubicBezTo>
                    <a:cubicBezTo>
                      <a:pt x="1050" y="739"/>
                      <a:pt x="1050" y="739"/>
                      <a:pt x="1050" y="739"/>
                    </a:cubicBezTo>
                    <a:cubicBezTo>
                      <a:pt x="680" y="1109"/>
                      <a:pt x="680" y="1109"/>
                      <a:pt x="680" y="1109"/>
                    </a:cubicBezTo>
                    <a:cubicBezTo>
                      <a:pt x="679" y="1110"/>
                      <a:pt x="678" y="1110"/>
                      <a:pt x="677" y="1111"/>
                    </a:cubicBezTo>
                    <a:cubicBezTo>
                      <a:pt x="677" y="1112"/>
                      <a:pt x="677" y="1112"/>
                      <a:pt x="677" y="1112"/>
                    </a:cubicBezTo>
                    <a:cubicBezTo>
                      <a:pt x="675" y="1114"/>
                      <a:pt x="674" y="1116"/>
                      <a:pt x="674" y="1118"/>
                    </a:cubicBezTo>
                    <a:cubicBezTo>
                      <a:pt x="673" y="1118"/>
                      <a:pt x="673" y="1119"/>
                      <a:pt x="673" y="1119"/>
                    </a:cubicBezTo>
                    <a:cubicBezTo>
                      <a:pt x="673" y="1120"/>
                      <a:pt x="673" y="1121"/>
                      <a:pt x="672" y="1122"/>
                    </a:cubicBezTo>
                    <a:cubicBezTo>
                      <a:pt x="672" y="1122"/>
                      <a:pt x="672" y="1122"/>
                      <a:pt x="672" y="1122"/>
                    </a:cubicBezTo>
                    <a:cubicBezTo>
                      <a:pt x="638" y="1306"/>
                      <a:pt x="638" y="1306"/>
                      <a:pt x="638" y="1306"/>
                    </a:cubicBezTo>
                    <a:cubicBezTo>
                      <a:pt x="637" y="1314"/>
                      <a:pt x="639" y="1323"/>
                      <a:pt x="645" y="1329"/>
                    </a:cubicBezTo>
                    <a:cubicBezTo>
                      <a:pt x="650" y="1334"/>
                      <a:pt x="657" y="1337"/>
                      <a:pt x="664" y="1337"/>
                    </a:cubicBezTo>
                    <a:cubicBezTo>
                      <a:pt x="666" y="1337"/>
                      <a:pt x="667" y="1337"/>
                      <a:pt x="669" y="1336"/>
                    </a:cubicBezTo>
                    <a:cubicBezTo>
                      <a:pt x="852" y="1302"/>
                      <a:pt x="852" y="1302"/>
                      <a:pt x="852" y="1302"/>
                    </a:cubicBezTo>
                    <a:cubicBezTo>
                      <a:pt x="852" y="1302"/>
                      <a:pt x="852" y="1302"/>
                      <a:pt x="852" y="1302"/>
                    </a:cubicBezTo>
                    <a:cubicBezTo>
                      <a:pt x="853" y="1302"/>
                      <a:pt x="854" y="1302"/>
                      <a:pt x="855" y="1301"/>
                    </a:cubicBezTo>
                    <a:cubicBezTo>
                      <a:pt x="856" y="1301"/>
                      <a:pt x="856" y="1301"/>
                      <a:pt x="856" y="1301"/>
                    </a:cubicBezTo>
                    <a:cubicBezTo>
                      <a:pt x="858" y="1300"/>
                      <a:pt x="861" y="1299"/>
                      <a:pt x="862" y="1298"/>
                    </a:cubicBezTo>
                    <a:cubicBezTo>
                      <a:pt x="863" y="1297"/>
                      <a:pt x="863" y="1297"/>
                      <a:pt x="863" y="1297"/>
                    </a:cubicBezTo>
                    <a:cubicBezTo>
                      <a:pt x="864" y="1296"/>
                      <a:pt x="865" y="1296"/>
                      <a:pt x="866" y="1295"/>
                    </a:cubicBezTo>
                    <a:cubicBezTo>
                      <a:pt x="1050" y="1111"/>
                      <a:pt x="1050" y="1111"/>
                      <a:pt x="1050" y="1111"/>
                    </a:cubicBezTo>
                    <a:lnTo>
                      <a:pt x="1050" y="1526"/>
                    </a:lnTo>
                    <a:close/>
                    <a:moveTo>
                      <a:pt x="1230" y="857"/>
                    </a:moveTo>
                    <a:cubicBezTo>
                      <a:pt x="1118" y="745"/>
                      <a:pt x="1118" y="745"/>
                      <a:pt x="1118" y="745"/>
                    </a:cubicBezTo>
                    <a:cubicBezTo>
                      <a:pt x="1184" y="679"/>
                      <a:pt x="1184" y="679"/>
                      <a:pt x="1184" y="679"/>
                    </a:cubicBezTo>
                    <a:cubicBezTo>
                      <a:pt x="1296" y="790"/>
                      <a:pt x="1296" y="790"/>
                      <a:pt x="1296" y="790"/>
                    </a:cubicBezTo>
                    <a:lnTo>
                      <a:pt x="1230" y="8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92" name="Freeform 20"/>
              <p:cNvSpPr>
                <a:spLocks/>
              </p:cNvSpPr>
              <p:nvPr userDrawn="1"/>
            </p:nvSpPr>
            <p:spPr bwMode="auto">
              <a:xfrm>
                <a:off x="19318187" y="-1610127"/>
                <a:ext cx="192088" cy="25400"/>
              </a:xfrm>
              <a:custGeom>
                <a:avLst/>
                <a:gdLst>
                  <a:gd name="T0" fmla="*/ 26 w 384"/>
                  <a:gd name="T1" fmla="*/ 52 h 52"/>
                  <a:gd name="T2" fmla="*/ 358 w 384"/>
                  <a:gd name="T3" fmla="*/ 52 h 52"/>
                  <a:gd name="T4" fmla="*/ 384 w 384"/>
                  <a:gd name="T5" fmla="*/ 26 h 52"/>
                  <a:gd name="T6" fmla="*/ 358 w 384"/>
                  <a:gd name="T7" fmla="*/ 0 h 52"/>
                  <a:gd name="T8" fmla="*/ 26 w 384"/>
                  <a:gd name="T9" fmla="*/ 0 h 52"/>
                  <a:gd name="T10" fmla="*/ 0 w 384"/>
                  <a:gd name="T11" fmla="*/ 26 h 52"/>
                  <a:gd name="T12" fmla="*/ 26 w 384"/>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84" h="52">
                    <a:moveTo>
                      <a:pt x="26" y="52"/>
                    </a:moveTo>
                    <a:cubicBezTo>
                      <a:pt x="358" y="52"/>
                      <a:pt x="358" y="52"/>
                      <a:pt x="358" y="52"/>
                    </a:cubicBezTo>
                    <a:cubicBezTo>
                      <a:pt x="372" y="52"/>
                      <a:pt x="384" y="41"/>
                      <a:pt x="384" y="26"/>
                    </a:cubicBezTo>
                    <a:cubicBezTo>
                      <a:pt x="384" y="11"/>
                      <a:pt x="372" y="0"/>
                      <a:pt x="358" y="0"/>
                    </a:cubicBezTo>
                    <a:cubicBezTo>
                      <a:pt x="26" y="0"/>
                      <a:pt x="26" y="0"/>
                      <a:pt x="26" y="0"/>
                    </a:cubicBezTo>
                    <a:cubicBezTo>
                      <a:pt x="12" y="0"/>
                      <a:pt x="0" y="11"/>
                      <a:pt x="0" y="26"/>
                    </a:cubicBezTo>
                    <a:cubicBezTo>
                      <a:pt x="0" y="41"/>
                      <a:pt x="12" y="52"/>
                      <a:pt x="2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93" name="Freeform 21"/>
              <p:cNvSpPr>
                <a:spLocks/>
              </p:cNvSpPr>
              <p:nvPr userDrawn="1"/>
            </p:nvSpPr>
            <p:spPr bwMode="auto">
              <a:xfrm>
                <a:off x="19318187" y="-1532339"/>
                <a:ext cx="271463" cy="26988"/>
              </a:xfrm>
              <a:custGeom>
                <a:avLst/>
                <a:gdLst>
                  <a:gd name="T0" fmla="*/ 26 w 542"/>
                  <a:gd name="T1" fmla="*/ 52 h 52"/>
                  <a:gd name="T2" fmla="*/ 516 w 542"/>
                  <a:gd name="T3" fmla="*/ 52 h 52"/>
                  <a:gd name="T4" fmla="*/ 542 w 542"/>
                  <a:gd name="T5" fmla="*/ 26 h 52"/>
                  <a:gd name="T6" fmla="*/ 516 w 542"/>
                  <a:gd name="T7" fmla="*/ 0 h 52"/>
                  <a:gd name="T8" fmla="*/ 26 w 542"/>
                  <a:gd name="T9" fmla="*/ 0 h 52"/>
                  <a:gd name="T10" fmla="*/ 0 w 542"/>
                  <a:gd name="T11" fmla="*/ 26 h 52"/>
                  <a:gd name="T12" fmla="*/ 26 w 54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542" h="52">
                    <a:moveTo>
                      <a:pt x="26" y="52"/>
                    </a:moveTo>
                    <a:cubicBezTo>
                      <a:pt x="516" y="52"/>
                      <a:pt x="516" y="52"/>
                      <a:pt x="516" y="52"/>
                    </a:cubicBezTo>
                    <a:cubicBezTo>
                      <a:pt x="530" y="52"/>
                      <a:pt x="542" y="41"/>
                      <a:pt x="542" y="26"/>
                    </a:cubicBezTo>
                    <a:cubicBezTo>
                      <a:pt x="542" y="11"/>
                      <a:pt x="530" y="0"/>
                      <a:pt x="516" y="0"/>
                    </a:cubicBezTo>
                    <a:cubicBezTo>
                      <a:pt x="26" y="0"/>
                      <a:pt x="26" y="0"/>
                      <a:pt x="26" y="0"/>
                    </a:cubicBezTo>
                    <a:cubicBezTo>
                      <a:pt x="12" y="0"/>
                      <a:pt x="0" y="11"/>
                      <a:pt x="0" y="26"/>
                    </a:cubicBezTo>
                    <a:cubicBezTo>
                      <a:pt x="0" y="41"/>
                      <a:pt x="12" y="52"/>
                      <a:pt x="2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94" name="Freeform 22"/>
              <p:cNvSpPr>
                <a:spLocks/>
              </p:cNvSpPr>
              <p:nvPr userDrawn="1"/>
            </p:nvSpPr>
            <p:spPr bwMode="auto">
              <a:xfrm>
                <a:off x="19318187" y="-1452964"/>
                <a:ext cx="192088" cy="26988"/>
              </a:xfrm>
              <a:custGeom>
                <a:avLst/>
                <a:gdLst>
                  <a:gd name="T0" fmla="*/ 26 w 384"/>
                  <a:gd name="T1" fmla="*/ 52 h 52"/>
                  <a:gd name="T2" fmla="*/ 358 w 384"/>
                  <a:gd name="T3" fmla="*/ 52 h 52"/>
                  <a:gd name="T4" fmla="*/ 384 w 384"/>
                  <a:gd name="T5" fmla="*/ 26 h 52"/>
                  <a:gd name="T6" fmla="*/ 358 w 384"/>
                  <a:gd name="T7" fmla="*/ 0 h 52"/>
                  <a:gd name="T8" fmla="*/ 26 w 384"/>
                  <a:gd name="T9" fmla="*/ 0 h 52"/>
                  <a:gd name="T10" fmla="*/ 0 w 384"/>
                  <a:gd name="T11" fmla="*/ 26 h 52"/>
                  <a:gd name="T12" fmla="*/ 26 w 384"/>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84" h="52">
                    <a:moveTo>
                      <a:pt x="26" y="52"/>
                    </a:moveTo>
                    <a:cubicBezTo>
                      <a:pt x="358" y="52"/>
                      <a:pt x="358" y="52"/>
                      <a:pt x="358" y="52"/>
                    </a:cubicBezTo>
                    <a:cubicBezTo>
                      <a:pt x="372" y="52"/>
                      <a:pt x="384" y="40"/>
                      <a:pt x="384" y="26"/>
                    </a:cubicBezTo>
                    <a:cubicBezTo>
                      <a:pt x="384" y="11"/>
                      <a:pt x="372" y="0"/>
                      <a:pt x="358" y="0"/>
                    </a:cubicBezTo>
                    <a:cubicBezTo>
                      <a:pt x="26" y="0"/>
                      <a:pt x="26" y="0"/>
                      <a:pt x="26" y="0"/>
                    </a:cubicBezTo>
                    <a:cubicBezTo>
                      <a:pt x="12" y="0"/>
                      <a:pt x="0" y="11"/>
                      <a:pt x="0" y="26"/>
                    </a:cubicBezTo>
                    <a:cubicBezTo>
                      <a:pt x="0" y="40"/>
                      <a:pt x="12" y="52"/>
                      <a:pt x="2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95" name="Freeform 23"/>
              <p:cNvSpPr>
                <a:spLocks/>
              </p:cNvSpPr>
              <p:nvPr userDrawn="1"/>
            </p:nvSpPr>
            <p:spPr bwMode="auto">
              <a:xfrm>
                <a:off x="19318187" y="-1373589"/>
                <a:ext cx="231775" cy="26988"/>
              </a:xfrm>
              <a:custGeom>
                <a:avLst/>
                <a:gdLst>
                  <a:gd name="T0" fmla="*/ 437 w 463"/>
                  <a:gd name="T1" fmla="*/ 0 h 52"/>
                  <a:gd name="T2" fmla="*/ 26 w 463"/>
                  <a:gd name="T3" fmla="*/ 0 h 52"/>
                  <a:gd name="T4" fmla="*/ 0 w 463"/>
                  <a:gd name="T5" fmla="*/ 26 h 52"/>
                  <a:gd name="T6" fmla="*/ 26 w 463"/>
                  <a:gd name="T7" fmla="*/ 52 h 52"/>
                  <a:gd name="T8" fmla="*/ 437 w 463"/>
                  <a:gd name="T9" fmla="*/ 52 h 52"/>
                  <a:gd name="T10" fmla="*/ 463 w 463"/>
                  <a:gd name="T11" fmla="*/ 26 h 52"/>
                  <a:gd name="T12" fmla="*/ 437 w 463"/>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463" h="52">
                    <a:moveTo>
                      <a:pt x="437" y="0"/>
                    </a:moveTo>
                    <a:cubicBezTo>
                      <a:pt x="26" y="0"/>
                      <a:pt x="26" y="0"/>
                      <a:pt x="26" y="0"/>
                    </a:cubicBezTo>
                    <a:cubicBezTo>
                      <a:pt x="12" y="0"/>
                      <a:pt x="0" y="11"/>
                      <a:pt x="0" y="26"/>
                    </a:cubicBezTo>
                    <a:cubicBezTo>
                      <a:pt x="0" y="40"/>
                      <a:pt x="12" y="52"/>
                      <a:pt x="26" y="52"/>
                    </a:cubicBezTo>
                    <a:cubicBezTo>
                      <a:pt x="437" y="52"/>
                      <a:pt x="437" y="52"/>
                      <a:pt x="437" y="52"/>
                    </a:cubicBezTo>
                    <a:cubicBezTo>
                      <a:pt x="451" y="52"/>
                      <a:pt x="463" y="40"/>
                      <a:pt x="463" y="26"/>
                    </a:cubicBezTo>
                    <a:cubicBezTo>
                      <a:pt x="463" y="11"/>
                      <a:pt x="451" y="0"/>
                      <a:pt x="4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96" name="Freeform 24"/>
              <p:cNvSpPr>
                <a:spLocks noEditPoints="1"/>
              </p:cNvSpPr>
              <p:nvPr userDrawn="1"/>
            </p:nvSpPr>
            <p:spPr bwMode="auto">
              <a:xfrm>
                <a:off x="19329300" y="-1229127"/>
                <a:ext cx="176213" cy="219075"/>
              </a:xfrm>
              <a:custGeom>
                <a:avLst/>
                <a:gdLst>
                  <a:gd name="T0" fmla="*/ 342 w 349"/>
                  <a:gd name="T1" fmla="*/ 186 h 438"/>
                  <a:gd name="T2" fmla="*/ 324 w 349"/>
                  <a:gd name="T3" fmla="*/ 188 h 438"/>
                  <a:gd name="T4" fmla="*/ 223 w 349"/>
                  <a:gd name="T5" fmla="*/ 233 h 438"/>
                  <a:gd name="T6" fmla="*/ 209 w 349"/>
                  <a:gd name="T7" fmla="*/ 237 h 438"/>
                  <a:gd name="T8" fmla="*/ 156 w 349"/>
                  <a:gd name="T9" fmla="*/ 266 h 438"/>
                  <a:gd name="T10" fmla="*/ 155 w 349"/>
                  <a:gd name="T11" fmla="*/ 265 h 438"/>
                  <a:gd name="T12" fmla="*/ 142 w 349"/>
                  <a:gd name="T13" fmla="*/ 16 h 438"/>
                  <a:gd name="T14" fmla="*/ 109 w 349"/>
                  <a:gd name="T15" fmla="*/ 0 h 438"/>
                  <a:gd name="T16" fmla="*/ 109 w 349"/>
                  <a:gd name="T17" fmla="*/ 0 h 438"/>
                  <a:gd name="T18" fmla="*/ 105 w 349"/>
                  <a:gd name="T19" fmla="*/ 0 h 438"/>
                  <a:gd name="T20" fmla="*/ 47 w 349"/>
                  <a:gd name="T21" fmla="*/ 28 h 438"/>
                  <a:gd name="T22" fmla="*/ 103 w 349"/>
                  <a:gd name="T23" fmla="*/ 229 h 438"/>
                  <a:gd name="T24" fmla="*/ 104 w 349"/>
                  <a:gd name="T25" fmla="*/ 231 h 438"/>
                  <a:gd name="T26" fmla="*/ 116 w 349"/>
                  <a:gd name="T27" fmla="*/ 251 h 438"/>
                  <a:gd name="T28" fmla="*/ 119 w 349"/>
                  <a:gd name="T29" fmla="*/ 255 h 438"/>
                  <a:gd name="T30" fmla="*/ 115 w 349"/>
                  <a:gd name="T31" fmla="*/ 253 h 438"/>
                  <a:gd name="T32" fmla="*/ 30 w 349"/>
                  <a:gd name="T33" fmla="*/ 251 h 438"/>
                  <a:gd name="T34" fmla="*/ 7 w 349"/>
                  <a:gd name="T35" fmla="*/ 311 h 438"/>
                  <a:gd name="T36" fmla="*/ 81 w 349"/>
                  <a:gd name="T37" fmla="*/ 383 h 438"/>
                  <a:gd name="T38" fmla="*/ 74 w 349"/>
                  <a:gd name="T39" fmla="*/ 393 h 438"/>
                  <a:gd name="T40" fmla="*/ 74 w 349"/>
                  <a:gd name="T41" fmla="*/ 430 h 438"/>
                  <a:gd name="T42" fmla="*/ 93 w 349"/>
                  <a:gd name="T43" fmla="*/ 438 h 438"/>
                  <a:gd name="T44" fmla="*/ 112 w 349"/>
                  <a:gd name="T45" fmla="*/ 430 h 438"/>
                  <a:gd name="T46" fmla="*/ 137 w 349"/>
                  <a:gd name="T47" fmla="*/ 387 h 438"/>
                  <a:gd name="T48" fmla="*/ 155 w 349"/>
                  <a:gd name="T49" fmla="*/ 378 h 438"/>
                  <a:gd name="T50" fmla="*/ 169 w 349"/>
                  <a:gd name="T51" fmla="*/ 292 h 438"/>
                  <a:gd name="T52" fmla="*/ 223 w 349"/>
                  <a:gd name="T53" fmla="*/ 260 h 438"/>
                  <a:gd name="T54" fmla="*/ 344 w 349"/>
                  <a:gd name="T55" fmla="*/ 205 h 438"/>
                  <a:gd name="T56" fmla="*/ 342 w 349"/>
                  <a:gd name="T57" fmla="*/ 186 h 438"/>
                  <a:gd name="T58" fmla="*/ 70 w 349"/>
                  <a:gd name="T59" fmla="*/ 41 h 438"/>
                  <a:gd name="T60" fmla="*/ 105 w 349"/>
                  <a:gd name="T61" fmla="*/ 26 h 438"/>
                  <a:gd name="T62" fmla="*/ 109 w 349"/>
                  <a:gd name="T63" fmla="*/ 27 h 438"/>
                  <a:gd name="T64" fmla="*/ 122 w 349"/>
                  <a:gd name="T65" fmla="*/ 33 h 438"/>
                  <a:gd name="T66" fmla="*/ 134 w 349"/>
                  <a:gd name="T67" fmla="*/ 230 h 438"/>
                  <a:gd name="T68" fmla="*/ 127 w 349"/>
                  <a:gd name="T69" fmla="*/ 218 h 438"/>
                  <a:gd name="T70" fmla="*/ 126 w 349"/>
                  <a:gd name="T71" fmla="*/ 216 h 438"/>
                  <a:gd name="T72" fmla="*/ 70 w 349"/>
                  <a:gd name="T73" fmla="*/ 41 h 438"/>
                  <a:gd name="T74" fmla="*/ 33 w 349"/>
                  <a:gd name="T75" fmla="*/ 304 h 438"/>
                  <a:gd name="T76" fmla="*/ 45 w 349"/>
                  <a:gd name="T77" fmla="*/ 272 h 438"/>
                  <a:gd name="T78" fmla="*/ 104 w 349"/>
                  <a:gd name="T79" fmla="*/ 277 h 438"/>
                  <a:gd name="T80" fmla="*/ 125 w 349"/>
                  <a:gd name="T81" fmla="*/ 286 h 438"/>
                  <a:gd name="T82" fmla="*/ 108 w 349"/>
                  <a:gd name="T83" fmla="*/ 351 h 438"/>
                  <a:gd name="T84" fmla="*/ 93 w 349"/>
                  <a:gd name="T85" fmla="*/ 359 h 438"/>
                  <a:gd name="T86" fmla="*/ 33 w 349"/>
                  <a:gd name="T87" fmla="*/ 304 h 438"/>
                  <a:gd name="T88" fmla="*/ 139 w 349"/>
                  <a:gd name="T89" fmla="*/ 357 h 438"/>
                  <a:gd name="T90" fmla="*/ 133 w 349"/>
                  <a:gd name="T91" fmla="*/ 361 h 438"/>
                  <a:gd name="T92" fmla="*/ 133 w 349"/>
                  <a:gd name="T93" fmla="*/ 360 h 438"/>
                  <a:gd name="T94" fmla="*/ 147 w 349"/>
                  <a:gd name="T95" fmla="*/ 309 h 438"/>
                  <a:gd name="T96" fmla="*/ 139 w 349"/>
                  <a:gd name="T97" fmla="*/ 357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9" h="438">
                    <a:moveTo>
                      <a:pt x="342" y="186"/>
                    </a:moveTo>
                    <a:cubicBezTo>
                      <a:pt x="337" y="182"/>
                      <a:pt x="328" y="183"/>
                      <a:pt x="324" y="188"/>
                    </a:cubicBezTo>
                    <a:cubicBezTo>
                      <a:pt x="309" y="207"/>
                      <a:pt x="269" y="249"/>
                      <a:pt x="223" y="233"/>
                    </a:cubicBezTo>
                    <a:cubicBezTo>
                      <a:pt x="218" y="231"/>
                      <a:pt x="212" y="233"/>
                      <a:pt x="209" y="237"/>
                    </a:cubicBezTo>
                    <a:cubicBezTo>
                      <a:pt x="187" y="263"/>
                      <a:pt x="169" y="267"/>
                      <a:pt x="156" y="266"/>
                    </a:cubicBezTo>
                    <a:cubicBezTo>
                      <a:pt x="156" y="266"/>
                      <a:pt x="155" y="266"/>
                      <a:pt x="155" y="265"/>
                    </a:cubicBezTo>
                    <a:cubicBezTo>
                      <a:pt x="171" y="175"/>
                      <a:pt x="176" y="57"/>
                      <a:pt x="142" y="16"/>
                    </a:cubicBezTo>
                    <a:cubicBezTo>
                      <a:pt x="133" y="6"/>
                      <a:pt x="122" y="0"/>
                      <a:pt x="109" y="0"/>
                    </a:cubicBezTo>
                    <a:cubicBezTo>
                      <a:pt x="109" y="0"/>
                      <a:pt x="109" y="0"/>
                      <a:pt x="109" y="0"/>
                    </a:cubicBezTo>
                    <a:cubicBezTo>
                      <a:pt x="108" y="0"/>
                      <a:pt x="107" y="0"/>
                      <a:pt x="105" y="0"/>
                    </a:cubicBezTo>
                    <a:cubicBezTo>
                      <a:pt x="77" y="0"/>
                      <a:pt x="58" y="10"/>
                      <a:pt x="47" y="28"/>
                    </a:cubicBezTo>
                    <a:cubicBezTo>
                      <a:pt x="27" y="64"/>
                      <a:pt x="46" y="132"/>
                      <a:pt x="103" y="229"/>
                    </a:cubicBezTo>
                    <a:cubicBezTo>
                      <a:pt x="104" y="231"/>
                      <a:pt x="104" y="231"/>
                      <a:pt x="104" y="231"/>
                    </a:cubicBezTo>
                    <a:cubicBezTo>
                      <a:pt x="108" y="237"/>
                      <a:pt x="112" y="244"/>
                      <a:pt x="116" y="251"/>
                    </a:cubicBezTo>
                    <a:cubicBezTo>
                      <a:pt x="117" y="252"/>
                      <a:pt x="118" y="253"/>
                      <a:pt x="119" y="255"/>
                    </a:cubicBezTo>
                    <a:cubicBezTo>
                      <a:pt x="117" y="254"/>
                      <a:pt x="116" y="254"/>
                      <a:pt x="115" y="253"/>
                    </a:cubicBezTo>
                    <a:cubicBezTo>
                      <a:pt x="89" y="241"/>
                      <a:pt x="60" y="228"/>
                      <a:pt x="30" y="251"/>
                    </a:cubicBezTo>
                    <a:cubicBezTo>
                      <a:pt x="8" y="266"/>
                      <a:pt x="0" y="287"/>
                      <a:pt x="7" y="311"/>
                    </a:cubicBezTo>
                    <a:cubicBezTo>
                      <a:pt x="16" y="341"/>
                      <a:pt x="47" y="370"/>
                      <a:pt x="81" y="383"/>
                    </a:cubicBezTo>
                    <a:cubicBezTo>
                      <a:pt x="77" y="390"/>
                      <a:pt x="75" y="392"/>
                      <a:pt x="74" y="393"/>
                    </a:cubicBezTo>
                    <a:cubicBezTo>
                      <a:pt x="64" y="403"/>
                      <a:pt x="64" y="420"/>
                      <a:pt x="74" y="430"/>
                    </a:cubicBezTo>
                    <a:cubicBezTo>
                      <a:pt x="80" y="435"/>
                      <a:pt x="86" y="438"/>
                      <a:pt x="93" y="438"/>
                    </a:cubicBezTo>
                    <a:cubicBezTo>
                      <a:pt x="100" y="438"/>
                      <a:pt x="107" y="435"/>
                      <a:pt x="112" y="430"/>
                    </a:cubicBezTo>
                    <a:cubicBezTo>
                      <a:pt x="121" y="421"/>
                      <a:pt x="129" y="407"/>
                      <a:pt x="137" y="387"/>
                    </a:cubicBezTo>
                    <a:cubicBezTo>
                      <a:pt x="144" y="385"/>
                      <a:pt x="150" y="382"/>
                      <a:pt x="155" y="378"/>
                    </a:cubicBezTo>
                    <a:cubicBezTo>
                      <a:pt x="188" y="354"/>
                      <a:pt x="179" y="317"/>
                      <a:pt x="169" y="292"/>
                    </a:cubicBezTo>
                    <a:cubicBezTo>
                      <a:pt x="188" y="289"/>
                      <a:pt x="206" y="279"/>
                      <a:pt x="223" y="260"/>
                    </a:cubicBezTo>
                    <a:cubicBezTo>
                      <a:pt x="264" y="270"/>
                      <a:pt x="308" y="250"/>
                      <a:pt x="344" y="205"/>
                    </a:cubicBezTo>
                    <a:cubicBezTo>
                      <a:pt x="349" y="199"/>
                      <a:pt x="348" y="191"/>
                      <a:pt x="342" y="186"/>
                    </a:cubicBezTo>
                    <a:close/>
                    <a:moveTo>
                      <a:pt x="70" y="41"/>
                    </a:moveTo>
                    <a:cubicBezTo>
                      <a:pt x="72" y="37"/>
                      <a:pt x="79" y="26"/>
                      <a:pt x="105" y="26"/>
                    </a:cubicBezTo>
                    <a:cubicBezTo>
                      <a:pt x="106" y="26"/>
                      <a:pt x="107" y="27"/>
                      <a:pt x="109" y="27"/>
                    </a:cubicBezTo>
                    <a:cubicBezTo>
                      <a:pt x="112" y="27"/>
                      <a:pt x="117" y="27"/>
                      <a:pt x="122" y="33"/>
                    </a:cubicBezTo>
                    <a:cubicBezTo>
                      <a:pt x="142" y="58"/>
                      <a:pt x="147" y="137"/>
                      <a:pt x="134" y="230"/>
                    </a:cubicBezTo>
                    <a:cubicBezTo>
                      <a:pt x="132" y="226"/>
                      <a:pt x="129" y="222"/>
                      <a:pt x="127" y="218"/>
                    </a:cubicBezTo>
                    <a:cubicBezTo>
                      <a:pt x="126" y="216"/>
                      <a:pt x="126" y="216"/>
                      <a:pt x="126" y="216"/>
                    </a:cubicBezTo>
                    <a:cubicBezTo>
                      <a:pt x="55" y="95"/>
                      <a:pt x="63" y="53"/>
                      <a:pt x="70" y="41"/>
                    </a:cubicBezTo>
                    <a:close/>
                    <a:moveTo>
                      <a:pt x="33" y="304"/>
                    </a:moveTo>
                    <a:cubicBezTo>
                      <a:pt x="29" y="291"/>
                      <a:pt x="33" y="281"/>
                      <a:pt x="45" y="272"/>
                    </a:cubicBezTo>
                    <a:cubicBezTo>
                      <a:pt x="63" y="259"/>
                      <a:pt x="78" y="265"/>
                      <a:pt x="104" y="277"/>
                    </a:cubicBezTo>
                    <a:cubicBezTo>
                      <a:pt x="110" y="280"/>
                      <a:pt x="117" y="283"/>
                      <a:pt x="125" y="286"/>
                    </a:cubicBezTo>
                    <a:cubicBezTo>
                      <a:pt x="120" y="310"/>
                      <a:pt x="114" y="332"/>
                      <a:pt x="108" y="351"/>
                    </a:cubicBezTo>
                    <a:cubicBezTo>
                      <a:pt x="102" y="352"/>
                      <a:pt x="97" y="355"/>
                      <a:pt x="93" y="359"/>
                    </a:cubicBezTo>
                    <a:cubicBezTo>
                      <a:pt x="66" y="350"/>
                      <a:pt x="39" y="327"/>
                      <a:pt x="33" y="304"/>
                    </a:cubicBezTo>
                    <a:close/>
                    <a:moveTo>
                      <a:pt x="139" y="357"/>
                    </a:moveTo>
                    <a:cubicBezTo>
                      <a:pt x="138" y="359"/>
                      <a:pt x="135" y="360"/>
                      <a:pt x="133" y="361"/>
                    </a:cubicBezTo>
                    <a:cubicBezTo>
                      <a:pt x="133" y="360"/>
                      <a:pt x="133" y="360"/>
                      <a:pt x="133" y="360"/>
                    </a:cubicBezTo>
                    <a:cubicBezTo>
                      <a:pt x="138" y="345"/>
                      <a:pt x="142" y="327"/>
                      <a:pt x="147" y="309"/>
                    </a:cubicBezTo>
                    <a:cubicBezTo>
                      <a:pt x="157" y="338"/>
                      <a:pt x="149" y="350"/>
                      <a:pt x="139" y="3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grpSp>
          <p:nvGrpSpPr>
            <p:cNvPr id="77" name="Group 76"/>
            <p:cNvGrpSpPr/>
            <p:nvPr userDrawn="1"/>
          </p:nvGrpSpPr>
          <p:grpSpPr>
            <a:xfrm>
              <a:off x="11149540" y="7001204"/>
              <a:ext cx="231675" cy="335962"/>
              <a:chOff x="14846200" y="1255311"/>
              <a:chExt cx="525463" cy="762000"/>
            </a:xfrm>
            <a:solidFill>
              <a:schemeClr val="accent5">
                <a:lumMod val="75000"/>
              </a:schemeClr>
            </a:solidFill>
          </p:grpSpPr>
          <p:sp>
            <p:nvSpPr>
              <p:cNvPr id="87" name="Freeform 57"/>
              <p:cNvSpPr>
                <a:spLocks noEditPoints="1"/>
              </p:cNvSpPr>
              <p:nvPr userDrawn="1"/>
            </p:nvSpPr>
            <p:spPr bwMode="auto">
              <a:xfrm>
                <a:off x="14846200" y="1255311"/>
                <a:ext cx="525463" cy="762000"/>
              </a:xfrm>
              <a:custGeom>
                <a:avLst/>
                <a:gdLst>
                  <a:gd name="T0" fmla="*/ 857 w 1047"/>
                  <a:gd name="T1" fmla="*/ 396 h 1518"/>
                  <a:gd name="T2" fmla="*/ 822 w 1047"/>
                  <a:gd name="T3" fmla="*/ 383 h 1518"/>
                  <a:gd name="T4" fmla="*/ 749 w 1047"/>
                  <a:gd name="T5" fmla="*/ 0 h 1518"/>
                  <a:gd name="T6" fmla="*/ 0 w 1047"/>
                  <a:gd name="T7" fmla="*/ 72 h 1518"/>
                  <a:gd name="T8" fmla="*/ 73 w 1047"/>
                  <a:gd name="T9" fmla="*/ 1518 h 1518"/>
                  <a:gd name="T10" fmla="*/ 822 w 1047"/>
                  <a:gd name="T11" fmla="*/ 1446 h 1518"/>
                  <a:gd name="T12" fmla="*/ 960 w 1047"/>
                  <a:gd name="T13" fmla="*/ 842 h 1518"/>
                  <a:gd name="T14" fmla="*/ 1040 w 1047"/>
                  <a:gd name="T15" fmla="*/ 833 h 1518"/>
                  <a:gd name="T16" fmla="*/ 73 w 1047"/>
                  <a:gd name="T17" fmla="*/ 52 h 1518"/>
                  <a:gd name="T18" fmla="*/ 769 w 1047"/>
                  <a:gd name="T19" fmla="*/ 72 h 1518"/>
                  <a:gd name="T20" fmla="*/ 53 w 1047"/>
                  <a:gd name="T21" fmla="*/ 180 h 1518"/>
                  <a:gd name="T22" fmla="*/ 73 w 1047"/>
                  <a:gd name="T23" fmla="*/ 52 h 1518"/>
                  <a:gd name="T24" fmla="*/ 73 w 1047"/>
                  <a:gd name="T25" fmla="*/ 1466 h 1518"/>
                  <a:gd name="T26" fmla="*/ 53 w 1047"/>
                  <a:gd name="T27" fmla="*/ 1338 h 1518"/>
                  <a:gd name="T28" fmla="*/ 411 w 1047"/>
                  <a:gd name="T29" fmla="*/ 1383 h 1518"/>
                  <a:gd name="T30" fmla="*/ 769 w 1047"/>
                  <a:gd name="T31" fmla="*/ 1338 h 1518"/>
                  <a:gd name="T32" fmla="*/ 749 w 1047"/>
                  <a:gd name="T33" fmla="*/ 1466 h 1518"/>
                  <a:gd name="T34" fmla="*/ 53 w 1047"/>
                  <a:gd name="T35" fmla="*/ 1286 h 1518"/>
                  <a:gd name="T36" fmla="*/ 769 w 1047"/>
                  <a:gd name="T37" fmla="*/ 232 h 1518"/>
                  <a:gd name="T38" fmla="*/ 535 w 1047"/>
                  <a:gd name="T39" fmla="*/ 631 h 1518"/>
                  <a:gd name="T40" fmla="*/ 376 w 1047"/>
                  <a:gd name="T41" fmla="*/ 695 h 1518"/>
                  <a:gd name="T42" fmla="*/ 363 w 1047"/>
                  <a:gd name="T43" fmla="*/ 730 h 1518"/>
                  <a:gd name="T44" fmla="*/ 480 w 1047"/>
                  <a:gd name="T45" fmla="*/ 971 h 1518"/>
                  <a:gd name="T46" fmla="*/ 500 w 1047"/>
                  <a:gd name="T47" fmla="*/ 970 h 1518"/>
                  <a:gd name="T48" fmla="*/ 526 w 1047"/>
                  <a:gd name="T49" fmla="*/ 1112 h 1518"/>
                  <a:gd name="T50" fmla="*/ 592 w 1047"/>
                  <a:gd name="T51" fmla="*/ 1180 h 1518"/>
                  <a:gd name="T52" fmla="*/ 707 w 1047"/>
                  <a:gd name="T53" fmla="*/ 1078 h 1518"/>
                  <a:gd name="T54" fmla="*/ 769 w 1047"/>
                  <a:gd name="T55" fmla="*/ 863 h 1518"/>
                  <a:gd name="T56" fmla="*/ 556 w 1047"/>
                  <a:gd name="T57" fmla="*/ 945 h 1518"/>
                  <a:gd name="T58" fmla="*/ 659 w 1047"/>
                  <a:gd name="T59" fmla="*/ 1099 h 1518"/>
                  <a:gd name="T60" fmla="*/ 578 w 1047"/>
                  <a:gd name="T61" fmla="*/ 1125 h 1518"/>
                  <a:gd name="T62" fmla="*/ 556 w 1047"/>
                  <a:gd name="T63" fmla="*/ 945 h 1518"/>
                  <a:gd name="T64" fmla="*/ 503 w 1047"/>
                  <a:gd name="T65" fmla="*/ 912 h 1518"/>
                  <a:gd name="T66" fmla="*/ 513 w 1047"/>
                  <a:gd name="T67" fmla="*/ 691 h 1518"/>
                  <a:gd name="T68" fmla="*/ 594 w 1047"/>
                  <a:gd name="T69" fmla="*/ 870 h 1518"/>
                  <a:gd name="T70" fmla="*/ 640 w 1047"/>
                  <a:gd name="T71" fmla="*/ 843 h 1518"/>
                  <a:gd name="T72" fmla="*/ 564 w 1047"/>
                  <a:gd name="T73" fmla="*/ 675 h 1518"/>
                  <a:gd name="T74" fmla="*/ 977 w 1047"/>
                  <a:gd name="T75" fmla="*/ 789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7" h="1518">
                    <a:moveTo>
                      <a:pt x="1043" y="807"/>
                    </a:moveTo>
                    <a:cubicBezTo>
                      <a:pt x="857" y="396"/>
                      <a:pt x="857" y="396"/>
                      <a:pt x="857" y="396"/>
                    </a:cubicBezTo>
                    <a:cubicBezTo>
                      <a:pt x="853" y="387"/>
                      <a:pt x="845" y="382"/>
                      <a:pt x="836" y="381"/>
                    </a:cubicBezTo>
                    <a:cubicBezTo>
                      <a:pt x="831" y="380"/>
                      <a:pt x="826" y="381"/>
                      <a:pt x="822" y="383"/>
                    </a:cubicBezTo>
                    <a:cubicBezTo>
                      <a:pt x="822" y="72"/>
                      <a:pt x="822" y="72"/>
                      <a:pt x="822" y="72"/>
                    </a:cubicBezTo>
                    <a:cubicBezTo>
                      <a:pt x="822" y="32"/>
                      <a:pt x="789" y="0"/>
                      <a:pt x="749" y="0"/>
                    </a:cubicBezTo>
                    <a:cubicBezTo>
                      <a:pt x="73" y="0"/>
                      <a:pt x="73" y="0"/>
                      <a:pt x="73" y="0"/>
                    </a:cubicBezTo>
                    <a:cubicBezTo>
                      <a:pt x="33" y="0"/>
                      <a:pt x="0" y="32"/>
                      <a:pt x="0" y="72"/>
                    </a:cubicBezTo>
                    <a:cubicBezTo>
                      <a:pt x="0" y="1446"/>
                      <a:pt x="0" y="1446"/>
                      <a:pt x="0" y="1446"/>
                    </a:cubicBezTo>
                    <a:cubicBezTo>
                      <a:pt x="0" y="1486"/>
                      <a:pt x="33" y="1518"/>
                      <a:pt x="73" y="1518"/>
                    </a:cubicBezTo>
                    <a:cubicBezTo>
                      <a:pt x="749" y="1518"/>
                      <a:pt x="749" y="1518"/>
                      <a:pt x="749" y="1518"/>
                    </a:cubicBezTo>
                    <a:cubicBezTo>
                      <a:pt x="789" y="1518"/>
                      <a:pt x="822" y="1486"/>
                      <a:pt x="822" y="1446"/>
                    </a:cubicBezTo>
                    <a:cubicBezTo>
                      <a:pt x="822" y="854"/>
                      <a:pt x="822" y="854"/>
                      <a:pt x="822" y="854"/>
                    </a:cubicBezTo>
                    <a:cubicBezTo>
                      <a:pt x="865" y="847"/>
                      <a:pt x="913" y="842"/>
                      <a:pt x="960" y="842"/>
                    </a:cubicBezTo>
                    <a:cubicBezTo>
                      <a:pt x="980" y="842"/>
                      <a:pt x="999" y="842"/>
                      <a:pt x="1016" y="844"/>
                    </a:cubicBezTo>
                    <a:cubicBezTo>
                      <a:pt x="1026" y="845"/>
                      <a:pt x="1035" y="841"/>
                      <a:pt x="1040" y="833"/>
                    </a:cubicBezTo>
                    <a:cubicBezTo>
                      <a:pt x="1046" y="825"/>
                      <a:pt x="1047" y="816"/>
                      <a:pt x="1043" y="807"/>
                    </a:cubicBezTo>
                    <a:close/>
                    <a:moveTo>
                      <a:pt x="73" y="52"/>
                    </a:moveTo>
                    <a:cubicBezTo>
                      <a:pt x="749" y="52"/>
                      <a:pt x="749" y="52"/>
                      <a:pt x="749" y="52"/>
                    </a:cubicBezTo>
                    <a:cubicBezTo>
                      <a:pt x="760" y="52"/>
                      <a:pt x="769" y="61"/>
                      <a:pt x="769" y="72"/>
                    </a:cubicBezTo>
                    <a:cubicBezTo>
                      <a:pt x="769" y="180"/>
                      <a:pt x="769" y="180"/>
                      <a:pt x="769" y="180"/>
                    </a:cubicBezTo>
                    <a:cubicBezTo>
                      <a:pt x="53" y="180"/>
                      <a:pt x="53" y="180"/>
                      <a:pt x="53" y="180"/>
                    </a:cubicBezTo>
                    <a:cubicBezTo>
                      <a:pt x="53" y="72"/>
                      <a:pt x="53" y="72"/>
                      <a:pt x="53" y="72"/>
                    </a:cubicBezTo>
                    <a:cubicBezTo>
                      <a:pt x="53" y="61"/>
                      <a:pt x="62" y="52"/>
                      <a:pt x="73" y="52"/>
                    </a:cubicBezTo>
                    <a:close/>
                    <a:moveTo>
                      <a:pt x="749" y="1466"/>
                    </a:moveTo>
                    <a:cubicBezTo>
                      <a:pt x="73" y="1466"/>
                      <a:pt x="73" y="1466"/>
                      <a:pt x="73" y="1466"/>
                    </a:cubicBezTo>
                    <a:cubicBezTo>
                      <a:pt x="62" y="1466"/>
                      <a:pt x="53" y="1457"/>
                      <a:pt x="53" y="1446"/>
                    </a:cubicBezTo>
                    <a:cubicBezTo>
                      <a:pt x="53" y="1338"/>
                      <a:pt x="53" y="1338"/>
                      <a:pt x="53" y="1338"/>
                    </a:cubicBezTo>
                    <a:cubicBezTo>
                      <a:pt x="362" y="1338"/>
                      <a:pt x="362" y="1338"/>
                      <a:pt x="362" y="1338"/>
                    </a:cubicBezTo>
                    <a:cubicBezTo>
                      <a:pt x="365" y="1363"/>
                      <a:pt x="385" y="1383"/>
                      <a:pt x="411" y="1383"/>
                    </a:cubicBezTo>
                    <a:cubicBezTo>
                      <a:pt x="437" y="1383"/>
                      <a:pt x="458" y="1363"/>
                      <a:pt x="460" y="1338"/>
                    </a:cubicBezTo>
                    <a:cubicBezTo>
                      <a:pt x="769" y="1338"/>
                      <a:pt x="769" y="1338"/>
                      <a:pt x="769" y="1338"/>
                    </a:cubicBezTo>
                    <a:cubicBezTo>
                      <a:pt x="769" y="1446"/>
                      <a:pt x="769" y="1446"/>
                      <a:pt x="769" y="1446"/>
                    </a:cubicBezTo>
                    <a:cubicBezTo>
                      <a:pt x="769" y="1457"/>
                      <a:pt x="760" y="1466"/>
                      <a:pt x="749" y="1466"/>
                    </a:cubicBezTo>
                    <a:close/>
                    <a:moveTo>
                      <a:pt x="769" y="1286"/>
                    </a:moveTo>
                    <a:cubicBezTo>
                      <a:pt x="53" y="1286"/>
                      <a:pt x="53" y="1286"/>
                      <a:pt x="53" y="1286"/>
                    </a:cubicBezTo>
                    <a:cubicBezTo>
                      <a:pt x="53" y="232"/>
                      <a:pt x="53" y="232"/>
                      <a:pt x="53" y="232"/>
                    </a:cubicBezTo>
                    <a:cubicBezTo>
                      <a:pt x="769" y="232"/>
                      <a:pt x="769" y="232"/>
                      <a:pt x="769" y="232"/>
                    </a:cubicBezTo>
                    <a:cubicBezTo>
                      <a:pt x="769" y="443"/>
                      <a:pt x="769" y="443"/>
                      <a:pt x="769" y="443"/>
                    </a:cubicBezTo>
                    <a:cubicBezTo>
                      <a:pt x="684" y="537"/>
                      <a:pt x="576" y="606"/>
                      <a:pt x="535" y="631"/>
                    </a:cubicBezTo>
                    <a:cubicBezTo>
                      <a:pt x="528" y="629"/>
                      <a:pt x="522" y="629"/>
                      <a:pt x="516" y="632"/>
                    </a:cubicBezTo>
                    <a:cubicBezTo>
                      <a:pt x="376" y="695"/>
                      <a:pt x="376" y="695"/>
                      <a:pt x="376" y="695"/>
                    </a:cubicBezTo>
                    <a:cubicBezTo>
                      <a:pt x="370" y="698"/>
                      <a:pt x="365" y="703"/>
                      <a:pt x="362" y="710"/>
                    </a:cubicBezTo>
                    <a:cubicBezTo>
                      <a:pt x="360" y="716"/>
                      <a:pt x="360" y="724"/>
                      <a:pt x="363" y="730"/>
                    </a:cubicBezTo>
                    <a:cubicBezTo>
                      <a:pt x="466" y="957"/>
                      <a:pt x="466" y="957"/>
                      <a:pt x="466" y="957"/>
                    </a:cubicBezTo>
                    <a:cubicBezTo>
                      <a:pt x="469" y="964"/>
                      <a:pt x="474" y="969"/>
                      <a:pt x="480" y="971"/>
                    </a:cubicBezTo>
                    <a:cubicBezTo>
                      <a:pt x="483" y="972"/>
                      <a:pt x="486" y="973"/>
                      <a:pt x="490" y="973"/>
                    </a:cubicBezTo>
                    <a:cubicBezTo>
                      <a:pt x="493" y="973"/>
                      <a:pt x="497" y="972"/>
                      <a:pt x="500" y="970"/>
                    </a:cubicBezTo>
                    <a:cubicBezTo>
                      <a:pt x="508" y="967"/>
                      <a:pt x="508" y="967"/>
                      <a:pt x="508" y="967"/>
                    </a:cubicBezTo>
                    <a:cubicBezTo>
                      <a:pt x="518" y="1003"/>
                      <a:pt x="534" y="1067"/>
                      <a:pt x="526" y="1112"/>
                    </a:cubicBezTo>
                    <a:cubicBezTo>
                      <a:pt x="522" y="1135"/>
                      <a:pt x="530" y="1150"/>
                      <a:pt x="537" y="1159"/>
                    </a:cubicBezTo>
                    <a:cubicBezTo>
                      <a:pt x="545" y="1168"/>
                      <a:pt x="561" y="1180"/>
                      <a:pt x="592" y="1180"/>
                    </a:cubicBezTo>
                    <a:cubicBezTo>
                      <a:pt x="630" y="1180"/>
                      <a:pt x="682" y="1160"/>
                      <a:pt x="703" y="1128"/>
                    </a:cubicBezTo>
                    <a:cubicBezTo>
                      <a:pt x="713" y="1112"/>
                      <a:pt x="715" y="1094"/>
                      <a:pt x="707" y="1078"/>
                    </a:cubicBezTo>
                    <a:cubicBezTo>
                      <a:pt x="686" y="1032"/>
                      <a:pt x="665" y="929"/>
                      <a:pt x="658" y="892"/>
                    </a:cubicBezTo>
                    <a:cubicBezTo>
                      <a:pt x="681" y="885"/>
                      <a:pt x="721" y="874"/>
                      <a:pt x="769" y="863"/>
                    </a:cubicBezTo>
                    <a:lnTo>
                      <a:pt x="769" y="1286"/>
                    </a:lnTo>
                    <a:close/>
                    <a:moveTo>
                      <a:pt x="556" y="945"/>
                    </a:moveTo>
                    <a:cubicBezTo>
                      <a:pt x="610" y="921"/>
                      <a:pt x="610" y="921"/>
                      <a:pt x="610" y="921"/>
                    </a:cubicBezTo>
                    <a:cubicBezTo>
                      <a:pt x="619" y="968"/>
                      <a:pt x="638" y="1054"/>
                      <a:pt x="659" y="1099"/>
                    </a:cubicBezTo>
                    <a:cubicBezTo>
                      <a:pt x="654" y="1109"/>
                      <a:pt x="622" y="1127"/>
                      <a:pt x="592" y="1127"/>
                    </a:cubicBezTo>
                    <a:cubicBezTo>
                      <a:pt x="583" y="1127"/>
                      <a:pt x="579" y="1126"/>
                      <a:pt x="578" y="1125"/>
                    </a:cubicBezTo>
                    <a:cubicBezTo>
                      <a:pt x="577" y="1124"/>
                      <a:pt x="577" y="1123"/>
                      <a:pt x="578" y="1121"/>
                    </a:cubicBezTo>
                    <a:cubicBezTo>
                      <a:pt x="588" y="1062"/>
                      <a:pt x="568" y="984"/>
                      <a:pt x="556" y="945"/>
                    </a:cubicBezTo>
                    <a:close/>
                    <a:moveTo>
                      <a:pt x="594" y="870"/>
                    </a:moveTo>
                    <a:cubicBezTo>
                      <a:pt x="503" y="912"/>
                      <a:pt x="503" y="912"/>
                      <a:pt x="503" y="912"/>
                    </a:cubicBezTo>
                    <a:cubicBezTo>
                      <a:pt x="422" y="732"/>
                      <a:pt x="422" y="732"/>
                      <a:pt x="422" y="732"/>
                    </a:cubicBezTo>
                    <a:cubicBezTo>
                      <a:pt x="513" y="691"/>
                      <a:pt x="513" y="691"/>
                      <a:pt x="513" y="691"/>
                    </a:cubicBezTo>
                    <a:cubicBezTo>
                      <a:pt x="544" y="759"/>
                      <a:pt x="544" y="759"/>
                      <a:pt x="544" y="759"/>
                    </a:cubicBezTo>
                    <a:lnTo>
                      <a:pt x="594" y="870"/>
                    </a:lnTo>
                    <a:close/>
                    <a:moveTo>
                      <a:pt x="960" y="789"/>
                    </a:moveTo>
                    <a:cubicBezTo>
                      <a:pt x="824" y="789"/>
                      <a:pt x="692" y="826"/>
                      <a:pt x="640" y="843"/>
                    </a:cubicBezTo>
                    <a:cubicBezTo>
                      <a:pt x="568" y="684"/>
                      <a:pt x="568" y="684"/>
                      <a:pt x="568" y="684"/>
                    </a:cubicBezTo>
                    <a:cubicBezTo>
                      <a:pt x="564" y="675"/>
                      <a:pt x="564" y="675"/>
                      <a:pt x="564" y="675"/>
                    </a:cubicBezTo>
                    <a:cubicBezTo>
                      <a:pt x="613" y="646"/>
                      <a:pt x="735" y="566"/>
                      <a:pt x="827" y="457"/>
                    </a:cubicBezTo>
                    <a:cubicBezTo>
                      <a:pt x="977" y="789"/>
                      <a:pt x="977" y="789"/>
                      <a:pt x="977" y="789"/>
                    </a:cubicBezTo>
                    <a:cubicBezTo>
                      <a:pt x="971" y="789"/>
                      <a:pt x="966" y="789"/>
                      <a:pt x="960" y="7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nvGrpSpPr>
              <p:cNvPr id="88" name="Group 87"/>
              <p:cNvGrpSpPr/>
              <p:nvPr userDrawn="1"/>
            </p:nvGrpSpPr>
            <p:grpSpPr>
              <a:xfrm>
                <a:off x="14921447" y="1427713"/>
                <a:ext cx="153453" cy="154372"/>
                <a:chOff x="14868107" y="1392153"/>
                <a:chExt cx="265113" cy="266700"/>
              </a:xfrm>
              <a:grpFill/>
            </p:grpSpPr>
            <p:sp>
              <p:nvSpPr>
                <p:cNvPr id="89" name="Freeform 83"/>
                <p:cNvSpPr>
                  <a:spLocks noEditPoints="1"/>
                </p:cNvSpPr>
                <p:nvPr userDrawn="1"/>
              </p:nvSpPr>
              <p:spPr bwMode="auto">
                <a:xfrm>
                  <a:off x="14868107" y="1392153"/>
                  <a:ext cx="265113" cy="266700"/>
                </a:xfrm>
                <a:custGeom>
                  <a:avLst/>
                  <a:gdLst>
                    <a:gd name="T0" fmla="*/ 265 w 531"/>
                    <a:gd name="T1" fmla="*/ 0 h 531"/>
                    <a:gd name="T2" fmla="*/ 0 w 531"/>
                    <a:gd name="T3" fmla="*/ 266 h 531"/>
                    <a:gd name="T4" fmla="*/ 265 w 531"/>
                    <a:gd name="T5" fmla="*/ 531 h 531"/>
                    <a:gd name="T6" fmla="*/ 531 w 531"/>
                    <a:gd name="T7" fmla="*/ 266 h 531"/>
                    <a:gd name="T8" fmla="*/ 265 w 531"/>
                    <a:gd name="T9" fmla="*/ 0 h 531"/>
                    <a:gd name="T10" fmla="*/ 265 w 531"/>
                    <a:gd name="T11" fmla="*/ 479 h 531"/>
                    <a:gd name="T12" fmla="*/ 52 w 531"/>
                    <a:gd name="T13" fmla="*/ 266 h 531"/>
                    <a:gd name="T14" fmla="*/ 265 w 531"/>
                    <a:gd name="T15" fmla="*/ 53 h 531"/>
                    <a:gd name="T16" fmla="*/ 478 w 531"/>
                    <a:gd name="T17" fmla="*/ 266 h 531"/>
                    <a:gd name="T18" fmla="*/ 265 w 531"/>
                    <a:gd name="T19" fmla="*/ 479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1" h="531">
                      <a:moveTo>
                        <a:pt x="265" y="0"/>
                      </a:moveTo>
                      <a:cubicBezTo>
                        <a:pt x="119" y="0"/>
                        <a:pt x="0" y="119"/>
                        <a:pt x="0" y="266"/>
                      </a:cubicBezTo>
                      <a:cubicBezTo>
                        <a:pt x="0" y="412"/>
                        <a:pt x="119" y="531"/>
                        <a:pt x="265" y="531"/>
                      </a:cubicBezTo>
                      <a:cubicBezTo>
                        <a:pt x="412" y="531"/>
                        <a:pt x="531" y="412"/>
                        <a:pt x="531" y="266"/>
                      </a:cubicBezTo>
                      <a:cubicBezTo>
                        <a:pt x="531" y="119"/>
                        <a:pt x="412" y="0"/>
                        <a:pt x="265" y="0"/>
                      </a:cubicBezTo>
                      <a:close/>
                      <a:moveTo>
                        <a:pt x="265" y="479"/>
                      </a:moveTo>
                      <a:cubicBezTo>
                        <a:pt x="148" y="479"/>
                        <a:pt x="52" y="383"/>
                        <a:pt x="52" y="266"/>
                      </a:cubicBezTo>
                      <a:cubicBezTo>
                        <a:pt x="52" y="148"/>
                        <a:pt x="148" y="53"/>
                        <a:pt x="265" y="53"/>
                      </a:cubicBezTo>
                      <a:cubicBezTo>
                        <a:pt x="383" y="53"/>
                        <a:pt x="478" y="148"/>
                        <a:pt x="478" y="266"/>
                      </a:cubicBezTo>
                      <a:cubicBezTo>
                        <a:pt x="478" y="383"/>
                        <a:pt x="383" y="479"/>
                        <a:pt x="265" y="4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90" name="Freeform 84"/>
                <p:cNvSpPr>
                  <a:spLocks/>
                </p:cNvSpPr>
                <p:nvPr userDrawn="1"/>
              </p:nvSpPr>
              <p:spPr bwMode="auto">
                <a:xfrm>
                  <a:off x="14947482" y="1430253"/>
                  <a:ext cx="106363" cy="190500"/>
                </a:xfrm>
                <a:custGeom>
                  <a:avLst/>
                  <a:gdLst>
                    <a:gd name="T0" fmla="*/ 121 w 212"/>
                    <a:gd name="T1" fmla="*/ 160 h 381"/>
                    <a:gd name="T2" fmla="*/ 70 w 212"/>
                    <a:gd name="T3" fmla="*/ 124 h 381"/>
                    <a:gd name="T4" fmla="*/ 114 w 212"/>
                    <a:gd name="T5" fmla="*/ 102 h 381"/>
                    <a:gd name="T6" fmla="*/ 160 w 212"/>
                    <a:gd name="T7" fmla="*/ 113 h 381"/>
                    <a:gd name="T8" fmla="*/ 196 w 212"/>
                    <a:gd name="T9" fmla="*/ 104 h 381"/>
                    <a:gd name="T10" fmla="*/ 187 w 212"/>
                    <a:gd name="T11" fmla="*/ 68 h 381"/>
                    <a:gd name="T12" fmla="*/ 133 w 212"/>
                    <a:gd name="T13" fmla="*/ 51 h 381"/>
                    <a:gd name="T14" fmla="*/ 133 w 212"/>
                    <a:gd name="T15" fmla="*/ 26 h 381"/>
                    <a:gd name="T16" fmla="*/ 107 w 212"/>
                    <a:gd name="T17" fmla="*/ 0 h 381"/>
                    <a:gd name="T18" fmla="*/ 81 w 212"/>
                    <a:gd name="T19" fmla="*/ 26 h 381"/>
                    <a:gd name="T20" fmla="*/ 81 w 212"/>
                    <a:gd name="T21" fmla="*/ 53 h 381"/>
                    <a:gd name="T22" fmla="*/ 17 w 212"/>
                    <a:gd name="T23" fmla="*/ 124 h 381"/>
                    <a:gd name="T24" fmla="*/ 106 w 212"/>
                    <a:gd name="T25" fmla="*/ 210 h 381"/>
                    <a:gd name="T26" fmla="*/ 159 w 212"/>
                    <a:gd name="T27" fmla="*/ 250 h 381"/>
                    <a:gd name="T28" fmla="*/ 107 w 212"/>
                    <a:gd name="T29" fmla="*/ 279 h 381"/>
                    <a:gd name="T30" fmla="*/ 48 w 212"/>
                    <a:gd name="T31" fmla="*/ 256 h 381"/>
                    <a:gd name="T32" fmla="*/ 10 w 212"/>
                    <a:gd name="T33" fmla="*/ 257 h 381"/>
                    <a:gd name="T34" fmla="*/ 11 w 212"/>
                    <a:gd name="T35" fmla="*/ 294 h 381"/>
                    <a:gd name="T36" fmla="*/ 81 w 212"/>
                    <a:gd name="T37" fmla="*/ 329 h 381"/>
                    <a:gd name="T38" fmla="*/ 81 w 212"/>
                    <a:gd name="T39" fmla="*/ 355 h 381"/>
                    <a:gd name="T40" fmla="*/ 107 w 212"/>
                    <a:gd name="T41" fmla="*/ 381 h 381"/>
                    <a:gd name="T42" fmla="*/ 133 w 212"/>
                    <a:gd name="T43" fmla="*/ 355 h 381"/>
                    <a:gd name="T44" fmla="*/ 133 w 212"/>
                    <a:gd name="T45" fmla="*/ 330 h 381"/>
                    <a:gd name="T46" fmla="*/ 211 w 212"/>
                    <a:gd name="T47" fmla="*/ 251 h 381"/>
                    <a:gd name="T48" fmla="*/ 121 w 212"/>
                    <a:gd name="T49" fmla="*/ 16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2" h="381">
                      <a:moveTo>
                        <a:pt x="121" y="160"/>
                      </a:moveTo>
                      <a:cubicBezTo>
                        <a:pt x="82" y="148"/>
                        <a:pt x="70" y="142"/>
                        <a:pt x="70" y="124"/>
                      </a:cubicBezTo>
                      <a:cubicBezTo>
                        <a:pt x="70" y="109"/>
                        <a:pt x="92" y="102"/>
                        <a:pt x="114" y="102"/>
                      </a:cubicBezTo>
                      <a:cubicBezTo>
                        <a:pt x="130" y="102"/>
                        <a:pt x="148" y="106"/>
                        <a:pt x="160" y="113"/>
                      </a:cubicBezTo>
                      <a:cubicBezTo>
                        <a:pt x="172" y="121"/>
                        <a:pt x="188" y="117"/>
                        <a:pt x="196" y="104"/>
                      </a:cubicBezTo>
                      <a:cubicBezTo>
                        <a:pt x="203" y="92"/>
                        <a:pt x="199" y="75"/>
                        <a:pt x="187" y="68"/>
                      </a:cubicBezTo>
                      <a:cubicBezTo>
                        <a:pt x="172" y="59"/>
                        <a:pt x="153" y="53"/>
                        <a:pt x="133" y="51"/>
                      </a:cubicBezTo>
                      <a:cubicBezTo>
                        <a:pt x="133" y="26"/>
                        <a:pt x="133" y="26"/>
                        <a:pt x="133" y="26"/>
                      </a:cubicBezTo>
                      <a:cubicBezTo>
                        <a:pt x="133" y="12"/>
                        <a:pt x="122" y="0"/>
                        <a:pt x="107" y="0"/>
                      </a:cubicBezTo>
                      <a:cubicBezTo>
                        <a:pt x="93" y="0"/>
                        <a:pt x="81" y="12"/>
                        <a:pt x="81" y="26"/>
                      </a:cubicBezTo>
                      <a:cubicBezTo>
                        <a:pt x="81" y="53"/>
                        <a:pt x="81" y="53"/>
                        <a:pt x="81" y="53"/>
                      </a:cubicBezTo>
                      <a:cubicBezTo>
                        <a:pt x="37" y="63"/>
                        <a:pt x="17" y="94"/>
                        <a:pt x="17" y="124"/>
                      </a:cubicBezTo>
                      <a:cubicBezTo>
                        <a:pt x="17" y="184"/>
                        <a:pt x="70" y="200"/>
                        <a:pt x="106" y="210"/>
                      </a:cubicBezTo>
                      <a:cubicBezTo>
                        <a:pt x="147" y="223"/>
                        <a:pt x="159" y="229"/>
                        <a:pt x="159" y="250"/>
                      </a:cubicBezTo>
                      <a:cubicBezTo>
                        <a:pt x="159" y="278"/>
                        <a:pt x="116" y="279"/>
                        <a:pt x="107" y="279"/>
                      </a:cubicBezTo>
                      <a:cubicBezTo>
                        <a:pt x="86" y="279"/>
                        <a:pt x="62" y="270"/>
                        <a:pt x="48" y="256"/>
                      </a:cubicBezTo>
                      <a:cubicBezTo>
                        <a:pt x="37" y="246"/>
                        <a:pt x="20" y="246"/>
                        <a:pt x="10" y="257"/>
                      </a:cubicBezTo>
                      <a:cubicBezTo>
                        <a:pt x="0" y="267"/>
                        <a:pt x="1" y="284"/>
                        <a:pt x="11" y="294"/>
                      </a:cubicBezTo>
                      <a:cubicBezTo>
                        <a:pt x="29" y="311"/>
                        <a:pt x="55" y="324"/>
                        <a:pt x="81" y="329"/>
                      </a:cubicBezTo>
                      <a:cubicBezTo>
                        <a:pt x="81" y="355"/>
                        <a:pt x="81" y="355"/>
                        <a:pt x="81" y="355"/>
                      </a:cubicBezTo>
                      <a:cubicBezTo>
                        <a:pt x="81" y="370"/>
                        <a:pt x="93" y="381"/>
                        <a:pt x="107" y="381"/>
                      </a:cubicBezTo>
                      <a:cubicBezTo>
                        <a:pt x="122" y="381"/>
                        <a:pt x="133" y="370"/>
                        <a:pt x="133" y="355"/>
                      </a:cubicBezTo>
                      <a:cubicBezTo>
                        <a:pt x="133" y="330"/>
                        <a:pt x="133" y="330"/>
                        <a:pt x="133" y="330"/>
                      </a:cubicBezTo>
                      <a:cubicBezTo>
                        <a:pt x="181" y="322"/>
                        <a:pt x="211" y="292"/>
                        <a:pt x="211" y="251"/>
                      </a:cubicBezTo>
                      <a:cubicBezTo>
                        <a:pt x="212" y="187"/>
                        <a:pt x="159" y="172"/>
                        <a:pt x="121"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grpSp>
        <p:grpSp>
          <p:nvGrpSpPr>
            <p:cNvPr id="78" name="Group 77"/>
            <p:cNvGrpSpPr/>
            <p:nvPr userDrawn="1"/>
          </p:nvGrpSpPr>
          <p:grpSpPr>
            <a:xfrm>
              <a:off x="10649900" y="7001962"/>
              <a:ext cx="400525" cy="335204"/>
              <a:chOff x="13249175" y="1326748"/>
              <a:chExt cx="739775" cy="619125"/>
            </a:xfrm>
            <a:solidFill>
              <a:schemeClr val="accent5">
                <a:lumMod val="75000"/>
              </a:schemeClr>
            </a:solidFill>
          </p:grpSpPr>
          <p:sp>
            <p:nvSpPr>
              <p:cNvPr id="85" name="Freeform 55"/>
              <p:cNvSpPr>
                <a:spLocks noEditPoints="1"/>
              </p:cNvSpPr>
              <p:nvPr userDrawn="1"/>
            </p:nvSpPr>
            <p:spPr bwMode="auto">
              <a:xfrm>
                <a:off x="13249175" y="1326748"/>
                <a:ext cx="739775" cy="619125"/>
              </a:xfrm>
              <a:custGeom>
                <a:avLst/>
                <a:gdLst>
                  <a:gd name="T0" fmla="*/ 1410 w 1475"/>
                  <a:gd name="T1" fmla="*/ 0 h 1232"/>
                  <a:gd name="T2" fmla="*/ 65 w 1475"/>
                  <a:gd name="T3" fmla="*/ 0 h 1232"/>
                  <a:gd name="T4" fmla="*/ 0 w 1475"/>
                  <a:gd name="T5" fmla="*/ 65 h 1232"/>
                  <a:gd name="T6" fmla="*/ 0 w 1475"/>
                  <a:gd name="T7" fmla="*/ 929 h 1232"/>
                  <a:gd name="T8" fmla="*/ 65 w 1475"/>
                  <a:gd name="T9" fmla="*/ 994 h 1232"/>
                  <a:gd name="T10" fmla="*/ 545 w 1475"/>
                  <a:gd name="T11" fmla="*/ 994 h 1232"/>
                  <a:gd name="T12" fmla="*/ 464 w 1475"/>
                  <a:gd name="T13" fmla="*/ 1187 h 1232"/>
                  <a:gd name="T14" fmla="*/ 459 w 1475"/>
                  <a:gd name="T15" fmla="*/ 1216 h 1232"/>
                  <a:gd name="T16" fmla="*/ 483 w 1475"/>
                  <a:gd name="T17" fmla="*/ 1232 h 1232"/>
                  <a:gd name="T18" fmla="*/ 992 w 1475"/>
                  <a:gd name="T19" fmla="*/ 1232 h 1232"/>
                  <a:gd name="T20" fmla="*/ 1016 w 1475"/>
                  <a:gd name="T21" fmla="*/ 1216 h 1232"/>
                  <a:gd name="T22" fmla="*/ 1011 w 1475"/>
                  <a:gd name="T23" fmla="*/ 1187 h 1232"/>
                  <a:gd name="T24" fmla="*/ 931 w 1475"/>
                  <a:gd name="T25" fmla="*/ 994 h 1232"/>
                  <a:gd name="T26" fmla="*/ 1410 w 1475"/>
                  <a:gd name="T27" fmla="*/ 994 h 1232"/>
                  <a:gd name="T28" fmla="*/ 1475 w 1475"/>
                  <a:gd name="T29" fmla="*/ 929 h 1232"/>
                  <a:gd name="T30" fmla="*/ 1475 w 1475"/>
                  <a:gd name="T31" fmla="*/ 65 h 1232"/>
                  <a:gd name="T32" fmla="*/ 1410 w 1475"/>
                  <a:gd name="T33" fmla="*/ 0 h 1232"/>
                  <a:gd name="T34" fmla="*/ 65 w 1475"/>
                  <a:gd name="T35" fmla="*/ 52 h 1232"/>
                  <a:gd name="T36" fmla="*/ 1410 w 1475"/>
                  <a:gd name="T37" fmla="*/ 52 h 1232"/>
                  <a:gd name="T38" fmla="*/ 1422 w 1475"/>
                  <a:gd name="T39" fmla="*/ 65 h 1232"/>
                  <a:gd name="T40" fmla="*/ 1422 w 1475"/>
                  <a:gd name="T41" fmla="*/ 792 h 1232"/>
                  <a:gd name="T42" fmla="*/ 53 w 1475"/>
                  <a:gd name="T43" fmla="*/ 792 h 1232"/>
                  <a:gd name="T44" fmla="*/ 53 w 1475"/>
                  <a:gd name="T45" fmla="*/ 65 h 1232"/>
                  <a:gd name="T46" fmla="*/ 65 w 1475"/>
                  <a:gd name="T47" fmla="*/ 52 h 1232"/>
                  <a:gd name="T48" fmla="*/ 939 w 1475"/>
                  <a:gd name="T49" fmla="*/ 1180 h 1232"/>
                  <a:gd name="T50" fmla="*/ 536 w 1475"/>
                  <a:gd name="T51" fmla="*/ 1180 h 1232"/>
                  <a:gd name="T52" fmla="*/ 598 w 1475"/>
                  <a:gd name="T53" fmla="*/ 994 h 1232"/>
                  <a:gd name="T54" fmla="*/ 877 w 1475"/>
                  <a:gd name="T55" fmla="*/ 994 h 1232"/>
                  <a:gd name="T56" fmla="*/ 939 w 1475"/>
                  <a:gd name="T57" fmla="*/ 1180 h 1232"/>
                  <a:gd name="T58" fmla="*/ 1410 w 1475"/>
                  <a:gd name="T59" fmla="*/ 942 h 1232"/>
                  <a:gd name="T60" fmla="*/ 1280 w 1475"/>
                  <a:gd name="T61" fmla="*/ 942 h 1232"/>
                  <a:gd name="T62" fmla="*/ 1280 w 1475"/>
                  <a:gd name="T63" fmla="*/ 920 h 1232"/>
                  <a:gd name="T64" fmla="*/ 1254 w 1475"/>
                  <a:gd name="T65" fmla="*/ 894 h 1232"/>
                  <a:gd name="T66" fmla="*/ 1227 w 1475"/>
                  <a:gd name="T67" fmla="*/ 920 h 1232"/>
                  <a:gd name="T68" fmla="*/ 1227 w 1475"/>
                  <a:gd name="T69" fmla="*/ 942 h 1232"/>
                  <a:gd name="T70" fmla="*/ 1122 w 1475"/>
                  <a:gd name="T71" fmla="*/ 942 h 1232"/>
                  <a:gd name="T72" fmla="*/ 1122 w 1475"/>
                  <a:gd name="T73" fmla="*/ 920 h 1232"/>
                  <a:gd name="T74" fmla="*/ 1096 w 1475"/>
                  <a:gd name="T75" fmla="*/ 894 h 1232"/>
                  <a:gd name="T76" fmla="*/ 1069 w 1475"/>
                  <a:gd name="T77" fmla="*/ 920 h 1232"/>
                  <a:gd name="T78" fmla="*/ 1069 w 1475"/>
                  <a:gd name="T79" fmla="*/ 942 h 1232"/>
                  <a:gd name="T80" fmla="*/ 900 w 1475"/>
                  <a:gd name="T81" fmla="*/ 942 h 1232"/>
                  <a:gd name="T82" fmla="*/ 575 w 1475"/>
                  <a:gd name="T83" fmla="*/ 942 h 1232"/>
                  <a:gd name="T84" fmla="*/ 65 w 1475"/>
                  <a:gd name="T85" fmla="*/ 942 h 1232"/>
                  <a:gd name="T86" fmla="*/ 53 w 1475"/>
                  <a:gd name="T87" fmla="*/ 929 h 1232"/>
                  <a:gd name="T88" fmla="*/ 53 w 1475"/>
                  <a:gd name="T89" fmla="*/ 844 h 1232"/>
                  <a:gd name="T90" fmla="*/ 1422 w 1475"/>
                  <a:gd name="T91" fmla="*/ 844 h 1232"/>
                  <a:gd name="T92" fmla="*/ 1422 w 1475"/>
                  <a:gd name="T93" fmla="*/ 929 h 1232"/>
                  <a:gd name="T94" fmla="*/ 1410 w 1475"/>
                  <a:gd name="T95" fmla="*/ 942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75" h="1232">
                    <a:moveTo>
                      <a:pt x="1410" y="0"/>
                    </a:moveTo>
                    <a:cubicBezTo>
                      <a:pt x="65" y="0"/>
                      <a:pt x="65" y="0"/>
                      <a:pt x="65" y="0"/>
                    </a:cubicBezTo>
                    <a:cubicBezTo>
                      <a:pt x="30" y="0"/>
                      <a:pt x="0" y="29"/>
                      <a:pt x="0" y="65"/>
                    </a:cubicBezTo>
                    <a:cubicBezTo>
                      <a:pt x="0" y="929"/>
                      <a:pt x="0" y="929"/>
                      <a:pt x="0" y="929"/>
                    </a:cubicBezTo>
                    <a:cubicBezTo>
                      <a:pt x="0" y="965"/>
                      <a:pt x="30" y="994"/>
                      <a:pt x="65" y="994"/>
                    </a:cubicBezTo>
                    <a:cubicBezTo>
                      <a:pt x="545" y="994"/>
                      <a:pt x="545" y="994"/>
                      <a:pt x="545" y="994"/>
                    </a:cubicBezTo>
                    <a:cubicBezTo>
                      <a:pt x="537" y="1042"/>
                      <a:pt x="515" y="1137"/>
                      <a:pt x="464" y="1187"/>
                    </a:cubicBezTo>
                    <a:cubicBezTo>
                      <a:pt x="457" y="1195"/>
                      <a:pt x="455" y="1206"/>
                      <a:pt x="459" y="1216"/>
                    </a:cubicBezTo>
                    <a:cubicBezTo>
                      <a:pt x="463" y="1226"/>
                      <a:pt x="472" y="1232"/>
                      <a:pt x="483" y="1232"/>
                    </a:cubicBezTo>
                    <a:cubicBezTo>
                      <a:pt x="992" y="1232"/>
                      <a:pt x="992" y="1232"/>
                      <a:pt x="992" y="1232"/>
                    </a:cubicBezTo>
                    <a:cubicBezTo>
                      <a:pt x="1003" y="1232"/>
                      <a:pt x="1012" y="1226"/>
                      <a:pt x="1016" y="1216"/>
                    </a:cubicBezTo>
                    <a:cubicBezTo>
                      <a:pt x="1021" y="1206"/>
                      <a:pt x="1018" y="1195"/>
                      <a:pt x="1011" y="1187"/>
                    </a:cubicBezTo>
                    <a:cubicBezTo>
                      <a:pt x="960" y="1137"/>
                      <a:pt x="938" y="1042"/>
                      <a:pt x="931" y="994"/>
                    </a:cubicBezTo>
                    <a:cubicBezTo>
                      <a:pt x="1410" y="994"/>
                      <a:pt x="1410" y="994"/>
                      <a:pt x="1410" y="994"/>
                    </a:cubicBezTo>
                    <a:cubicBezTo>
                      <a:pt x="1446" y="994"/>
                      <a:pt x="1475" y="965"/>
                      <a:pt x="1475" y="929"/>
                    </a:cubicBezTo>
                    <a:cubicBezTo>
                      <a:pt x="1475" y="65"/>
                      <a:pt x="1475" y="65"/>
                      <a:pt x="1475" y="65"/>
                    </a:cubicBezTo>
                    <a:cubicBezTo>
                      <a:pt x="1475" y="29"/>
                      <a:pt x="1446" y="0"/>
                      <a:pt x="1410" y="0"/>
                    </a:cubicBezTo>
                    <a:close/>
                    <a:moveTo>
                      <a:pt x="65" y="52"/>
                    </a:moveTo>
                    <a:cubicBezTo>
                      <a:pt x="1410" y="52"/>
                      <a:pt x="1410" y="52"/>
                      <a:pt x="1410" y="52"/>
                    </a:cubicBezTo>
                    <a:cubicBezTo>
                      <a:pt x="1417" y="52"/>
                      <a:pt x="1422" y="58"/>
                      <a:pt x="1422" y="65"/>
                    </a:cubicBezTo>
                    <a:cubicBezTo>
                      <a:pt x="1422" y="792"/>
                      <a:pt x="1422" y="792"/>
                      <a:pt x="1422" y="792"/>
                    </a:cubicBezTo>
                    <a:cubicBezTo>
                      <a:pt x="53" y="792"/>
                      <a:pt x="53" y="792"/>
                      <a:pt x="53" y="792"/>
                    </a:cubicBezTo>
                    <a:cubicBezTo>
                      <a:pt x="53" y="65"/>
                      <a:pt x="53" y="65"/>
                      <a:pt x="53" y="65"/>
                    </a:cubicBezTo>
                    <a:cubicBezTo>
                      <a:pt x="53" y="58"/>
                      <a:pt x="59" y="52"/>
                      <a:pt x="65" y="52"/>
                    </a:cubicBezTo>
                    <a:close/>
                    <a:moveTo>
                      <a:pt x="939" y="1180"/>
                    </a:moveTo>
                    <a:cubicBezTo>
                      <a:pt x="536" y="1180"/>
                      <a:pt x="536" y="1180"/>
                      <a:pt x="536" y="1180"/>
                    </a:cubicBezTo>
                    <a:cubicBezTo>
                      <a:pt x="576" y="1115"/>
                      <a:pt x="592" y="1034"/>
                      <a:pt x="598" y="994"/>
                    </a:cubicBezTo>
                    <a:cubicBezTo>
                      <a:pt x="877" y="994"/>
                      <a:pt x="877" y="994"/>
                      <a:pt x="877" y="994"/>
                    </a:cubicBezTo>
                    <a:cubicBezTo>
                      <a:pt x="883" y="1034"/>
                      <a:pt x="899" y="1115"/>
                      <a:pt x="939" y="1180"/>
                    </a:cubicBezTo>
                    <a:close/>
                    <a:moveTo>
                      <a:pt x="1410" y="942"/>
                    </a:moveTo>
                    <a:cubicBezTo>
                      <a:pt x="1280" y="942"/>
                      <a:pt x="1280" y="942"/>
                      <a:pt x="1280" y="942"/>
                    </a:cubicBezTo>
                    <a:cubicBezTo>
                      <a:pt x="1280" y="920"/>
                      <a:pt x="1280" y="920"/>
                      <a:pt x="1280" y="920"/>
                    </a:cubicBezTo>
                    <a:cubicBezTo>
                      <a:pt x="1280" y="906"/>
                      <a:pt x="1268" y="894"/>
                      <a:pt x="1254" y="894"/>
                    </a:cubicBezTo>
                    <a:cubicBezTo>
                      <a:pt x="1239" y="894"/>
                      <a:pt x="1227" y="906"/>
                      <a:pt x="1227" y="920"/>
                    </a:cubicBezTo>
                    <a:cubicBezTo>
                      <a:pt x="1227" y="942"/>
                      <a:pt x="1227" y="942"/>
                      <a:pt x="1227" y="942"/>
                    </a:cubicBezTo>
                    <a:cubicBezTo>
                      <a:pt x="1122" y="942"/>
                      <a:pt x="1122" y="942"/>
                      <a:pt x="1122" y="942"/>
                    </a:cubicBezTo>
                    <a:cubicBezTo>
                      <a:pt x="1122" y="920"/>
                      <a:pt x="1122" y="920"/>
                      <a:pt x="1122" y="920"/>
                    </a:cubicBezTo>
                    <a:cubicBezTo>
                      <a:pt x="1122" y="906"/>
                      <a:pt x="1110" y="894"/>
                      <a:pt x="1096" y="894"/>
                    </a:cubicBezTo>
                    <a:cubicBezTo>
                      <a:pt x="1081" y="894"/>
                      <a:pt x="1069" y="906"/>
                      <a:pt x="1069" y="920"/>
                    </a:cubicBezTo>
                    <a:cubicBezTo>
                      <a:pt x="1069" y="942"/>
                      <a:pt x="1069" y="942"/>
                      <a:pt x="1069" y="942"/>
                    </a:cubicBezTo>
                    <a:cubicBezTo>
                      <a:pt x="900" y="942"/>
                      <a:pt x="900" y="942"/>
                      <a:pt x="900" y="942"/>
                    </a:cubicBezTo>
                    <a:cubicBezTo>
                      <a:pt x="575" y="942"/>
                      <a:pt x="575" y="942"/>
                      <a:pt x="575" y="942"/>
                    </a:cubicBezTo>
                    <a:cubicBezTo>
                      <a:pt x="65" y="942"/>
                      <a:pt x="65" y="942"/>
                      <a:pt x="65" y="942"/>
                    </a:cubicBezTo>
                    <a:cubicBezTo>
                      <a:pt x="59" y="942"/>
                      <a:pt x="53" y="936"/>
                      <a:pt x="53" y="929"/>
                    </a:cubicBezTo>
                    <a:cubicBezTo>
                      <a:pt x="53" y="844"/>
                      <a:pt x="53" y="844"/>
                      <a:pt x="53" y="844"/>
                    </a:cubicBezTo>
                    <a:cubicBezTo>
                      <a:pt x="1422" y="844"/>
                      <a:pt x="1422" y="844"/>
                      <a:pt x="1422" y="844"/>
                    </a:cubicBezTo>
                    <a:cubicBezTo>
                      <a:pt x="1422" y="929"/>
                      <a:pt x="1422" y="929"/>
                      <a:pt x="1422" y="929"/>
                    </a:cubicBezTo>
                    <a:cubicBezTo>
                      <a:pt x="1422" y="936"/>
                      <a:pt x="1417" y="942"/>
                      <a:pt x="1410" y="9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86" name="Freeform 56"/>
              <p:cNvSpPr>
                <a:spLocks noEditPoints="1"/>
              </p:cNvSpPr>
              <p:nvPr userDrawn="1"/>
            </p:nvSpPr>
            <p:spPr bwMode="auto">
              <a:xfrm>
                <a:off x="13323787" y="1410886"/>
                <a:ext cx="590550" cy="217488"/>
              </a:xfrm>
              <a:custGeom>
                <a:avLst/>
                <a:gdLst>
                  <a:gd name="T0" fmla="*/ 78 w 1175"/>
                  <a:gd name="T1" fmla="*/ 300 h 435"/>
                  <a:gd name="T2" fmla="*/ 144 w 1175"/>
                  <a:gd name="T3" fmla="*/ 263 h 435"/>
                  <a:gd name="T4" fmla="*/ 511 w 1175"/>
                  <a:gd name="T5" fmla="*/ 369 h 435"/>
                  <a:gd name="T6" fmla="*/ 588 w 1175"/>
                  <a:gd name="T7" fmla="*/ 435 h 435"/>
                  <a:gd name="T8" fmla="*/ 665 w 1175"/>
                  <a:gd name="T9" fmla="*/ 357 h 435"/>
                  <a:gd name="T10" fmla="*/ 665 w 1175"/>
                  <a:gd name="T11" fmla="*/ 348 h 435"/>
                  <a:gd name="T12" fmla="*/ 1043 w 1175"/>
                  <a:gd name="T13" fmla="*/ 133 h 435"/>
                  <a:gd name="T14" fmla="*/ 1097 w 1175"/>
                  <a:gd name="T15" fmla="*/ 155 h 435"/>
                  <a:gd name="T16" fmla="*/ 1175 w 1175"/>
                  <a:gd name="T17" fmla="*/ 78 h 435"/>
                  <a:gd name="T18" fmla="*/ 1097 w 1175"/>
                  <a:gd name="T19" fmla="*/ 0 h 435"/>
                  <a:gd name="T20" fmla="*/ 1019 w 1175"/>
                  <a:gd name="T21" fmla="*/ 78 h 435"/>
                  <a:gd name="T22" fmla="*/ 1020 w 1175"/>
                  <a:gd name="T23" fmla="*/ 85 h 435"/>
                  <a:gd name="T24" fmla="*/ 641 w 1175"/>
                  <a:gd name="T25" fmla="*/ 300 h 435"/>
                  <a:gd name="T26" fmla="*/ 588 w 1175"/>
                  <a:gd name="T27" fmla="*/ 279 h 435"/>
                  <a:gd name="T28" fmla="*/ 521 w 1175"/>
                  <a:gd name="T29" fmla="*/ 317 h 435"/>
                  <a:gd name="T30" fmla="*/ 155 w 1175"/>
                  <a:gd name="T31" fmla="*/ 211 h 435"/>
                  <a:gd name="T32" fmla="*/ 78 w 1175"/>
                  <a:gd name="T33" fmla="*/ 145 h 435"/>
                  <a:gd name="T34" fmla="*/ 0 w 1175"/>
                  <a:gd name="T35" fmla="*/ 223 h 435"/>
                  <a:gd name="T36" fmla="*/ 78 w 1175"/>
                  <a:gd name="T37" fmla="*/ 300 h 435"/>
                  <a:gd name="T38" fmla="*/ 1097 w 1175"/>
                  <a:gd name="T39" fmla="*/ 53 h 435"/>
                  <a:gd name="T40" fmla="*/ 1122 w 1175"/>
                  <a:gd name="T41" fmla="*/ 78 h 435"/>
                  <a:gd name="T42" fmla="*/ 1097 w 1175"/>
                  <a:gd name="T43" fmla="*/ 103 h 435"/>
                  <a:gd name="T44" fmla="*/ 1074 w 1175"/>
                  <a:gd name="T45" fmla="*/ 88 h 435"/>
                  <a:gd name="T46" fmla="*/ 1074 w 1175"/>
                  <a:gd name="T47" fmla="*/ 87 h 435"/>
                  <a:gd name="T48" fmla="*/ 1072 w 1175"/>
                  <a:gd name="T49" fmla="*/ 78 h 435"/>
                  <a:gd name="T50" fmla="*/ 1097 w 1175"/>
                  <a:gd name="T51" fmla="*/ 53 h 435"/>
                  <a:gd name="T52" fmla="*/ 588 w 1175"/>
                  <a:gd name="T53" fmla="*/ 332 h 435"/>
                  <a:gd name="T54" fmla="*/ 613 w 1175"/>
                  <a:gd name="T55" fmla="*/ 357 h 435"/>
                  <a:gd name="T56" fmla="*/ 588 w 1175"/>
                  <a:gd name="T57" fmla="*/ 382 h 435"/>
                  <a:gd name="T58" fmla="*/ 563 w 1175"/>
                  <a:gd name="T59" fmla="*/ 357 h 435"/>
                  <a:gd name="T60" fmla="*/ 563 w 1175"/>
                  <a:gd name="T61" fmla="*/ 354 h 435"/>
                  <a:gd name="T62" fmla="*/ 563 w 1175"/>
                  <a:gd name="T63" fmla="*/ 353 h 435"/>
                  <a:gd name="T64" fmla="*/ 588 w 1175"/>
                  <a:gd name="T65" fmla="*/ 332 h 435"/>
                  <a:gd name="T66" fmla="*/ 78 w 1175"/>
                  <a:gd name="T67" fmla="*/ 198 h 435"/>
                  <a:gd name="T68" fmla="*/ 103 w 1175"/>
                  <a:gd name="T69" fmla="*/ 223 h 435"/>
                  <a:gd name="T70" fmla="*/ 78 w 1175"/>
                  <a:gd name="T71" fmla="*/ 248 h 435"/>
                  <a:gd name="T72" fmla="*/ 53 w 1175"/>
                  <a:gd name="T73" fmla="*/ 223 h 435"/>
                  <a:gd name="T74" fmla="*/ 78 w 1175"/>
                  <a:gd name="T75" fmla="*/ 198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5" h="435">
                    <a:moveTo>
                      <a:pt x="78" y="300"/>
                    </a:moveTo>
                    <a:cubicBezTo>
                      <a:pt x="106" y="300"/>
                      <a:pt x="131" y="285"/>
                      <a:pt x="144" y="263"/>
                    </a:cubicBezTo>
                    <a:cubicBezTo>
                      <a:pt x="511" y="369"/>
                      <a:pt x="511" y="369"/>
                      <a:pt x="511" y="369"/>
                    </a:cubicBezTo>
                    <a:cubicBezTo>
                      <a:pt x="517" y="406"/>
                      <a:pt x="549" y="435"/>
                      <a:pt x="588" y="435"/>
                    </a:cubicBezTo>
                    <a:cubicBezTo>
                      <a:pt x="630" y="435"/>
                      <a:pt x="665" y="400"/>
                      <a:pt x="665" y="357"/>
                    </a:cubicBezTo>
                    <a:cubicBezTo>
                      <a:pt x="665" y="354"/>
                      <a:pt x="665" y="351"/>
                      <a:pt x="665" y="348"/>
                    </a:cubicBezTo>
                    <a:cubicBezTo>
                      <a:pt x="1043" y="133"/>
                      <a:pt x="1043" y="133"/>
                      <a:pt x="1043" y="133"/>
                    </a:cubicBezTo>
                    <a:cubicBezTo>
                      <a:pt x="1057" y="147"/>
                      <a:pt x="1076" y="155"/>
                      <a:pt x="1097" y="155"/>
                    </a:cubicBezTo>
                    <a:cubicBezTo>
                      <a:pt x="1140" y="155"/>
                      <a:pt x="1175" y="121"/>
                      <a:pt x="1175" y="78"/>
                    </a:cubicBezTo>
                    <a:cubicBezTo>
                      <a:pt x="1175" y="35"/>
                      <a:pt x="1140" y="0"/>
                      <a:pt x="1097" y="0"/>
                    </a:cubicBezTo>
                    <a:cubicBezTo>
                      <a:pt x="1054" y="0"/>
                      <a:pt x="1019" y="35"/>
                      <a:pt x="1019" y="78"/>
                    </a:cubicBezTo>
                    <a:cubicBezTo>
                      <a:pt x="1019" y="80"/>
                      <a:pt x="1020" y="83"/>
                      <a:pt x="1020" y="85"/>
                    </a:cubicBezTo>
                    <a:cubicBezTo>
                      <a:pt x="641" y="300"/>
                      <a:pt x="641" y="300"/>
                      <a:pt x="641" y="300"/>
                    </a:cubicBezTo>
                    <a:cubicBezTo>
                      <a:pt x="627" y="287"/>
                      <a:pt x="608" y="279"/>
                      <a:pt x="588" y="279"/>
                    </a:cubicBezTo>
                    <a:cubicBezTo>
                      <a:pt x="559" y="279"/>
                      <a:pt x="534" y="295"/>
                      <a:pt x="521" y="317"/>
                    </a:cubicBezTo>
                    <a:cubicBezTo>
                      <a:pt x="155" y="211"/>
                      <a:pt x="155" y="211"/>
                      <a:pt x="155" y="211"/>
                    </a:cubicBezTo>
                    <a:cubicBezTo>
                      <a:pt x="149" y="174"/>
                      <a:pt x="117" y="145"/>
                      <a:pt x="78" y="145"/>
                    </a:cubicBezTo>
                    <a:cubicBezTo>
                      <a:pt x="35" y="145"/>
                      <a:pt x="0" y="180"/>
                      <a:pt x="0" y="223"/>
                    </a:cubicBezTo>
                    <a:cubicBezTo>
                      <a:pt x="0" y="265"/>
                      <a:pt x="35" y="300"/>
                      <a:pt x="78" y="300"/>
                    </a:cubicBezTo>
                    <a:close/>
                    <a:moveTo>
                      <a:pt x="1097" y="53"/>
                    </a:moveTo>
                    <a:cubicBezTo>
                      <a:pt x="1111" y="53"/>
                      <a:pt x="1122" y="64"/>
                      <a:pt x="1122" y="78"/>
                    </a:cubicBezTo>
                    <a:cubicBezTo>
                      <a:pt x="1122" y="92"/>
                      <a:pt x="1111" y="103"/>
                      <a:pt x="1097" y="103"/>
                    </a:cubicBezTo>
                    <a:cubicBezTo>
                      <a:pt x="1087" y="103"/>
                      <a:pt x="1078" y="97"/>
                      <a:pt x="1074" y="88"/>
                    </a:cubicBezTo>
                    <a:cubicBezTo>
                      <a:pt x="1074" y="88"/>
                      <a:pt x="1074" y="88"/>
                      <a:pt x="1074" y="87"/>
                    </a:cubicBezTo>
                    <a:cubicBezTo>
                      <a:pt x="1073" y="84"/>
                      <a:pt x="1072" y="81"/>
                      <a:pt x="1072" y="78"/>
                    </a:cubicBezTo>
                    <a:cubicBezTo>
                      <a:pt x="1072" y="64"/>
                      <a:pt x="1083" y="53"/>
                      <a:pt x="1097" y="53"/>
                    </a:cubicBezTo>
                    <a:close/>
                    <a:moveTo>
                      <a:pt x="588" y="332"/>
                    </a:moveTo>
                    <a:cubicBezTo>
                      <a:pt x="601" y="332"/>
                      <a:pt x="613" y="343"/>
                      <a:pt x="613" y="357"/>
                    </a:cubicBezTo>
                    <a:cubicBezTo>
                      <a:pt x="613" y="371"/>
                      <a:pt x="601" y="382"/>
                      <a:pt x="588" y="382"/>
                    </a:cubicBezTo>
                    <a:cubicBezTo>
                      <a:pt x="574" y="382"/>
                      <a:pt x="563" y="371"/>
                      <a:pt x="563" y="357"/>
                    </a:cubicBezTo>
                    <a:cubicBezTo>
                      <a:pt x="563" y="356"/>
                      <a:pt x="563" y="355"/>
                      <a:pt x="563" y="354"/>
                    </a:cubicBezTo>
                    <a:cubicBezTo>
                      <a:pt x="563" y="354"/>
                      <a:pt x="563" y="353"/>
                      <a:pt x="563" y="353"/>
                    </a:cubicBezTo>
                    <a:cubicBezTo>
                      <a:pt x="565" y="341"/>
                      <a:pt x="575" y="332"/>
                      <a:pt x="588" y="332"/>
                    </a:cubicBezTo>
                    <a:close/>
                    <a:moveTo>
                      <a:pt x="78" y="198"/>
                    </a:moveTo>
                    <a:cubicBezTo>
                      <a:pt x="92" y="198"/>
                      <a:pt x="103" y="209"/>
                      <a:pt x="103" y="223"/>
                    </a:cubicBezTo>
                    <a:cubicBezTo>
                      <a:pt x="103" y="236"/>
                      <a:pt x="92" y="248"/>
                      <a:pt x="78" y="248"/>
                    </a:cubicBezTo>
                    <a:cubicBezTo>
                      <a:pt x="64" y="248"/>
                      <a:pt x="53" y="236"/>
                      <a:pt x="53" y="223"/>
                    </a:cubicBezTo>
                    <a:cubicBezTo>
                      <a:pt x="53" y="209"/>
                      <a:pt x="64" y="198"/>
                      <a:pt x="78"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cxnSp>
          <p:nvCxnSpPr>
            <p:cNvPr id="79" name="Straight Connector 78"/>
            <p:cNvCxnSpPr/>
            <p:nvPr userDrawn="1"/>
          </p:nvCxnSpPr>
          <p:spPr bwMode="auto">
            <a:xfrm flipH="1">
              <a:off x="9437370" y="7331404"/>
              <a:ext cx="273050" cy="0"/>
            </a:xfrm>
            <a:prstGeom prst="line">
              <a:avLst/>
            </a:prstGeom>
            <a:solidFill>
              <a:schemeClr val="accent5">
                <a:lumMod val="75000"/>
              </a:schemeClr>
            </a:solidFill>
            <a:ln w="9525" cap="flat" cmpd="sng" algn="ctr">
              <a:solidFill>
                <a:schemeClr val="accent5">
                  <a:lumMod val="75000"/>
                </a:schemeClr>
              </a:solidFill>
              <a:prstDash val="solid"/>
              <a:round/>
              <a:headEnd type="none" w="med" len="med"/>
              <a:tailEnd type="none" w="med" len="med"/>
            </a:ln>
            <a:effectLst/>
          </p:spPr>
        </p:cxnSp>
        <p:cxnSp>
          <p:nvCxnSpPr>
            <p:cNvPr id="80" name="Straight Connector 79"/>
            <p:cNvCxnSpPr/>
            <p:nvPr userDrawn="1"/>
          </p:nvCxnSpPr>
          <p:spPr bwMode="auto">
            <a:xfrm flipH="1">
              <a:off x="9799320" y="7331404"/>
              <a:ext cx="273050" cy="0"/>
            </a:xfrm>
            <a:prstGeom prst="line">
              <a:avLst/>
            </a:prstGeom>
            <a:solidFill>
              <a:schemeClr val="accent5">
                <a:lumMod val="75000"/>
              </a:schemeClr>
            </a:solidFill>
            <a:ln w="9525" cap="flat" cmpd="sng" algn="ctr">
              <a:solidFill>
                <a:schemeClr val="accent5">
                  <a:lumMod val="75000"/>
                </a:schemeClr>
              </a:solidFill>
              <a:prstDash val="solid"/>
              <a:round/>
              <a:headEnd type="none" w="med" len="med"/>
              <a:tailEnd type="none" w="med" len="med"/>
            </a:ln>
            <a:effectLst/>
          </p:spPr>
        </p:cxnSp>
        <p:cxnSp>
          <p:nvCxnSpPr>
            <p:cNvPr id="81" name="Straight Connector 80"/>
            <p:cNvCxnSpPr/>
            <p:nvPr userDrawn="1"/>
          </p:nvCxnSpPr>
          <p:spPr bwMode="auto">
            <a:xfrm flipH="1">
              <a:off x="10517505" y="7331404"/>
              <a:ext cx="273050" cy="0"/>
            </a:xfrm>
            <a:prstGeom prst="line">
              <a:avLst/>
            </a:prstGeom>
            <a:solidFill>
              <a:schemeClr val="accent5">
                <a:lumMod val="75000"/>
              </a:schemeClr>
            </a:solidFill>
            <a:ln w="9525" cap="flat" cmpd="sng" algn="ctr">
              <a:solidFill>
                <a:schemeClr val="accent5">
                  <a:lumMod val="75000"/>
                </a:schemeClr>
              </a:solidFill>
              <a:prstDash val="solid"/>
              <a:round/>
              <a:headEnd type="none" w="med" len="med"/>
              <a:tailEnd type="none" w="med" len="med"/>
            </a:ln>
            <a:effectLst/>
          </p:spPr>
        </p:cxnSp>
        <p:cxnSp>
          <p:nvCxnSpPr>
            <p:cNvPr id="82" name="Straight Connector 81"/>
            <p:cNvCxnSpPr>
              <a:endCxn id="97" idx="20"/>
            </p:cNvCxnSpPr>
            <p:nvPr userDrawn="1"/>
          </p:nvCxnSpPr>
          <p:spPr bwMode="auto">
            <a:xfrm flipH="1" flipV="1">
              <a:off x="10506344" y="7264426"/>
              <a:ext cx="20686" cy="74645"/>
            </a:xfrm>
            <a:prstGeom prst="line">
              <a:avLst/>
            </a:prstGeom>
            <a:solidFill>
              <a:schemeClr val="accent5">
                <a:lumMod val="75000"/>
              </a:schemeClr>
            </a:solidFill>
            <a:ln w="12700" cap="flat" cmpd="sng" algn="ctr">
              <a:solidFill>
                <a:schemeClr val="accent5">
                  <a:lumMod val="75000"/>
                </a:schemeClr>
              </a:solidFill>
              <a:prstDash val="solid"/>
              <a:round/>
              <a:headEnd type="none" w="med" len="med"/>
              <a:tailEnd type="none" w="med" len="med"/>
            </a:ln>
            <a:effectLst/>
          </p:spPr>
        </p:cxnSp>
        <p:cxnSp>
          <p:nvCxnSpPr>
            <p:cNvPr id="83" name="Straight Connector 82"/>
            <p:cNvCxnSpPr/>
            <p:nvPr userDrawn="1"/>
          </p:nvCxnSpPr>
          <p:spPr bwMode="auto">
            <a:xfrm flipH="1">
              <a:off x="10911840" y="7331404"/>
              <a:ext cx="273050" cy="0"/>
            </a:xfrm>
            <a:prstGeom prst="line">
              <a:avLst/>
            </a:prstGeom>
            <a:solidFill>
              <a:schemeClr val="accent5">
                <a:lumMod val="75000"/>
              </a:schemeClr>
            </a:solidFill>
            <a:ln w="9525" cap="flat" cmpd="sng" algn="ctr">
              <a:solidFill>
                <a:schemeClr val="accent5">
                  <a:lumMod val="75000"/>
                </a:schemeClr>
              </a:solidFill>
              <a:prstDash val="solid"/>
              <a:round/>
              <a:headEnd type="none" w="med" len="med"/>
              <a:tailEnd type="none" w="med" len="med"/>
            </a:ln>
            <a:effectLst/>
          </p:spPr>
        </p:cxnSp>
        <p:cxnSp>
          <p:nvCxnSpPr>
            <p:cNvPr id="84" name="Straight Connector 83"/>
            <p:cNvCxnSpPr/>
            <p:nvPr userDrawn="1"/>
          </p:nvCxnSpPr>
          <p:spPr bwMode="auto">
            <a:xfrm flipH="1">
              <a:off x="11298555" y="7331404"/>
              <a:ext cx="273050" cy="0"/>
            </a:xfrm>
            <a:prstGeom prst="line">
              <a:avLst/>
            </a:prstGeom>
            <a:solidFill>
              <a:schemeClr val="accent5">
                <a:lumMod val="75000"/>
              </a:schemeClr>
            </a:solidFill>
            <a:ln w="9525" cap="flat" cmpd="sng" algn="ctr">
              <a:solidFill>
                <a:schemeClr val="accent5">
                  <a:lumMod val="75000"/>
                </a:schemeClr>
              </a:solidFill>
              <a:prstDash val="solid"/>
              <a:round/>
              <a:headEnd type="none" w="med" len="med"/>
              <a:tailEnd type="none" w="med" len="med"/>
            </a:ln>
            <a:effectLst/>
          </p:spPr>
        </p:cxnSp>
      </p:grpSp>
    </p:spTree>
    <p:extLst>
      <p:ext uri="{BB962C8B-B14F-4D97-AF65-F5344CB8AC3E}">
        <p14:creationId xmlns:p14="http://schemas.microsoft.com/office/powerpoint/2010/main" val="214390329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65_Agenda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263769"/>
            <a:ext cx="12192000" cy="6101520"/>
          </a:xfrm>
          <a:prstGeom prst="rect">
            <a:avLst/>
          </a:prstGeom>
        </p:spPr>
      </p:pic>
      <p:graphicFrame>
        <p:nvGraphicFramePr>
          <p:cNvPr id="4" name="Object 3" hidden="1"/>
          <p:cNvGraphicFramePr>
            <a:graphicFrameLocks noChangeAspect="1"/>
          </p:cNvGraphicFramePr>
          <p:nvPr>
            <p:custDataLst>
              <p:tags r:id="rId2"/>
            </p:custDataLst>
            <p:extLst/>
          </p:nvPr>
        </p:nvGraphicFramePr>
        <p:xfrm>
          <a:off x="2" y="3"/>
          <a:ext cx="180999" cy="143985"/>
        </p:xfrm>
        <a:graphic>
          <a:graphicData uri="http://schemas.openxmlformats.org/presentationml/2006/ole">
            <mc:AlternateContent xmlns:mc="http://schemas.openxmlformats.org/markup-compatibility/2006">
              <mc:Choice xmlns:v="urn:schemas-microsoft-com:vml" Requires="v">
                <p:oleObj spid="_x0000_s143426"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3"/>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9" name="Group 8"/>
          <p:cNvGrpSpPr/>
          <p:nvPr userDrawn="1"/>
        </p:nvGrpSpPr>
        <p:grpSpPr>
          <a:xfrm>
            <a:off x="0" y="0"/>
            <a:ext cx="12192000" cy="892629"/>
            <a:chOff x="0" y="0"/>
            <a:chExt cx="12192000" cy="892629"/>
          </a:xfrm>
        </p:grpSpPr>
        <p:sp>
          <p:nvSpPr>
            <p:cNvPr id="10" name="Rectangle 9"/>
            <p:cNvSpPr/>
            <p:nvPr userDrawn="1"/>
          </p:nvSpPr>
          <p:spPr>
            <a:xfrm>
              <a:off x="0" y="0"/>
              <a:ext cx="12192000" cy="892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nvGrpSpPr>
            <p:cNvPr id="11" name="Groupe 1"/>
            <p:cNvGrpSpPr/>
            <p:nvPr userDrawn="1"/>
          </p:nvGrpSpPr>
          <p:grpSpPr>
            <a:xfrm>
              <a:off x="11501103" y="171573"/>
              <a:ext cx="419436" cy="388988"/>
              <a:chOff x="11501102" y="171573"/>
              <a:chExt cx="419436" cy="388988"/>
            </a:xfrm>
          </p:grpSpPr>
          <p:sp>
            <p:nvSpPr>
              <p:cNvPr id="12"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grpSp>
      </p:grpSp>
      <p:sp>
        <p:nvSpPr>
          <p:cNvPr id="2" name="Title 1"/>
          <p:cNvSpPr>
            <a:spLocks noGrp="1"/>
          </p:cNvSpPr>
          <p:nvPr>
            <p:ph type="title"/>
            <p:custDataLst>
              <p:tags r:id="rId3"/>
            </p:custDataLst>
          </p:nvPr>
        </p:nvSpPr>
        <p:spPr>
          <a:xfrm>
            <a:off x="444322" y="101604"/>
            <a:ext cx="10844164" cy="754299"/>
          </a:xfrm>
          <a:prstGeom prst="rect">
            <a:avLst/>
          </a:prstGeom>
        </p:spPr>
        <p:txBody>
          <a:bodyPr/>
          <a:lstStyle>
            <a:lvl1pPr>
              <a:defRPr>
                <a:solidFill>
                  <a:srgbClr val="0070C0"/>
                </a:solidFill>
              </a:defRPr>
            </a:lvl1pPr>
          </a:lstStyle>
          <a:p>
            <a:r>
              <a:rPr lang="pl-PL" noProof="0" dirty="0" err="1"/>
              <a:t>Click</a:t>
            </a:r>
            <a:r>
              <a:rPr lang="pl-PL" noProof="0" dirty="0"/>
              <a:t> to </a:t>
            </a:r>
            <a:r>
              <a:rPr lang="pl-PL" noProof="0" dirty="0" err="1"/>
              <a:t>edit</a:t>
            </a:r>
            <a:r>
              <a:rPr lang="pl-PL" noProof="0" dirty="0"/>
              <a:t> Master </a:t>
            </a:r>
            <a:r>
              <a:rPr lang="pl-PL" noProof="0" dirty="0" err="1"/>
              <a:t>title</a:t>
            </a:r>
            <a:r>
              <a:rPr lang="pl-PL" noProof="0" dirty="0"/>
              <a:t> style</a:t>
            </a:r>
            <a:endParaRPr lang="en-US" dirty="0"/>
          </a:p>
        </p:txBody>
      </p:sp>
    </p:spTree>
    <p:extLst>
      <p:ext uri="{BB962C8B-B14F-4D97-AF65-F5344CB8AC3E}">
        <p14:creationId xmlns:p14="http://schemas.microsoft.com/office/powerpoint/2010/main" val="210199927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85_Agenda slide">
    <p:spTree>
      <p:nvGrpSpPr>
        <p:cNvPr id="1" name=""/>
        <p:cNvGrpSpPr/>
        <p:nvPr/>
      </p:nvGrpSpPr>
      <p:grpSpPr>
        <a:xfrm>
          <a:off x="0" y="0"/>
          <a:ext cx="0" cy="0"/>
          <a:chOff x="0" y="0"/>
          <a:chExt cx="0" cy="0"/>
        </a:xfrm>
      </p:grpSpPr>
      <p:pic>
        <p:nvPicPr>
          <p:cNvPr id="9" name="Picture 3" descr="D:\Users\supricha\Work @ Capgemeni\2016\ODS\March\Digital marketing client deck\Images\shutterstock_321517772.jpg"/>
          <p:cNvPicPr>
            <a:picLocks noChangeAspect="1" noChangeArrowheads="1"/>
          </p:cNvPicPr>
          <p:nvPr userDrawn="1"/>
        </p:nvPicPr>
        <p:blipFill rotWithShape="1">
          <a:blip r:embed="rId5" cstate="print">
            <a:extLst>
              <a:ext uri="{28A0092B-C50C-407E-A947-70E740481C1C}">
                <a14:useLocalDpi xmlns:a14="http://schemas.microsoft.com/office/drawing/2010/main"/>
              </a:ext>
            </a:extLst>
          </a:blip>
          <a:srcRect/>
          <a:stretch/>
        </p:blipFill>
        <p:spPr bwMode="auto">
          <a:xfrm>
            <a:off x="1" y="257452"/>
            <a:ext cx="12199233" cy="6107838"/>
          </a:xfrm>
          <a:prstGeom prst="rect">
            <a:avLst/>
          </a:prstGeom>
          <a:noFill/>
        </p:spPr>
      </p:pic>
      <p:sp>
        <p:nvSpPr>
          <p:cNvPr id="11" name="Rectangle 10"/>
          <p:cNvSpPr/>
          <p:nvPr userDrawn="1"/>
        </p:nvSpPr>
        <p:spPr bwMode="auto">
          <a:xfrm>
            <a:off x="-1" y="739790"/>
            <a:ext cx="12191999" cy="5625500"/>
          </a:xfrm>
          <a:prstGeom prst="rect">
            <a:avLst/>
          </a:prstGeom>
          <a:solidFill>
            <a:srgbClr val="C2EFFF">
              <a:alpha val="78039"/>
            </a:srgb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600" dirty="0">
              <a:solidFill>
                <a:srgbClr val="1C1C1C"/>
              </a:solidFill>
              <a:cs typeface="Arial" charset="0"/>
            </a:endParaRPr>
          </a:p>
        </p:txBody>
      </p:sp>
      <p:graphicFrame>
        <p:nvGraphicFramePr>
          <p:cNvPr id="4" name="Object 3" hidden="1"/>
          <p:cNvGraphicFramePr>
            <a:graphicFrameLocks noChangeAspect="1"/>
          </p:cNvGraphicFramePr>
          <p:nvPr>
            <p:custDataLst>
              <p:tags r:id="rId2"/>
            </p:custDataLst>
            <p:extLst/>
          </p:nvPr>
        </p:nvGraphicFramePr>
        <p:xfrm>
          <a:off x="2" y="3"/>
          <a:ext cx="180999" cy="143985"/>
        </p:xfrm>
        <a:graphic>
          <a:graphicData uri="http://schemas.openxmlformats.org/presentationml/2006/ole">
            <mc:AlternateContent xmlns:mc="http://schemas.openxmlformats.org/markup-compatibility/2006">
              <mc:Choice xmlns:v="urn:schemas-microsoft-com:vml" Requires="v">
                <p:oleObj spid="_x0000_s144450"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3"/>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0" name="Group 9"/>
          <p:cNvGrpSpPr/>
          <p:nvPr userDrawn="1"/>
        </p:nvGrpSpPr>
        <p:grpSpPr>
          <a:xfrm>
            <a:off x="0" y="0"/>
            <a:ext cx="12192000" cy="892629"/>
            <a:chOff x="0" y="0"/>
            <a:chExt cx="12192000" cy="892629"/>
          </a:xfrm>
        </p:grpSpPr>
        <p:sp>
          <p:nvSpPr>
            <p:cNvPr id="12" name="Rectangle 11"/>
            <p:cNvSpPr/>
            <p:nvPr userDrawn="1"/>
          </p:nvSpPr>
          <p:spPr>
            <a:xfrm>
              <a:off x="0" y="0"/>
              <a:ext cx="12192000" cy="892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nvGrpSpPr>
            <p:cNvPr id="13" name="Groupe 1"/>
            <p:cNvGrpSpPr/>
            <p:nvPr userDrawn="1"/>
          </p:nvGrpSpPr>
          <p:grpSpPr>
            <a:xfrm>
              <a:off x="11501103" y="171573"/>
              <a:ext cx="419436" cy="388988"/>
              <a:chOff x="11501102" y="171573"/>
              <a:chExt cx="419436" cy="388988"/>
            </a:xfrm>
          </p:grpSpPr>
          <p:sp>
            <p:nvSpPr>
              <p:cNvPr id="1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grpSp>
      </p:grpSp>
      <p:sp>
        <p:nvSpPr>
          <p:cNvPr id="2" name="Title 1"/>
          <p:cNvSpPr>
            <a:spLocks noGrp="1"/>
          </p:cNvSpPr>
          <p:nvPr>
            <p:ph type="title"/>
            <p:custDataLst>
              <p:tags r:id="rId3"/>
            </p:custDataLst>
          </p:nvPr>
        </p:nvSpPr>
        <p:spPr>
          <a:xfrm>
            <a:off x="444322" y="101604"/>
            <a:ext cx="10844164" cy="754299"/>
          </a:xfrm>
          <a:prstGeom prst="rect">
            <a:avLst/>
          </a:prstGeom>
        </p:spPr>
        <p:txBody>
          <a:bodyPr/>
          <a:lstStyle>
            <a:lvl1pPr>
              <a:defRPr>
                <a:solidFill>
                  <a:srgbClr val="0070C0"/>
                </a:solidFill>
              </a:defRPr>
            </a:lvl1pPr>
          </a:lstStyle>
          <a:p>
            <a:r>
              <a:rPr lang="pl-PL" noProof="0" dirty="0" err="1"/>
              <a:t>Click</a:t>
            </a:r>
            <a:r>
              <a:rPr lang="pl-PL" noProof="0" dirty="0"/>
              <a:t> to </a:t>
            </a:r>
            <a:r>
              <a:rPr lang="pl-PL" noProof="0" dirty="0" err="1"/>
              <a:t>edit</a:t>
            </a:r>
            <a:r>
              <a:rPr lang="pl-PL" noProof="0" dirty="0"/>
              <a:t> Master </a:t>
            </a:r>
            <a:r>
              <a:rPr lang="pl-PL" noProof="0" dirty="0" err="1"/>
              <a:t>title</a:t>
            </a:r>
            <a:r>
              <a:rPr lang="pl-PL" noProof="0" dirty="0"/>
              <a:t> style</a:t>
            </a:r>
            <a:endParaRPr lang="en-US" dirty="0"/>
          </a:p>
        </p:txBody>
      </p:sp>
    </p:spTree>
    <p:extLst>
      <p:ext uri="{BB962C8B-B14F-4D97-AF65-F5344CB8AC3E}">
        <p14:creationId xmlns:p14="http://schemas.microsoft.com/office/powerpoint/2010/main" val="4838854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4_Agenda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263769"/>
            <a:ext cx="12192000" cy="6101520"/>
          </a:xfrm>
          <a:prstGeom prst="rect">
            <a:avLst/>
          </a:prstGeom>
        </p:spPr>
      </p:pic>
      <p:sp>
        <p:nvSpPr>
          <p:cNvPr id="10" name="Rectangle 9"/>
          <p:cNvSpPr/>
          <p:nvPr userDrawn="1"/>
        </p:nvSpPr>
        <p:spPr bwMode="auto">
          <a:xfrm>
            <a:off x="-1" y="754302"/>
            <a:ext cx="12192000" cy="5629476"/>
          </a:xfrm>
          <a:prstGeom prst="rect">
            <a:avLst/>
          </a:prstGeom>
          <a:solidFill>
            <a:srgbClr val="FFFFFF">
              <a:alpha val="56000"/>
            </a:srgb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600" dirty="0">
              <a:solidFill>
                <a:srgbClr val="1C1C1C"/>
              </a:solidFill>
              <a:cs typeface="Arial" charset="0"/>
            </a:endParaRPr>
          </a:p>
        </p:txBody>
      </p:sp>
      <p:grpSp>
        <p:nvGrpSpPr>
          <p:cNvPr id="9" name="Group 8"/>
          <p:cNvGrpSpPr/>
          <p:nvPr userDrawn="1"/>
        </p:nvGrpSpPr>
        <p:grpSpPr>
          <a:xfrm>
            <a:off x="0" y="0"/>
            <a:ext cx="12192000" cy="892629"/>
            <a:chOff x="0" y="0"/>
            <a:chExt cx="12192000" cy="892629"/>
          </a:xfrm>
        </p:grpSpPr>
        <p:sp>
          <p:nvSpPr>
            <p:cNvPr id="11" name="Rectangle 10"/>
            <p:cNvSpPr/>
            <p:nvPr userDrawn="1"/>
          </p:nvSpPr>
          <p:spPr>
            <a:xfrm>
              <a:off x="0" y="0"/>
              <a:ext cx="12192000" cy="892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nvGrpSpPr>
            <p:cNvPr id="12" name="Groupe 1"/>
            <p:cNvGrpSpPr/>
            <p:nvPr userDrawn="1"/>
          </p:nvGrpSpPr>
          <p:grpSpPr>
            <a:xfrm>
              <a:off x="11501103" y="171573"/>
              <a:ext cx="419436" cy="388988"/>
              <a:chOff x="11501102" y="171573"/>
              <a:chExt cx="419436" cy="388988"/>
            </a:xfrm>
          </p:grpSpPr>
          <p:sp>
            <p:nvSpPr>
              <p:cNvPr id="13"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grpSp>
      </p:grpSp>
      <p:sp>
        <p:nvSpPr>
          <p:cNvPr id="2" name="Title 1"/>
          <p:cNvSpPr>
            <a:spLocks noGrp="1"/>
          </p:cNvSpPr>
          <p:nvPr>
            <p:ph type="title"/>
            <p:custDataLst>
              <p:tags r:id="rId2"/>
            </p:custDataLst>
          </p:nvPr>
        </p:nvSpPr>
        <p:spPr>
          <a:xfrm>
            <a:off x="444322" y="101604"/>
            <a:ext cx="10844164" cy="754299"/>
          </a:xfrm>
          <a:prstGeom prst="rect">
            <a:avLst/>
          </a:prstGeom>
        </p:spPr>
        <p:txBody>
          <a:bodyPr/>
          <a:lstStyle>
            <a:lvl1pPr>
              <a:defRPr>
                <a:solidFill>
                  <a:srgbClr val="0070C0"/>
                </a:solidFill>
              </a:defRPr>
            </a:lvl1pPr>
          </a:lstStyle>
          <a:p>
            <a:r>
              <a:rPr lang="pl-PL" noProof="0" dirty="0" err="1"/>
              <a:t>Click</a:t>
            </a:r>
            <a:r>
              <a:rPr lang="pl-PL" noProof="0" dirty="0"/>
              <a:t> to </a:t>
            </a:r>
            <a:r>
              <a:rPr lang="pl-PL" noProof="0" dirty="0" err="1"/>
              <a:t>edit</a:t>
            </a:r>
            <a:r>
              <a:rPr lang="pl-PL" noProof="0" dirty="0"/>
              <a:t> Master </a:t>
            </a:r>
            <a:r>
              <a:rPr lang="pl-PL" noProof="0" dirty="0" err="1"/>
              <a:t>title</a:t>
            </a:r>
            <a:r>
              <a:rPr lang="pl-PL" noProof="0" dirty="0"/>
              <a:t> style</a:t>
            </a:r>
            <a:endParaRPr lang="en-US" dirty="0"/>
          </a:p>
        </p:txBody>
      </p:sp>
      <p:graphicFrame>
        <p:nvGraphicFramePr>
          <p:cNvPr id="4" name="Object 3" hidden="1"/>
          <p:cNvGraphicFramePr>
            <a:graphicFrameLocks noChangeAspect="1"/>
          </p:cNvGraphicFramePr>
          <p:nvPr>
            <p:custDataLst>
              <p:tags r:id="rId3"/>
            </p:custDataLst>
            <p:extLst/>
          </p:nvPr>
        </p:nvGraphicFramePr>
        <p:xfrm>
          <a:off x="2" y="3"/>
          <a:ext cx="180999" cy="143985"/>
        </p:xfrm>
        <a:graphic>
          <a:graphicData uri="http://schemas.openxmlformats.org/presentationml/2006/ole">
            <mc:AlternateContent xmlns:mc="http://schemas.openxmlformats.org/markup-compatibility/2006">
              <mc:Choice xmlns:v="urn:schemas-microsoft-com:vml" Requires="v">
                <p:oleObj spid="_x0000_s145474"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3"/>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1752447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80_Agenda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267958"/>
            <a:ext cx="12192000" cy="6096000"/>
          </a:xfrm>
          <a:prstGeom prst="rect">
            <a:avLst/>
          </a:prstGeom>
        </p:spPr>
      </p:pic>
      <p:sp>
        <p:nvSpPr>
          <p:cNvPr id="9" name="Rectangle 8"/>
          <p:cNvSpPr/>
          <p:nvPr userDrawn="1"/>
        </p:nvSpPr>
        <p:spPr bwMode="auto">
          <a:xfrm>
            <a:off x="-1" y="739790"/>
            <a:ext cx="12192000" cy="5629476"/>
          </a:xfrm>
          <a:prstGeom prst="rect">
            <a:avLst/>
          </a:prstGeom>
          <a:solidFill>
            <a:srgbClr val="FFFFFF">
              <a:alpha val="77000"/>
            </a:srgb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600" dirty="0">
              <a:solidFill>
                <a:srgbClr val="1C1C1C"/>
              </a:solidFill>
              <a:cs typeface="Arial" charset="0"/>
            </a:endParaRPr>
          </a:p>
        </p:txBody>
      </p:sp>
      <p:grpSp>
        <p:nvGrpSpPr>
          <p:cNvPr id="10" name="Group 9"/>
          <p:cNvGrpSpPr/>
          <p:nvPr userDrawn="1"/>
        </p:nvGrpSpPr>
        <p:grpSpPr>
          <a:xfrm>
            <a:off x="0" y="0"/>
            <a:ext cx="12192000" cy="892629"/>
            <a:chOff x="0" y="0"/>
            <a:chExt cx="12192000" cy="892629"/>
          </a:xfrm>
        </p:grpSpPr>
        <p:sp>
          <p:nvSpPr>
            <p:cNvPr id="11" name="Rectangle 10"/>
            <p:cNvSpPr/>
            <p:nvPr userDrawn="1"/>
          </p:nvSpPr>
          <p:spPr>
            <a:xfrm>
              <a:off x="0" y="0"/>
              <a:ext cx="12192000" cy="892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nvGrpSpPr>
            <p:cNvPr id="12" name="Groupe 1"/>
            <p:cNvGrpSpPr/>
            <p:nvPr userDrawn="1"/>
          </p:nvGrpSpPr>
          <p:grpSpPr>
            <a:xfrm>
              <a:off x="11501103" y="171573"/>
              <a:ext cx="419436" cy="388988"/>
              <a:chOff x="11501102" y="171573"/>
              <a:chExt cx="419436" cy="388988"/>
            </a:xfrm>
          </p:grpSpPr>
          <p:sp>
            <p:nvSpPr>
              <p:cNvPr id="13"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grpSp>
      </p:grpSp>
      <p:sp>
        <p:nvSpPr>
          <p:cNvPr id="2" name="Title 1"/>
          <p:cNvSpPr>
            <a:spLocks noGrp="1"/>
          </p:cNvSpPr>
          <p:nvPr>
            <p:ph type="title"/>
            <p:custDataLst>
              <p:tags r:id="rId2"/>
            </p:custDataLst>
          </p:nvPr>
        </p:nvSpPr>
        <p:spPr>
          <a:xfrm>
            <a:off x="444322" y="101604"/>
            <a:ext cx="10844164" cy="754299"/>
          </a:xfrm>
          <a:prstGeom prst="rect">
            <a:avLst/>
          </a:prstGeom>
        </p:spPr>
        <p:txBody>
          <a:bodyPr/>
          <a:lstStyle>
            <a:lvl1pPr>
              <a:defRPr>
                <a:solidFill>
                  <a:srgbClr val="0070C0"/>
                </a:solidFill>
              </a:defRPr>
            </a:lvl1pPr>
          </a:lstStyle>
          <a:p>
            <a:r>
              <a:rPr lang="pl-PL" noProof="0" dirty="0" err="1"/>
              <a:t>Click</a:t>
            </a:r>
            <a:r>
              <a:rPr lang="pl-PL" noProof="0" dirty="0"/>
              <a:t> to </a:t>
            </a:r>
            <a:r>
              <a:rPr lang="pl-PL" noProof="0" dirty="0" err="1"/>
              <a:t>edit</a:t>
            </a:r>
            <a:r>
              <a:rPr lang="pl-PL" noProof="0" dirty="0"/>
              <a:t> Master </a:t>
            </a:r>
            <a:r>
              <a:rPr lang="pl-PL" noProof="0" dirty="0" err="1"/>
              <a:t>title</a:t>
            </a:r>
            <a:r>
              <a:rPr lang="pl-PL" noProof="0" dirty="0"/>
              <a:t> style</a:t>
            </a:r>
            <a:endParaRPr lang="en-US" dirty="0"/>
          </a:p>
        </p:txBody>
      </p:sp>
      <p:graphicFrame>
        <p:nvGraphicFramePr>
          <p:cNvPr id="4" name="Object 3" hidden="1"/>
          <p:cNvGraphicFramePr>
            <a:graphicFrameLocks noChangeAspect="1"/>
          </p:cNvGraphicFramePr>
          <p:nvPr>
            <p:custDataLst>
              <p:tags r:id="rId3"/>
            </p:custDataLst>
            <p:extLst/>
          </p:nvPr>
        </p:nvGraphicFramePr>
        <p:xfrm>
          <a:off x="2" y="3"/>
          <a:ext cx="180999" cy="143985"/>
        </p:xfrm>
        <a:graphic>
          <a:graphicData uri="http://schemas.openxmlformats.org/presentationml/2006/ole">
            <mc:AlternateContent xmlns:mc="http://schemas.openxmlformats.org/markup-compatibility/2006">
              <mc:Choice xmlns:v="urn:schemas-microsoft-com:vml" Requires="v">
                <p:oleObj spid="_x0000_s146498"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3"/>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1809316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526991281"/>
      </p:ext>
    </p:extLst>
  </p:cSld>
  <p:clrMapOvr>
    <a:masterClrMapping/>
  </p:clrMapOvr>
  <p:timing>
    <p:tnLst>
      <p:par>
        <p:cTn id="1" dur="indefinite" restart="never" nodeType="tmRoot"/>
      </p:par>
    </p:tnLst>
  </p:timing>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3_Agenda slide">
    <p:spTree>
      <p:nvGrpSpPr>
        <p:cNvPr id="1" name=""/>
        <p:cNvGrpSpPr/>
        <p:nvPr/>
      </p:nvGrpSpPr>
      <p:grpSpPr>
        <a:xfrm>
          <a:off x="0" y="0"/>
          <a:ext cx="0" cy="0"/>
          <a:chOff x="0" y="0"/>
          <a:chExt cx="0" cy="0"/>
        </a:xfrm>
      </p:grpSpPr>
      <p:pic>
        <p:nvPicPr>
          <p:cNvPr id="9" name="Picture 3" descr="D:\Users\supricha\Work @ Capgemeni\2016\ODS\March\Digital marketing client deck\Images\shutterstock_321517772.jpg"/>
          <p:cNvPicPr>
            <a:picLocks noChangeAspect="1" noChangeArrowheads="1"/>
          </p:cNvPicPr>
          <p:nvPr userDrawn="1"/>
        </p:nvPicPr>
        <p:blipFill>
          <a:blip r:embed="rId5" cstate="email"/>
          <a:srcRect/>
          <a:stretch>
            <a:fillRect/>
          </a:stretch>
        </p:blipFill>
        <p:spPr bwMode="auto">
          <a:xfrm>
            <a:off x="1" y="527539"/>
            <a:ext cx="12191999" cy="5837751"/>
          </a:xfrm>
          <a:prstGeom prst="rect">
            <a:avLst/>
          </a:prstGeom>
          <a:noFill/>
        </p:spPr>
      </p:pic>
      <p:sp>
        <p:nvSpPr>
          <p:cNvPr id="10" name="Rectangle 9"/>
          <p:cNvSpPr/>
          <p:nvPr userDrawn="1"/>
        </p:nvSpPr>
        <p:spPr bwMode="auto">
          <a:xfrm>
            <a:off x="0" y="739790"/>
            <a:ext cx="12192000" cy="5629476"/>
          </a:xfrm>
          <a:prstGeom prst="rect">
            <a:avLst/>
          </a:prstGeom>
          <a:solidFill>
            <a:srgbClr val="FFFFFF">
              <a:alpha val="77000"/>
            </a:srgb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600" dirty="0">
              <a:solidFill>
                <a:srgbClr val="1C1C1C"/>
              </a:solidFill>
              <a:cs typeface="Arial" charset="0"/>
            </a:endParaRPr>
          </a:p>
        </p:txBody>
      </p:sp>
      <p:graphicFrame>
        <p:nvGraphicFramePr>
          <p:cNvPr id="4" name="Object 3" hidden="1"/>
          <p:cNvGraphicFramePr>
            <a:graphicFrameLocks noChangeAspect="1"/>
          </p:cNvGraphicFramePr>
          <p:nvPr>
            <p:custDataLst>
              <p:tags r:id="rId2"/>
            </p:custDataLst>
            <p:extLst/>
          </p:nvPr>
        </p:nvGraphicFramePr>
        <p:xfrm>
          <a:off x="2" y="3"/>
          <a:ext cx="180999" cy="143985"/>
        </p:xfrm>
        <a:graphic>
          <a:graphicData uri="http://schemas.openxmlformats.org/presentationml/2006/ole">
            <mc:AlternateContent xmlns:mc="http://schemas.openxmlformats.org/markup-compatibility/2006">
              <mc:Choice xmlns:v="urn:schemas-microsoft-com:vml" Requires="v">
                <p:oleObj spid="_x0000_s148546"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3"/>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1" name="Group 10"/>
          <p:cNvGrpSpPr/>
          <p:nvPr userDrawn="1"/>
        </p:nvGrpSpPr>
        <p:grpSpPr>
          <a:xfrm>
            <a:off x="0" y="0"/>
            <a:ext cx="12192000" cy="892629"/>
            <a:chOff x="0" y="0"/>
            <a:chExt cx="12192000" cy="892629"/>
          </a:xfrm>
        </p:grpSpPr>
        <p:sp>
          <p:nvSpPr>
            <p:cNvPr id="12" name="Rectangle 11"/>
            <p:cNvSpPr/>
            <p:nvPr userDrawn="1"/>
          </p:nvSpPr>
          <p:spPr>
            <a:xfrm>
              <a:off x="0" y="0"/>
              <a:ext cx="12192000" cy="892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nvGrpSpPr>
            <p:cNvPr id="13" name="Groupe 1"/>
            <p:cNvGrpSpPr/>
            <p:nvPr userDrawn="1"/>
          </p:nvGrpSpPr>
          <p:grpSpPr>
            <a:xfrm>
              <a:off x="11501103" y="171573"/>
              <a:ext cx="419436" cy="388988"/>
              <a:chOff x="11501102" y="171573"/>
              <a:chExt cx="419436" cy="388988"/>
            </a:xfrm>
          </p:grpSpPr>
          <p:sp>
            <p:nvSpPr>
              <p:cNvPr id="1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grpSp>
      </p:grpSp>
      <p:sp>
        <p:nvSpPr>
          <p:cNvPr id="2" name="Title 1"/>
          <p:cNvSpPr>
            <a:spLocks noGrp="1"/>
          </p:cNvSpPr>
          <p:nvPr>
            <p:ph type="title"/>
            <p:custDataLst>
              <p:tags r:id="rId3"/>
            </p:custDataLst>
          </p:nvPr>
        </p:nvSpPr>
        <p:spPr>
          <a:xfrm>
            <a:off x="444322" y="101604"/>
            <a:ext cx="10844164" cy="754299"/>
          </a:xfrm>
          <a:prstGeom prst="rect">
            <a:avLst/>
          </a:prstGeom>
        </p:spPr>
        <p:txBody>
          <a:bodyPr/>
          <a:lstStyle>
            <a:lvl1pPr>
              <a:defRPr>
                <a:solidFill>
                  <a:srgbClr val="0070C0"/>
                </a:solidFill>
              </a:defRPr>
            </a:lvl1pPr>
          </a:lstStyle>
          <a:p>
            <a:r>
              <a:rPr lang="pl-PL" noProof="0" dirty="0" err="1"/>
              <a:t>Click</a:t>
            </a:r>
            <a:r>
              <a:rPr lang="pl-PL" noProof="0" dirty="0"/>
              <a:t> to </a:t>
            </a:r>
            <a:r>
              <a:rPr lang="pl-PL" noProof="0" dirty="0" err="1"/>
              <a:t>edit</a:t>
            </a:r>
            <a:r>
              <a:rPr lang="pl-PL" noProof="0" dirty="0"/>
              <a:t> Master </a:t>
            </a:r>
            <a:r>
              <a:rPr lang="pl-PL" noProof="0" dirty="0" err="1"/>
              <a:t>title</a:t>
            </a:r>
            <a:r>
              <a:rPr lang="pl-PL" noProof="0" dirty="0"/>
              <a:t> style</a:t>
            </a:r>
            <a:endParaRPr lang="en-US" dirty="0"/>
          </a:p>
        </p:txBody>
      </p:sp>
    </p:spTree>
    <p:extLst>
      <p:ext uri="{BB962C8B-B14F-4D97-AF65-F5344CB8AC3E}">
        <p14:creationId xmlns:p14="http://schemas.microsoft.com/office/powerpoint/2010/main" val="82127138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5_Agenda slide">
    <p:spTree>
      <p:nvGrpSpPr>
        <p:cNvPr id="1" name=""/>
        <p:cNvGrpSpPr/>
        <p:nvPr/>
      </p:nvGrpSpPr>
      <p:grpSpPr>
        <a:xfrm>
          <a:off x="0" y="0"/>
          <a:ext cx="0" cy="0"/>
          <a:chOff x="0" y="0"/>
          <a:chExt cx="0" cy="0"/>
        </a:xfrm>
      </p:grpSpPr>
      <p:sp>
        <p:nvSpPr>
          <p:cNvPr id="10" name="Rectangle 9"/>
          <p:cNvSpPr/>
          <p:nvPr userDrawn="1"/>
        </p:nvSpPr>
        <p:spPr bwMode="auto">
          <a:xfrm>
            <a:off x="0" y="739490"/>
            <a:ext cx="12192000" cy="5629476"/>
          </a:xfrm>
          <a:prstGeom prst="rect">
            <a:avLst/>
          </a:prstGeom>
          <a:solidFill>
            <a:srgbClr val="FFFFFF">
              <a:alpha val="63000"/>
            </a:srgb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600" dirty="0">
              <a:solidFill>
                <a:srgbClr val="1C1C1C"/>
              </a:solidFill>
              <a:cs typeface="Arial" charset="0"/>
            </a:endParaRPr>
          </a:p>
        </p:txBody>
      </p:sp>
      <p:pic>
        <p:nvPicPr>
          <p:cNvPr id="5" name="Picture 4"/>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263769"/>
            <a:ext cx="12192000" cy="6101520"/>
          </a:xfrm>
          <a:prstGeom prst="rect">
            <a:avLst/>
          </a:prstGeom>
        </p:spPr>
      </p:pic>
      <p:graphicFrame>
        <p:nvGraphicFramePr>
          <p:cNvPr id="4" name="Object 3" hidden="1"/>
          <p:cNvGraphicFramePr>
            <a:graphicFrameLocks noChangeAspect="1"/>
          </p:cNvGraphicFramePr>
          <p:nvPr>
            <p:custDataLst>
              <p:tags r:id="rId2"/>
            </p:custDataLst>
            <p:extLst/>
          </p:nvPr>
        </p:nvGraphicFramePr>
        <p:xfrm>
          <a:off x="2" y="3"/>
          <a:ext cx="180999" cy="143985"/>
        </p:xfrm>
        <a:graphic>
          <a:graphicData uri="http://schemas.openxmlformats.org/presentationml/2006/ole">
            <mc:AlternateContent xmlns:mc="http://schemas.openxmlformats.org/markup-compatibility/2006">
              <mc:Choice xmlns:v="urn:schemas-microsoft-com:vml" Requires="v">
                <p:oleObj spid="_x0000_s149570"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3"/>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9" name="Group 8"/>
          <p:cNvGrpSpPr/>
          <p:nvPr userDrawn="1"/>
        </p:nvGrpSpPr>
        <p:grpSpPr>
          <a:xfrm>
            <a:off x="0" y="0"/>
            <a:ext cx="12192000" cy="892629"/>
            <a:chOff x="0" y="0"/>
            <a:chExt cx="12192000" cy="892629"/>
          </a:xfrm>
        </p:grpSpPr>
        <p:sp>
          <p:nvSpPr>
            <p:cNvPr id="11" name="Rectangle 10"/>
            <p:cNvSpPr/>
            <p:nvPr userDrawn="1"/>
          </p:nvSpPr>
          <p:spPr>
            <a:xfrm>
              <a:off x="0" y="0"/>
              <a:ext cx="12192000" cy="892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nvGrpSpPr>
            <p:cNvPr id="12" name="Groupe 1"/>
            <p:cNvGrpSpPr/>
            <p:nvPr userDrawn="1"/>
          </p:nvGrpSpPr>
          <p:grpSpPr>
            <a:xfrm>
              <a:off x="11501103" y="171573"/>
              <a:ext cx="419436" cy="388988"/>
              <a:chOff x="11501102" y="171573"/>
              <a:chExt cx="419436" cy="388988"/>
            </a:xfrm>
          </p:grpSpPr>
          <p:sp>
            <p:nvSpPr>
              <p:cNvPr id="13"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grpSp>
      </p:grpSp>
      <p:sp>
        <p:nvSpPr>
          <p:cNvPr id="2" name="Title 1"/>
          <p:cNvSpPr>
            <a:spLocks noGrp="1"/>
          </p:cNvSpPr>
          <p:nvPr>
            <p:ph type="title"/>
            <p:custDataLst>
              <p:tags r:id="rId3"/>
            </p:custDataLst>
          </p:nvPr>
        </p:nvSpPr>
        <p:spPr>
          <a:xfrm>
            <a:off x="444322" y="101604"/>
            <a:ext cx="10844164" cy="754299"/>
          </a:xfrm>
          <a:prstGeom prst="rect">
            <a:avLst/>
          </a:prstGeom>
        </p:spPr>
        <p:txBody>
          <a:bodyPr/>
          <a:lstStyle>
            <a:lvl1pPr>
              <a:defRPr>
                <a:solidFill>
                  <a:srgbClr val="0070C0"/>
                </a:solidFill>
              </a:defRPr>
            </a:lvl1pPr>
          </a:lstStyle>
          <a:p>
            <a:r>
              <a:rPr lang="pl-PL" noProof="0" dirty="0" err="1"/>
              <a:t>Click</a:t>
            </a:r>
            <a:r>
              <a:rPr lang="pl-PL" noProof="0" dirty="0"/>
              <a:t> to </a:t>
            </a:r>
            <a:r>
              <a:rPr lang="pl-PL" noProof="0" dirty="0" err="1"/>
              <a:t>edit</a:t>
            </a:r>
            <a:r>
              <a:rPr lang="pl-PL" noProof="0" dirty="0"/>
              <a:t> Master </a:t>
            </a:r>
            <a:r>
              <a:rPr lang="pl-PL" noProof="0" dirty="0" err="1"/>
              <a:t>title</a:t>
            </a:r>
            <a:r>
              <a:rPr lang="pl-PL" noProof="0" dirty="0"/>
              <a:t> style</a:t>
            </a:r>
            <a:endParaRPr lang="en-US" dirty="0"/>
          </a:p>
        </p:txBody>
      </p:sp>
    </p:spTree>
    <p:extLst>
      <p:ext uri="{BB962C8B-B14F-4D97-AF65-F5344CB8AC3E}">
        <p14:creationId xmlns:p14="http://schemas.microsoft.com/office/powerpoint/2010/main" val="123075161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6_Agenda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263769"/>
            <a:ext cx="12192000" cy="6101520"/>
          </a:xfrm>
          <a:prstGeom prst="rect">
            <a:avLst/>
          </a:prstGeom>
        </p:spPr>
      </p:pic>
      <p:graphicFrame>
        <p:nvGraphicFramePr>
          <p:cNvPr id="4" name="Object 3" hidden="1"/>
          <p:cNvGraphicFramePr>
            <a:graphicFrameLocks noChangeAspect="1"/>
          </p:cNvGraphicFramePr>
          <p:nvPr>
            <p:custDataLst>
              <p:tags r:id="rId2"/>
            </p:custDataLst>
            <p:extLst/>
          </p:nvPr>
        </p:nvGraphicFramePr>
        <p:xfrm>
          <a:off x="2" y="3"/>
          <a:ext cx="180999" cy="143985"/>
        </p:xfrm>
        <a:graphic>
          <a:graphicData uri="http://schemas.openxmlformats.org/presentationml/2006/ole">
            <mc:AlternateContent xmlns:mc="http://schemas.openxmlformats.org/markup-compatibility/2006">
              <mc:Choice xmlns:v="urn:schemas-microsoft-com:vml" Requires="v">
                <p:oleObj spid="_x0000_s152642"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3"/>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9" name="Group 8"/>
          <p:cNvGrpSpPr/>
          <p:nvPr userDrawn="1"/>
        </p:nvGrpSpPr>
        <p:grpSpPr>
          <a:xfrm>
            <a:off x="0" y="0"/>
            <a:ext cx="12192000" cy="892629"/>
            <a:chOff x="0" y="0"/>
            <a:chExt cx="12192000" cy="892629"/>
          </a:xfrm>
        </p:grpSpPr>
        <p:sp>
          <p:nvSpPr>
            <p:cNvPr id="10" name="Rectangle 9"/>
            <p:cNvSpPr/>
            <p:nvPr userDrawn="1"/>
          </p:nvSpPr>
          <p:spPr>
            <a:xfrm>
              <a:off x="0" y="0"/>
              <a:ext cx="12192000" cy="892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nvGrpSpPr>
            <p:cNvPr id="11" name="Groupe 1"/>
            <p:cNvGrpSpPr/>
            <p:nvPr userDrawn="1"/>
          </p:nvGrpSpPr>
          <p:grpSpPr>
            <a:xfrm>
              <a:off x="11501103" y="171573"/>
              <a:ext cx="419436" cy="388988"/>
              <a:chOff x="11501102" y="171573"/>
              <a:chExt cx="419436" cy="388988"/>
            </a:xfrm>
          </p:grpSpPr>
          <p:sp>
            <p:nvSpPr>
              <p:cNvPr id="12"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grpSp>
      </p:grpSp>
      <p:sp>
        <p:nvSpPr>
          <p:cNvPr id="2" name="Title 1"/>
          <p:cNvSpPr>
            <a:spLocks noGrp="1"/>
          </p:cNvSpPr>
          <p:nvPr>
            <p:ph type="title"/>
            <p:custDataLst>
              <p:tags r:id="rId3"/>
            </p:custDataLst>
          </p:nvPr>
        </p:nvSpPr>
        <p:spPr>
          <a:xfrm>
            <a:off x="444322" y="101604"/>
            <a:ext cx="10844164" cy="754299"/>
          </a:xfrm>
          <a:prstGeom prst="rect">
            <a:avLst/>
          </a:prstGeom>
        </p:spPr>
        <p:txBody>
          <a:bodyPr/>
          <a:lstStyle>
            <a:lvl1pPr>
              <a:defRPr>
                <a:solidFill>
                  <a:srgbClr val="0070C0"/>
                </a:solidFill>
              </a:defRPr>
            </a:lvl1pPr>
          </a:lstStyle>
          <a:p>
            <a:r>
              <a:rPr lang="pl-PL" noProof="0" dirty="0" err="1"/>
              <a:t>Click</a:t>
            </a:r>
            <a:r>
              <a:rPr lang="pl-PL" noProof="0" dirty="0"/>
              <a:t> to </a:t>
            </a:r>
            <a:r>
              <a:rPr lang="pl-PL" noProof="0" dirty="0" err="1"/>
              <a:t>edit</a:t>
            </a:r>
            <a:r>
              <a:rPr lang="pl-PL" noProof="0" dirty="0"/>
              <a:t> Master </a:t>
            </a:r>
            <a:r>
              <a:rPr lang="pl-PL" noProof="0" dirty="0" err="1"/>
              <a:t>title</a:t>
            </a:r>
            <a:r>
              <a:rPr lang="pl-PL" noProof="0" dirty="0"/>
              <a:t> style</a:t>
            </a:r>
            <a:endParaRPr lang="en-US" dirty="0"/>
          </a:p>
        </p:txBody>
      </p:sp>
    </p:spTree>
    <p:extLst>
      <p:ext uri="{BB962C8B-B14F-4D97-AF65-F5344CB8AC3E}">
        <p14:creationId xmlns:p14="http://schemas.microsoft.com/office/powerpoint/2010/main" val="1324039156"/>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58_Agenda slide">
    <p:bg>
      <p:bgPr>
        <a:solidFill>
          <a:schemeClr val="bg1">
            <a:alpha val="79000"/>
          </a:schemeClr>
        </a:solidFill>
        <a:effectLst/>
      </p:bgPr>
    </p:bg>
    <p:spTree>
      <p:nvGrpSpPr>
        <p:cNvPr id="1" name=""/>
        <p:cNvGrpSpPr/>
        <p:nvPr/>
      </p:nvGrpSpPr>
      <p:grpSpPr>
        <a:xfrm>
          <a:off x="0" y="0"/>
          <a:ext cx="0" cy="0"/>
          <a:chOff x="0" y="0"/>
          <a:chExt cx="0" cy="0"/>
        </a:xfrm>
      </p:grpSpPr>
      <p:pic>
        <p:nvPicPr>
          <p:cNvPr id="11" name="Image 2" descr="shutterstock_268671494.jpg"/>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1939" y="292608"/>
            <a:ext cx="12203940" cy="6071616"/>
          </a:xfrm>
          <a:prstGeom prst="rect">
            <a:avLst/>
          </a:prstGeom>
        </p:spPr>
      </p:pic>
      <p:graphicFrame>
        <p:nvGraphicFramePr>
          <p:cNvPr id="4" name="Object 3" hidden="1"/>
          <p:cNvGraphicFramePr>
            <a:graphicFrameLocks noChangeAspect="1"/>
          </p:cNvGraphicFramePr>
          <p:nvPr>
            <p:custDataLst>
              <p:tags r:id="rId2"/>
            </p:custDataLst>
            <p:extLst/>
          </p:nvPr>
        </p:nvGraphicFramePr>
        <p:xfrm>
          <a:off x="2" y="3"/>
          <a:ext cx="180999" cy="143985"/>
        </p:xfrm>
        <a:graphic>
          <a:graphicData uri="http://schemas.openxmlformats.org/presentationml/2006/ole">
            <mc:AlternateContent xmlns:mc="http://schemas.openxmlformats.org/markup-compatibility/2006">
              <mc:Choice xmlns:v="urn:schemas-microsoft-com:vml" Requires="v">
                <p:oleObj spid="_x0000_s153666"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3"/>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9" name="Group 8"/>
          <p:cNvGrpSpPr/>
          <p:nvPr userDrawn="1"/>
        </p:nvGrpSpPr>
        <p:grpSpPr>
          <a:xfrm>
            <a:off x="0" y="0"/>
            <a:ext cx="12192000" cy="892629"/>
            <a:chOff x="0" y="0"/>
            <a:chExt cx="12192000" cy="892629"/>
          </a:xfrm>
        </p:grpSpPr>
        <p:sp>
          <p:nvSpPr>
            <p:cNvPr id="10" name="Rectangle 9"/>
            <p:cNvSpPr/>
            <p:nvPr userDrawn="1"/>
          </p:nvSpPr>
          <p:spPr>
            <a:xfrm>
              <a:off x="0" y="0"/>
              <a:ext cx="12192000" cy="892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nvGrpSpPr>
            <p:cNvPr id="12" name="Groupe 1"/>
            <p:cNvGrpSpPr/>
            <p:nvPr userDrawn="1"/>
          </p:nvGrpSpPr>
          <p:grpSpPr>
            <a:xfrm>
              <a:off x="11501103" y="171573"/>
              <a:ext cx="419436" cy="388988"/>
              <a:chOff x="11501102" y="171573"/>
              <a:chExt cx="419436" cy="388988"/>
            </a:xfrm>
          </p:grpSpPr>
          <p:sp>
            <p:nvSpPr>
              <p:cNvPr id="13"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grpSp>
      </p:grpSp>
      <p:sp>
        <p:nvSpPr>
          <p:cNvPr id="2" name="Title 1"/>
          <p:cNvSpPr>
            <a:spLocks noGrp="1"/>
          </p:cNvSpPr>
          <p:nvPr>
            <p:ph type="title"/>
            <p:custDataLst>
              <p:tags r:id="rId3"/>
            </p:custDataLst>
          </p:nvPr>
        </p:nvSpPr>
        <p:spPr>
          <a:xfrm>
            <a:off x="444322" y="101604"/>
            <a:ext cx="10844164" cy="754299"/>
          </a:xfrm>
          <a:prstGeom prst="rect">
            <a:avLst/>
          </a:prstGeom>
        </p:spPr>
        <p:txBody>
          <a:bodyPr/>
          <a:lstStyle>
            <a:lvl1pPr>
              <a:defRPr>
                <a:solidFill>
                  <a:srgbClr val="0070C0"/>
                </a:solidFill>
              </a:defRPr>
            </a:lvl1pPr>
          </a:lstStyle>
          <a:p>
            <a:r>
              <a:rPr lang="pl-PL" noProof="0" dirty="0" err="1"/>
              <a:t>Click</a:t>
            </a:r>
            <a:r>
              <a:rPr lang="pl-PL" noProof="0" dirty="0"/>
              <a:t> to </a:t>
            </a:r>
            <a:r>
              <a:rPr lang="pl-PL" noProof="0" dirty="0" err="1"/>
              <a:t>edit</a:t>
            </a:r>
            <a:r>
              <a:rPr lang="pl-PL" noProof="0" dirty="0"/>
              <a:t> Master </a:t>
            </a:r>
            <a:r>
              <a:rPr lang="pl-PL" noProof="0" dirty="0" err="1"/>
              <a:t>title</a:t>
            </a:r>
            <a:r>
              <a:rPr lang="pl-PL" noProof="0" dirty="0"/>
              <a:t> style</a:t>
            </a:r>
            <a:endParaRPr lang="en-US" dirty="0"/>
          </a:p>
        </p:txBody>
      </p:sp>
    </p:spTree>
    <p:extLst>
      <p:ext uri="{BB962C8B-B14F-4D97-AF65-F5344CB8AC3E}">
        <p14:creationId xmlns:p14="http://schemas.microsoft.com/office/powerpoint/2010/main" val="90054467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64_Agenda slide">
    <p:bg>
      <p:bgPr>
        <a:solidFill>
          <a:schemeClr val="bg1">
            <a:alpha val="79000"/>
          </a:schemeClr>
        </a:solidFill>
        <a:effectLst/>
      </p:bgPr>
    </p:bg>
    <p:spTree>
      <p:nvGrpSpPr>
        <p:cNvPr id="1" name=""/>
        <p:cNvGrpSpPr/>
        <p:nvPr/>
      </p:nvGrpSpPr>
      <p:grpSpPr>
        <a:xfrm>
          <a:off x="0" y="0"/>
          <a:ext cx="0" cy="0"/>
          <a:chOff x="0" y="0"/>
          <a:chExt cx="0" cy="0"/>
        </a:xfrm>
      </p:grpSpPr>
      <p:pic>
        <p:nvPicPr>
          <p:cNvPr id="10" name="Image 2" descr="shutterstock_385201702.jpg"/>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1939" y="530218"/>
            <a:ext cx="12203940" cy="5835073"/>
          </a:xfrm>
          <a:prstGeom prst="rect">
            <a:avLst/>
          </a:prstGeom>
        </p:spPr>
      </p:pic>
      <p:sp>
        <p:nvSpPr>
          <p:cNvPr id="9" name="Rectangle 8"/>
          <p:cNvSpPr/>
          <p:nvPr userDrawn="1"/>
        </p:nvSpPr>
        <p:spPr bwMode="auto">
          <a:xfrm>
            <a:off x="-11940" y="754302"/>
            <a:ext cx="12192000" cy="5629476"/>
          </a:xfrm>
          <a:prstGeom prst="rect">
            <a:avLst/>
          </a:prstGeom>
          <a:solidFill>
            <a:srgbClr val="FFFFFF">
              <a:alpha val="56000"/>
            </a:srgb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600" dirty="0">
              <a:solidFill>
                <a:srgbClr val="1C1C1C"/>
              </a:solidFill>
              <a:cs typeface="Arial" charset="0"/>
            </a:endParaRPr>
          </a:p>
        </p:txBody>
      </p:sp>
      <p:graphicFrame>
        <p:nvGraphicFramePr>
          <p:cNvPr id="4" name="Object 3" hidden="1"/>
          <p:cNvGraphicFramePr>
            <a:graphicFrameLocks noChangeAspect="1"/>
          </p:cNvGraphicFramePr>
          <p:nvPr>
            <p:custDataLst>
              <p:tags r:id="rId2"/>
            </p:custDataLst>
            <p:extLst/>
          </p:nvPr>
        </p:nvGraphicFramePr>
        <p:xfrm>
          <a:off x="2" y="3"/>
          <a:ext cx="180999" cy="143985"/>
        </p:xfrm>
        <a:graphic>
          <a:graphicData uri="http://schemas.openxmlformats.org/presentationml/2006/ole">
            <mc:AlternateContent xmlns:mc="http://schemas.openxmlformats.org/markup-compatibility/2006">
              <mc:Choice xmlns:v="urn:schemas-microsoft-com:vml" Requires="v">
                <p:oleObj spid="_x0000_s154690"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3"/>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1" name="Group 10"/>
          <p:cNvGrpSpPr/>
          <p:nvPr userDrawn="1"/>
        </p:nvGrpSpPr>
        <p:grpSpPr>
          <a:xfrm>
            <a:off x="0" y="0"/>
            <a:ext cx="12192000" cy="892629"/>
            <a:chOff x="0" y="0"/>
            <a:chExt cx="12192000" cy="892629"/>
          </a:xfrm>
        </p:grpSpPr>
        <p:sp>
          <p:nvSpPr>
            <p:cNvPr id="12" name="Rectangle 11"/>
            <p:cNvSpPr/>
            <p:nvPr userDrawn="1"/>
          </p:nvSpPr>
          <p:spPr>
            <a:xfrm>
              <a:off x="0" y="0"/>
              <a:ext cx="12192000" cy="892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nvGrpSpPr>
            <p:cNvPr id="13" name="Groupe 1"/>
            <p:cNvGrpSpPr/>
            <p:nvPr userDrawn="1"/>
          </p:nvGrpSpPr>
          <p:grpSpPr>
            <a:xfrm>
              <a:off x="11501103" y="171573"/>
              <a:ext cx="419436" cy="388988"/>
              <a:chOff x="11501102" y="171573"/>
              <a:chExt cx="419436" cy="388988"/>
            </a:xfrm>
          </p:grpSpPr>
          <p:sp>
            <p:nvSpPr>
              <p:cNvPr id="1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grpSp>
      </p:grpSp>
      <p:sp>
        <p:nvSpPr>
          <p:cNvPr id="2" name="Title 1"/>
          <p:cNvSpPr>
            <a:spLocks noGrp="1"/>
          </p:cNvSpPr>
          <p:nvPr>
            <p:ph type="title"/>
            <p:custDataLst>
              <p:tags r:id="rId3"/>
            </p:custDataLst>
          </p:nvPr>
        </p:nvSpPr>
        <p:spPr>
          <a:xfrm>
            <a:off x="444322" y="101604"/>
            <a:ext cx="10844164" cy="754299"/>
          </a:xfrm>
          <a:prstGeom prst="rect">
            <a:avLst/>
          </a:prstGeom>
        </p:spPr>
        <p:txBody>
          <a:bodyPr/>
          <a:lstStyle>
            <a:lvl1pPr>
              <a:defRPr>
                <a:solidFill>
                  <a:srgbClr val="0070C0"/>
                </a:solidFill>
              </a:defRPr>
            </a:lvl1pPr>
          </a:lstStyle>
          <a:p>
            <a:r>
              <a:rPr lang="pl-PL" noProof="0" dirty="0" err="1"/>
              <a:t>Click</a:t>
            </a:r>
            <a:r>
              <a:rPr lang="pl-PL" noProof="0" dirty="0"/>
              <a:t> to </a:t>
            </a:r>
            <a:r>
              <a:rPr lang="pl-PL" noProof="0" dirty="0" err="1"/>
              <a:t>edit</a:t>
            </a:r>
            <a:r>
              <a:rPr lang="pl-PL" noProof="0" dirty="0"/>
              <a:t> Master </a:t>
            </a:r>
            <a:r>
              <a:rPr lang="pl-PL" noProof="0" dirty="0" err="1"/>
              <a:t>title</a:t>
            </a:r>
            <a:r>
              <a:rPr lang="pl-PL" noProof="0" dirty="0"/>
              <a:t> style</a:t>
            </a:r>
            <a:endParaRPr lang="en-US" dirty="0"/>
          </a:p>
        </p:txBody>
      </p:sp>
    </p:spTree>
    <p:extLst>
      <p:ext uri="{BB962C8B-B14F-4D97-AF65-F5344CB8AC3E}">
        <p14:creationId xmlns:p14="http://schemas.microsoft.com/office/powerpoint/2010/main" val="2137142737"/>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prstClr val="black"/>
              </a:solidFill>
            </a:endParaRPr>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dirty="0" smtClean="0">
                <a:solidFill>
                  <a:prstClr val="black"/>
                </a:solidFill>
              </a:rPr>
              <a:t>A global leader in consulting, technology services and digital transformation, Capgemini is at the forefront of innovation to address the entire breadth of clients’ opportunities in the evolving world of cloud, digital and platforms. </a:t>
            </a:r>
            <a:r>
              <a:rPr lang="en-GB" sz="900" dirty="0" smtClean="0">
                <a:solidFill>
                  <a:prstClr val="black"/>
                </a:solidFill>
              </a:rPr>
              <a:t>Building on its strong 50-year heritage and deep industry-specific expertise, Capgemini enables organizations to realize their business ambitions through an array of services </a:t>
            </a:r>
            <a:r>
              <a:rPr lang="en-US" sz="900" dirty="0" smtClean="0">
                <a:solidFill>
                  <a:prstClr val="black"/>
                </a:solidFill>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endParaRPr lang="en-US" sz="900" dirty="0">
              <a:solidFill>
                <a:prstClr val="black"/>
              </a:solidFill>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smtClean="0">
                <a:solidFill>
                  <a:srgbClr val="0070AD"/>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smtClean="0">
                <a:solidFill>
                  <a:prstClr val="black"/>
                </a:solidFill>
              </a:rPr>
              <a:t>Learn more about us at</a:t>
            </a:r>
          </a:p>
          <a:p>
            <a:pPr algn="just">
              <a:lnSpc>
                <a:spcPts val="1200"/>
              </a:lnSpc>
            </a:pPr>
            <a:r>
              <a:rPr lang="en-US" sz="1400" dirty="0" smtClean="0">
                <a:solidFill>
                  <a:srgbClr val="12ABDB"/>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dirty="0" smtClean="0">
                <a:solidFill>
                  <a:srgbClr val="FFFFFF"/>
                </a:solidFill>
                <a:cs typeface="Arial"/>
              </a:rPr>
              <a:t>This message contains information that may be privileged or confidential and is the property of the Capgemini Group.</a:t>
            </a:r>
          </a:p>
          <a:p>
            <a:pPr>
              <a:spcAft>
                <a:spcPts val="600"/>
              </a:spcAft>
            </a:pPr>
            <a:r>
              <a:rPr lang="en-US" sz="800" dirty="0" smtClean="0">
                <a:solidFill>
                  <a:srgbClr val="FFFFFF"/>
                </a:solidFill>
                <a:latin typeface="Arial"/>
                <a:cs typeface="Arial"/>
              </a:rPr>
              <a:t>Copyright © 2017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smtClean="0">
                <a:solidFill>
                  <a:srgbClr val="FFFFFF"/>
                </a:solidFill>
              </a:rPr>
              <a:t>People matter, results count.</a:t>
            </a:r>
            <a:endParaRPr lang="en-US" sz="1200" b="1" dirty="0">
              <a:solidFill>
                <a:srgbClr val="FFFFFF"/>
              </a:solidFill>
            </a:endParaRPr>
          </a:p>
        </p:txBody>
      </p:sp>
    </p:spTree>
    <p:extLst/>
  </p:cSld>
  <p:clrMapOvr>
    <a:masterClrMapping/>
  </p:clrMapOvr>
  <p:timing>
    <p:tnLst>
      <p:par>
        <p:cTn id="1" dur="indefinite" restart="never" nodeType="tmRoot"/>
      </p:par>
    </p:tnLst>
  </p:timing>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dirty="0" smtClean="0">
                <a:solidFill>
                  <a:prstClr val="black"/>
                </a:solidFill>
              </a:rPr>
              <a:t>A global leader in consulting, technology services and digital transformation, Capgemini is at the forefront of innovation to address the entire breadth of clients’ opportunities in the evolving world of cloud, digital and platforms. </a:t>
            </a:r>
            <a:r>
              <a:rPr lang="en-GB" sz="900" dirty="0" smtClean="0">
                <a:solidFill>
                  <a:prstClr val="black"/>
                </a:solidFill>
              </a:rPr>
              <a:t>Building on its strong 50-year heritage and deep industry-specific expertise, Capgemini enables organizations to realize their business ambitions through an array of services </a:t>
            </a:r>
            <a:r>
              <a:rPr lang="en-US" sz="900" dirty="0" smtClean="0">
                <a:solidFill>
                  <a:prstClr val="black"/>
                </a:solidFill>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endParaRPr lang="en-US" sz="900" dirty="0">
              <a:solidFill>
                <a:prstClr val="black"/>
              </a:solidFill>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smtClean="0">
                <a:solidFill>
                  <a:srgbClr val="0070AD"/>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smtClean="0">
                <a:solidFill>
                  <a:prstClr val="black"/>
                </a:solidFill>
              </a:rPr>
              <a:t>Learn more about us at</a:t>
            </a:r>
          </a:p>
          <a:p>
            <a:pPr algn="just">
              <a:lnSpc>
                <a:spcPts val="1200"/>
              </a:lnSpc>
            </a:pPr>
            <a:r>
              <a:rPr lang="en-US" sz="1400" dirty="0" smtClean="0">
                <a:solidFill>
                  <a:srgbClr val="12ABDB"/>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screen">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7" cstate="screen">
            <a:duotone>
              <a:schemeClr val="accent2">
                <a:shade val="45000"/>
                <a:satMod val="135000"/>
              </a:schemeClr>
              <a:prstClr val="white"/>
            </a:duotone>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1"/>
          </p:cNvPr>
          <p:cNvPicPr>
            <a:picLocks noChangeAspect="1" noChangeArrowheads="1"/>
          </p:cNvPicPr>
          <p:nvPr userDrawn="1"/>
        </p:nvPicPr>
        <p:blipFill>
          <a:blip r:embed="rId7" cstate="screen">
            <a:duotone>
              <a:schemeClr val="accent2">
                <a:shade val="45000"/>
                <a:satMod val="135000"/>
              </a:schemeClr>
              <a:prstClr val="white"/>
            </a:duotone>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3"/>
          </p:cNvPr>
          <p:cNvPicPr>
            <a:picLocks noChangeAspect="1" noChangeArrowheads="1"/>
          </p:cNvPicPr>
          <p:nvPr userDrawn="1"/>
        </p:nvPicPr>
        <p:blipFill>
          <a:blip r:embed="rId7" cstate="screen">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5"/>
          </p:cNvPr>
          <p:cNvPicPr>
            <a:picLocks noChangeAspect="1" noChangeArrowheads="1"/>
          </p:cNvPicPr>
          <p:nvPr userDrawn="1"/>
        </p:nvPicPr>
        <p:blipFill>
          <a:blip r:embed="rId7" cstate="screen">
            <a:duotone>
              <a:schemeClr val="accent2">
                <a:shade val="45000"/>
                <a:satMod val="135000"/>
              </a:schemeClr>
              <a:prstClr val="white"/>
            </a:duotone>
            <a:extLst>
              <a:ext uri="{BEBA8EAE-BF5A-486C-A8C5-ECC9F3942E4B}">
                <a14:imgProps xmlns:a14="http://schemas.microsoft.com/office/drawing/2010/main">
                  <a14:imgLayer r:embed="rId16">
                    <a14:imgEffect>
                      <a14:sharpenSoften amount="-50000"/>
                    </a14:imgEffect>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dirty="0" smtClean="0">
                <a:solidFill>
                  <a:prstClr val="black"/>
                </a:solidFill>
                <a:cs typeface="Arial"/>
              </a:rPr>
              <a:t>This message contains information that may be privileged or confidential and is the property of the Capgemini Group.</a:t>
            </a:r>
            <a:br>
              <a:rPr lang="en-US" sz="800" dirty="0" smtClean="0">
                <a:solidFill>
                  <a:prstClr val="black"/>
                </a:solidFill>
                <a:cs typeface="Arial"/>
              </a:rPr>
            </a:br>
            <a:r>
              <a:rPr lang="en-US" sz="800" dirty="0" smtClean="0">
                <a:solidFill>
                  <a:prstClr val="black"/>
                </a:solidFill>
                <a:latin typeface="Arial"/>
                <a:cs typeface="Arial"/>
              </a:rPr>
              <a:t>Copyright © 2017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smtClean="0">
                <a:solidFill>
                  <a:srgbClr val="0070AD"/>
                </a:solidFill>
                <a:cs typeface="Arial"/>
              </a:rPr>
              <a:t>Name, Last </a:t>
            </a:r>
            <a:r>
              <a:rPr lang="en-US" sz="1200" b="1" dirty="0">
                <a:solidFill>
                  <a:srgbClr val="0070AD"/>
                </a:solidFill>
                <a:cs typeface="Arial"/>
              </a:rPr>
              <a:t>Name</a:t>
            </a:r>
          </a:p>
          <a:p>
            <a:pPr>
              <a:lnSpc>
                <a:spcPts val="1200"/>
              </a:lnSpc>
            </a:pPr>
            <a:r>
              <a:rPr lang="en-US" sz="1000" dirty="0" smtClean="0">
                <a:solidFill>
                  <a:srgbClr val="12ABDB"/>
                </a:solidFill>
                <a:cs typeface="Arial"/>
              </a:rPr>
              <a:t>Title/Role</a:t>
            </a:r>
          </a:p>
          <a:p>
            <a:pPr>
              <a:lnSpc>
                <a:spcPts val="1200"/>
              </a:lnSpc>
            </a:pPr>
            <a:r>
              <a:rPr lang="en-US" sz="1000" dirty="0" smtClean="0">
                <a:solidFill>
                  <a:prstClr val="black"/>
                </a:solidFill>
                <a:cs typeface="Arial"/>
              </a:rPr>
              <a:t>Capgemini Office (Optional)</a:t>
            </a:r>
          </a:p>
          <a:p>
            <a:pPr>
              <a:lnSpc>
                <a:spcPts val="1200"/>
              </a:lnSpc>
            </a:pPr>
            <a:r>
              <a:rPr lang="en-US" sz="1000" dirty="0" smtClean="0">
                <a:solidFill>
                  <a:prstClr val="black"/>
                </a:solidFill>
                <a:cs typeface="Arial"/>
              </a:rPr>
              <a:t>Address Line 1</a:t>
            </a:r>
          </a:p>
          <a:p>
            <a:pPr>
              <a:lnSpc>
                <a:spcPts val="1200"/>
              </a:lnSpc>
            </a:pPr>
            <a:r>
              <a:rPr lang="en-US" sz="1000" dirty="0" smtClean="0">
                <a:solidFill>
                  <a:prstClr val="black"/>
                </a:solidFill>
                <a:cs typeface="Arial"/>
              </a:rPr>
              <a:t>Address Line 2 </a:t>
            </a:r>
          </a:p>
          <a:p>
            <a:pPr>
              <a:lnSpc>
                <a:spcPts val="1200"/>
              </a:lnSpc>
            </a:pPr>
            <a:r>
              <a:rPr lang="en-US" sz="1000" dirty="0" smtClean="0">
                <a:solidFill>
                  <a:prstClr val="black"/>
                </a:solidFill>
                <a:cs typeface="Arial"/>
              </a:rPr>
              <a:t>Address Line 3</a:t>
            </a:r>
            <a:endParaRPr lang="en-US" sz="1000" dirty="0">
              <a:solidFill>
                <a:prstClr val="black"/>
              </a:solidFill>
              <a:cs typeface="Arial"/>
            </a:endParaRP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smtClean="0">
                <a:solidFill>
                  <a:srgbClr val="0070AD"/>
                </a:solidFill>
                <a:cs typeface="Arial"/>
              </a:rPr>
              <a:t>Name, Last </a:t>
            </a:r>
            <a:r>
              <a:rPr lang="en-US" sz="1200" b="1" dirty="0">
                <a:solidFill>
                  <a:srgbClr val="0070AD"/>
                </a:solidFill>
                <a:cs typeface="Arial"/>
              </a:rPr>
              <a:t>Name</a:t>
            </a:r>
          </a:p>
          <a:p>
            <a:pPr>
              <a:lnSpc>
                <a:spcPts val="1200"/>
              </a:lnSpc>
            </a:pPr>
            <a:r>
              <a:rPr lang="en-US" sz="1000" dirty="0" smtClean="0">
                <a:solidFill>
                  <a:srgbClr val="12ABDB"/>
                </a:solidFill>
                <a:cs typeface="Arial"/>
              </a:rPr>
              <a:t>Title/Role</a:t>
            </a:r>
          </a:p>
          <a:p>
            <a:pPr>
              <a:lnSpc>
                <a:spcPts val="1200"/>
              </a:lnSpc>
            </a:pPr>
            <a:r>
              <a:rPr lang="en-US" sz="1000" dirty="0" smtClean="0">
                <a:solidFill>
                  <a:prstClr val="black"/>
                </a:solidFill>
                <a:cs typeface="Arial"/>
              </a:rPr>
              <a:t>Capgemini Office (Optional)</a:t>
            </a:r>
          </a:p>
          <a:p>
            <a:pPr>
              <a:lnSpc>
                <a:spcPts val="1200"/>
              </a:lnSpc>
            </a:pPr>
            <a:r>
              <a:rPr lang="en-US" sz="1000" dirty="0" smtClean="0">
                <a:solidFill>
                  <a:prstClr val="black"/>
                </a:solidFill>
                <a:cs typeface="Arial"/>
              </a:rPr>
              <a:t>Address Line 1</a:t>
            </a:r>
          </a:p>
          <a:p>
            <a:pPr>
              <a:lnSpc>
                <a:spcPts val="1200"/>
              </a:lnSpc>
            </a:pPr>
            <a:r>
              <a:rPr lang="en-US" sz="1000" dirty="0" smtClean="0">
                <a:solidFill>
                  <a:prstClr val="black"/>
                </a:solidFill>
                <a:cs typeface="Arial"/>
              </a:rPr>
              <a:t>Address Line 2 </a:t>
            </a:r>
          </a:p>
          <a:p>
            <a:pPr>
              <a:lnSpc>
                <a:spcPts val="1200"/>
              </a:lnSpc>
            </a:pPr>
            <a:r>
              <a:rPr lang="en-US" sz="1000" dirty="0" smtClean="0">
                <a:solidFill>
                  <a:prstClr val="black"/>
                </a:solidFill>
                <a:cs typeface="Arial"/>
              </a:rPr>
              <a:t>Address Line 3</a:t>
            </a:r>
            <a:endParaRPr lang="en-US" sz="1000" dirty="0">
              <a:solidFill>
                <a:prstClr val="black"/>
              </a:solidFill>
              <a:cs typeface="Arial"/>
            </a:endParaRP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smtClean="0">
                <a:solidFill>
                  <a:srgbClr val="0070AD"/>
                </a:solidFill>
                <a:cs typeface="Arial"/>
              </a:rPr>
              <a:t>Name, Last </a:t>
            </a:r>
            <a:r>
              <a:rPr lang="en-US" sz="1200" b="1" dirty="0">
                <a:solidFill>
                  <a:srgbClr val="0070AD"/>
                </a:solidFill>
                <a:cs typeface="Arial"/>
              </a:rPr>
              <a:t>Name</a:t>
            </a:r>
          </a:p>
          <a:p>
            <a:pPr>
              <a:lnSpc>
                <a:spcPts val="1200"/>
              </a:lnSpc>
            </a:pPr>
            <a:r>
              <a:rPr lang="en-US" sz="1000" dirty="0" smtClean="0">
                <a:solidFill>
                  <a:srgbClr val="12ABDB"/>
                </a:solidFill>
                <a:cs typeface="Arial"/>
              </a:rPr>
              <a:t>Title/Role</a:t>
            </a:r>
          </a:p>
          <a:p>
            <a:pPr>
              <a:lnSpc>
                <a:spcPts val="1200"/>
              </a:lnSpc>
            </a:pPr>
            <a:r>
              <a:rPr lang="en-US" sz="1000" dirty="0" smtClean="0">
                <a:solidFill>
                  <a:prstClr val="black"/>
                </a:solidFill>
                <a:cs typeface="Arial"/>
              </a:rPr>
              <a:t>Capgemini Office (Optional)</a:t>
            </a:r>
          </a:p>
          <a:p>
            <a:pPr>
              <a:lnSpc>
                <a:spcPts val="1200"/>
              </a:lnSpc>
            </a:pPr>
            <a:r>
              <a:rPr lang="en-US" sz="1000" dirty="0" smtClean="0">
                <a:solidFill>
                  <a:prstClr val="black"/>
                </a:solidFill>
                <a:cs typeface="Arial"/>
              </a:rPr>
              <a:t>Address Line 1</a:t>
            </a:r>
          </a:p>
          <a:p>
            <a:pPr>
              <a:lnSpc>
                <a:spcPts val="1200"/>
              </a:lnSpc>
            </a:pPr>
            <a:r>
              <a:rPr lang="en-US" sz="1000" dirty="0" smtClean="0">
                <a:solidFill>
                  <a:prstClr val="black"/>
                </a:solidFill>
                <a:cs typeface="Arial"/>
              </a:rPr>
              <a:t>Address Line 2 </a:t>
            </a:r>
          </a:p>
          <a:p>
            <a:pPr>
              <a:lnSpc>
                <a:spcPts val="1200"/>
              </a:lnSpc>
            </a:pPr>
            <a:r>
              <a:rPr lang="en-US" sz="1000" dirty="0" smtClean="0">
                <a:solidFill>
                  <a:prstClr val="black"/>
                </a:solidFill>
                <a:cs typeface="Arial"/>
              </a:rPr>
              <a:t>Address Line 3</a:t>
            </a:r>
            <a:endParaRPr lang="en-US" sz="1000" dirty="0">
              <a:solidFill>
                <a:prstClr val="black"/>
              </a:solidFill>
              <a:cs typeface="Arial"/>
            </a:endParaRP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smtClean="0">
                <a:solidFill>
                  <a:srgbClr val="0070AD"/>
                </a:solidFill>
                <a:cs typeface="Arial"/>
              </a:rPr>
              <a:t>Name, Last </a:t>
            </a:r>
            <a:r>
              <a:rPr lang="en-US" sz="1200" b="1" dirty="0">
                <a:solidFill>
                  <a:srgbClr val="0070AD"/>
                </a:solidFill>
                <a:cs typeface="Arial"/>
              </a:rPr>
              <a:t>Name</a:t>
            </a:r>
          </a:p>
          <a:p>
            <a:pPr>
              <a:lnSpc>
                <a:spcPts val="1200"/>
              </a:lnSpc>
            </a:pPr>
            <a:r>
              <a:rPr lang="en-US" sz="1000" dirty="0" smtClean="0">
                <a:solidFill>
                  <a:srgbClr val="12ABDB"/>
                </a:solidFill>
                <a:cs typeface="Arial"/>
              </a:rPr>
              <a:t>Title/Role</a:t>
            </a:r>
          </a:p>
          <a:p>
            <a:pPr>
              <a:lnSpc>
                <a:spcPts val="1200"/>
              </a:lnSpc>
            </a:pPr>
            <a:r>
              <a:rPr lang="en-US" sz="1000" dirty="0" smtClean="0">
                <a:solidFill>
                  <a:prstClr val="black"/>
                </a:solidFill>
                <a:cs typeface="Arial"/>
              </a:rPr>
              <a:t>Capgemini Office (Optional)</a:t>
            </a:r>
          </a:p>
          <a:p>
            <a:pPr>
              <a:lnSpc>
                <a:spcPts val="1200"/>
              </a:lnSpc>
            </a:pPr>
            <a:r>
              <a:rPr lang="en-US" sz="1000" dirty="0" smtClean="0">
                <a:solidFill>
                  <a:prstClr val="black"/>
                </a:solidFill>
                <a:cs typeface="Arial"/>
              </a:rPr>
              <a:t>Address Line 1</a:t>
            </a:r>
          </a:p>
          <a:p>
            <a:pPr>
              <a:lnSpc>
                <a:spcPts val="1200"/>
              </a:lnSpc>
            </a:pPr>
            <a:r>
              <a:rPr lang="en-US" sz="1000" dirty="0" smtClean="0">
                <a:solidFill>
                  <a:prstClr val="black"/>
                </a:solidFill>
                <a:cs typeface="Arial"/>
              </a:rPr>
              <a:t>Address Line 2 </a:t>
            </a:r>
          </a:p>
          <a:p>
            <a:pPr>
              <a:lnSpc>
                <a:spcPts val="1200"/>
              </a:lnSpc>
            </a:pPr>
            <a:r>
              <a:rPr lang="en-US" sz="1000" dirty="0" smtClean="0">
                <a:solidFill>
                  <a:prstClr val="black"/>
                </a:solidFill>
                <a:cs typeface="Arial"/>
              </a:rPr>
              <a:t>Address Line 3</a:t>
            </a:r>
            <a:endParaRPr lang="en-US" sz="1000" dirty="0">
              <a:solidFill>
                <a:prstClr val="black"/>
              </a:solidFill>
              <a:cs typeface="Arial"/>
            </a:endParaRP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17"/>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8" name="Rectangle 67">
            <a:hlinkClick r:id="rId18"/>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9" name="Rectangle 68">
            <a:hlinkClick r:id="rId19"/>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smtClean="0">
                <a:solidFill>
                  <a:srgbClr val="0070AD"/>
                </a:solidFill>
              </a:rPr>
              <a:t>People matter, results count.</a:t>
            </a:r>
            <a:endParaRPr lang="en-US" sz="1200" b="1" dirty="0">
              <a:solidFill>
                <a:srgbClr val="0070AD"/>
              </a:solidFill>
            </a:endParaRPr>
          </a:p>
        </p:txBody>
      </p:sp>
    </p:spTree>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3" name="Titre 2"/>
          <p:cNvSpPr>
            <a:spLocks noGrp="1"/>
          </p:cNvSpPr>
          <p:nvPr>
            <p:ph type="title"/>
          </p:nvPr>
        </p:nvSpPr>
        <p:spPr/>
        <p:txBody>
          <a:bodyPr/>
          <a:lstStyle/>
          <a:p>
            <a:r>
              <a:rPr lang="fr-FR" smtClean="0"/>
              <a:t>Modifiez le style du titre</a:t>
            </a:r>
            <a:endParaRPr lang="en-US"/>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smtClean="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smtClean="0"/>
              <a:t>Click to edit Master subtitle styles</a:t>
            </a:r>
          </a:p>
        </p:txBody>
      </p:sp>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a:t>
            </a:r>
            <a:r>
              <a:rPr lang="en-US" dirty="0" smtClean="0"/>
              <a:t>title</a:t>
            </a:r>
            <a:endParaRPr lang="en-US" dirty="0"/>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xmlns="" id="{DDCA2B41-0A1F-45C2-A74A-EB99E41096F1}"/>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rcRect t="-5646"/>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smtClean="0"/>
              <a:t>Modifiez le style du titr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Tree>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89"/>
          <a:ext cx="1953" cy="1587"/>
        </p:xfrm>
        <a:graphic>
          <a:graphicData uri="http://schemas.openxmlformats.org/presentationml/2006/ole">
            <mc:AlternateContent xmlns:mc="http://schemas.openxmlformats.org/markup-compatibility/2006">
              <mc:Choice xmlns:v="urn:schemas-microsoft-com:vml" Requires="v">
                <p:oleObj spid="_x0000_s84056" name="think-cell Slide" r:id="rId4" imgW="216" imgH="216" progId="">
                  <p:embed/>
                </p:oleObj>
              </mc:Choice>
              <mc:Fallback>
                <p:oleObj name="think-cell Slide" r:id="rId4" imgW="216" imgH="216"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Content Placeholder 2"/>
          <p:cNvSpPr>
            <a:spLocks noGrp="1"/>
          </p:cNvSpPr>
          <p:nvPr>
            <p:ph idx="1"/>
          </p:nvPr>
        </p:nvSpPr>
        <p:spPr/>
        <p:txBody>
          <a:bodyPr/>
          <a:lstStyle>
            <a:lvl1pPr>
              <a:defRPr/>
            </a:lvl1pPr>
            <a:lvl2pPr>
              <a:defRPr/>
            </a:lvl2pPr>
            <a:lvl3pPr>
              <a:defRPr/>
            </a:lvl3pPr>
            <a:lvl4pPr>
              <a:defRPr/>
            </a:lvl4pPr>
            <a:lvl5pPr>
              <a:defRPr>
                <a:latin typeface="Calibri"/>
                <a:sym typeface="Calibri"/>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9043283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704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 name="Title 1"/>
          <p:cNvSpPr>
            <a:spLocks noGrp="1"/>
          </p:cNvSpPr>
          <p:nvPr>
            <p:ph type="title"/>
          </p:nvPr>
        </p:nvSpPr>
        <p:spPr>
          <a:xfrm>
            <a:off x="974872" y="0"/>
            <a:ext cx="10377711" cy="1104900"/>
          </a:xfrm>
        </p:spPr>
        <p:txBody>
          <a:bodyPr/>
          <a:lstStyle/>
          <a:p>
            <a:r>
              <a:rPr lang="fr-FR" smtClean="0"/>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smtClean="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smtClean="0"/>
              <a:t>#</a:t>
            </a:r>
            <a:endParaRPr lang="en-GB" dirty="0"/>
          </a:p>
        </p:txBody>
      </p:sp>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807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smtClean="0"/>
              <a:t>Modifiez le style du titre</a:t>
            </a:r>
            <a:endParaRPr lang="en-GB" dirty="0"/>
          </a:p>
        </p:txBody>
      </p:sp>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srgbClr val="FFFFFF"/>
              </a:solidFill>
            </a:endParaRP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Tree>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ontent-profile 2">
    <p:spTree>
      <p:nvGrpSpPr>
        <p:cNvPr id="1" name=""/>
        <p:cNvGrpSpPr/>
        <p:nvPr/>
      </p:nvGrpSpPr>
      <p:grpSpPr>
        <a:xfrm>
          <a:off x="0" y="0"/>
          <a:ext cx="0" cy="0"/>
          <a:chOff x="0" y="0"/>
          <a:chExt cx="0" cy="0"/>
        </a:xfrm>
      </p:grpSpPr>
      <p:sp>
        <p:nvSpPr>
          <p:cNvPr id="4" name="Freeform: Shape 11">
            <a:extLst>
              <a:ext uri="{FF2B5EF4-FFF2-40B4-BE49-F238E27FC236}">
                <a16:creationId xmlns:a16="http://schemas.microsoft.com/office/drawing/2014/main" xmlns=""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srgbClr val="FFFFFF"/>
              </a:solidFill>
            </a:endParaRPr>
          </a:p>
        </p:txBody>
      </p:sp>
      <p:sp>
        <p:nvSpPr>
          <p:cNvPr id="5" name="Oval 20">
            <a:extLst>
              <a:ext uri="{FF2B5EF4-FFF2-40B4-BE49-F238E27FC236}">
                <a16:creationId xmlns:a16="http://schemas.microsoft.com/office/drawing/2014/main" xmlns=""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2"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367326"/>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1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889136"/>
            <a:ext cx="3296647" cy="412363"/>
          </a:xfrm>
          <a:prstGeom prst="rect">
            <a:avLst/>
          </a:prstGeom>
          <a:noFill/>
        </p:spPr>
        <p:txBody>
          <a:bodyPr anchor="ctr">
            <a:noAutofit/>
          </a:bodyPr>
          <a:lstStyle>
            <a:lvl1pPr algn="l">
              <a:defRPr sz="20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1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16883"/>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5"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90297"/>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Tree>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8" y="0"/>
            <a:ext cx="6732651" cy="1104900"/>
          </a:xfrm>
          <a:prstGeom prst="rect">
            <a:avLst/>
          </a:prstGeom>
        </p:spPr>
        <p:txBody>
          <a:bodyPr/>
          <a:lstStyle/>
          <a:p>
            <a:r>
              <a:rPr lang="fr-FR" smtClean="0"/>
              <a:t>Modifiez le style du titre</a:t>
            </a:r>
            <a:endParaRPr lang="en-GB" dirty="0"/>
          </a:p>
        </p:txBody>
      </p:sp>
      <p:sp>
        <p:nvSpPr>
          <p:cNvPr id="3" name="Freeform 6"/>
          <p:cNvSpPr>
            <a:spLocks/>
          </p:cNvSpPr>
          <p:nvPr userDrawn="1"/>
        </p:nvSpPr>
        <p:spPr bwMode="auto">
          <a:xfrm>
            <a:off x="6351587" y="325438"/>
            <a:ext cx="5840413" cy="6535737"/>
          </a:xfrm>
          <a:custGeom>
            <a:avLst/>
            <a:gdLst/>
            <a:ahLst/>
            <a:cxnLst>
              <a:cxn ang="0">
                <a:pos x="2465" y="2758"/>
              </a:cxn>
              <a:cxn ang="0">
                <a:pos x="710" y="2758"/>
              </a:cxn>
              <a:cxn ang="0">
                <a:pos x="705" y="2747"/>
              </a:cxn>
              <a:cxn ang="0">
                <a:pos x="517" y="2439"/>
              </a:cxn>
              <a:cxn ang="0">
                <a:pos x="381" y="2196"/>
              </a:cxn>
              <a:cxn ang="0">
                <a:pos x="198" y="1820"/>
              </a:cxn>
              <a:cxn ang="0">
                <a:pos x="68" y="1458"/>
              </a:cxn>
              <a:cxn ang="0">
                <a:pos x="13" y="1200"/>
              </a:cxn>
              <a:cxn ang="0">
                <a:pos x="0" y="1053"/>
              </a:cxn>
              <a:cxn ang="0">
                <a:pos x="3" y="1046"/>
              </a:cxn>
              <a:cxn ang="0">
                <a:pos x="2" y="995"/>
              </a:cxn>
              <a:cxn ang="0">
                <a:pos x="0" y="987"/>
              </a:cxn>
              <a:cxn ang="0">
                <a:pos x="2" y="950"/>
              </a:cxn>
              <a:cxn ang="0">
                <a:pos x="31" y="755"/>
              </a:cxn>
              <a:cxn ang="0">
                <a:pos x="167" y="449"/>
              </a:cxn>
              <a:cxn ang="0">
                <a:pos x="395" y="194"/>
              </a:cxn>
              <a:cxn ang="0">
                <a:pos x="643" y="14"/>
              </a:cxn>
              <a:cxn ang="0">
                <a:pos x="664" y="0"/>
              </a:cxn>
              <a:cxn ang="0">
                <a:pos x="666" y="0"/>
              </a:cxn>
              <a:cxn ang="0">
                <a:pos x="674" y="6"/>
              </a:cxn>
              <a:cxn ang="0">
                <a:pos x="731" y="37"/>
              </a:cxn>
              <a:cxn ang="0">
                <a:pos x="1241" y="284"/>
              </a:cxn>
              <a:cxn ang="0">
                <a:pos x="1668" y="438"/>
              </a:cxn>
              <a:cxn ang="0">
                <a:pos x="1899" y="493"/>
              </a:cxn>
              <a:cxn ang="0">
                <a:pos x="2000" y="508"/>
              </a:cxn>
              <a:cxn ang="0">
                <a:pos x="2236" y="512"/>
              </a:cxn>
              <a:cxn ang="0">
                <a:pos x="2410" y="473"/>
              </a:cxn>
              <a:cxn ang="0">
                <a:pos x="2465" y="450"/>
              </a:cxn>
              <a:cxn ang="0">
                <a:pos x="2465" y="466"/>
              </a:cxn>
              <a:cxn ang="0">
                <a:pos x="2465" y="2758"/>
              </a:cxn>
            </a:cxnLst>
            <a:rect l="0" t="0" r="r" b="b"/>
            <a:pathLst>
              <a:path w="2465" h="2758">
                <a:moveTo>
                  <a:pt x="2465" y="2758"/>
                </a:moveTo>
                <a:cubicBezTo>
                  <a:pt x="1880" y="2758"/>
                  <a:pt x="1295" y="2758"/>
                  <a:pt x="710" y="2758"/>
                </a:cubicBezTo>
                <a:cubicBezTo>
                  <a:pt x="711" y="2753"/>
                  <a:pt x="707" y="2750"/>
                  <a:pt x="705" y="2747"/>
                </a:cubicBezTo>
                <a:cubicBezTo>
                  <a:pt x="641" y="2645"/>
                  <a:pt x="577" y="2543"/>
                  <a:pt x="517" y="2439"/>
                </a:cubicBezTo>
                <a:cubicBezTo>
                  <a:pt x="471" y="2358"/>
                  <a:pt x="425" y="2278"/>
                  <a:pt x="381" y="2196"/>
                </a:cubicBezTo>
                <a:cubicBezTo>
                  <a:pt x="315" y="2073"/>
                  <a:pt x="253" y="1948"/>
                  <a:pt x="198" y="1820"/>
                </a:cubicBezTo>
                <a:cubicBezTo>
                  <a:pt x="147" y="1702"/>
                  <a:pt x="102" y="1582"/>
                  <a:pt x="68" y="1458"/>
                </a:cubicBezTo>
                <a:cubicBezTo>
                  <a:pt x="44" y="1373"/>
                  <a:pt x="25" y="1288"/>
                  <a:pt x="13" y="1200"/>
                </a:cubicBezTo>
                <a:cubicBezTo>
                  <a:pt x="7" y="1151"/>
                  <a:pt x="3" y="1102"/>
                  <a:pt x="0" y="1053"/>
                </a:cubicBezTo>
                <a:cubicBezTo>
                  <a:pt x="2" y="1051"/>
                  <a:pt x="3" y="1049"/>
                  <a:pt x="3" y="1046"/>
                </a:cubicBezTo>
                <a:cubicBezTo>
                  <a:pt x="3" y="1029"/>
                  <a:pt x="3" y="1012"/>
                  <a:pt x="2" y="995"/>
                </a:cubicBezTo>
                <a:cubicBezTo>
                  <a:pt x="2" y="992"/>
                  <a:pt x="2" y="989"/>
                  <a:pt x="0" y="987"/>
                </a:cubicBezTo>
                <a:cubicBezTo>
                  <a:pt x="0" y="974"/>
                  <a:pt x="2" y="962"/>
                  <a:pt x="2" y="950"/>
                </a:cubicBezTo>
                <a:cubicBezTo>
                  <a:pt x="6" y="884"/>
                  <a:pt x="16" y="819"/>
                  <a:pt x="31" y="755"/>
                </a:cubicBezTo>
                <a:cubicBezTo>
                  <a:pt x="59" y="645"/>
                  <a:pt x="105" y="543"/>
                  <a:pt x="167" y="449"/>
                </a:cubicBezTo>
                <a:cubicBezTo>
                  <a:pt x="230" y="352"/>
                  <a:pt x="308" y="269"/>
                  <a:pt x="395" y="194"/>
                </a:cubicBezTo>
                <a:cubicBezTo>
                  <a:pt x="473" y="127"/>
                  <a:pt x="556" y="68"/>
                  <a:pt x="643" y="14"/>
                </a:cubicBezTo>
                <a:cubicBezTo>
                  <a:pt x="650" y="9"/>
                  <a:pt x="657" y="5"/>
                  <a:pt x="664" y="0"/>
                </a:cubicBezTo>
                <a:cubicBezTo>
                  <a:pt x="664" y="0"/>
                  <a:pt x="665" y="0"/>
                  <a:pt x="666" y="0"/>
                </a:cubicBezTo>
                <a:cubicBezTo>
                  <a:pt x="667" y="4"/>
                  <a:pt x="671" y="4"/>
                  <a:pt x="674" y="6"/>
                </a:cubicBezTo>
                <a:cubicBezTo>
                  <a:pt x="693" y="16"/>
                  <a:pt x="712" y="27"/>
                  <a:pt x="731" y="37"/>
                </a:cubicBezTo>
                <a:cubicBezTo>
                  <a:pt x="898" y="126"/>
                  <a:pt x="1067" y="210"/>
                  <a:pt x="1241" y="284"/>
                </a:cubicBezTo>
                <a:cubicBezTo>
                  <a:pt x="1381" y="343"/>
                  <a:pt x="1523" y="396"/>
                  <a:pt x="1668" y="438"/>
                </a:cubicBezTo>
                <a:cubicBezTo>
                  <a:pt x="1744" y="460"/>
                  <a:pt x="1821" y="477"/>
                  <a:pt x="1899" y="493"/>
                </a:cubicBezTo>
                <a:cubicBezTo>
                  <a:pt x="1932" y="500"/>
                  <a:pt x="1966" y="504"/>
                  <a:pt x="2000" y="508"/>
                </a:cubicBezTo>
                <a:cubicBezTo>
                  <a:pt x="2079" y="516"/>
                  <a:pt x="2157" y="519"/>
                  <a:pt x="2236" y="512"/>
                </a:cubicBezTo>
                <a:cubicBezTo>
                  <a:pt x="2296" y="506"/>
                  <a:pt x="2354" y="494"/>
                  <a:pt x="2410" y="473"/>
                </a:cubicBezTo>
                <a:cubicBezTo>
                  <a:pt x="2429" y="466"/>
                  <a:pt x="2447" y="457"/>
                  <a:pt x="2465" y="450"/>
                </a:cubicBezTo>
                <a:cubicBezTo>
                  <a:pt x="2465" y="455"/>
                  <a:pt x="2465" y="461"/>
                  <a:pt x="2465" y="466"/>
                </a:cubicBezTo>
                <a:cubicBezTo>
                  <a:pt x="2465" y="1230"/>
                  <a:pt x="2465" y="1994"/>
                  <a:pt x="2465" y="275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7752183" y="2813833"/>
            <a:ext cx="3801187" cy="2629024"/>
          </a:xfrm>
          <a:prstGeom prst="rect">
            <a:avLst/>
          </a:prstGeom>
        </p:spPr>
        <p:txBody>
          <a:bodyPr>
            <a:noAutofit/>
          </a:bodyPr>
          <a:lstStyle>
            <a:lvl1pPr algn="l">
              <a:lnSpc>
                <a:spcPct val="850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8" name="Espace réservé du texte 7"/>
          <p:cNvSpPr>
            <a:spLocks noGrp="1"/>
          </p:cNvSpPr>
          <p:nvPr>
            <p:ph type="body" sz="quarter" idx="13"/>
          </p:nvPr>
        </p:nvSpPr>
        <p:spPr>
          <a:xfrm>
            <a:off x="227013" y="1808163"/>
            <a:ext cx="6013450" cy="4681537"/>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grpSp>
        <p:nvGrpSpPr>
          <p:cNvPr id="9" name="Group 10"/>
          <p:cNvGrpSpPr/>
          <p:nvPr userDrawn="1"/>
        </p:nvGrpSpPr>
        <p:grpSpPr>
          <a:xfrm>
            <a:off x="7571874" y="6483359"/>
            <a:ext cx="4316313" cy="253173"/>
            <a:chOff x="6152147" y="6480941"/>
            <a:chExt cx="3507004" cy="253173"/>
          </a:xfrm>
        </p:grpSpPr>
        <p:sp>
          <p:nvSpPr>
            <p:cNvPr id="10" name="TextBox 10"/>
            <p:cNvSpPr txBox="1"/>
            <p:nvPr userDrawn="1">
              <p:custDataLst>
                <p:tags r:id="rId1"/>
              </p:custDataLst>
            </p:nvPr>
          </p:nvSpPr>
          <p:spPr>
            <a:xfrm>
              <a:off x="9659098" y="6634728"/>
              <a:ext cx="53" cy="99386"/>
            </a:xfrm>
            <a:prstGeom prst="rect">
              <a:avLst/>
            </a:prstGeom>
            <a:noFill/>
          </p:spPr>
          <p:txBody>
            <a:bodyPr wrap="none" lIns="0" tIns="0" rIns="0" bIns="0" rtlCol="0" anchor="ctr">
              <a:spAutoFit/>
            </a:bodyPr>
            <a:lstStyle/>
            <a:p>
              <a:pPr algn="ctr" defTabSz="884105"/>
              <a:endParaRPr lang="en-US" sz="646" dirty="0">
                <a:solidFill>
                  <a:srgbClr val="1C1C1C">
                    <a:lumMod val="75000"/>
                    <a:lumOff val="25000"/>
                  </a:srgbClr>
                </a:solidFill>
                <a:latin typeface="Arial"/>
              </a:endParaRPr>
            </a:p>
          </p:txBody>
        </p:sp>
        <p:sp>
          <p:nvSpPr>
            <p:cNvPr id="11" name="Rectangle 10"/>
            <p:cNvSpPr>
              <a:spLocks noChangeArrowheads="1"/>
            </p:cNvSpPr>
            <p:nvPr userDrawn="1">
              <p:custDataLst>
                <p:tags r:id="rId2"/>
              </p:custDataLst>
            </p:nvPr>
          </p:nvSpPr>
          <p:spPr bwMode="auto">
            <a:xfrm>
              <a:off x="6152147" y="6634728"/>
              <a:ext cx="3342760" cy="99386"/>
            </a:xfrm>
            <a:prstGeom prst="rect">
              <a:avLst/>
            </a:prstGeom>
            <a:noFill/>
            <a:ln w="19050">
              <a:noFill/>
              <a:miter lim="800000"/>
              <a:headEnd/>
              <a:tailEnd/>
            </a:ln>
            <a:effectLst/>
          </p:spPr>
          <p:txBody>
            <a:bodyPr wrap="square" lIns="0" tIns="0" rIns="0" bIns="0" anchor="ctr" anchorCtr="0">
              <a:spAutoFit/>
            </a:bodyPr>
            <a:lstStyle/>
            <a:p>
              <a:pPr algn="r" defTabSz="918895" eaLnBrk="0" hangingPunct="0">
                <a:defRPr/>
              </a:pPr>
              <a:r>
                <a:rPr lang="en-US" altLang="en-US" sz="646" dirty="0">
                  <a:solidFill>
                    <a:srgbClr val="1C1C1C">
                      <a:lumMod val="75000"/>
                      <a:lumOff val="25000"/>
                    </a:srgbClr>
                  </a:solidFill>
                  <a:latin typeface="Arial"/>
                  <a:cs typeface="Arial" pitchFamily="34" charset="0"/>
                </a:rPr>
                <a:t>Copyright © Capgemini </a:t>
              </a:r>
              <a:r>
                <a:rPr lang="en-US" altLang="en-US" sz="646" dirty="0" smtClean="0">
                  <a:solidFill>
                    <a:srgbClr val="1C1C1C">
                      <a:lumMod val="75000"/>
                      <a:lumOff val="25000"/>
                    </a:srgbClr>
                  </a:solidFill>
                  <a:latin typeface="Arial"/>
                  <a:cs typeface="Arial" pitchFamily="34" charset="0"/>
                </a:rPr>
                <a:t>2017. </a:t>
              </a:r>
              <a:r>
                <a:rPr lang="en-US" altLang="en-US" sz="646" dirty="0">
                  <a:solidFill>
                    <a:srgbClr val="1C1C1C">
                      <a:lumMod val="75000"/>
                      <a:lumOff val="25000"/>
                    </a:srgbClr>
                  </a:solidFill>
                  <a:latin typeface="Arial"/>
                  <a:cs typeface="Arial" pitchFamily="34" charset="0"/>
                </a:rPr>
                <a:t>All Rights Reserved</a:t>
              </a:r>
            </a:p>
          </p:txBody>
        </p:sp>
        <p:sp>
          <p:nvSpPr>
            <p:cNvPr id="12" name="Rectangle 11"/>
            <p:cNvSpPr/>
            <p:nvPr userDrawn="1">
              <p:custDataLst>
                <p:tags r:id="rId3"/>
              </p:custDataLst>
            </p:nvPr>
          </p:nvSpPr>
          <p:spPr>
            <a:xfrm>
              <a:off x="8006218" y="6480941"/>
              <a:ext cx="1488689" cy="99386"/>
            </a:xfrm>
            <a:prstGeom prst="rect">
              <a:avLst/>
            </a:prstGeom>
          </p:spPr>
          <p:txBody>
            <a:bodyPr wrap="none" lIns="0" tIns="0" rIns="0" bIns="0" anchor="ctr" anchorCtr="0">
              <a:spAutoFit/>
            </a:bodyPr>
            <a:lstStyle/>
            <a:p>
              <a:pPr algn="r" defTabSz="884105">
                <a:defRPr/>
              </a:pPr>
              <a:r>
                <a:rPr lang="en-US" sz="646" dirty="0">
                  <a:solidFill>
                    <a:srgbClr val="00234B"/>
                  </a:solidFill>
                  <a:latin typeface="Arial"/>
                </a:rPr>
                <a:t>Digital Customer Experience | Introduction to DCX</a:t>
              </a:r>
            </a:p>
          </p:txBody>
        </p:sp>
      </p:grpSp>
    </p:spTree>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9097"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3"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5598887"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prstClr val="black"/>
              </a:solidFill>
            </a:endParaRPr>
          </a:p>
        </p:txBody>
      </p:sp>
      <p:sp>
        <p:nvSpPr>
          <p:cNvPr id="2" name="Title 1"/>
          <p:cNvSpPr>
            <a:spLocks noGrp="1"/>
          </p:cNvSpPr>
          <p:nvPr>
            <p:ph type="title"/>
          </p:nvPr>
        </p:nvSpPr>
        <p:spPr>
          <a:xfrm>
            <a:off x="227349" y="-1"/>
            <a:ext cx="5636422" cy="1785257"/>
          </a:xfrm>
          <a:prstGeom prst="rect">
            <a:avLst/>
          </a:prstGeom>
        </p:spPr>
        <p:txBody>
          <a:bodyPr/>
          <a:lstStyle/>
          <a:p>
            <a:r>
              <a:rPr lang="fr-FR" smtClean="0"/>
              <a:t>Modifiez le style du titre</a:t>
            </a:r>
            <a:endParaRPr lang="en-GB" dirty="0"/>
          </a:p>
        </p:txBody>
      </p:sp>
      <p:sp>
        <p:nvSpPr>
          <p:cNvPr id="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1" name="Espace réservé du texte 10"/>
          <p:cNvSpPr>
            <a:spLocks noGrp="1"/>
          </p:cNvSpPr>
          <p:nvPr>
            <p:ph type="body" sz="quarter" idx="10"/>
          </p:nvPr>
        </p:nvSpPr>
        <p:spPr>
          <a:xfrm>
            <a:off x="227013" y="2565000"/>
            <a:ext cx="9253537" cy="3924700"/>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grpSp>
        <p:nvGrpSpPr>
          <p:cNvPr id="12" name="Group 10"/>
          <p:cNvGrpSpPr/>
          <p:nvPr userDrawn="1"/>
        </p:nvGrpSpPr>
        <p:grpSpPr>
          <a:xfrm>
            <a:off x="7571874" y="6483359"/>
            <a:ext cx="4316313" cy="253173"/>
            <a:chOff x="6152147" y="6480941"/>
            <a:chExt cx="3507004" cy="253173"/>
          </a:xfrm>
        </p:grpSpPr>
        <p:sp>
          <p:nvSpPr>
            <p:cNvPr id="13" name="TextBox 10"/>
            <p:cNvSpPr txBox="1"/>
            <p:nvPr userDrawn="1">
              <p:custDataLst>
                <p:tags r:id="rId3"/>
              </p:custDataLst>
            </p:nvPr>
          </p:nvSpPr>
          <p:spPr>
            <a:xfrm>
              <a:off x="9659098" y="6634728"/>
              <a:ext cx="53" cy="99386"/>
            </a:xfrm>
            <a:prstGeom prst="rect">
              <a:avLst/>
            </a:prstGeom>
            <a:noFill/>
          </p:spPr>
          <p:txBody>
            <a:bodyPr wrap="none" lIns="0" tIns="0" rIns="0" bIns="0" rtlCol="0" anchor="ctr">
              <a:spAutoFit/>
            </a:bodyPr>
            <a:lstStyle/>
            <a:p>
              <a:pPr algn="ctr" defTabSz="884105"/>
              <a:endParaRPr lang="en-US" sz="646" dirty="0">
                <a:solidFill>
                  <a:srgbClr val="1C1C1C">
                    <a:lumMod val="75000"/>
                    <a:lumOff val="25000"/>
                  </a:srgbClr>
                </a:solidFill>
                <a:latin typeface="Arial"/>
              </a:endParaRPr>
            </a:p>
          </p:txBody>
        </p:sp>
        <p:sp>
          <p:nvSpPr>
            <p:cNvPr id="14" name="Rectangle 13"/>
            <p:cNvSpPr>
              <a:spLocks noChangeArrowheads="1"/>
            </p:cNvSpPr>
            <p:nvPr userDrawn="1">
              <p:custDataLst>
                <p:tags r:id="rId4"/>
              </p:custDataLst>
            </p:nvPr>
          </p:nvSpPr>
          <p:spPr bwMode="auto">
            <a:xfrm>
              <a:off x="6152147" y="6634728"/>
              <a:ext cx="3342760" cy="99386"/>
            </a:xfrm>
            <a:prstGeom prst="rect">
              <a:avLst/>
            </a:prstGeom>
            <a:noFill/>
            <a:ln w="19050">
              <a:noFill/>
              <a:miter lim="800000"/>
              <a:headEnd/>
              <a:tailEnd/>
            </a:ln>
            <a:effectLst/>
          </p:spPr>
          <p:txBody>
            <a:bodyPr wrap="square" lIns="0" tIns="0" rIns="0" bIns="0" anchor="ctr" anchorCtr="0">
              <a:spAutoFit/>
            </a:bodyPr>
            <a:lstStyle/>
            <a:p>
              <a:pPr algn="r" defTabSz="918895" eaLnBrk="0" hangingPunct="0">
                <a:defRPr/>
              </a:pPr>
              <a:r>
                <a:rPr lang="en-US" altLang="en-US" sz="646" dirty="0">
                  <a:solidFill>
                    <a:srgbClr val="1C1C1C">
                      <a:lumMod val="75000"/>
                      <a:lumOff val="25000"/>
                    </a:srgbClr>
                  </a:solidFill>
                  <a:latin typeface="Arial"/>
                  <a:cs typeface="Arial" pitchFamily="34" charset="0"/>
                </a:rPr>
                <a:t>Copyright © Capgemini </a:t>
              </a:r>
              <a:r>
                <a:rPr lang="en-US" altLang="en-US" sz="646" dirty="0" smtClean="0">
                  <a:solidFill>
                    <a:srgbClr val="1C1C1C">
                      <a:lumMod val="75000"/>
                      <a:lumOff val="25000"/>
                    </a:srgbClr>
                  </a:solidFill>
                  <a:latin typeface="Arial"/>
                  <a:cs typeface="Arial" pitchFamily="34" charset="0"/>
                </a:rPr>
                <a:t>2017. </a:t>
              </a:r>
              <a:r>
                <a:rPr lang="en-US" altLang="en-US" sz="646" dirty="0">
                  <a:solidFill>
                    <a:srgbClr val="1C1C1C">
                      <a:lumMod val="75000"/>
                      <a:lumOff val="25000"/>
                    </a:srgbClr>
                  </a:solidFill>
                  <a:latin typeface="Arial"/>
                  <a:cs typeface="Arial" pitchFamily="34" charset="0"/>
                </a:rPr>
                <a:t>All Rights Reserved</a:t>
              </a:r>
            </a:p>
          </p:txBody>
        </p:sp>
        <p:sp>
          <p:nvSpPr>
            <p:cNvPr id="15" name="Rectangle 14"/>
            <p:cNvSpPr/>
            <p:nvPr userDrawn="1">
              <p:custDataLst>
                <p:tags r:id="rId5"/>
              </p:custDataLst>
            </p:nvPr>
          </p:nvSpPr>
          <p:spPr>
            <a:xfrm>
              <a:off x="8006218" y="6480941"/>
              <a:ext cx="1488689" cy="99386"/>
            </a:xfrm>
            <a:prstGeom prst="rect">
              <a:avLst/>
            </a:prstGeom>
          </p:spPr>
          <p:txBody>
            <a:bodyPr wrap="none" lIns="0" tIns="0" rIns="0" bIns="0" anchor="ctr" anchorCtr="0">
              <a:spAutoFit/>
            </a:bodyPr>
            <a:lstStyle/>
            <a:p>
              <a:pPr algn="r" defTabSz="884105">
                <a:defRPr/>
              </a:pPr>
              <a:r>
                <a:rPr lang="en-US" sz="646" dirty="0">
                  <a:solidFill>
                    <a:srgbClr val="00234B"/>
                  </a:solidFill>
                  <a:latin typeface="Arial"/>
                </a:rPr>
                <a:t>Digital Customer Experience | Introduction to DCX</a:t>
              </a:r>
            </a:p>
          </p:txBody>
        </p:sp>
      </p:grpSp>
    </p:spTree>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012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xmlns="" r:embed="rId7"/>
              </a:ext>
            </a:extLst>
          </a:blip>
          <a:srcRect/>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smtClean="0"/>
              <a:t>Modifiez le style du titre</a:t>
            </a:r>
            <a:endParaRPr lang="en-GB"/>
          </a:p>
        </p:txBody>
      </p:sp>
      <p:sp>
        <p:nvSpPr>
          <p:cNvPr id="12"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smtClean="0"/>
              <a:t>Cliquez sur l'icône pour ajouter une image</a:t>
            </a:r>
            <a:endParaRPr lang="pt-PT"/>
          </a:p>
        </p:txBody>
      </p:sp>
      <p:sp>
        <p:nvSpPr>
          <p:cNvPr id="19"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Tree>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Content 4">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1145"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a:extLst>
              <a:ext uri="{FF2B5EF4-FFF2-40B4-BE49-F238E27FC236}">
                <a16:creationId xmlns:a16="http://schemas.microsoft.com/office/drawing/2014/main" xmlns="" id="{1F7E5A44-800E-4E01-9E39-BE8EDB371110}"/>
              </a:ext>
            </a:extLst>
          </p:cNvPr>
          <p:cNvSpPr/>
          <p:nvPr userDrawn="1"/>
        </p:nvSpPr>
        <p:spPr>
          <a:xfrm>
            <a:off x="6687257" y="0"/>
            <a:ext cx="5504743"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3"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6949440" y="1259376"/>
            <a:ext cx="4704974" cy="2801255"/>
          </a:xfrm>
          <a:prstGeom prst="rect">
            <a:avLst/>
          </a:prstGeom>
        </p:spPr>
        <p:txBody>
          <a:bodyPr>
            <a:noAutofit/>
          </a:bodyPr>
          <a:lstStyle>
            <a:lvl1pPr marL="0" indent="0" algn="l">
              <a:lnSpc>
                <a:spcPct val="100000"/>
              </a:lnSpc>
              <a:spcBef>
                <a:spcPts val="0"/>
              </a:spcBef>
              <a:buNone/>
              <a:defRPr sz="16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7"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949440" y="5568661"/>
            <a:ext cx="4704974" cy="333830"/>
          </a:xfrm>
          <a:prstGeom prst="rect">
            <a:avLst/>
          </a:prstGeom>
        </p:spPr>
        <p:txBody>
          <a:bodyPr>
            <a:noAutofit/>
          </a:bodyPr>
          <a:lstStyle>
            <a:lvl1pPr marL="0" indent="0" algn="ctr">
              <a:lnSpc>
                <a:spcPct val="100000"/>
              </a:lnSpc>
              <a:spcBef>
                <a:spcPts val="0"/>
              </a:spcBef>
              <a:buNone/>
              <a:defRPr sz="1500" b="1">
                <a:solidFill>
                  <a:schemeClr val="tx1"/>
                </a:solidFill>
              </a:defRPr>
            </a:lvl1pPr>
            <a:lvl2pPr algn="ctr">
              <a:defRPr/>
            </a:lvl2pPr>
            <a:lvl3pPr algn="ctr">
              <a:defRPr/>
            </a:lvl3pPr>
            <a:lvl4pPr algn="ctr">
              <a:defRPr/>
            </a:lvl4pPr>
            <a:lvl5pPr algn="ctr">
              <a:defRPr/>
            </a:lvl5pPr>
          </a:lstStyle>
          <a:p>
            <a:pPr lvl="0"/>
            <a:r>
              <a:rPr lang="en-US" dirty="0"/>
              <a:t>Insert text data</a:t>
            </a:r>
          </a:p>
        </p:txBody>
      </p:sp>
      <p:sp>
        <p:nvSpPr>
          <p:cNvPr id="28"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949440" y="4581128"/>
            <a:ext cx="4704974" cy="983347"/>
          </a:xfrm>
          <a:prstGeom prst="rect">
            <a:avLst/>
          </a:prstGeom>
        </p:spPr>
        <p:txBody>
          <a:bodyPr>
            <a:noAutofit/>
          </a:bodyPr>
          <a:lstStyle>
            <a:lvl1pPr marL="0" indent="0" algn="ctr">
              <a:lnSpc>
                <a:spcPct val="100000"/>
              </a:lnSpc>
              <a:spcBef>
                <a:spcPts val="0"/>
              </a:spcBef>
              <a:buNone/>
              <a:defRPr sz="6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1" name="Title 1"/>
          <p:cNvSpPr>
            <a:spLocks noGrp="1"/>
          </p:cNvSpPr>
          <p:nvPr>
            <p:ph type="title"/>
          </p:nvPr>
        </p:nvSpPr>
        <p:spPr>
          <a:xfrm>
            <a:off x="227349" y="0"/>
            <a:ext cx="6362137" cy="1104900"/>
          </a:xfrm>
          <a:prstGeom prst="rect">
            <a:avLst/>
          </a:prstGeom>
        </p:spPr>
        <p:txBody>
          <a:bodyPr/>
          <a:lstStyle/>
          <a:p>
            <a:r>
              <a:rPr lang="fr-FR" smtClean="0"/>
              <a:t>Modifiez le style du titre</a:t>
            </a:r>
            <a:endParaRPr lang="en-GB" dirty="0"/>
          </a:p>
        </p:txBody>
      </p:sp>
      <p:sp>
        <p:nvSpPr>
          <p:cNvPr id="31"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32"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nvGrpSpPr>
          <p:cNvPr id="12" name="Group 10"/>
          <p:cNvGrpSpPr/>
          <p:nvPr userDrawn="1"/>
        </p:nvGrpSpPr>
        <p:grpSpPr>
          <a:xfrm>
            <a:off x="7571874" y="6483359"/>
            <a:ext cx="4316313" cy="253173"/>
            <a:chOff x="6152147" y="6480941"/>
            <a:chExt cx="3507004" cy="253173"/>
          </a:xfrm>
        </p:grpSpPr>
        <p:sp>
          <p:nvSpPr>
            <p:cNvPr id="13" name="TextBox 10"/>
            <p:cNvSpPr txBox="1"/>
            <p:nvPr userDrawn="1">
              <p:custDataLst>
                <p:tags r:id="rId3"/>
              </p:custDataLst>
            </p:nvPr>
          </p:nvSpPr>
          <p:spPr>
            <a:xfrm>
              <a:off x="9659098" y="6634728"/>
              <a:ext cx="53" cy="99386"/>
            </a:xfrm>
            <a:prstGeom prst="rect">
              <a:avLst/>
            </a:prstGeom>
            <a:noFill/>
          </p:spPr>
          <p:txBody>
            <a:bodyPr wrap="none" lIns="0" tIns="0" rIns="0" bIns="0" rtlCol="0" anchor="ctr">
              <a:spAutoFit/>
            </a:bodyPr>
            <a:lstStyle/>
            <a:p>
              <a:pPr algn="ctr" defTabSz="884105"/>
              <a:endParaRPr lang="en-US" sz="646" dirty="0">
                <a:solidFill>
                  <a:srgbClr val="1C1C1C">
                    <a:lumMod val="75000"/>
                    <a:lumOff val="25000"/>
                  </a:srgbClr>
                </a:solidFill>
                <a:latin typeface="Arial"/>
              </a:endParaRPr>
            </a:p>
          </p:txBody>
        </p:sp>
        <p:sp>
          <p:nvSpPr>
            <p:cNvPr id="14" name="Rectangle 13"/>
            <p:cNvSpPr>
              <a:spLocks noChangeArrowheads="1"/>
            </p:cNvSpPr>
            <p:nvPr userDrawn="1">
              <p:custDataLst>
                <p:tags r:id="rId4"/>
              </p:custDataLst>
            </p:nvPr>
          </p:nvSpPr>
          <p:spPr bwMode="auto">
            <a:xfrm>
              <a:off x="6152147" y="6634728"/>
              <a:ext cx="3342760" cy="99386"/>
            </a:xfrm>
            <a:prstGeom prst="rect">
              <a:avLst/>
            </a:prstGeom>
            <a:noFill/>
            <a:ln w="19050">
              <a:noFill/>
              <a:miter lim="800000"/>
              <a:headEnd/>
              <a:tailEnd/>
            </a:ln>
            <a:effectLst/>
          </p:spPr>
          <p:txBody>
            <a:bodyPr wrap="square" lIns="0" tIns="0" rIns="0" bIns="0" anchor="ctr" anchorCtr="0">
              <a:spAutoFit/>
            </a:bodyPr>
            <a:lstStyle/>
            <a:p>
              <a:pPr algn="r" defTabSz="918895" eaLnBrk="0" hangingPunct="0">
                <a:defRPr/>
              </a:pPr>
              <a:r>
                <a:rPr lang="en-US" altLang="en-US" sz="646" dirty="0">
                  <a:solidFill>
                    <a:srgbClr val="1C1C1C">
                      <a:lumMod val="75000"/>
                      <a:lumOff val="25000"/>
                    </a:srgbClr>
                  </a:solidFill>
                  <a:latin typeface="Arial"/>
                  <a:cs typeface="Arial" pitchFamily="34" charset="0"/>
                </a:rPr>
                <a:t>Copyright © Capgemini </a:t>
              </a:r>
              <a:r>
                <a:rPr lang="en-US" altLang="en-US" sz="646" dirty="0" smtClean="0">
                  <a:solidFill>
                    <a:srgbClr val="1C1C1C">
                      <a:lumMod val="75000"/>
                      <a:lumOff val="25000"/>
                    </a:srgbClr>
                  </a:solidFill>
                  <a:latin typeface="Arial"/>
                  <a:cs typeface="Arial" pitchFamily="34" charset="0"/>
                </a:rPr>
                <a:t>2017. </a:t>
              </a:r>
              <a:r>
                <a:rPr lang="en-US" altLang="en-US" sz="646" dirty="0">
                  <a:solidFill>
                    <a:srgbClr val="1C1C1C">
                      <a:lumMod val="75000"/>
                      <a:lumOff val="25000"/>
                    </a:srgbClr>
                  </a:solidFill>
                  <a:latin typeface="Arial"/>
                  <a:cs typeface="Arial" pitchFamily="34" charset="0"/>
                </a:rPr>
                <a:t>All Rights Reserved</a:t>
              </a:r>
            </a:p>
          </p:txBody>
        </p:sp>
        <p:sp>
          <p:nvSpPr>
            <p:cNvPr id="15" name="Rectangle 14"/>
            <p:cNvSpPr/>
            <p:nvPr userDrawn="1">
              <p:custDataLst>
                <p:tags r:id="rId5"/>
              </p:custDataLst>
            </p:nvPr>
          </p:nvSpPr>
          <p:spPr>
            <a:xfrm>
              <a:off x="8006218" y="6480941"/>
              <a:ext cx="1488689" cy="99386"/>
            </a:xfrm>
            <a:prstGeom prst="rect">
              <a:avLst/>
            </a:prstGeom>
          </p:spPr>
          <p:txBody>
            <a:bodyPr wrap="none" lIns="0" tIns="0" rIns="0" bIns="0" anchor="ctr" anchorCtr="0">
              <a:spAutoFit/>
            </a:bodyPr>
            <a:lstStyle/>
            <a:p>
              <a:pPr algn="r" defTabSz="884105">
                <a:defRPr/>
              </a:pPr>
              <a:r>
                <a:rPr lang="en-US" sz="646" dirty="0">
                  <a:solidFill>
                    <a:srgbClr val="00234B"/>
                  </a:solidFill>
                  <a:latin typeface="Arial"/>
                </a:rPr>
                <a:t>Digital Customer Experience | Introduction to DCX</a:t>
              </a:r>
            </a:p>
          </p:txBody>
        </p:sp>
      </p:grpSp>
    </p:spTree>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216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smtClean="0"/>
              <a:t>Modifiez le style du titre</a:t>
            </a:r>
            <a:endParaRPr lang="en-GB" dirty="0"/>
          </a:p>
        </p:txBody>
      </p:sp>
      <p:sp>
        <p:nvSpPr>
          <p:cNvPr id="14"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xmlns=""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xmlns=""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xmlns=""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xmlns=""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xmlns=""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xmlns=""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8" cy="143985"/>
        </p:xfrm>
        <a:graphic>
          <a:graphicData uri="http://schemas.openxmlformats.org/presentationml/2006/ole">
            <mc:AlternateContent xmlns:mc="http://schemas.openxmlformats.org/markup-compatibility/2006">
              <mc:Choice xmlns:v="urn:schemas-microsoft-com:vml" Requires="v">
                <p:oleObj spid="_x0000_s8610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smtClean="0"/>
              <a:t>Click to edit Master title style</a:t>
            </a:r>
            <a:endParaRPr lang="en-US" noProof="0"/>
          </a:p>
        </p:txBody>
      </p:sp>
      <p:sp>
        <p:nvSpPr>
          <p:cNvPr id="3" name="Content Placeholder 2"/>
          <p:cNvSpPr>
            <a:spLocks noGrp="1"/>
          </p:cNvSpPr>
          <p:nvPr>
            <p:ph idx="1"/>
            <p:custDataLst>
              <p:tags r:id="rId4"/>
            </p:custDataLst>
          </p:nvPr>
        </p:nvSpPr>
        <p:spPr>
          <a:xfrm>
            <a:off x="402493" y="1282701"/>
            <a:ext cx="11392878" cy="4951412"/>
          </a:xfrm>
        </p:spPr>
        <p:txBody>
          <a:bodyPr/>
          <a:lstStyle>
            <a:lvl1pPr>
              <a:defRPr b="0">
                <a:solidFill>
                  <a:schemeClr val="tx2"/>
                </a:solidFill>
              </a:defRPr>
            </a:lvl1pPr>
            <a:lvl2pPr marL="457200" indent="-228600">
              <a:defRPr>
                <a:solidFill>
                  <a:schemeClr val="tx2"/>
                </a:solidFill>
              </a:defRPr>
            </a:lvl2pPr>
            <a:lvl3pPr marL="685800" indent="-228600">
              <a:defRPr>
                <a:solidFill>
                  <a:schemeClr val="tx2"/>
                </a:solidFill>
              </a:defRPr>
            </a:lvl3pPr>
            <a:lvl4pPr>
              <a:defRPr>
                <a:solidFill>
                  <a:schemeClr val="tx2"/>
                </a:solidFill>
              </a:defRPr>
            </a:lvl4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4135237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ontent 6">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9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805" name="Freeform 5"/>
          <p:cNvSpPr>
            <a:spLocks/>
          </p:cNvSpPr>
          <p:nvPr userDrawn="1"/>
        </p:nvSpPr>
        <p:spPr bwMode="auto">
          <a:xfrm>
            <a:off x="7189244" y="0"/>
            <a:ext cx="5002756" cy="1707300"/>
          </a:xfrm>
          <a:custGeom>
            <a:avLst/>
            <a:gdLst/>
            <a:ahLst/>
            <a:cxnLst>
              <a:cxn ang="0">
                <a:pos x="1540" y="721"/>
              </a:cxn>
              <a:cxn ang="0">
                <a:pos x="1505" y="720"/>
              </a:cxn>
              <a:cxn ang="0">
                <a:pos x="1478" y="719"/>
              </a:cxn>
              <a:cxn ang="0">
                <a:pos x="1460" y="718"/>
              </a:cxn>
              <a:cxn ang="0">
                <a:pos x="1448" y="717"/>
              </a:cxn>
              <a:cxn ang="0">
                <a:pos x="1377" y="711"/>
              </a:cxn>
              <a:cxn ang="0">
                <a:pos x="1312" y="704"/>
              </a:cxn>
              <a:cxn ang="0">
                <a:pos x="1218" y="690"/>
              </a:cxn>
              <a:cxn ang="0">
                <a:pos x="1117" y="670"/>
              </a:cxn>
              <a:cxn ang="0">
                <a:pos x="972" y="637"/>
              </a:cxn>
              <a:cxn ang="0">
                <a:pos x="818" y="594"/>
              </a:cxn>
              <a:cxn ang="0">
                <a:pos x="685" y="554"/>
              </a:cxn>
              <a:cxn ang="0">
                <a:pos x="487" y="491"/>
              </a:cxn>
              <a:cxn ang="0">
                <a:pos x="355" y="450"/>
              </a:cxn>
              <a:cxn ang="0">
                <a:pos x="164" y="397"/>
              </a:cxn>
              <a:cxn ang="0">
                <a:pos x="44" y="372"/>
              </a:cxn>
              <a:cxn ang="0">
                <a:pos x="7" y="366"/>
              </a:cxn>
              <a:cxn ang="0">
                <a:pos x="5" y="353"/>
              </a:cxn>
              <a:cxn ang="0">
                <a:pos x="4" y="343"/>
              </a:cxn>
              <a:cxn ang="0">
                <a:pos x="3" y="327"/>
              </a:cxn>
              <a:cxn ang="0">
                <a:pos x="3" y="320"/>
              </a:cxn>
              <a:cxn ang="0">
                <a:pos x="0" y="300"/>
              </a:cxn>
              <a:cxn ang="0">
                <a:pos x="3" y="278"/>
              </a:cxn>
              <a:cxn ang="0">
                <a:pos x="3" y="258"/>
              </a:cxn>
              <a:cxn ang="0">
                <a:pos x="6" y="211"/>
              </a:cxn>
              <a:cxn ang="0">
                <a:pos x="21" y="132"/>
              </a:cxn>
              <a:cxn ang="0">
                <a:pos x="65" y="13"/>
              </a:cxn>
              <a:cxn ang="0">
                <a:pos x="71" y="0"/>
              </a:cxn>
              <a:cxn ang="0">
                <a:pos x="76" y="1"/>
              </a:cxn>
              <a:cxn ang="0">
                <a:pos x="2113" y="1"/>
              </a:cxn>
              <a:cxn ang="0">
                <a:pos x="2108" y="625"/>
              </a:cxn>
              <a:cxn ang="0">
                <a:pos x="1995" y="665"/>
              </a:cxn>
              <a:cxn ang="0">
                <a:pos x="1844" y="700"/>
              </a:cxn>
              <a:cxn ang="0">
                <a:pos x="1745" y="713"/>
              </a:cxn>
              <a:cxn ang="0">
                <a:pos x="1681" y="718"/>
              </a:cxn>
              <a:cxn ang="0">
                <a:pos x="1613" y="720"/>
              </a:cxn>
            </a:cxnLst>
            <a:rect l="0" t="0" r="r" b="b"/>
            <a:pathLst>
              <a:path w="2113" h="721">
                <a:moveTo>
                  <a:pt x="1609" y="721"/>
                </a:moveTo>
                <a:cubicBezTo>
                  <a:pt x="1586" y="721"/>
                  <a:pt x="1563" y="721"/>
                  <a:pt x="1540" y="721"/>
                </a:cubicBezTo>
                <a:cubicBezTo>
                  <a:pt x="1538" y="720"/>
                  <a:pt x="1536" y="720"/>
                  <a:pt x="1533" y="720"/>
                </a:cubicBezTo>
                <a:cubicBezTo>
                  <a:pt x="1524" y="720"/>
                  <a:pt x="1515" y="720"/>
                  <a:pt x="1505" y="720"/>
                </a:cubicBezTo>
                <a:cubicBezTo>
                  <a:pt x="1505" y="720"/>
                  <a:pt x="1504" y="720"/>
                  <a:pt x="1504" y="720"/>
                </a:cubicBezTo>
                <a:cubicBezTo>
                  <a:pt x="1495" y="720"/>
                  <a:pt x="1487" y="720"/>
                  <a:pt x="1478" y="719"/>
                </a:cubicBezTo>
                <a:cubicBezTo>
                  <a:pt x="1478" y="718"/>
                  <a:pt x="1477" y="718"/>
                  <a:pt x="1476" y="719"/>
                </a:cubicBezTo>
                <a:cubicBezTo>
                  <a:pt x="1471" y="719"/>
                  <a:pt x="1465" y="718"/>
                  <a:pt x="1460" y="718"/>
                </a:cubicBezTo>
                <a:cubicBezTo>
                  <a:pt x="1459" y="717"/>
                  <a:pt x="1458" y="717"/>
                  <a:pt x="1458" y="718"/>
                </a:cubicBezTo>
                <a:cubicBezTo>
                  <a:pt x="1454" y="718"/>
                  <a:pt x="1451" y="718"/>
                  <a:pt x="1448" y="717"/>
                </a:cubicBezTo>
                <a:cubicBezTo>
                  <a:pt x="1437" y="717"/>
                  <a:pt x="1426" y="716"/>
                  <a:pt x="1415" y="715"/>
                </a:cubicBezTo>
                <a:cubicBezTo>
                  <a:pt x="1402" y="714"/>
                  <a:pt x="1390" y="713"/>
                  <a:pt x="1377" y="711"/>
                </a:cubicBezTo>
                <a:cubicBezTo>
                  <a:pt x="1370" y="711"/>
                  <a:pt x="1362" y="710"/>
                  <a:pt x="1355" y="709"/>
                </a:cubicBezTo>
                <a:cubicBezTo>
                  <a:pt x="1341" y="707"/>
                  <a:pt x="1326" y="706"/>
                  <a:pt x="1312" y="704"/>
                </a:cubicBezTo>
                <a:cubicBezTo>
                  <a:pt x="1294" y="701"/>
                  <a:pt x="1277" y="699"/>
                  <a:pt x="1259" y="696"/>
                </a:cubicBezTo>
                <a:cubicBezTo>
                  <a:pt x="1245" y="694"/>
                  <a:pt x="1232" y="692"/>
                  <a:pt x="1218" y="690"/>
                </a:cubicBezTo>
                <a:cubicBezTo>
                  <a:pt x="1205" y="687"/>
                  <a:pt x="1192" y="685"/>
                  <a:pt x="1178" y="682"/>
                </a:cubicBezTo>
                <a:cubicBezTo>
                  <a:pt x="1158" y="678"/>
                  <a:pt x="1137" y="675"/>
                  <a:pt x="1117" y="670"/>
                </a:cubicBezTo>
                <a:cubicBezTo>
                  <a:pt x="1098" y="666"/>
                  <a:pt x="1080" y="662"/>
                  <a:pt x="1061" y="658"/>
                </a:cubicBezTo>
                <a:cubicBezTo>
                  <a:pt x="1031" y="651"/>
                  <a:pt x="1002" y="644"/>
                  <a:pt x="972" y="637"/>
                </a:cubicBezTo>
                <a:cubicBezTo>
                  <a:pt x="947" y="630"/>
                  <a:pt x="923" y="624"/>
                  <a:pt x="898" y="617"/>
                </a:cubicBezTo>
                <a:cubicBezTo>
                  <a:pt x="871" y="609"/>
                  <a:pt x="845" y="602"/>
                  <a:pt x="818" y="594"/>
                </a:cubicBezTo>
                <a:cubicBezTo>
                  <a:pt x="797" y="588"/>
                  <a:pt x="775" y="582"/>
                  <a:pt x="754" y="575"/>
                </a:cubicBezTo>
                <a:cubicBezTo>
                  <a:pt x="731" y="568"/>
                  <a:pt x="708" y="561"/>
                  <a:pt x="685" y="554"/>
                </a:cubicBezTo>
                <a:cubicBezTo>
                  <a:pt x="656" y="545"/>
                  <a:pt x="627" y="536"/>
                  <a:pt x="598" y="526"/>
                </a:cubicBezTo>
                <a:cubicBezTo>
                  <a:pt x="561" y="515"/>
                  <a:pt x="524" y="503"/>
                  <a:pt x="487" y="491"/>
                </a:cubicBezTo>
                <a:cubicBezTo>
                  <a:pt x="460" y="482"/>
                  <a:pt x="434" y="474"/>
                  <a:pt x="407" y="466"/>
                </a:cubicBezTo>
                <a:cubicBezTo>
                  <a:pt x="390" y="460"/>
                  <a:pt x="372" y="455"/>
                  <a:pt x="355" y="450"/>
                </a:cubicBezTo>
                <a:cubicBezTo>
                  <a:pt x="321" y="439"/>
                  <a:pt x="287" y="429"/>
                  <a:pt x="254" y="420"/>
                </a:cubicBezTo>
                <a:cubicBezTo>
                  <a:pt x="224" y="412"/>
                  <a:pt x="194" y="404"/>
                  <a:pt x="164" y="397"/>
                </a:cubicBezTo>
                <a:cubicBezTo>
                  <a:pt x="143" y="392"/>
                  <a:pt x="122" y="387"/>
                  <a:pt x="100" y="382"/>
                </a:cubicBezTo>
                <a:cubicBezTo>
                  <a:pt x="81" y="378"/>
                  <a:pt x="63" y="375"/>
                  <a:pt x="44" y="372"/>
                </a:cubicBezTo>
                <a:cubicBezTo>
                  <a:pt x="35" y="371"/>
                  <a:pt x="27" y="370"/>
                  <a:pt x="19" y="368"/>
                </a:cubicBezTo>
                <a:cubicBezTo>
                  <a:pt x="15" y="367"/>
                  <a:pt x="11" y="368"/>
                  <a:pt x="7" y="366"/>
                </a:cubicBezTo>
                <a:cubicBezTo>
                  <a:pt x="7" y="365"/>
                  <a:pt x="7" y="365"/>
                  <a:pt x="6" y="364"/>
                </a:cubicBezTo>
                <a:cubicBezTo>
                  <a:pt x="6" y="360"/>
                  <a:pt x="6" y="357"/>
                  <a:pt x="5" y="353"/>
                </a:cubicBezTo>
                <a:cubicBezTo>
                  <a:pt x="6" y="352"/>
                  <a:pt x="6" y="351"/>
                  <a:pt x="5" y="350"/>
                </a:cubicBezTo>
                <a:cubicBezTo>
                  <a:pt x="4" y="348"/>
                  <a:pt x="4" y="345"/>
                  <a:pt x="4" y="343"/>
                </a:cubicBezTo>
                <a:cubicBezTo>
                  <a:pt x="5" y="341"/>
                  <a:pt x="5" y="339"/>
                  <a:pt x="4" y="337"/>
                </a:cubicBezTo>
                <a:cubicBezTo>
                  <a:pt x="4" y="334"/>
                  <a:pt x="3" y="330"/>
                  <a:pt x="3" y="327"/>
                </a:cubicBezTo>
                <a:cubicBezTo>
                  <a:pt x="4" y="325"/>
                  <a:pt x="4" y="324"/>
                  <a:pt x="3" y="322"/>
                </a:cubicBezTo>
                <a:cubicBezTo>
                  <a:pt x="3" y="321"/>
                  <a:pt x="3" y="321"/>
                  <a:pt x="3" y="320"/>
                </a:cubicBezTo>
                <a:cubicBezTo>
                  <a:pt x="3" y="315"/>
                  <a:pt x="3" y="309"/>
                  <a:pt x="3" y="304"/>
                </a:cubicBezTo>
                <a:cubicBezTo>
                  <a:pt x="3" y="302"/>
                  <a:pt x="2" y="301"/>
                  <a:pt x="0" y="300"/>
                </a:cubicBezTo>
                <a:cubicBezTo>
                  <a:pt x="0" y="295"/>
                  <a:pt x="0" y="289"/>
                  <a:pt x="0" y="283"/>
                </a:cubicBezTo>
                <a:cubicBezTo>
                  <a:pt x="2" y="282"/>
                  <a:pt x="3" y="280"/>
                  <a:pt x="3" y="278"/>
                </a:cubicBezTo>
                <a:cubicBezTo>
                  <a:pt x="3" y="273"/>
                  <a:pt x="3" y="267"/>
                  <a:pt x="3" y="262"/>
                </a:cubicBezTo>
                <a:cubicBezTo>
                  <a:pt x="3" y="261"/>
                  <a:pt x="3" y="259"/>
                  <a:pt x="3" y="258"/>
                </a:cubicBezTo>
                <a:cubicBezTo>
                  <a:pt x="3" y="254"/>
                  <a:pt x="3" y="250"/>
                  <a:pt x="3" y="246"/>
                </a:cubicBezTo>
                <a:cubicBezTo>
                  <a:pt x="4" y="235"/>
                  <a:pt x="5" y="223"/>
                  <a:pt x="6" y="211"/>
                </a:cubicBezTo>
                <a:cubicBezTo>
                  <a:pt x="8" y="198"/>
                  <a:pt x="9" y="185"/>
                  <a:pt x="12" y="172"/>
                </a:cubicBezTo>
                <a:cubicBezTo>
                  <a:pt x="15" y="159"/>
                  <a:pt x="17" y="145"/>
                  <a:pt x="21" y="132"/>
                </a:cubicBezTo>
                <a:cubicBezTo>
                  <a:pt x="26" y="112"/>
                  <a:pt x="32" y="93"/>
                  <a:pt x="39" y="74"/>
                </a:cubicBezTo>
                <a:cubicBezTo>
                  <a:pt x="47" y="53"/>
                  <a:pt x="55" y="33"/>
                  <a:pt x="65" y="13"/>
                </a:cubicBezTo>
                <a:cubicBezTo>
                  <a:pt x="67" y="9"/>
                  <a:pt x="69" y="6"/>
                  <a:pt x="70" y="3"/>
                </a:cubicBezTo>
                <a:cubicBezTo>
                  <a:pt x="71" y="2"/>
                  <a:pt x="71" y="1"/>
                  <a:pt x="71" y="0"/>
                </a:cubicBezTo>
                <a:cubicBezTo>
                  <a:pt x="72" y="0"/>
                  <a:pt x="72" y="0"/>
                  <a:pt x="73" y="0"/>
                </a:cubicBezTo>
                <a:cubicBezTo>
                  <a:pt x="74" y="1"/>
                  <a:pt x="75" y="1"/>
                  <a:pt x="76" y="1"/>
                </a:cubicBezTo>
                <a:cubicBezTo>
                  <a:pt x="78" y="1"/>
                  <a:pt x="80" y="1"/>
                  <a:pt x="82" y="1"/>
                </a:cubicBezTo>
                <a:cubicBezTo>
                  <a:pt x="759" y="1"/>
                  <a:pt x="1436" y="1"/>
                  <a:pt x="2113" y="1"/>
                </a:cubicBezTo>
                <a:cubicBezTo>
                  <a:pt x="2113" y="209"/>
                  <a:pt x="2113" y="416"/>
                  <a:pt x="2113" y="623"/>
                </a:cubicBezTo>
                <a:cubicBezTo>
                  <a:pt x="2111" y="623"/>
                  <a:pt x="2109" y="624"/>
                  <a:pt x="2108" y="625"/>
                </a:cubicBezTo>
                <a:cubicBezTo>
                  <a:pt x="2092" y="632"/>
                  <a:pt x="2077" y="638"/>
                  <a:pt x="2061" y="644"/>
                </a:cubicBezTo>
                <a:cubicBezTo>
                  <a:pt x="2039" y="652"/>
                  <a:pt x="2017" y="659"/>
                  <a:pt x="1995" y="665"/>
                </a:cubicBezTo>
                <a:cubicBezTo>
                  <a:pt x="1968" y="673"/>
                  <a:pt x="1941" y="680"/>
                  <a:pt x="1913" y="686"/>
                </a:cubicBezTo>
                <a:cubicBezTo>
                  <a:pt x="1890" y="691"/>
                  <a:pt x="1867" y="696"/>
                  <a:pt x="1844" y="700"/>
                </a:cubicBezTo>
                <a:cubicBezTo>
                  <a:pt x="1825" y="703"/>
                  <a:pt x="1805" y="706"/>
                  <a:pt x="1786" y="708"/>
                </a:cubicBezTo>
                <a:cubicBezTo>
                  <a:pt x="1772" y="710"/>
                  <a:pt x="1759" y="712"/>
                  <a:pt x="1745" y="713"/>
                </a:cubicBezTo>
                <a:cubicBezTo>
                  <a:pt x="1731" y="715"/>
                  <a:pt x="1717" y="716"/>
                  <a:pt x="1702" y="717"/>
                </a:cubicBezTo>
                <a:cubicBezTo>
                  <a:pt x="1695" y="718"/>
                  <a:pt x="1688" y="718"/>
                  <a:pt x="1681" y="718"/>
                </a:cubicBezTo>
                <a:cubicBezTo>
                  <a:pt x="1669" y="719"/>
                  <a:pt x="1656" y="720"/>
                  <a:pt x="1643" y="720"/>
                </a:cubicBezTo>
                <a:cubicBezTo>
                  <a:pt x="1633" y="720"/>
                  <a:pt x="1623" y="720"/>
                  <a:pt x="1613" y="720"/>
                </a:cubicBezTo>
                <a:cubicBezTo>
                  <a:pt x="1611" y="720"/>
                  <a:pt x="1610" y="721"/>
                  <a:pt x="1609" y="721"/>
                </a:cubicBez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 name="Title 1"/>
          <p:cNvSpPr>
            <a:spLocks noGrp="1"/>
          </p:cNvSpPr>
          <p:nvPr>
            <p:ph type="title"/>
          </p:nvPr>
        </p:nvSpPr>
        <p:spPr>
          <a:xfrm>
            <a:off x="227349" y="0"/>
            <a:ext cx="6899165" cy="1104900"/>
          </a:xfrm>
          <a:prstGeom prst="rect">
            <a:avLst/>
          </a:prstGeom>
        </p:spPr>
        <p:txBody>
          <a:bodyPr/>
          <a:lstStyle/>
          <a:p>
            <a:r>
              <a:rPr lang="fr-FR" smtClean="0"/>
              <a:t>Modifiez le style du titre</a:t>
            </a:r>
            <a:endParaRPr lang="en-GB" dirty="0"/>
          </a:p>
        </p:txBody>
      </p:sp>
      <p:sp>
        <p:nvSpPr>
          <p:cNvPr id="23"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8360229" y="295729"/>
            <a:ext cx="3065808" cy="876300"/>
          </a:xfrm>
          <a:prstGeom prst="rect">
            <a:avLst/>
          </a:prstGeom>
        </p:spPr>
        <p:txBody>
          <a:bodyPr anchor="t">
            <a:noAutofit/>
          </a:bodyPr>
          <a:lstStyle>
            <a:lvl1pPr algn="ct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sp>
        <p:nvSpPr>
          <p:cNvPr id="2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Tree>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ntent 7">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421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858867" y="1927056"/>
            <a:ext cx="9088323" cy="432048"/>
          </a:xfrm>
          <a:prstGeom prst="rect">
            <a:avLst/>
          </a:prstGeom>
        </p:spPr>
        <p:txBody>
          <a:bodyPr anchor="ctr">
            <a:noAutofit/>
          </a:bodyPr>
          <a:lstStyle>
            <a:lvl1pPr>
              <a:lnSpc>
                <a:spcPct val="100000"/>
              </a:lnSpc>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sp>
        <p:nvSpPr>
          <p:cNvPr id="9"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618009"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0"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2462490"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4306971"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2"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6151452"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3"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7995933"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4" name="Text Placeholder 7">
            <a:extLst>
              <a:ext uri="{FF2B5EF4-FFF2-40B4-BE49-F238E27FC236}">
                <a16:creationId xmlns:a16="http://schemas.microsoft.com/office/drawing/2014/main" xmlns="" id="{266B7D82-19EF-4C8A-8D75-AEA2758E426F}"/>
              </a:ext>
            </a:extLst>
          </p:cNvPr>
          <p:cNvSpPr>
            <a:spLocks noGrp="1"/>
          </p:cNvSpPr>
          <p:nvPr>
            <p:ph type="body" sz="quarter" idx="40" hasCustomPrompt="1"/>
          </p:nvPr>
        </p:nvSpPr>
        <p:spPr>
          <a:xfrm>
            <a:off x="9840416"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smtClean="0"/>
              <a:t>Click to insert text</a:t>
            </a:r>
            <a:endParaRPr lang="en-US" dirty="0"/>
          </a:p>
        </p:txBody>
      </p:sp>
      <p:sp>
        <p:nvSpPr>
          <p:cNvPr id="2" name="Title 1"/>
          <p:cNvSpPr>
            <a:spLocks noGrp="1"/>
          </p:cNvSpPr>
          <p:nvPr>
            <p:ph type="title"/>
          </p:nvPr>
        </p:nvSpPr>
        <p:spPr>
          <a:xfrm>
            <a:off x="227349" y="0"/>
            <a:ext cx="10164880" cy="1104900"/>
          </a:xfrm>
          <a:prstGeom prst="rect">
            <a:avLst/>
          </a:prstGeom>
        </p:spPr>
        <p:txBody>
          <a:bodyPr/>
          <a:lstStyle/>
          <a:p>
            <a:r>
              <a:rPr lang="fr-FR" smtClean="0"/>
              <a:t>Modifiez le style du titre</a:t>
            </a:r>
            <a:endParaRPr lang="en-GB" dirty="0"/>
          </a:p>
        </p:txBody>
      </p:sp>
      <p:sp>
        <p:nvSpPr>
          <p:cNvPr id="77840" name="Freeform 16"/>
          <p:cNvSpPr>
            <a:spLocks/>
          </p:cNvSpPr>
          <p:nvPr userDrawn="1"/>
        </p:nvSpPr>
        <p:spPr bwMode="auto">
          <a:xfrm>
            <a:off x="10448711" y="0"/>
            <a:ext cx="1755646" cy="5403134"/>
          </a:xfrm>
          <a:custGeom>
            <a:avLst/>
            <a:gdLst/>
            <a:ahLst/>
            <a:cxnLst>
              <a:cxn ang="0">
                <a:pos x="549" y="29"/>
              </a:cxn>
              <a:cxn ang="0">
                <a:pos x="549" y="18"/>
              </a:cxn>
              <a:cxn ang="0">
                <a:pos x="549" y="10"/>
              </a:cxn>
              <a:cxn ang="0">
                <a:pos x="539" y="1"/>
              </a:cxn>
              <a:cxn ang="0">
                <a:pos x="103" y="1"/>
              </a:cxn>
              <a:cxn ang="0">
                <a:pos x="93" y="2"/>
              </a:cxn>
              <a:cxn ang="0">
                <a:pos x="5" y="75"/>
              </a:cxn>
              <a:cxn ang="0">
                <a:pos x="4" y="85"/>
              </a:cxn>
              <a:cxn ang="0">
                <a:pos x="27" y="154"/>
              </a:cxn>
              <a:cxn ang="0">
                <a:pos x="68" y="421"/>
              </a:cxn>
              <a:cxn ang="0">
                <a:pos x="96" y="764"/>
              </a:cxn>
              <a:cxn ang="0">
                <a:pos x="138" y="1074"/>
              </a:cxn>
              <a:cxn ang="0">
                <a:pos x="227" y="1353"/>
              </a:cxn>
              <a:cxn ang="0">
                <a:pos x="420" y="1611"/>
              </a:cxn>
              <a:cxn ang="0">
                <a:pos x="537" y="1689"/>
              </a:cxn>
              <a:cxn ang="0">
                <a:pos x="544" y="1695"/>
              </a:cxn>
              <a:cxn ang="0">
                <a:pos x="549" y="1691"/>
              </a:cxn>
              <a:cxn ang="0">
                <a:pos x="549" y="1666"/>
              </a:cxn>
              <a:cxn ang="0">
                <a:pos x="549" y="29"/>
              </a:cxn>
            </a:cxnLst>
            <a:rect l="0" t="0" r="r" b="b"/>
            <a:pathLst>
              <a:path w="551" h="1696">
                <a:moveTo>
                  <a:pt x="549" y="29"/>
                </a:moveTo>
                <a:cubicBezTo>
                  <a:pt x="549" y="25"/>
                  <a:pt x="549" y="22"/>
                  <a:pt x="549" y="18"/>
                </a:cubicBezTo>
                <a:cubicBezTo>
                  <a:pt x="549" y="16"/>
                  <a:pt x="549" y="13"/>
                  <a:pt x="549" y="10"/>
                </a:cubicBezTo>
                <a:cubicBezTo>
                  <a:pt x="551" y="2"/>
                  <a:pt x="547" y="1"/>
                  <a:pt x="539" y="1"/>
                </a:cubicBezTo>
                <a:cubicBezTo>
                  <a:pt x="394" y="1"/>
                  <a:pt x="248" y="1"/>
                  <a:pt x="103" y="1"/>
                </a:cubicBezTo>
                <a:cubicBezTo>
                  <a:pt x="100" y="1"/>
                  <a:pt x="96" y="0"/>
                  <a:pt x="93" y="2"/>
                </a:cubicBezTo>
                <a:cubicBezTo>
                  <a:pt x="63" y="25"/>
                  <a:pt x="34" y="50"/>
                  <a:pt x="5" y="75"/>
                </a:cubicBezTo>
                <a:cubicBezTo>
                  <a:pt x="0" y="79"/>
                  <a:pt x="2" y="82"/>
                  <a:pt x="4" y="85"/>
                </a:cubicBezTo>
                <a:cubicBezTo>
                  <a:pt x="13" y="108"/>
                  <a:pt x="20" y="131"/>
                  <a:pt x="27" y="154"/>
                </a:cubicBezTo>
                <a:cubicBezTo>
                  <a:pt x="50" y="242"/>
                  <a:pt x="61" y="331"/>
                  <a:pt x="68" y="421"/>
                </a:cubicBezTo>
                <a:cubicBezTo>
                  <a:pt x="78" y="535"/>
                  <a:pt x="86" y="649"/>
                  <a:pt x="96" y="764"/>
                </a:cubicBezTo>
                <a:cubicBezTo>
                  <a:pt x="104" y="868"/>
                  <a:pt x="117" y="972"/>
                  <a:pt x="138" y="1074"/>
                </a:cubicBezTo>
                <a:cubicBezTo>
                  <a:pt x="158" y="1170"/>
                  <a:pt x="185" y="1264"/>
                  <a:pt x="227" y="1353"/>
                </a:cubicBezTo>
                <a:cubicBezTo>
                  <a:pt x="274" y="1453"/>
                  <a:pt x="336" y="1540"/>
                  <a:pt x="420" y="1611"/>
                </a:cubicBezTo>
                <a:cubicBezTo>
                  <a:pt x="456" y="1641"/>
                  <a:pt x="495" y="1668"/>
                  <a:pt x="537" y="1689"/>
                </a:cubicBezTo>
                <a:cubicBezTo>
                  <a:pt x="538" y="1692"/>
                  <a:pt x="541" y="1693"/>
                  <a:pt x="544" y="1695"/>
                </a:cubicBezTo>
                <a:cubicBezTo>
                  <a:pt x="548" y="1696"/>
                  <a:pt x="550" y="1694"/>
                  <a:pt x="549" y="1691"/>
                </a:cubicBezTo>
                <a:cubicBezTo>
                  <a:pt x="545" y="1683"/>
                  <a:pt x="549" y="1675"/>
                  <a:pt x="549" y="1666"/>
                </a:cubicBezTo>
                <a:cubicBezTo>
                  <a:pt x="549" y="1120"/>
                  <a:pt x="549" y="575"/>
                  <a:pt x="549" y="29"/>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30"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31"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32" name="Text Placeholder 7">
            <a:extLst>
              <a:ext uri="{FF2B5EF4-FFF2-40B4-BE49-F238E27FC236}">
                <a16:creationId xmlns:a16="http://schemas.microsoft.com/office/drawing/2014/main" xmlns="" id="{ABE7F41D-73F9-4353-AE3F-71AB8377048D}"/>
              </a:ext>
            </a:extLst>
          </p:cNvPr>
          <p:cNvSpPr>
            <a:spLocks noGrp="1"/>
          </p:cNvSpPr>
          <p:nvPr>
            <p:ph type="body" sz="quarter" idx="30" hasCustomPrompt="1"/>
          </p:nvPr>
        </p:nvSpPr>
        <p:spPr>
          <a:xfrm>
            <a:off x="858867"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ABE7F41D-73F9-4353-AE3F-71AB8377048D}"/>
              </a:ext>
            </a:extLst>
          </p:cNvPr>
          <p:cNvSpPr>
            <a:spLocks noGrp="1"/>
          </p:cNvSpPr>
          <p:nvPr>
            <p:ph type="body" sz="quarter" idx="41" hasCustomPrompt="1"/>
          </p:nvPr>
        </p:nvSpPr>
        <p:spPr>
          <a:xfrm>
            <a:off x="4028375"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Text Placeholder 7">
            <a:extLst>
              <a:ext uri="{FF2B5EF4-FFF2-40B4-BE49-F238E27FC236}">
                <a16:creationId xmlns:a16="http://schemas.microsoft.com/office/drawing/2014/main" xmlns="" id="{ABE7F41D-73F9-4353-AE3F-71AB8377048D}"/>
              </a:ext>
            </a:extLst>
          </p:cNvPr>
          <p:cNvSpPr>
            <a:spLocks noGrp="1"/>
          </p:cNvSpPr>
          <p:nvPr>
            <p:ph type="body" sz="quarter" idx="42" hasCustomPrompt="1"/>
          </p:nvPr>
        </p:nvSpPr>
        <p:spPr>
          <a:xfrm>
            <a:off x="7197884"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ontent 8">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524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8853" name="Freeform 5"/>
          <p:cNvSpPr>
            <a:spLocks/>
          </p:cNvSpPr>
          <p:nvPr userDrawn="1"/>
        </p:nvSpPr>
        <p:spPr bwMode="auto">
          <a:xfrm>
            <a:off x="0" y="0"/>
            <a:ext cx="6884760" cy="6403070"/>
          </a:xfrm>
          <a:custGeom>
            <a:avLst/>
            <a:gdLst/>
            <a:ahLst/>
            <a:cxnLst>
              <a:cxn ang="0">
                <a:pos x="0" y="1449"/>
              </a:cxn>
              <a:cxn ang="0">
                <a:pos x="0" y="0"/>
              </a:cxn>
              <a:cxn ang="0">
                <a:pos x="2215" y="0"/>
              </a:cxn>
              <a:cxn ang="0">
                <a:pos x="2229" y="14"/>
              </a:cxn>
              <a:cxn ang="0">
                <a:pos x="2486" y="284"/>
              </a:cxn>
              <a:cxn ang="0">
                <a:pos x="2694" y="575"/>
              </a:cxn>
              <a:cxn ang="0">
                <a:pos x="2806" y="855"/>
              </a:cxn>
              <a:cxn ang="0">
                <a:pos x="2824" y="979"/>
              </a:cxn>
              <a:cxn ang="0">
                <a:pos x="2824" y="1044"/>
              </a:cxn>
              <a:cxn ang="0">
                <a:pos x="2822" y="1069"/>
              </a:cxn>
              <a:cxn ang="0">
                <a:pos x="2816" y="1118"/>
              </a:cxn>
              <a:cxn ang="0">
                <a:pos x="2733" y="1340"/>
              </a:cxn>
              <a:cxn ang="0">
                <a:pos x="2652" y="1454"/>
              </a:cxn>
              <a:cxn ang="0">
                <a:pos x="2441" y="1652"/>
              </a:cxn>
              <a:cxn ang="0">
                <a:pos x="2098" y="1873"/>
              </a:cxn>
              <a:cxn ang="0">
                <a:pos x="1711" y="2073"/>
              </a:cxn>
              <a:cxn ang="0">
                <a:pos x="1382" y="2243"/>
              </a:cxn>
              <a:cxn ang="0">
                <a:pos x="1159" y="2392"/>
              </a:cxn>
              <a:cxn ang="0">
                <a:pos x="1101" y="2445"/>
              </a:cxn>
              <a:cxn ang="0">
                <a:pos x="1018" y="2588"/>
              </a:cxn>
              <a:cxn ang="0">
                <a:pos x="1011" y="2595"/>
              </a:cxn>
              <a:cxn ang="0">
                <a:pos x="983" y="2603"/>
              </a:cxn>
              <a:cxn ang="0">
                <a:pos x="878" y="2622"/>
              </a:cxn>
              <a:cxn ang="0">
                <a:pos x="863" y="2626"/>
              </a:cxn>
              <a:cxn ang="0">
                <a:pos x="783" y="2626"/>
              </a:cxn>
              <a:cxn ang="0">
                <a:pos x="769" y="2624"/>
              </a:cxn>
              <a:cxn ang="0">
                <a:pos x="711" y="2616"/>
              </a:cxn>
              <a:cxn ang="0">
                <a:pos x="445" y="2480"/>
              </a:cxn>
              <a:cxn ang="0">
                <a:pos x="299" y="2312"/>
              </a:cxn>
              <a:cxn ang="0">
                <a:pos x="149" y="2020"/>
              </a:cxn>
              <a:cxn ang="0">
                <a:pos x="48" y="1690"/>
              </a:cxn>
              <a:cxn ang="0">
                <a:pos x="4" y="1458"/>
              </a:cxn>
              <a:cxn ang="0">
                <a:pos x="0" y="1449"/>
              </a:cxn>
            </a:cxnLst>
            <a:rect l="0" t="0" r="r" b="b"/>
            <a:pathLst>
              <a:path w="2824" h="2626">
                <a:moveTo>
                  <a:pt x="0" y="1449"/>
                </a:moveTo>
                <a:cubicBezTo>
                  <a:pt x="0" y="966"/>
                  <a:pt x="0" y="483"/>
                  <a:pt x="0" y="0"/>
                </a:cubicBezTo>
                <a:cubicBezTo>
                  <a:pt x="738" y="0"/>
                  <a:pt x="1477" y="0"/>
                  <a:pt x="2215" y="0"/>
                </a:cubicBezTo>
                <a:cubicBezTo>
                  <a:pt x="2219" y="6"/>
                  <a:pt x="2224" y="9"/>
                  <a:pt x="2229" y="14"/>
                </a:cubicBezTo>
                <a:cubicBezTo>
                  <a:pt x="2319" y="100"/>
                  <a:pt x="2407" y="188"/>
                  <a:pt x="2486" y="284"/>
                </a:cubicBezTo>
                <a:cubicBezTo>
                  <a:pt x="2563" y="375"/>
                  <a:pt x="2635" y="471"/>
                  <a:pt x="2694" y="575"/>
                </a:cubicBezTo>
                <a:cubicBezTo>
                  <a:pt x="2744" y="663"/>
                  <a:pt x="2784" y="756"/>
                  <a:pt x="2806" y="855"/>
                </a:cubicBezTo>
                <a:cubicBezTo>
                  <a:pt x="2816" y="896"/>
                  <a:pt x="2821" y="937"/>
                  <a:pt x="2824" y="979"/>
                </a:cubicBezTo>
                <a:cubicBezTo>
                  <a:pt x="2824" y="1001"/>
                  <a:pt x="2824" y="1022"/>
                  <a:pt x="2824" y="1044"/>
                </a:cubicBezTo>
                <a:cubicBezTo>
                  <a:pt x="2824" y="1052"/>
                  <a:pt x="2820" y="1060"/>
                  <a:pt x="2822" y="1069"/>
                </a:cubicBezTo>
                <a:cubicBezTo>
                  <a:pt x="2821" y="1085"/>
                  <a:pt x="2819" y="1102"/>
                  <a:pt x="2816" y="1118"/>
                </a:cubicBezTo>
                <a:cubicBezTo>
                  <a:pt x="2802" y="1197"/>
                  <a:pt x="2773" y="1271"/>
                  <a:pt x="2733" y="1340"/>
                </a:cubicBezTo>
                <a:cubicBezTo>
                  <a:pt x="2709" y="1381"/>
                  <a:pt x="2682" y="1418"/>
                  <a:pt x="2652" y="1454"/>
                </a:cubicBezTo>
                <a:cubicBezTo>
                  <a:pt x="2590" y="1529"/>
                  <a:pt x="2518" y="1593"/>
                  <a:pt x="2441" y="1652"/>
                </a:cubicBezTo>
                <a:cubicBezTo>
                  <a:pt x="2333" y="1735"/>
                  <a:pt x="2217" y="1806"/>
                  <a:pt x="2098" y="1873"/>
                </a:cubicBezTo>
                <a:cubicBezTo>
                  <a:pt x="1972" y="1944"/>
                  <a:pt x="1841" y="2008"/>
                  <a:pt x="1711" y="2073"/>
                </a:cubicBezTo>
                <a:cubicBezTo>
                  <a:pt x="1600" y="2128"/>
                  <a:pt x="1490" y="2182"/>
                  <a:pt x="1382" y="2243"/>
                </a:cubicBezTo>
                <a:cubicBezTo>
                  <a:pt x="1304" y="2287"/>
                  <a:pt x="1227" y="2333"/>
                  <a:pt x="1159" y="2392"/>
                </a:cubicBezTo>
                <a:cubicBezTo>
                  <a:pt x="1139" y="2409"/>
                  <a:pt x="1119" y="2426"/>
                  <a:pt x="1101" y="2445"/>
                </a:cubicBezTo>
                <a:cubicBezTo>
                  <a:pt x="1062" y="2487"/>
                  <a:pt x="1030" y="2532"/>
                  <a:pt x="1018" y="2588"/>
                </a:cubicBezTo>
                <a:cubicBezTo>
                  <a:pt x="1017" y="2593"/>
                  <a:pt x="1014" y="2594"/>
                  <a:pt x="1011" y="2595"/>
                </a:cubicBezTo>
                <a:cubicBezTo>
                  <a:pt x="1001" y="2598"/>
                  <a:pt x="992" y="2601"/>
                  <a:pt x="983" y="2603"/>
                </a:cubicBezTo>
                <a:cubicBezTo>
                  <a:pt x="948" y="2612"/>
                  <a:pt x="913" y="2618"/>
                  <a:pt x="878" y="2622"/>
                </a:cubicBezTo>
                <a:cubicBezTo>
                  <a:pt x="873" y="2623"/>
                  <a:pt x="867" y="2621"/>
                  <a:pt x="863" y="2626"/>
                </a:cubicBezTo>
                <a:cubicBezTo>
                  <a:pt x="836" y="2626"/>
                  <a:pt x="810" y="2626"/>
                  <a:pt x="783" y="2626"/>
                </a:cubicBezTo>
                <a:cubicBezTo>
                  <a:pt x="778" y="2624"/>
                  <a:pt x="774" y="2624"/>
                  <a:pt x="769" y="2624"/>
                </a:cubicBezTo>
                <a:cubicBezTo>
                  <a:pt x="750" y="2622"/>
                  <a:pt x="730" y="2619"/>
                  <a:pt x="711" y="2616"/>
                </a:cubicBezTo>
                <a:cubicBezTo>
                  <a:pt x="609" y="2596"/>
                  <a:pt x="522" y="2548"/>
                  <a:pt x="445" y="2480"/>
                </a:cubicBezTo>
                <a:cubicBezTo>
                  <a:pt x="388" y="2431"/>
                  <a:pt x="341" y="2373"/>
                  <a:pt x="299" y="2312"/>
                </a:cubicBezTo>
                <a:cubicBezTo>
                  <a:pt x="237" y="2220"/>
                  <a:pt x="190" y="2122"/>
                  <a:pt x="149" y="2020"/>
                </a:cubicBezTo>
                <a:cubicBezTo>
                  <a:pt x="107" y="1913"/>
                  <a:pt x="74" y="1802"/>
                  <a:pt x="48" y="1690"/>
                </a:cubicBezTo>
                <a:cubicBezTo>
                  <a:pt x="30" y="1614"/>
                  <a:pt x="14" y="1536"/>
                  <a:pt x="4" y="1458"/>
                </a:cubicBezTo>
                <a:cubicBezTo>
                  <a:pt x="3" y="1455"/>
                  <a:pt x="3" y="1451"/>
                  <a:pt x="0" y="1449"/>
                </a:cubicBezTo>
                <a:close/>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8854" name="Freeform 6"/>
          <p:cNvSpPr>
            <a:spLocks/>
          </p:cNvSpPr>
          <p:nvPr userDrawn="1"/>
        </p:nvSpPr>
        <p:spPr bwMode="auto">
          <a:xfrm>
            <a:off x="10391775" y="2719388"/>
            <a:ext cx="12700" cy="79375"/>
          </a:xfrm>
          <a:custGeom>
            <a:avLst/>
            <a:gdLst/>
            <a:ahLst/>
            <a:cxnLst>
              <a:cxn ang="0">
                <a:pos x="4" y="25"/>
              </a:cxn>
              <a:cxn ang="0">
                <a:pos x="3" y="25"/>
              </a:cxn>
              <a:cxn ang="0">
                <a:pos x="2" y="25"/>
              </a:cxn>
              <a:cxn ang="0">
                <a:pos x="4" y="0"/>
              </a:cxn>
              <a:cxn ang="0">
                <a:pos x="4" y="25"/>
              </a:cxn>
            </a:cxnLst>
            <a:rect l="0" t="0" r="r" b="b"/>
            <a:pathLst>
              <a:path w="4" h="25">
                <a:moveTo>
                  <a:pt x="4" y="25"/>
                </a:moveTo>
                <a:cubicBezTo>
                  <a:pt x="3" y="25"/>
                  <a:pt x="3" y="25"/>
                  <a:pt x="3" y="25"/>
                </a:cubicBezTo>
                <a:cubicBezTo>
                  <a:pt x="2" y="25"/>
                  <a:pt x="2" y="25"/>
                  <a:pt x="2" y="25"/>
                </a:cubicBezTo>
                <a:cubicBezTo>
                  <a:pt x="0" y="16"/>
                  <a:pt x="4" y="8"/>
                  <a:pt x="4" y="0"/>
                </a:cubicBezTo>
                <a:cubicBezTo>
                  <a:pt x="4" y="8"/>
                  <a:pt x="4" y="16"/>
                  <a:pt x="4" y="25"/>
                </a:cubicBezTo>
                <a:close/>
              </a:path>
            </a:pathLst>
          </a:custGeom>
          <a:solidFill>
            <a:srgbClr val="FEFFFF"/>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0" name="Title 1"/>
          <p:cNvSpPr>
            <a:spLocks noGrp="1"/>
          </p:cNvSpPr>
          <p:nvPr>
            <p:ph type="title"/>
          </p:nvPr>
        </p:nvSpPr>
        <p:spPr>
          <a:xfrm>
            <a:off x="227350" y="0"/>
            <a:ext cx="5061342" cy="1767016"/>
          </a:xfrm>
          <a:prstGeom prst="rect">
            <a:avLst/>
          </a:prstGeom>
        </p:spPr>
        <p:txBody>
          <a:bodyPr/>
          <a:lstStyle>
            <a:lvl1pPr>
              <a:defRPr>
                <a:solidFill>
                  <a:schemeClr val="accent5"/>
                </a:solidFill>
              </a:defRPr>
            </a:lvl1pPr>
          </a:lstStyle>
          <a:p>
            <a:r>
              <a:rPr lang="fr-FR" smtClean="0"/>
              <a:t>Modifiez le style du titre</a:t>
            </a:r>
            <a:endParaRPr lang="en-GB" dirty="0"/>
          </a:p>
        </p:txBody>
      </p:sp>
      <p:sp>
        <p:nvSpPr>
          <p:cNvPr id="11"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7896200" y="124201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2"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7896200" y="549546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3" name="Text Placeholder 7">
            <a:extLst>
              <a:ext uri="{FF2B5EF4-FFF2-40B4-BE49-F238E27FC236}">
                <a16:creationId xmlns:a16="http://schemas.microsoft.com/office/drawing/2014/main" xmlns="" id="{ABF327CC-2917-45F5-82B2-75A9F742E63A}"/>
              </a:ext>
            </a:extLst>
          </p:cNvPr>
          <p:cNvSpPr>
            <a:spLocks noGrp="1"/>
          </p:cNvSpPr>
          <p:nvPr>
            <p:ph type="body" sz="quarter" idx="39" hasCustomPrompt="1"/>
          </p:nvPr>
        </p:nvSpPr>
        <p:spPr>
          <a:xfrm>
            <a:off x="7896200" y="464477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4" name="Text Placeholder 7">
            <a:extLst>
              <a:ext uri="{FF2B5EF4-FFF2-40B4-BE49-F238E27FC236}">
                <a16:creationId xmlns:a16="http://schemas.microsoft.com/office/drawing/2014/main" xmlns="" id="{169195DA-4761-45A5-B68F-E20845F04F0C}"/>
              </a:ext>
            </a:extLst>
          </p:cNvPr>
          <p:cNvSpPr>
            <a:spLocks noGrp="1"/>
          </p:cNvSpPr>
          <p:nvPr>
            <p:ph type="body" sz="quarter" idx="40" hasCustomPrompt="1"/>
          </p:nvPr>
        </p:nvSpPr>
        <p:spPr>
          <a:xfrm>
            <a:off x="7896200" y="379408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Text Placeholder 7">
            <a:extLst>
              <a:ext uri="{FF2B5EF4-FFF2-40B4-BE49-F238E27FC236}">
                <a16:creationId xmlns:a16="http://schemas.microsoft.com/office/drawing/2014/main" xmlns="" id="{343313FC-7C2A-4C39-A322-E5328A14AED9}"/>
              </a:ext>
            </a:extLst>
          </p:cNvPr>
          <p:cNvSpPr>
            <a:spLocks noGrp="1"/>
          </p:cNvSpPr>
          <p:nvPr>
            <p:ph type="body" sz="quarter" idx="41" hasCustomPrompt="1"/>
          </p:nvPr>
        </p:nvSpPr>
        <p:spPr>
          <a:xfrm>
            <a:off x="7896200" y="294339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6" name="Text Placeholder 7">
            <a:extLst>
              <a:ext uri="{FF2B5EF4-FFF2-40B4-BE49-F238E27FC236}">
                <a16:creationId xmlns:a16="http://schemas.microsoft.com/office/drawing/2014/main" xmlns="" id="{C9E896F1-84B5-4E7A-BD88-FFAFED8559EB}"/>
              </a:ext>
            </a:extLst>
          </p:cNvPr>
          <p:cNvSpPr>
            <a:spLocks noGrp="1"/>
          </p:cNvSpPr>
          <p:nvPr>
            <p:ph type="body" sz="quarter" idx="42" hasCustomPrompt="1"/>
          </p:nvPr>
        </p:nvSpPr>
        <p:spPr>
          <a:xfrm>
            <a:off x="7896200" y="209270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 name="Espace réservé du texte 2"/>
          <p:cNvSpPr>
            <a:spLocks noGrp="1"/>
          </p:cNvSpPr>
          <p:nvPr>
            <p:ph type="body" sz="quarter" idx="43"/>
          </p:nvPr>
        </p:nvSpPr>
        <p:spPr>
          <a:xfrm>
            <a:off x="227013" y="1808163"/>
            <a:ext cx="5060950" cy="25114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Tree>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ontent 9">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8595375" cy="1104900"/>
          </a:xfrm>
          <a:prstGeom prst="rect">
            <a:avLst/>
          </a:prstGeom>
        </p:spPr>
        <p:txBody>
          <a:bodyPr/>
          <a:lstStyle/>
          <a:p>
            <a:r>
              <a:rPr lang="fr-FR" smtClean="0"/>
              <a:t>Modifiez le style du titre</a:t>
            </a:r>
            <a:endParaRPr lang="en-GB" dirty="0"/>
          </a:p>
        </p:txBody>
      </p:sp>
      <p:sp>
        <p:nvSpPr>
          <p:cNvPr id="3" name="Freeform: Shape 8">
            <a:extLst>
              <a:ext uri="{FF2B5EF4-FFF2-40B4-BE49-F238E27FC236}">
                <a16:creationId xmlns:a16="http://schemas.microsoft.com/office/drawing/2014/main" xmlns=""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4"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5"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smtClean="0"/>
              <a:t>Click </a:t>
            </a:r>
            <a:r>
              <a:rPr lang="en-US" dirty="0"/>
              <a:t>to insert text</a:t>
            </a:r>
          </a:p>
        </p:txBody>
      </p:sp>
      <p:sp>
        <p:nvSpPr>
          <p:cNvPr id="7"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7510762" y="3878263"/>
            <a:ext cx="4169465" cy="1459050"/>
          </a:xfrm>
          <a:prstGeom prst="rect">
            <a:avLst/>
          </a:prstGeom>
        </p:spPr>
        <p:txBody>
          <a:bodyPr>
            <a:noAutofit/>
          </a:bodyPr>
          <a:lstStyle>
            <a:lvl1pPr algn="r">
              <a:lnSpc>
                <a:spcPct val="85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8"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8035327" y="2742306"/>
            <a:ext cx="3644899" cy="974725"/>
          </a:xfrm>
          <a:prstGeom prst="rect">
            <a:avLst/>
          </a:prstGeom>
        </p:spPr>
        <p:txBody>
          <a:bodyPr>
            <a:noAutofit/>
          </a:bodyPr>
          <a:lstStyle>
            <a:lvl1pPr algn="r">
              <a:lnSpc>
                <a:spcPct val="85000"/>
              </a:lnSpc>
              <a:defRPr sz="3200">
                <a:solidFill>
                  <a:schemeClr val="bg1"/>
                </a:solidFill>
              </a:defRPr>
            </a:lvl1pPr>
          </a:lstStyle>
          <a:p>
            <a:pPr lvl="0"/>
            <a:r>
              <a:rPr lang="en-US" dirty="0"/>
              <a:t>Click to add subtitle</a:t>
            </a:r>
          </a:p>
        </p:txBody>
      </p:sp>
      <p:sp>
        <p:nvSpPr>
          <p:cNvPr id="9" name="Espace réservé du texte 4"/>
          <p:cNvSpPr>
            <a:spLocks noGrp="1"/>
          </p:cNvSpPr>
          <p:nvPr>
            <p:ph type="body" sz="quarter" idx="16" hasCustomPrompt="1"/>
          </p:nvPr>
        </p:nvSpPr>
        <p:spPr>
          <a:xfrm>
            <a:off x="227349" y="1148607"/>
            <a:ext cx="8595375" cy="504056"/>
          </a:xfrm>
          <a:prstGeom prst="rect">
            <a:avLst/>
          </a:prstGeom>
        </p:spPr>
        <p:txBody>
          <a:bodyPr/>
          <a:lstStyle>
            <a:lvl1pPr>
              <a:defRPr>
                <a:solidFill>
                  <a:schemeClr val="accent2"/>
                </a:solidFill>
              </a:defRPr>
            </a:lvl1pPr>
          </a:lstStyle>
          <a:p>
            <a:pPr lvl="0"/>
            <a:r>
              <a:rPr lang="en-US" dirty="0" smtClean="0"/>
              <a:t>Click to edit Master subtitle styles</a:t>
            </a:r>
          </a:p>
        </p:txBody>
      </p:sp>
      <p:grpSp>
        <p:nvGrpSpPr>
          <p:cNvPr id="12" name="Group 10"/>
          <p:cNvGrpSpPr/>
          <p:nvPr userDrawn="1"/>
        </p:nvGrpSpPr>
        <p:grpSpPr>
          <a:xfrm>
            <a:off x="7571874" y="6483359"/>
            <a:ext cx="4316313" cy="253173"/>
            <a:chOff x="6152147" y="6480941"/>
            <a:chExt cx="3507004" cy="253173"/>
          </a:xfrm>
        </p:grpSpPr>
        <p:sp>
          <p:nvSpPr>
            <p:cNvPr id="13" name="TextBox 10"/>
            <p:cNvSpPr txBox="1"/>
            <p:nvPr userDrawn="1">
              <p:custDataLst>
                <p:tags r:id="rId1"/>
              </p:custDataLst>
            </p:nvPr>
          </p:nvSpPr>
          <p:spPr>
            <a:xfrm>
              <a:off x="9659098" y="6634728"/>
              <a:ext cx="53" cy="99386"/>
            </a:xfrm>
            <a:prstGeom prst="rect">
              <a:avLst/>
            </a:prstGeom>
            <a:noFill/>
          </p:spPr>
          <p:txBody>
            <a:bodyPr wrap="none" lIns="0" tIns="0" rIns="0" bIns="0" rtlCol="0" anchor="ctr">
              <a:spAutoFit/>
            </a:bodyPr>
            <a:lstStyle/>
            <a:p>
              <a:pPr algn="ctr" defTabSz="884105"/>
              <a:endParaRPr lang="en-US" sz="646" dirty="0">
                <a:solidFill>
                  <a:srgbClr val="1C1C1C">
                    <a:lumMod val="75000"/>
                    <a:lumOff val="25000"/>
                  </a:srgbClr>
                </a:solidFill>
                <a:latin typeface="Arial"/>
              </a:endParaRPr>
            </a:p>
          </p:txBody>
        </p:sp>
        <p:sp>
          <p:nvSpPr>
            <p:cNvPr id="14" name="Rectangle 13"/>
            <p:cNvSpPr>
              <a:spLocks noChangeArrowheads="1"/>
            </p:cNvSpPr>
            <p:nvPr userDrawn="1">
              <p:custDataLst>
                <p:tags r:id="rId2"/>
              </p:custDataLst>
            </p:nvPr>
          </p:nvSpPr>
          <p:spPr bwMode="auto">
            <a:xfrm>
              <a:off x="6152147" y="6634728"/>
              <a:ext cx="3342760" cy="99386"/>
            </a:xfrm>
            <a:prstGeom prst="rect">
              <a:avLst/>
            </a:prstGeom>
            <a:noFill/>
            <a:ln w="19050">
              <a:noFill/>
              <a:miter lim="800000"/>
              <a:headEnd/>
              <a:tailEnd/>
            </a:ln>
            <a:effectLst/>
          </p:spPr>
          <p:txBody>
            <a:bodyPr wrap="square" lIns="0" tIns="0" rIns="0" bIns="0" anchor="ctr" anchorCtr="0">
              <a:spAutoFit/>
            </a:bodyPr>
            <a:lstStyle/>
            <a:p>
              <a:pPr algn="r" defTabSz="918895" eaLnBrk="0" hangingPunct="0">
                <a:defRPr/>
              </a:pPr>
              <a:r>
                <a:rPr lang="en-US" altLang="en-US" sz="646" dirty="0">
                  <a:solidFill>
                    <a:srgbClr val="1C1C1C">
                      <a:lumMod val="75000"/>
                      <a:lumOff val="25000"/>
                    </a:srgbClr>
                  </a:solidFill>
                  <a:latin typeface="Arial"/>
                  <a:cs typeface="Arial" pitchFamily="34" charset="0"/>
                </a:rPr>
                <a:t>Copyright © Capgemini </a:t>
              </a:r>
              <a:r>
                <a:rPr lang="en-US" altLang="en-US" sz="646" dirty="0" smtClean="0">
                  <a:solidFill>
                    <a:srgbClr val="1C1C1C">
                      <a:lumMod val="75000"/>
                      <a:lumOff val="25000"/>
                    </a:srgbClr>
                  </a:solidFill>
                  <a:latin typeface="Arial"/>
                  <a:cs typeface="Arial" pitchFamily="34" charset="0"/>
                </a:rPr>
                <a:t>2017. </a:t>
              </a:r>
              <a:r>
                <a:rPr lang="en-US" altLang="en-US" sz="646" dirty="0">
                  <a:solidFill>
                    <a:srgbClr val="1C1C1C">
                      <a:lumMod val="75000"/>
                      <a:lumOff val="25000"/>
                    </a:srgbClr>
                  </a:solidFill>
                  <a:latin typeface="Arial"/>
                  <a:cs typeface="Arial" pitchFamily="34" charset="0"/>
                </a:rPr>
                <a:t>All Rights Reserved</a:t>
              </a:r>
            </a:p>
          </p:txBody>
        </p:sp>
        <p:sp>
          <p:nvSpPr>
            <p:cNvPr id="15" name="Rectangle 14"/>
            <p:cNvSpPr/>
            <p:nvPr userDrawn="1">
              <p:custDataLst>
                <p:tags r:id="rId3"/>
              </p:custDataLst>
            </p:nvPr>
          </p:nvSpPr>
          <p:spPr>
            <a:xfrm>
              <a:off x="8006218" y="6480941"/>
              <a:ext cx="1488689" cy="99386"/>
            </a:xfrm>
            <a:prstGeom prst="rect">
              <a:avLst/>
            </a:prstGeom>
          </p:spPr>
          <p:txBody>
            <a:bodyPr wrap="none" lIns="0" tIns="0" rIns="0" bIns="0" anchor="ctr" anchorCtr="0">
              <a:spAutoFit/>
            </a:bodyPr>
            <a:lstStyle/>
            <a:p>
              <a:pPr algn="r" defTabSz="884105">
                <a:defRPr/>
              </a:pPr>
              <a:r>
                <a:rPr lang="en-US" sz="646" dirty="0">
                  <a:solidFill>
                    <a:srgbClr val="00234B"/>
                  </a:solidFill>
                  <a:latin typeface="Arial"/>
                </a:rPr>
                <a:t>Digital Customer Experience | Introduction to DCX</a:t>
              </a:r>
            </a:p>
          </p:txBody>
        </p:sp>
      </p:grpSp>
    </p:spTree>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ntent 10">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6265"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9" name="Group 18"/>
          <p:cNvGrpSpPr/>
          <p:nvPr userDrawn="1"/>
        </p:nvGrpSpPr>
        <p:grpSpPr>
          <a:xfrm>
            <a:off x="5474198" y="1"/>
            <a:ext cx="6717802" cy="6879906"/>
            <a:chOff x="5301197" y="14514"/>
            <a:chExt cx="6689458" cy="6850879"/>
          </a:xfrm>
          <a:solidFill>
            <a:schemeClr val="accent4"/>
          </a:solidFill>
        </p:grpSpPr>
        <p:sp>
          <p:nvSpPr>
            <p:cNvPr id="87046" name="Freeform 6"/>
            <p:cNvSpPr>
              <a:spLocks/>
            </p:cNvSpPr>
            <p:nvPr userDrawn="1"/>
          </p:nvSpPr>
          <p:spPr bwMode="auto">
            <a:xfrm>
              <a:off x="5301197" y="3070823"/>
              <a:ext cx="6689458" cy="3794570"/>
            </a:xfrm>
            <a:custGeom>
              <a:avLst/>
              <a:gdLst/>
              <a:ahLst/>
              <a:cxnLst>
                <a:cxn ang="0">
                  <a:pos x="0" y="404"/>
                </a:cxn>
                <a:cxn ang="0">
                  <a:pos x="33" y="354"/>
                </a:cxn>
                <a:cxn ang="0">
                  <a:pos x="81" y="284"/>
                </a:cxn>
                <a:cxn ang="0">
                  <a:pos x="100" y="262"/>
                </a:cxn>
                <a:cxn ang="0">
                  <a:pos x="151" y="203"/>
                </a:cxn>
                <a:cxn ang="0">
                  <a:pos x="173" y="183"/>
                </a:cxn>
                <a:cxn ang="0">
                  <a:pos x="206" y="151"/>
                </a:cxn>
                <a:cxn ang="0">
                  <a:pos x="253" y="116"/>
                </a:cxn>
                <a:cxn ang="0">
                  <a:pos x="331" y="68"/>
                </a:cxn>
                <a:cxn ang="0">
                  <a:pos x="465" y="19"/>
                </a:cxn>
                <a:cxn ang="0">
                  <a:pos x="664" y="5"/>
                </a:cxn>
                <a:cxn ang="0">
                  <a:pos x="840" y="32"/>
                </a:cxn>
                <a:cxn ang="0">
                  <a:pos x="911" y="52"/>
                </a:cxn>
                <a:cxn ang="0">
                  <a:pos x="1026" y="92"/>
                </a:cxn>
                <a:cxn ang="0">
                  <a:pos x="1070" y="109"/>
                </a:cxn>
                <a:cxn ang="0">
                  <a:pos x="1149" y="144"/>
                </a:cxn>
                <a:cxn ang="0">
                  <a:pos x="1191" y="164"/>
                </a:cxn>
                <a:cxn ang="0">
                  <a:pos x="1272" y="205"/>
                </a:cxn>
                <a:cxn ang="0">
                  <a:pos x="1313" y="225"/>
                </a:cxn>
                <a:cxn ang="0">
                  <a:pos x="1399" y="273"/>
                </a:cxn>
                <a:cxn ang="0">
                  <a:pos x="1462" y="310"/>
                </a:cxn>
                <a:cxn ang="0">
                  <a:pos x="1515" y="341"/>
                </a:cxn>
                <a:cxn ang="0">
                  <a:pos x="1587" y="384"/>
                </a:cxn>
                <a:cxn ang="0">
                  <a:pos x="1633" y="414"/>
                </a:cxn>
                <a:cxn ang="0">
                  <a:pos x="1703" y="457"/>
                </a:cxn>
                <a:cxn ang="0">
                  <a:pos x="1770" y="498"/>
                </a:cxn>
                <a:cxn ang="0">
                  <a:pos x="1799" y="514"/>
                </a:cxn>
                <a:cxn ang="0">
                  <a:pos x="1894" y="569"/>
                </a:cxn>
                <a:cxn ang="0">
                  <a:pos x="2007" y="628"/>
                </a:cxn>
                <a:cxn ang="0">
                  <a:pos x="2087" y="668"/>
                </a:cxn>
                <a:cxn ang="0">
                  <a:pos x="2132" y="689"/>
                </a:cxn>
                <a:cxn ang="0">
                  <a:pos x="2208" y="724"/>
                </a:cxn>
                <a:cxn ang="0">
                  <a:pos x="2270" y="750"/>
                </a:cxn>
                <a:cxn ang="0">
                  <a:pos x="2336" y="777"/>
                </a:cxn>
                <a:cxn ang="0">
                  <a:pos x="2414" y="806"/>
                </a:cxn>
                <a:cxn ang="0">
                  <a:pos x="2523" y="843"/>
                </a:cxn>
                <a:cxn ang="0">
                  <a:pos x="2599" y="866"/>
                </a:cxn>
                <a:cxn ang="0">
                  <a:pos x="2713" y="894"/>
                </a:cxn>
                <a:cxn ang="0">
                  <a:pos x="2805" y="910"/>
                </a:cxn>
                <a:cxn ang="0">
                  <a:pos x="2812" y="910"/>
                </a:cxn>
                <a:cxn ang="0">
                  <a:pos x="2812" y="1597"/>
                </a:cxn>
                <a:cxn ang="0">
                  <a:pos x="2802" y="1597"/>
                </a:cxn>
                <a:cxn ang="0">
                  <a:pos x="896" y="1597"/>
                </a:cxn>
                <a:cxn ang="0">
                  <a:pos x="194" y="1597"/>
                </a:cxn>
                <a:cxn ang="0">
                  <a:pos x="186" y="1596"/>
                </a:cxn>
                <a:cxn ang="0">
                  <a:pos x="219" y="1567"/>
                </a:cxn>
                <a:cxn ang="0">
                  <a:pos x="285" y="1465"/>
                </a:cxn>
                <a:cxn ang="0">
                  <a:pos x="308" y="1363"/>
                </a:cxn>
                <a:cxn ang="0">
                  <a:pos x="305" y="1206"/>
                </a:cxn>
                <a:cxn ang="0">
                  <a:pos x="278" y="1067"/>
                </a:cxn>
                <a:cxn ang="0">
                  <a:pos x="253" y="977"/>
                </a:cxn>
                <a:cxn ang="0">
                  <a:pos x="217" y="872"/>
                </a:cxn>
                <a:cxn ang="0">
                  <a:pos x="191" y="802"/>
                </a:cxn>
                <a:cxn ang="0">
                  <a:pos x="153" y="713"/>
                </a:cxn>
                <a:cxn ang="0">
                  <a:pos x="104" y="605"/>
                </a:cxn>
                <a:cxn ang="0">
                  <a:pos x="91" y="581"/>
                </a:cxn>
                <a:cxn ang="0">
                  <a:pos x="58" y="514"/>
                </a:cxn>
                <a:cxn ang="0">
                  <a:pos x="3" y="411"/>
                </a:cxn>
                <a:cxn ang="0">
                  <a:pos x="0" y="407"/>
                </a:cxn>
                <a:cxn ang="0">
                  <a:pos x="0" y="404"/>
                </a:cxn>
              </a:cxnLst>
              <a:rect l="0" t="0" r="r" b="b"/>
              <a:pathLst>
                <a:path w="2812" h="1597">
                  <a:moveTo>
                    <a:pt x="0" y="404"/>
                  </a:moveTo>
                  <a:cubicBezTo>
                    <a:pt x="10" y="387"/>
                    <a:pt x="21" y="370"/>
                    <a:pt x="33" y="354"/>
                  </a:cubicBezTo>
                  <a:cubicBezTo>
                    <a:pt x="48" y="330"/>
                    <a:pt x="66" y="307"/>
                    <a:pt x="81" y="284"/>
                  </a:cubicBezTo>
                  <a:cubicBezTo>
                    <a:pt x="86" y="276"/>
                    <a:pt x="93" y="269"/>
                    <a:pt x="100" y="262"/>
                  </a:cubicBezTo>
                  <a:cubicBezTo>
                    <a:pt x="117" y="242"/>
                    <a:pt x="133" y="221"/>
                    <a:pt x="151" y="203"/>
                  </a:cubicBezTo>
                  <a:cubicBezTo>
                    <a:pt x="158" y="196"/>
                    <a:pt x="165" y="189"/>
                    <a:pt x="173" y="183"/>
                  </a:cubicBezTo>
                  <a:cubicBezTo>
                    <a:pt x="184" y="173"/>
                    <a:pt x="194" y="161"/>
                    <a:pt x="206" y="151"/>
                  </a:cubicBezTo>
                  <a:cubicBezTo>
                    <a:pt x="222" y="140"/>
                    <a:pt x="238" y="128"/>
                    <a:pt x="253" y="116"/>
                  </a:cubicBezTo>
                  <a:cubicBezTo>
                    <a:pt x="277" y="96"/>
                    <a:pt x="304" y="82"/>
                    <a:pt x="331" y="68"/>
                  </a:cubicBezTo>
                  <a:cubicBezTo>
                    <a:pt x="373" y="45"/>
                    <a:pt x="418" y="29"/>
                    <a:pt x="465" y="19"/>
                  </a:cubicBezTo>
                  <a:cubicBezTo>
                    <a:pt x="531" y="4"/>
                    <a:pt x="597" y="0"/>
                    <a:pt x="664" y="5"/>
                  </a:cubicBezTo>
                  <a:cubicBezTo>
                    <a:pt x="723" y="8"/>
                    <a:pt x="782" y="18"/>
                    <a:pt x="840" y="32"/>
                  </a:cubicBezTo>
                  <a:cubicBezTo>
                    <a:pt x="864" y="38"/>
                    <a:pt x="888" y="43"/>
                    <a:pt x="911" y="52"/>
                  </a:cubicBezTo>
                  <a:cubicBezTo>
                    <a:pt x="949" y="65"/>
                    <a:pt x="988" y="77"/>
                    <a:pt x="1026" y="92"/>
                  </a:cubicBezTo>
                  <a:cubicBezTo>
                    <a:pt x="1041" y="98"/>
                    <a:pt x="1056" y="103"/>
                    <a:pt x="1070" y="109"/>
                  </a:cubicBezTo>
                  <a:cubicBezTo>
                    <a:pt x="1096" y="122"/>
                    <a:pt x="1123" y="132"/>
                    <a:pt x="1149" y="144"/>
                  </a:cubicBezTo>
                  <a:cubicBezTo>
                    <a:pt x="1163" y="151"/>
                    <a:pt x="1177" y="157"/>
                    <a:pt x="1191" y="164"/>
                  </a:cubicBezTo>
                  <a:cubicBezTo>
                    <a:pt x="1218" y="177"/>
                    <a:pt x="1245" y="191"/>
                    <a:pt x="1272" y="205"/>
                  </a:cubicBezTo>
                  <a:cubicBezTo>
                    <a:pt x="1286" y="212"/>
                    <a:pt x="1300" y="218"/>
                    <a:pt x="1313" y="225"/>
                  </a:cubicBezTo>
                  <a:cubicBezTo>
                    <a:pt x="1341" y="243"/>
                    <a:pt x="1371" y="256"/>
                    <a:pt x="1399" y="273"/>
                  </a:cubicBezTo>
                  <a:cubicBezTo>
                    <a:pt x="1420" y="286"/>
                    <a:pt x="1441" y="298"/>
                    <a:pt x="1462" y="310"/>
                  </a:cubicBezTo>
                  <a:cubicBezTo>
                    <a:pt x="1480" y="320"/>
                    <a:pt x="1498" y="330"/>
                    <a:pt x="1515" y="341"/>
                  </a:cubicBezTo>
                  <a:cubicBezTo>
                    <a:pt x="1539" y="355"/>
                    <a:pt x="1562" y="371"/>
                    <a:pt x="1587" y="384"/>
                  </a:cubicBezTo>
                  <a:cubicBezTo>
                    <a:pt x="1603" y="394"/>
                    <a:pt x="1617" y="405"/>
                    <a:pt x="1633" y="414"/>
                  </a:cubicBezTo>
                  <a:cubicBezTo>
                    <a:pt x="1656" y="429"/>
                    <a:pt x="1680" y="442"/>
                    <a:pt x="1703" y="457"/>
                  </a:cubicBezTo>
                  <a:cubicBezTo>
                    <a:pt x="1725" y="471"/>
                    <a:pt x="1747" y="485"/>
                    <a:pt x="1770" y="498"/>
                  </a:cubicBezTo>
                  <a:cubicBezTo>
                    <a:pt x="1780" y="504"/>
                    <a:pt x="1790" y="508"/>
                    <a:pt x="1799" y="514"/>
                  </a:cubicBezTo>
                  <a:cubicBezTo>
                    <a:pt x="1829" y="535"/>
                    <a:pt x="1863" y="550"/>
                    <a:pt x="1894" y="569"/>
                  </a:cubicBezTo>
                  <a:cubicBezTo>
                    <a:pt x="1931" y="590"/>
                    <a:pt x="1969" y="608"/>
                    <a:pt x="2007" y="628"/>
                  </a:cubicBezTo>
                  <a:cubicBezTo>
                    <a:pt x="2033" y="642"/>
                    <a:pt x="2060" y="655"/>
                    <a:pt x="2087" y="668"/>
                  </a:cubicBezTo>
                  <a:cubicBezTo>
                    <a:pt x="2102" y="675"/>
                    <a:pt x="2118" y="681"/>
                    <a:pt x="2132" y="689"/>
                  </a:cubicBezTo>
                  <a:cubicBezTo>
                    <a:pt x="2157" y="702"/>
                    <a:pt x="2183" y="712"/>
                    <a:pt x="2208" y="724"/>
                  </a:cubicBezTo>
                  <a:cubicBezTo>
                    <a:pt x="2229" y="733"/>
                    <a:pt x="2250" y="740"/>
                    <a:pt x="2270" y="750"/>
                  </a:cubicBezTo>
                  <a:cubicBezTo>
                    <a:pt x="2292" y="760"/>
                    <a:pt x="2314" y="768"/>
                    <a:pt x="2336" y="777"/>
                  </a:cubicBezTo>
                  <a:cubicBezTo>
                    <a:pt x="2362" y="787"/>
                    <a:pt x="2389" y="795"/>
                    <a:pt x="2414" y="806"/>
                  </a:cubicBezTo>
                  <a:cubicBezTo>
                    <a:pt x="2450" y="821"/>
                    <a:pt x="2486" y="832"/>
                    <a:pt x="2523" y="843"/>
                  </a:cubicBezTo>
                  <a:cubicBezTo>
                    <a:pt x="2548" y="851"/>
                    <a:pt x="2574" y="858"/>
                    <a:pt x="2599" y="866"/>
                  </a:cubicBezTo>
                  <a:cubicBezTo>
                    <a:pt x="2637" y="878"/>
                    <a:pt x="2675" y="886"/>
                    <a:pt x="2713" y="894"/>
                  </a:cubicBezTo>
                  <a:cubicBezTo>
                    <a:pt x="2744" y="901"/>
                    <a:pt x="2774" y="906"/>
                    <a:pt x="2805" y="910"/>
                  </a:cubicBezTo>
                  <a:cubicBezTo>
                    <a:pt x="2807" y="910"/>
                    <a:pt x="2810" y="910"/>
                    <a:pt x="2812" y="910"/>
                  </a:cubicBezTo>
                  <a:cubicBezTo>
                    <a:pt x="2812" y="1139"/>
                    <a:pt x="2812" y="1368"/>
                    <a:pt x="2812" y="1597"/>
                  </a:cubicBezTo>
                  <a:cubicBezTo>
                    <a:pt x="2809" y="1596"/>
                    <a:pt x="2805" y="1597"/>
                    <a:pt x="2802" y="1597"/>
                  </a:cubicBezTo>
                  <a:cubicBezTo>
                    <a:pt x="2167" y="1597"/>
                    <a:pt x="1531" y="1597"/>
                    <a:pt x="896" y="1597"/>
                  </a:cubicBezTo>
                  <a:cubicBezTo>
                    <a:pt x="662" y="1597"/>
                    <a:pt x="428" y="1597"/>
                    <a:pt x="194" y="1597"/>
                  </a:cubicBezTo>
                  <a:cubicBezTo>
                    <a:pt x="192" y="1597"/>
                    <a:pt x="189" y="1597"/>
                    <a:pt x="186" y="1596"/>
                  </a:cubicBezTo>
                  <a:cubicBezTo>
                    <a:pt x="198" y="1586"/>
                    <a:pt x="208" y="1577"/>
                    <a:pt x="219" y="1567"/>
                  </a:cubicBezTo>
                  <a:cubicBezTo>
                    <a:pt x="250" y="1539"/>
                    <a:pt x="269" y="1502"/>
                    <a:pt x="285" y="1465"/>
                  </a:cubicBezTo>
                  <a:cubicBezTo>
                    <a:pt x="298" y="1432"/>
                    <a:pt x="304" y="1398"/>
                    <a:pt x="308" y="1363"/>
                  </a:cubicBezTo>
                  <a:cubicBezTo>
                    <a:pt x="313" y="1310"/>
                    <a:pt x="311" y="1258"/>
                    <a:pt x="305" y="1206"/>
                  </a:cubicBezTo>
                  <a:cubicBezTo>
                    <a:pt x="299" y="1159"/>
                    <a:pt x="291" y="1112"/>
                    <a:pt x="278" y="1067"/>
                  </a:cubicBezTo>
                  <a:cubicBezTo>
                    <a:pt x="269" y="1037"/>
                    <a:pt x="263" y="1006"/>
                    <a:pt x="253" y="977"/>
                  </a:cubicBezTo>
                  <a:cubicBezTo>
                    <a:pt x="242" y="942"/>
                    <a:pt x="232" y="906"/>
                    <a:pt x="217" y="872"/>
                  </a:cubicBezTo>
                  <a:cubicBezTo>
                    <a:pt x="208" y="849"/>
                    <a:pt x="200" y="825"/>
                    <a:pt x="191" y="802"/>
                  </a:cubicBezTo>
                  <a:cubicBezTo>
                    <a:pt x="178" y="772"/>
                    <a:pt x="167" y="742"/>
                    <a:pt x="153" y="713"/>
                  </a:cubicBezTo>
                  <a:cubicBezTo>
                    <a:pt x="136" y="677"/>
                    <a:pt x="120" y="641"/>
                    <a:pt x="104" y="605"/>
                  </a:cubicBezTo>
                  <a:cubicBezTo>
                    <a:pt x="100" y="597"/>
                    <a:pt x="95" y="589"/>
                    <a:pt x="91" y="581"/>
                  </a:cubicBezTo>
                  <a:cubicBezTo>
                    <a:pt x="81" y="558"/>
                    <a:pt x="69" y="536"/>
                    <a:pt x="58" y="514"/>
                  </a:cubicBezTo>
                  <a:cubicBezTo>
                    <a:pt x="41" y="479"/>
                    <a:pt x="21" y="445"/>
                    <a:pt x="3" y="411"/>
                  </a:cubicBezTo>
                  <a:cubicBezTo>
                    <a:pt x="2" y="409"/>
                    <a:pt x="2" y="407"/>
                    <a:pt x="0" y="407"/>
                  </a:cubicBezTo>
                  <a:cubicBezTo>
                    <a:pt x="0" y="406"/>
                    <a:pt x="0" y="405"/>
                    <a:pt x="0" y="4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7047" name="Freeform 7"/>
            <p:cNvSpPr>
              <a:spLocks/>
            </p:cNvSpPr>
            <p:nvPr userDrawn="1"/>
          </p:nvSpPr>
          <p:spPr bwMode="auto">
            <a:xfrm>
              <a:off x="10041739" y="14514"/>
              <a:ext cx="1948916" cy="3234346"/>
            </a:xfrm>
            <a:custGeom>
              <a:avLst/>
              <a:gdLst/>
              <a:ahLst/>
              <a:cxnLst>
                <a:cxn ang="0">
                  <a:pos x="819" y="1361"/>
                </a:cxn>
                <a:cxn ang="0">
                  <a:pos x="799" y="1335"/>
                </a:cxn>
                <a:cxn ang="0">
                  <a:pos x="765" y="1294"/>
                </a:cxn>
                <a:cxn ang="0">
                  <a:pos x="730" y="1249"/>
                </a:cxn>
                <a:cxn ang="0">
                  <a:pos x="666" y="1172"/>
                </a:cxn>
                <a:cxn ang="0">
                  <a:pos x="618" y="1113"/>
                </a:cxn>
                <a:cxn ang="0">
                  <a:pos x="571" y="1054"/>
                </a:cxn>
                <a:cxn ang="0">
                  <a:pos x="545" y="1019"/>
                </a:cxn>
                <a:cxn ang="0">
                  <a:pos x="485" y="940"/>
                </a:cxn>
                <a:cxn ang="0">
                  <a:pos x="442" y="881"/>
                </a:cxn>
                <a:cxn ang="0">
                  <a:pos x="420" y="849"/>
                </a:cxn>
                <a:cxn ang="0">
                  <a:pos x="363" y="765"/>
                </a:cxn>
                <a:cxn ang="0">
                  <a:pos x="323" y="705"/>
                </a:cxn>
                <a:cxn ang="0">
                  <a:pos x="294" y="658"/>
                </a:cxn>
                <a:cxn ang="0">
                  <a:pos x="254" y="591"/>
                </a:cxn>
                <a:cxn ang="0">
                  <a:pos x="231" y="550"/>
                </a:cxn>
                <a:cxn ang="0">
                  <a:pos x="189" y="475"/>
                </a:cxn>
                <a:cxn ang="0">
                  <a:pos x="168" y="433"/>
                </a:cxn>
                <a:cxn ang="0">
                  <a:pos x="134" y="364"/>
                </a:cxn>
                <a:cxn ang="0">
                  <a:pos x="104" y="299"/>
                </a:cxn>
                <a:cxn ang="0">
                  <a:pos x="57" y="181"/>
                </a:cxn>
                <a:cxn ang="0">
                  <a:pos x="40" y="135"/>
                </a:cxn>
                <a:cxn ang="0">
                  <a:pos x="1" y="5"/>
                </a:cxn>
                <a:cxn ang="0">
                  <a:pos x="0" y="0"/>
                </a:cxn>
                <a:cxn ang="0">
                  <a:pos x="812" y="0"/>
                </a:cxn>
                <a:cxn ang="0">
                  <a:pos x="819" y="6"/>
                </a:cxn>
                <a:cxn ang="0">
                  <a:pos x="819" y="1361"/>
                </a:cxn>
              </a:cxnLst>
              <a:rect l="0" t="0" r="r" b="b"/>
              <a:pathLst>
                <a:path w="819" h="1361">
                  <a:moveTo>
                    <a:pt x="819" y="1361"/>
                  </a:moveTo>
                  <a:cubicBezTo>
                    <a:pt x="812" y="1353"/>
                    <a:pt x="806" y="1344"/>
                    <a:pt x="799" y="1335"/>
                  </a:cubicBezTo>
                  <a:cubicBezTo>
                    <a:pt x="788" y="1321"/>
                    <a:pt x="776" y="1308"/>
                    <a:pt x="765" y="1294"/>
                  </a:cubicBezTo>
                  <a:cubicBezTo>
                    <a:pt x="754" y="1279"/>
                    <a:pt x="743" y="1263"/>
                    <a:pt x="730" y="1249"/>
                  </a:cubicBezTo>
                  <a:cubicBezTo>
                    <a:pt x="707" y="1224"/>
                    <a:pt x="688" y="1197"/>
                    <a:pt x="666" y="1172"/>
                  </a:cubicBezTo>
                  <a:cubicBezTo>
                    <a:pt x="650" y="1153"/>
                    <a:pt x="633" y="1133"/>
                    <a:pt x="618" y="1113"/>
                  </a:cubicBezTo>
                  <a:cubicBezTo>
                    <a:pt x="603" y="1093"/>
                    <a:pt x="585" y="1075"/>
                    <a:pt x="571" y="1054"/>
                  </a:cubicBezTo>
                  <a:cubicBezTo>
                    <a:pt x="563" y="1042"/>
                    <a:pt x="554" y="1030"/>
                    <a:pt x="545" y="1019"/>
                  </a:cubicBezTo>
                  <a:cubicBezTo>
                    <a:pt x="523" y="994"/>
                    <a:pt x="505" y="966"/>
                    <a:pt x="485" y="940"/>
                  </a:cubicBezTo>
                  <a:cubicBezTo>
                    <a:pt x="470" y="920"/>
                    <a:pt x="456" y="901"/>
                    <a:pt x="442" y="881"/>
                  </a:cubicBezTo>
                  <a:cubicBezTo>
                    <a:pt x="434" y="870"/>
                    <a:pt x="428" y="859"/>
                    <a:pt x="420" y="849"/>
                  </a:cubicBezTo>
                  <a:cubicBezTo>
                    <a:pt x="399" y="822"/>
                    <a:pt x="382" y="793"/>
                    <a:pt x="363" y="765"/>
                  </a:cubicBezTo>
                  <a:cubicBezTo>
                    <a:pt x="349" y="745"/>
                    <a:pt x="336" y="725"/>
                    <a:pt x="323" y="705"/>
                  </a:cubicBezTo>
                  <a:cubicBezTo>
                    <a:pt x="313" y="690"/>
                    <a:pt x="304" y="674"/>
                    <a:pt x="294" y="658"/>
                  </a:cubicBezTo>
                  <a:cubicBezTo>
                    <a:pt x="280" y="636"/>
                    <a:pt x="267" y="614"/>
                    <a:pt x="254" y="591"/>
                  </a:cubicBezTo>
                  <a:cubicBezTo>
                    <a:pt x="246" y="577"/>
                    <a:pt x="239" y="563"/>
                    <a:pt x="231" y="550"/>
                  </a:cubicBezTo>
                  <a:cubicBezTo>
                    <a:pt x="215" y="526"/>
                    <a:pt x="203" y="500"/>
                    <a:pt x="189" y="475"/>
                  </a:cubicBezTo>
                  <a:cubicBezTo>
                    <a:pt x="182" y="461"/>
                    <a:pt x="176" y="446"/>
                    <a:pt x="168" y="433"/>
                  </a:cubicBezTo>
                  <a:cubicBezTo>
                    <a:pt x="155" y="411"/>
                    <a:pt x="145" y="387"/>
                    <a:pt x="134" y="364"/>
                  </a:cubicBezTo>
                  <a:cubicBezTo>
                    <a:pt x="123" y="343"/>
                    <a:pt x="115" y="321"/>
                    <a:pt x="104" y="299"/>
                  </a:cubicBezTo>
                  <a:cubicBezTo>
                    <a:pt x="86" y="261"/>
                    <a:pt x="72" y="221"/>
                    <a:pt x="57" y="181"/>
                  </a:cubicBezTo>
                  <a:cubicBezTo>
                    <a:pt x="51" y="165"/>
                    <a:pt x="47" y="150"/>
                    <a:pt x="40" y="135"/>
                  </a:cubicBezTo>
                  <a:cubicBezTo>
                    <a:pt x="23" y="93"/>
                    <a:pt x="13" y="49"/>
                    <a:pt x="1" y="5"/>
                  </a:cubicBezTo>
                  <a:cubicBezTo>
                    <a:pt x="0" y="4"/>
                    <a:pt x="0" y="2"/>
                    <a:pt x="0" y="0"/>
                  </a:cubicBezTo>
                  <a:cubicBezTo>
                    <a:pt x="271" y="0"/>
                    <a:pt x="542" y="0"/>
                    <a:pt x="812" y="0"/>
                  </a:cubicBezTo>
                  <a:cubicBezTo>
                    <a:pt x="818" y="0"/>
                    <a:pt x="819" y="1"/>
                    <a:pt x="819" y="6"/>
                  </a:cubicBezTo>
                  <a:cubicBezTo>
                    <a:pt x="819" y="458"/>
                    <a:pt x="819" y="909"/>
                    <a:pt x="819" y="13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2" name="Title 1"/>
          <p:cNvSpPr>
            <a:spLocks noGrp="1"/>
          </p:cNvSpPr>
          <p:nvPr>
            <p:ph type="title"/>
          </p:nvPr>
        </p:nvSpPr>
        <p:spPr>
          <a:xfrm>
            <a:off x="227349" y="0"/>
            <a:ext cx="9991689" cy="1104900"/>
          </a:xfrm>
          <a:prstGeom prst="rect">
            <a:avLst/>
          </a:prstGeom>
        </p:spPr>
        <p:txBody>
          <a:bodyPr/>
          <a:lstStyle/>
          <a:p>
            <a:r>
              <a:rPr lang="fr-FR" smtClean="0"/>
              <a:t>Modifiez le style du titre</a:t>
            </a:r>
            <a:endParaRPr lang="en-GB" dirty="0"/>
          </a:p>
        </p:txBody>
      </p:sp>
      <p:sp>
        <p:nvSpPr>
          <p:cNvPr id="6"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r>
              <a:rPr lang="fr-FR" smtClean="0"/>
              <a:t>Cliquez sur l'icône pour ajouter une image</a:t>
            </a:r>
            <a:endParaRPr lang="pt-PT"/>
          </a:p>
        </p:txBody>
      </p:sp>
      <p:sp>
        <p:nvSpPr>
          <p:cNvPr id="8"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2"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3"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5" name="Text Placeholder 7">
            <a:extLst>
              <a:ext uri="{FF2B5EF4-FFF2-40B4-BE49-F238E27FC236}">
                <a16:creationId xmlns:a16="http://schemas.microsoft.com/office/drawing/2014/main" xmlns="" id="{92D6AE9D-467E-46C0-B32B-79A9B07CDD13}"/>
              </a:ext>
            </a:extLst>
          </p:cNvPr>
          <p:cNvSpPr>
            <a:spLocks noGrp="1"/>
          </p:cNvSpPr>
          <p:nvPr>
            <p:ph type="body" sz="quarter" idx="35"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grpSp>
        <p:nvGrpSpPr>
          <p:cNvPr id="15" name="Group 10"/>
          <p:cNvGrpSpPr/>
          <p:nvPr userDrawn="1"/>
        </p:nvGrpSpPr>
        <p:grpSpPr>
          <a:xfrm>
            <a:off x="7571874" y="6483359"/>
            <a:ext cx="4316313" cy="253173"/>
            <a:chOff x="6152147" y="6480941"/>
            <a:chExt cx="3507004" cy="253173"/>
          </a:xfrm>
        </p:grpSpPr>
        <p:sp>
          <p:nvSpPr>
            <p:cNvPr id="16" name="TextBox 10"/>
            <p:cNvSpPr txBox="1"/>
            <p:nvPr userDrawn="1">
              <p:custDataLst>
                <p:tags r:id="rId3"/>
              </p:custDataLst>
            </p:nvPr>
          </p:nvSpPr>
          <p:spPr>
            <a:xfrm>
              <a:off x="9659098" y="6634728"/>
              <a:ext cx="53" cy="99386"/>
            </a:xfrm>
            <a:prstGeom prst="rect">
              <a:avLst/>
            </a:prstGeom>
            <a:noFill/>
          </p:spPr>
          <p:txBody>
            <a:bodyPr wrap="none" lIns="0" tIns="0" rIns="0" bIns="0" rtlCol="0" anchor="ctr">
              <a:spAutoFit/>
            </a:bodyPr>
            <a:lstStyle/>
            <a:p>
              <a:pPr algn="ctr" defTabSz="884105"/>
              <a:endParaRPr lang="en-US" sz="646" dirty="0">
                <a:solidFill>
                  <a:srgbClr val="1C1C1C">
                    <a:lumMod val="75000"/>
                    <a:lumOff val="25000"/>
                  </a:srgbClr>
                </a:solidFill>
                <a:latin typeface="Arial"/>
              </a:endParaRPr>
            </a:p>
          </p:txBody>
        </p:sp>
        <p:sp>
          <p:nvSpPr>
            <p:cNvPr id="17" name="Rectangle 16"/>
            <p:cNvSpPr>
              <a:spLocks noChangeArrowheads="1"/>
            </p:cNvSpPr>
            <p:nvPr userDrawn="1">
              <p:custDataLst>
                <p:tags r:id="rId4"/>
              </p:custDataLst>
            </p:nvPr>
          </p:nvSpPr>
          <p:spPr bwMode="auto">
            <a:xfrm>
              <a:off x="6152147" y="6634728"/>
              <a:ext cx="3342760" cy="99386"/>
            </a:xfrm>
            <a:prstGeom prst="rect">
              <a:avLst/>
            </a:prstGeom>
            <a:noFill/>
            <a:ln w="19050">
              <a:noFill/>
              <a:miter lim="800000"/>
              <a:headEnd/>
              <a:tailEnd/>
            </a:ln>
            <a:effectLst/>
          </p:spPr>
          <p:txBody>
            <a:bodyPr wrap="square" lIns="0" tIns="0" rIns="0" bIns="0" anchor="ctr" anchorCtr="0">
              <a:spAutoFit/>
            </a:bodyPr>
            <a:lstStyle/>
            <a:p>
              <a:pPr algn="r" defTabSz="918895" eaLnBrk="0" hangingPunct="0">
                <a:defRPr/>
              </a:pPr>
              <a:r>
                <a:rPr lang="en-US" altLang="en-US" sz="646" dirty="0">
                  <a:solidFill>
                    <a:srgbClr val="1C1C1C">
                      <a:lumMod val="75000"/>
                      <a:lumOff val="25000"/>
                    </a:srgbClr>
                  </a:solidFill>
                  <a:latin typeface="Arial"/>
                  <a:cs typeface="Arial" pitchFamily="34" charset="0"/>
                </a:rPr>
                <a:t>Copyright © Capgemini </a:t>
              </a:r>
              <a:r>
                <a:rPr lang="en-US" altLang="en-US" sz="646" dirty="0" smtClean="0">
                  <a:solidFill>
                    <a:srgbClr val="1C1C1C">
                      <a:lumMod val="75000"/>
                      <a:lumOff val="25000"/>
                    </a:srgbClr>
                  </a:solidFill>
                  <a:latin typeface="Arial"/>
                  <a:cs typeface="Arial" pitchFamily="34" charset="0"/>
                </a:rPr>
                <a:t>2017. </a:t>
              </a:r>
              <a:r>
                <a:rPr lang="en-US" altLang="en-US" sz="646" dirty="0">
                  <a:solidFill>
                    <a:srgbClr val="1C1C1C">
                      <a:lumMod val="75000"/>
                      <a:lumOff val="25000"/>
                    </a:srgbClr>
                  </a:solidFill>
                  <a:latin typeface="Arial"/>
                  <a:cs typeface="Arial" pitchFamily="34" charset="0"/>
                </a:rPr>
                <a:t>All Rights Reserved</a:t>
              </a:r>
            </a:p>
          </p:txBody>
        </p:sp>
        <p:sp>
          <p:nvSpPr>
            <p:cNvPr id="18" name="Rectangle 17"/>
            <p:cNvSpPr/>
            <p:nvPr userDrawn="1">
              <p:custDataLst>
                <p:tags r:id="rId5"/>
              </p:custDataLst>
            </p:nvPr>
          </p:nvSpPr>
          <p:spPr>
            <a:xfrm>
              <a:off x="8006218" y="6480941"/>
              <a:ext cx="1488689" cy="99386"/>
            </a:xfrm>
            <a:prstGeom prst="rect">
              <a:avLst/>
            </a:prstGeom>
          </p:spPr>
          <p:txBody>
            <a:bodyPr wrap="none" lIns="0" tIns="0" rIns="0" bIns="0" anchor="ctr" anchorCtr="0">
              <a:spAutoFit/>
            </a:bodyPr>
            <a:lstStyle/>
            <a:p>
              <a:pPr algn="r" defTabSz="884105">
                <a:defRPr/>
              </a:pPr>
              <a:r>
                <a:rPr lang="en-US" sz="646" dirty="0">
                  <a:solidFill>
                    <a:srgbClr val="00234B"/>
                  </a:solidFill>
                  <a:latin typeface="Arial"/>
                </a:rPr>
                <a:t>Digital Customer Experience | Introduction to DCX</a:t>
              </a:r>
            </a:p>
          </p:txBody>
        </p:sp>
      </p:grpSp>
    </p:spTree>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ontent 11">
    <p:spTree>
      <p:nvGrpSpPr>
        <p:cNvPr id="1" name=""/>
        <p:cNvGrpSpPr/>
        <p:nvPr/>
      </p:nvGrpSpPr>
      <p:grpSpPr>
        <a:xfrm>
          <a:off x="0" y="0"/>
          <a:ext cx="0" cy="0"/>
          <a:chOff x="0" y="0"/>
          <a:chExt cx="0" cy="0"/>
        </a:xfrm>
      </p:grpSpPr>
      <p:grpSp>
        <p:nvGrpSpPr>
          <p:cNvPr id="11" name="Group 10"/>
          <p:cNvGrpSpPr/>
          <p:nvPr userDrawn="1"/>
        </p:nvGrpSpPr>
        <p:grpSpPr>
          <a:xfrm>
            <a:off x="5474198" y="1"/>
            <a:ext cx="6717802" cy="6879906"/>
            <a:chOff x="5301197" y="14514"/>
            <a:chExt cx="6689458" cy="6850879"/>
          </a:xfrm>
          <a:solidFill>
            <a:schemeClr val="accent4"/>
          </a:solidFill>
        </p:grpSpPr>
        <p:sp>
          <p:nvSpPr>
            <p:cNvPr id="12" name="Freeform 6"/>
            <p:cNvSpPr>
              <a:spLocks/>
            </p:cNvSpPr>
            <p:nvPr userDrawn="1"/>
          </p:nvSpPr>
          <p:spPr bwMode="auto">
            <a:xfrm>
              <a:off x="5301197" y="3070823"/>
              <a:ext cx="6689458" cy="3794570"/>
            </a:xfrm>
            <a:custGeom>
              <a:avLst/>
              <a:gdLst/>
              <a:ahLst/>
              <a:cxnLst>
                <a:cxn ang="0">
                  <a:pos x="0" y="404"/>
                </a:cxn>
                <a:cxn ang="0">
                  <a:pos x="33" y="354"/>
                </a:cxn>
                <a:cxn ang="0">
                  <a:pos x="81" y="284"/>
                </a:cxn>
                <a:cxn ang="0">
                  <a:pos x="100" y="262"/>
                </a:cxn>
                <a:cxn ang="0">
                  <a:pos x="151" y="203"/>
                </a:cxn>
                <a:cxn ang="0">
                  <a:pos x="173" y="183"/>
                </a:cxn>
                <a:cxn ang="0">
                  <a:pos x="206" y="151"/>
                </a:cxn>
                <a:cxn ang="0">
                  <a:pos x="253" y="116"/>
                </a:cxn>
                <a:cxn ang="0">
                  <a:pos x="331" y="68"/>
                </a:cxn>
                <a:cxn ang="0">
                  <a:pos x="465" y="19"/>
                </a:cxn>
                <a:cxn ang="0">
                  <a:pos x="664" y="5"/>
                </a:cxn>
                <a:cxn ang="0">
                  <a:pos x="840" y="32"/>
                </a:cxn>
                <a:cxn ang="0">
                  <a:pos x="911" y="52"/>
                </a:cxn>
                <a:cxn ang="0">
                  <a:pos x="1026" y="92"/>
                </a:cxn>
                <a:cxn ang="0">
                  <a:pos x="1070" y="109"/>
                </a:cxn>
                <a:cxn ang="0">
                  <a:pos x="1149" y="144"/>
                </a:cxn>
                <a:cxn ang="0">
                  <a:pos x="1191" y="164"/>
                </a:cxn>
                <a:cxn ang="0">
                  <a:pos x="1272" y="205"/>
                </a:cxn>
                <a:cxn ang="0">
                  <a:pos x="1313" y="225"/>
                </a:cxn>
                <a:cxn ang="0">
                  <a:pos x="1399" y="273"/>
                </a:cxn>
                <a:cxn ang="0">
                  <a:pos x="1462" y="310"/>
                </a:cxn>
                <a:cxn ang="0">
                  <a:pos x="1515" y="341"/>
                </a:cxn>
                <a:cxn ang="0">
                  <a:pos x="1587" y="384"/>
                </a:cxn>
                <a:cxn ang="0">
                  <a:pos x="1633" y="414"/>
                </a:cxn>
                <a:cxn ang="0">
                  <a:pos x="1703" y="457"/>
                </a:cxn>
                <a:cxn ang="0">
                  <a:pos x="1770" y="498"/>
                </a:cxn>
                <a:cxn ang="0">
                  <a:pos x="1799" y="514"/>
                </a:cxn>
                <a:cxn ang="0">
                  <a:pos x="1894" y="569"/>
                </a:cxn>
                <a:cxn ang="0">
                  <a:pos x="2007" y="628"/>
                </a:cxn>
                <a:cxn ang="0">
                  <a:pos x="2087" y="668"/>
                </a:cxn>
                <a:cxn ang="0">
                  <a:pos x="2132" y="689"/>
                </a:cxn>
                <a:cxn ang="0">
                  <a:pos x="2208" y="724"/>
                </a:cxn>
                <a:cxn ang="0">
                  <a:pos x="2270" y="750"/>
                </a:cxn>
                <a:cxn ang="0">
                  <a:pos x="2336" y="777"/>
                </a:cxn>
                <a:cxn ang="0">
                  <a:pos x="2414" y="806"/>
                </a:cxn>
                <a:cxn ang="0">
                  <a:pos x="2523" y="843"/>
                </a:cxn>
                <a:cxn ang="0">
                  <a:pos x="2599" y="866"/>
                </a:cxn>
                <a:cxn ang="0">
                  <a:pos x="2713" y="894"/>
                </a:cxn>
                <a:cxn ang="0">
                  <a:pos x="2805" y="910"/>
                </a:cxn>
                <a:cxn ang="0">
                  <a:pos x="2812" y="910"/>
                </a:cxn>
                <a:cxn ang="0">
                  <a:pos x="2812" y="1597"/>
                </a:cxn>
                <a:cxn ang="0">
                  <a:pos x="2802" y="1597"/>
                </a:cxn>
                <a:cxn ang="0">
                  <a:pos x="896" y="1597"/>
                </a:cxn>
                <a:cxn ang="0">
                  <a:pos x="194" y="1597"/>
                </a:cxn>
                <a:cxn ang="0">
                  <a:pos x="186" y="1596"/>
                </a:cxn>
                <a:cxn ang="0">
                  <a:pos x="219" y="1567"/>
                </a:cxn>
                <a:cxn ang="0">
                  <a:pos x="285" y="1465"/>
                </a:cxn>
                <a:cxn ang="0">
                  <a:pos x="308" y="1363"/>
                </a:cxn>
                <a:cxn ang="0">
                  <a:pos x="305" y="1206"/>
                </a:cxn>
                <a:cxn ang="0">
                  <a:pos x="278" y="1067"/>
                </a:cxn>
                <a:cxn ang="0">
                  <a:pos x="253" y="977"/>
                </a:cxn>
                <a:cxn ang="0">
                  <a:pos x="217" y="872"/>
                </a:cxn>
                <a:cxn ang="0">
                  <a:pos x="191" y="802"/>
                </a:cxn>
                <a:cxn ang="0">
                  <a:pos x="153" y="713"/>
                </a:cxn>
                <a:cxn ang="0">
                  <a:pos x="104" y="605"/>
                </a:cxn>
                <a:cxn ang="0">
                  <a:pos x="91" y="581"/>
                </a:cxn>
                <a:cxn ang="0">
                  <a:pos x="58" y="514"/>
                </a:cxn>
                <a:cxn ang="0">
                  <a:pos x="3" y="411"/>
                </a:cxn>
                <a:cxn ang="0">
                  <a:pos x="0" y="407"/>
                </a:cxn>
                <a:cxn ang="0">
                  <a:pos x="0" y="404"/>
                </a:cxn>
              </a:cxnLst>
              <a:rect l="0" t="0" r="r" b="b"/>
              <a:pathLst>
                <a:path w="2812" h="1597">
                  <a:moveTo>
                    <a:pt x="0" y="404"/>
                  </a:moveTo>
                  <a:cubicBezTo>
                    <a:pt x="10" y="387"/>
                    <a:pt x="21" y="370"/>
                    <a:pt x="33" y="354"/>
                  </a:cubicBezTo>
                  <a:cubicBezTo>
                    <a:pt x="48" y="330"/>
                    <a:pt x="66" y="307"/>
                    <a:pt x="81" y="284"/>
                  </a:cubicBezTo>
                  <a:cubicBezTo>
                    <a:pt x="86" y="276"/>
                    <a:pt x="93" y="269"/>
                    <a:pt x="100" y="262"/>
                  </a:cubicBezTo>
                  <a:cubicBezTo>
                    <a:pt x="117" y="242"/>
                    <a:pt x="133" y="221"/>
                    <a:pt x="151" y="203"/>
                  </a:cubicBezTo>
                  <a:cubicBezTo>
                    <a:pt x="158" y="196"/>
                    <a:pt x="165" y="189"/>
                    <a:pt x="173" y="183"/>
                  </a:cubicBezTo>
                  <a:cubicBezTo>
                    <a:pt x="184" y="173"/>
                    <a:pt x="194" y="161"/>
                    <a:pt x="206" y="151"/>
                  </a:cubicBezTo>
                  <a:cubicBezTo>
                    <a:pt x="222" y="140"/>
                    <a:pt x="238" y="128"/>
                    <a:pt x="253" y="116"/>
                  </a:cubicBezTo>
                  <a:cubicBezTo>
                    <a:pt x="277" y="96"/>
                    <a:pt x="304" y="82"/>
                    <a:pt x="331" y="68"/>
                  </a:cubicBezTo>
                  <a:cubicBezTo>
                    <a:pt x="373" y="45"/>
                    <a:pt x="418" y="29"/>
                    <a:pt x="465" y="19"/>
                  </a:cubicBezTo>
                  <a:cubicBezTo>
                    <a:pt x="531" y="4"/>
                    <a:pt x="597" y="0"/>
                    <a:pt x="664" y="5"/>
                  </a:cubicBezTo>
                  <a:cubicBezTo>
                    <a:pt x="723" y="8"/>
                    <a:pt x="782" y="18"/>
                    <a:pt x="840" y="32"/>
                  </a:cubicBezTo>
                  <a:cubicBezTo>
                    <a:pt x="864" y="38"/>
                    <a:pt x="888" y="43"/>
                    <a:pt x="911" y="52"/>
                  </a:cubicBezTo>
                  <a:cubicBezTo>
                    <a:pt x="949" y="65"/>
                    <a:pt x="988" y="77"/>
                    <a:pt x="1026" y="92"/>
                  </a:cubicBezTo>
                  <a:cubicBezTo>
                    <a:pt x="1041" y="98"/>
                    <a:pt x="1056" y="103"/>
                    <a:pt x="1070" y="109"/>
                  </a:cubicBezTo>
                  <a:cubicBezTo>
                    <a:pt x="1096" y="122"/>
                    <a:pt x="1123" y="132"/>
                    <a:pt x="1149" y="144"/>
                  </a:cubicBezTo>
                  <a:cubicBezTo>
                    <a:pt x="1163" y="151"/>
                    <a:pt x="1177" y="157"/>
                    <a:pt x="1191" y="164"/>
                  </a:cubicBezTo>
                  <a:cubicBezTo>
                    <a:pt x="1218" y="177"/>
                    <a:pt x="1245" y="191"/>
                    <a:pt x="1272" y="205"/>
                  </a:cubicBezTo>
                  <a:cubicBezTo>
                    <a:pt x="1286" y="212"/>
                    <a:pt x="1300" y="218"/>
                    <a:pt x="1313" y="225"/>
                  </a:cubicBezTo>
                  <a:cubicBezTo>
                    <a:pt x="1341" y="243"/>
                    <a:pt x="1371" y="256"/>
                    <a:pt x="1399" y="273"/>
                  </a:cubicBezTo>
                  <a:cubicBezTo>
                    <a:pt x="1420" y="286"/>
                    <a:pt x="1441" y="298"/>
                    <a:pt x="1462" y="310"/>
                  </a:cubicBezTo>
                  <a:cubicBezTo>
                    <a:pt x="1480" y="320"/>
                    <a:pt x="1498" y="330"/>
                    <a:pt x="1515" y="341"/>
                  </a:cubicBezTo>
                  <a:cubicBezTo>
                    <a:pt x="1539" y="355"/>
                    <a:pt x="1562" y="371"/>
                    <a:pt x="1587" y="384"/>
                  </a:cubicBezTo>
                  <a:cubicBezTo>
                    <a:pt x="1603" y="394"/>
                    <a:pt x="1617" y="405"/>
                    <a:pt x="1633" y="414"/>
                  </a:cubicBezTo>
                  <a:cubicBezTo>
                    <a:pt x="1656" y="429"/>
                    <a:pt x="1680" y="442"/>
                    <a:pt x="1703" y="457"/>
                  </a:cubicBezTo>
                  <a:cubicBezTo>
                    <a:pt x="1725" y="471"/>
                    <a:pt x="1747" y="485"/>
                    <a:pt x="1770" y="498"/>
                  </a:cubicBezTo>
                  <a:cubicBezTo>
                    <a:pt x="1780" y="504"/>
                    <a:pt x="1790" y="508"/>
                    <a:pt x="1799" y="514"/>
                  </a:cubicBezTo>
                  <a:cubicBezTo>
                    <a:pt x="1829" y="535"/>
                    <a:pt x="1863" y="550"/>
                    <a:pt x="1894" y="569"/>
                  </a:cubicBezTo>
                  <a:cubicBezTo>
                    <a:pt x="1931" y="590"/>
                    <a:pt x="1969" y="608"/>
                    <a:pt x="2007" y="628"/>
                  </a:cubicBezTo>
                  <a:cubicBezTo>
                    <a:pt x="2033" y="642"/>
                    <a:pt x="2060" y="655"/>
                    <a:pt x="2087" y="668"/>
                  </a:cubicBezTo>
                  <a:cubicBezTo>
                    <a:pt x="2102" y="675"/>
                    <a:pt x="2118" y="681"/>
                    <a:pt x="2132" y="689"/>
                  </a:cubicBezTo>
                  <a:cubicBezTo>
                    <a:pt x="2157" y="702"/>
                    <a:pt x="2183" y="712"/>
                    <a:pt x="2208" y="724"/>
                  </a:cubicBezTo>
                  <a:cubicBezTo>
                    <a:pt x="2229" y="733"/>
                    <a:pt x="2250" y="740"/>
                    <a:pt x="2270" y="750"/>
                  </a:cubicBezTo>
                  <a:cubicBezTo>
                    <a:pt x="2292" y="760"/>
                    <a:pt x="2314" y="768"/>
                    <a:pt x="2336" y="777"/>
                  </a:cubicBezTo>
                  <a:cubicBezTo>
                    <a:pt x="2362" y="787"/>
                    <a:pt x="2389" y="795"/>
                    <a:pt x="2414" y="806"/>
                  </a:cubicBezTo>
                  <a:cubicBezTo>
                    <a:pt x="2450" y="821"/>
                    <a:pt x="2486" y="832"/>
                    <a:pt x="2523" y="843"/>
                  </a:cubicBezTo>
                  <a:cubicBezTo>
                    <a:pt x="2548" y="851"/>
                    <a:pt x="2574" y="858"/>
                    <a:pt x="2599" y="866"/>
                  </a:cubicBezTo>
                  <a:cubicBezTo>
                    <a:pt x="2637" y="878"/>
                    <a:pt x="2675" y="886"/>
                    <a:pt x="2713" y="894"/>
                  </a:cubicBezTo>
                  <a:cubicBezTo>
                    <a:pt x="2744" y="901"/>
                    <a:pt x="2774" y="906"/>
                    <a:pt x="2805" y="910"/>
                  </a:cubicBezTo>
                  <a:cubicBezTo>
                    <a:pt x="2807" y="910"/>
                    <a:pt x="2810" y="910"/>
                    <a:pt x="2812" y="910"/>
                  </a:cubicBezTo>
                  <a:cubicBezTo>
                    <a:pt x="2812" y="1139"/>
                    <a:pt x="2812" y="1368"/>
                    <a:pt x="2812" y="1597"/>
                  </a:cubicBezTo>
                  <a:cubicBezTo>
                    <a:pt x="2809" y="1596"/>
                    <a:pt x="2805" y="1597"/>
                    <a:pt x="2802" y="1597"/>
                  </a:cubicBezTo>
                  <a:cubicBezTo>
                    <a:pt x="2167" y="1597"/>
                    <a:pt x="1531" y="1597"/>
                    <a:pt x="896" y="1597"/>
                  </a:cubicBezTo>
                  <a:cubicBezTo>
                    <a:pt x="662" y="1597"/>
                    <a:pt x="428" y="1597"/>
                    <a:pt x="194" y="1597"/>
                  </a:cubicBezTo>
                  <a:cubicBezTo>
                    <a:pt x="192" y="1597"/>
                    <a:pt x="189" y="1597"/>
                    <a:pt x="186" y="1596"/>
                  </a:cubicBezTo>
                  <a:cubicBezTo>
                    <a:pt x="198" y="1586"/>
                    <a:pt x="208" y="1577"/>
                    <a:pt x="219" y="1567"/>
                  </a:cubicBezTo>
                  <a:cubicBezTo>
                    <a:pt x="250" y="1539"/>
                    <a:pt x="269" y="1502"/>
                    <a:pt x="285" y="1465"/>
                  </a:cubicBezTo>
                  <a:cubicBezTo>
                    <a:pt x="298" y="1432"/>
                    <a:pt x="304" y="1398"/>
                    <a:pt x="308" y="1363"/>
                  </a:cubicBezTo>
                  <a:cubicBezTo>
                    <a:pt x="313" y="1310"/>
                    <a:pt x="311" y="1258"/>
                    <a:pt x="305" y="1206"/>
                  </a:cubicBezTo>
                  <a:cubicBezTo>
                    <a:pt x="299" y="1159"/>
                    <a:pt x="291" y="1112"/>
                    <a:pt x="278" y="1067"/>
                  </a:cubicBezTo>
                  <a:cubicBezTo>
                    <a:pt x="269" y="1037"/>
                    <a:pt x="263" y="1006"/>
                    <a:pt x="253" y="977"/>
                  </a:cubicBezTo>
                  <a:cubicBezTo>
                    <a:pt x="242" y="942"/>
                    <a:pt x="232" y="906"/>
                    <a:pt x="217" y="872"/>
                  </a:cubicBezTo>
                  <a:cubicBezTo>
                    <a:pt x="208" y="849"/>
                    <a:pt x="200" y="825"/>
                    <a:pt x="191" y="802"/>
                  </a:cubicBezTo>
                  <a:cubicBezTo>
                    <a:pt x="178" y="772"/>
                    <a:pt x="167" y="742"/>
                    <a:pt x="153" y="713"/>
                  </a:cubicBezTo>
                  <a:cubicBezTo>
                    <a:pt x="136" y="677"/>
                    <a:pt x="120" y="641"/>
                    <a:pt x="104" y="605"/>
                  </a:cubicBezTo>
                  <a:cubicBezTo>
                    <a:pt x="100" y="597"/>
                    <a:pt x="95" y="589"/>
                    <a:pt x="91" y="581"/>
                  </a:cubicBezTo>
                  <a:cubicBezTo>
                    <a:pt x="81" y="558"/>
                    <a:pt x="69" y="536"/>
                    <a:pt x="58" y="514"/>
                  </a:cubicBezTo>
                  <a:cubicBezTo>
                    <a:pt x="41" y="479"/>
                    <a:pt x="21" y="445"/>
                    <a:pt x="3" y="411"/>
                  </a:cubicBezTo>
                  <a:cubicBezTo>
                    <a:pt x="2" y="409"/>
                    <a:pt x="2" y="407"/>
                    <a:pt x="0" y="407"/>
                  </a:cubicBezTo>
                  <a:cubicBezTo>
                    <a:pt x="0" y="406"/>
                    <a:pt x="0" y="405"/>
                    <a:pt x="0" y="4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3" name="Freeform 7"/>
            <p:cNvSpPr>
              <a:spLocks/>
            </p:cNvSpPr>
            <p:nvPr userDrawn="1"/>
          </p:nvSpPr>
          <p:spPr bwMode="auto">
            <a:xfrm>
              <a:off x="10041739" y="14514"/>
              <a:ext cx="1948916" cy="3234346"/>
            </a:xfrm>
            <a:custGeom>
              <a:avLst/>
              <a:gdLst/>
              <a:ahLst/>
              <a:cxnLst>
                <a:cxn ang="0">
                  <a:pos x="819" y="1361"/>
                </a:cxn>
                <a:cxn ang="0">
                  <a:pos x="799" y="1335"/>
                </a:cxn>
                <a:cxn ang="0">
                  <a:pos x="765" y="1294"/>
                </a:cxn>
                <a:cxn ang="0">
                  <a:pos x="730" y="1249"/>
                </a:cxn>
                <a:cxn ang="0">
                  <a:pos x="666" y="1172"/>
                </a:cxn>
                <a:cxn ang="0">
                  <a:pos x="618" y="1113"/>
                </a:cxn>
                <a:cxn ang="0">
                  <a:pos x="571" y="1054"/>
                </a:cxn>
                <a:cxn ang="0">
                  <a:pos x="545" y="1019"/>
                </a:cxn>
                <a:cxn ang="0">
                  <a:pos x="485" y="940"/>
                </a:cxn>
                <a:cxn ang="0">
                  <a:pos x="442" y="881"/>
                </a:cxn>
                <a:cxn ang="0">
                  <a:pos x="420" y="849"/>
                </a:cxn>
                <a:cxn ang="0">
                  <a:pos x="363" y="765"/>
                </a:cxn>
                <a:cxn ang="0">
                  <a:pos x="323" y="705"/>
                </a:cxn>
                <a:cxn ang="0">
                  <a:pos x="294" y="658"/>
                </a:cxn>
                <a:cxn ang="0">
                  <a:pos x="254" y="591"/>
                </a:cxn>
                <a:cxn ang="0">
                  <a:pos x="231" y="550"/>
                </a:cxn>
                <a:cxn ang="0">
                  <a:pos x="189" y="475"/>
                </a:cxn>
                <a:cxn ang="0">
                  <a:pos x="168" y="433"/>
                </a:cxn>
                <a:cxn ang="0">
                  <a:pos x="134" y="364"/>
                </a:cxn>
                <a:cxn ang="0">
                  <a:pos x="104" y="299"/>
                </a:cxn>
                <a:cxn ang="0">
                  <a:pos x="57" y="181"/>
                </a:cxn>
                <a:cxn ang="0">
                  <a:pos x="40" y="135"/>
                </a:cxn>
                <a:cxn ang="0">
                  <a:pos x="1" y="5"/>
                </a:cxn>
                <a:cxn ang="0">
                  <a:pos x="0" y="0"/>
                </a:cxn>
                <a:cxn ang="0">
                  <a:pos x="812" y="0"/>
                </a:cxn>
                <a:cxn ang="0">
                  <a:pos x="819" y="6"/>
                </a:cxn>
                <a:cxn ang="0">
                  <a:pos x="819" y="1361"/>
                </a:cxn>
              </a:cxnLst>
              <a:rect l="0" t="0" r="r" b="b"/>
              <a:pathLst>
                <a:path w="819" h="1361">
                  <a:moveTo>
                    <a:pt x="819" y="1361"/>
                  </a:moveTo>
                  <a:cubicBezTo>
                    <a:pt x="812" y="1353"/>
                    <a:pt x="806" y="1344"/>
                    <a:pt x="799" y="1335"/>
                  </a:cubicBezTo>
                  <a:cubicBezTo>
                    <a:pt x="788" y="1321"/>
                    <a:pt x="776" y="1308"/>
                    <a:pt x="765" y="1294"/>
                  </a:cubicBezTo>
                  <a:cubicBezTo>
                    <a:pt x="754" y="1279"/>
                    <a:pt x="743" y="1263"/>
                    <a:pt x="730" y="1249"/>
                  </a:cubicBezTo>
                  <a:cubicBezTo>
                    <a:pt x="707" y="1224"/>
                    <a:pt x="688" y="1197"/>
                    <a:pt x="666" y="1172"/>
                  </a:cubicBezTo>
                  <a:cubicBezTo>
                    <a:pt x="650" y="1153"/>
                    <a:pt x="633" y="1133"/>
                    <a:pt x="618" y="1113"/>
                  </a:cubicBezTo>
                  <a:cubicBezTo>
                    <a:pt x="603" y="1093"/>
                    <a:pt x="585" y="1075"/>
                    <a:pt x="571" y="1054"/>
                  </a:cubicBezTo>
                  <a:cubicBezTo>
                    <a:pt x="563" y="1042"/>
                    <a:pt x="554" y="1030"/>
                    <a:pt x="545" y="1019"/>
                  </a:cubicBezTo>
                  <a:cubicBezTo>
                    <a:pt x="523" y="994"/>
                    <a:pt x="505" y="966"/>
                    <a:pt x="485" y="940"/>
                  </a:cubicBezTo>
                  <a:cubicBezTo>
                    <a:pt x="470" y="920"/>
                    <a:pt x="456" y="901"/>
                    <a:pt x="442" y="881"/>
                  </a:cubicBezTo>
                  <a:cubicBezTo>
                    <a:pt x="434" y="870"/>
                    <a:pt x="428" y="859"/>
                    <a:pt x="420" y="849"/>
                  </a:cubicBezTo>
                  <a:cubicBezTo>
                    <a:pt x="399" y="822"/>
                    <a:pt x="382" y="793"/>
                    <a:pt x="363" y="765"/>
                  </a:cubicBezTo>
                  <a:cubicBezTo>
                    <a:pt x="349" y="745"/>
                    <a:pt x="336" y="725"/>
                    <a:pt x="323" y="705"/>
                  </a:cubicBezTo>
                  <a:cubicBezTo>
                    <a:pt x="313" y="690"/>
                    <a:pt x="304" y="674"/>
                    <a:pt x="294" y="658"/>
                  </a:cubicBezTo>
                  <a:cubicBezTo>
                    <a:pt x="280" y="636"/>
                    <a:pt x="267" y="614"/>
                    <a:pt x="254" y="591"/>
                  </a:cubicBezTo>
                  <a:cubicBezTo>
                    <a:pt x="246" y="577"/>
                    <a:pt x="239" y="563"/>
                    <a:pt x="231" y="550"/>
                  </a:cubicBezTo>
                  <a:cubicBezTo>
                    <a:pt x="215" y="526"/>
                    <a:pt x="203" y="500"/>
                    <a:pt x="189" y="475"/>
                  </a:cubicBezTo>
                  <a:cubicBezTo>
                    <a:pt x="182" y="461"/>
                    <a:pt x="176" y="446"/>
                    <a:pt x="168" y="433"/>
                  </a:cubicBezTo>
                  <a:cubicBezTo>
                    <a:pt x="155" y="411"/>
                    <a:pt x="145" y="387"/>
                    <a:pt x="134" y="364"/>
                  </a:cubicBezTo>
                  <a:cubicBezTo>
                    <a:pt x="123" y="343"/>
                    <a:pt x="115" y="321"/>
                    <a:pt x="104" y="299"/>
                  </a:cubicBezTo>
                  <a:cubicBezTo>
                    <a:pt x="86" y="261"/>
                    <a:pt x="72" y="221"/>
                    <a:pt x="57" y="181"/>
                  </a:cubicBezTo>
                  <a:cubicBezTo>
                    <a:pt x="51" y="165"/>
                    <a:pt x="47" y="150"/>
                    <a:pt x="40" y="135"/>
                  </a:cubicBezTo>
                  <a:cubicBezTo>
                    <a:pt x="23" y="93"/>
                    <a:pt x="13" y="49"/>
                    <a:pt x="1" y="5"/>
                  </a:cubicBezTo>
                  <a:cubicBezTo>
                    <a:pt x="0" y="4"/>
                    <a:pt x="0" y="2"/>
                    <a:pt x="0" y="0"/>
                  </a:cubicBezTo>
                  <a:cubicBezTo>
                    <a:pt x="271" y="0"/>
                    <a:pt x="542" y="0"/>
                    <a:pt x="812" y="0"/>
                  </a:cubicBezTo>
                  <a:cubicBezTo>
                    <a:pt x="818" y="0"/>
                    <a:pt x="819" y="1"/>
                    <a:pt x="819" y="6"/>
                  </a:cubicBezTo>
                  <a:cubicBezTo>
                    <a:pt x="819" y="458"/>
                    <a:pt x="819" y="909"/>
                    <a:pt x="819" y="13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7289"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893124" y="4430870"/>
            <a:ext cx="4123375" cy="2046130"/>
          </a:xfrm>
          <a:prstGeom prst="rect">
            <a:avLst/>
          </a:prstGeom>
        </p:spPr>
        <p:txBody>
          <a:bodyPr>
            <a:noAutofit/>
          </a:bodyPr>
          <a:lstStyle>
            <a:lvl1pPr>
              <a:lnSpc>
                <a:spcPct val="1000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 name="Title 1"/>
          <p:cNvSpPr>
            <a:spLocks noGrp="1"/>
          </p:cNvSpPr>
          <p:nvPr>
            <p:ph type="title"/>
          </p:nvPr>
        </p:nvSpPr>
        <p:spPr>
          <a:xfrm>
            <a:off x="6688365" y="4199582"/>
            <a:ext cx="3484336" cy="2218871"/>
          </a:xfrm>
          <a:prstGeom prst="rect">
            <a:avLst/>
          </a:prstGeom>
        </p:spPr>
        <p:txBody>
          <a:bodyPr/>
          <a:lstStyle>
            <a:lvl1pPr>
              <a:defRPr>
                <a:solidFill>
                  <a:schemeClr val="bg1"/>
                </a:solidFill>
              </a:defRPr>
            </a:lvl1pPr>
          </a:lstStyle>
          <a:p>
            <a:r>
              <a:rPr lang="fr-FR" smtClean="0"/>
              <a:t>Modifiez le style du titre</a:t>
            </a:r>
            <a:endParaRPr lang="en-GB" dirty="0"/>
          </a:p>
        </p:txBody>
      </p:sp>
      <p:grpSp>
        <p:nvGrpSpPr>
          <p:cNvPr id="14" name="Group 10"/>
          <p:cNvGrpSpPr/>
          <p:nvPr userDrawn="1"/>
        </p:nvGrpSpPr>
        <p:grpSpPr>
          <a:xfrm>
            <a:off x="7571874" y="6483359"/>
            <a:ext cx="4316313" cy="253173"/>
            <a:chOff x="6152147" y="6480941"/>
            <a:chExt cx="3507004" cy="253173"/>
          </a:xfrm>
        </p:grpSpPr>
        <p:sp>
          <p:nvSpPr>
            <p:cNvPr id="15" name="TextBox 10"/>
            <p:cNvSpPr txBox="1"/>
            <p:nvPr userDrawn="1">
              <p:custDataLst>
                <p:tags r:id="rId3"/>
              </p:custDataLst>
            </p:nvPr>
          </p:nvSpPr>
          <p:spPr>
            <a:xfrm>
              <a:off x="9659098" y="6634728"/>
              <a:ext cx="53" cy="99386"/>
            </a:xfrm>
            <a:prstGeom prst="rect">
              <a:avLst/>
            </a:prstGeom>
            <a:noFill/>
          </p:spPr>
          <p:txBody>
            <a:bodyPr wrap="none" lIns="0" tIns="0" rIns="0" bIns="0" rtlCol="0" anchor="ctr">
              <a:spAutoFit/>
            </a:bodyPr>
            <a:lstStyle/>
            <a:p>
              <a:pPr algn="ctr" defTabSz="884105"/>
              <a:endParaRPr lang="en-US" sz="646" dirty="0">
                <a:solidFill>
                  <a:srgbClr val="1C1C1C">
                    <a:lumMod val="75000"/>
                    <a:lumOff val="25000"/>
                  </a:srgbClr>
                </a:solidFill>
                <a:latin typeface="Arial"/>
              </a:endParaRPr>
            </a:p>
          </p:txBody>
        </p:sp>
        <p:sp>
          <p:nvSpPr>
            <p:cNvPr id="16" name="Rectangle 15"/>
            <p:cNvSpPr>
              <a:spLocks noChangeArrowheads="1"/>
            </p:cNvSpPr>
            <p:nvPr userDrawn="1">
              <p:custDataLst>
                <p:tags r:id="rId4"/>
              </p:custDataLst>
            </p:nvPr>
          </p:nvSpPr>
          <p:spPr bwMode="auto">
            <a:xfrm>
              <a:off x="6152147" y="6634728"/>
              <a:ext cx="3342760" cy="99386"/>
            </a:xfrm>
            <a:prstGeom prst="rect">
              <a:avLst/>
            </a:prstGeom>
            <a:noFill/>
            <a:ln w="19050">
              <a:noFill/>
              <a:miter lim="800000"/>
              <a:headEnd/>
              <a:tailEnd/>
            </a:ln>
            <a:effectLst/>
          </p:spPr>
          <p:txBody>
            <a:bodyPr wrap="square" lIns="0" tIns="0" rIns="0" bIns="0" anchor="ctr" anchorCtr="0">
              <a:spAutoFit/>
            </a:bodyPr>
            <a:lstStyle/>
            <a:p>
              <a:pPr algn="r" defTabSz="918895" eaLnBrk="0" hangingPunct="0">
                <a:defRPr/>
              </a:pPr>
              <a:r>
                <a:rPr lang="en-US" altLang="en-US" sz="646" dirty="0">
                  <a:solidFill>
                    <a:srgbClr val="1C1C1C">
                      <a:lumMod val="75000"/>
                      <a:lumOff val="25000"/>
                    </a:srgbClr>
                  </a:solidFill>
                  <a:latin typeface="Arial"/>
                  <a:cs typeface="Arial" pitchFamily="34" charset="0"/>
                </a:rPr>
                <a:t>Copyright © Capgemini </a:t>
              </a:r>
              <a:r>
                <a:rPr lang="en-US" altLang="en-US" sz="646" dirty="0" smtClean="0">
                  <a:solidFill>
                    <a:srgbClr val="1C1C1C">
                      <a:lumMod val="75000"/>
                      <a:lumOff val="25000"/>
                    </a:srgbClr>
                  </a:solidFill>
                  <a:latin typeface="Arial"/>
                  <a:cs typeface="Arial" pitchFamily="34" charset="0"/>
                </a:rPr>
                <a:t>2017. </a:t>
              </a:r>
              <a:r>
                <a:rPr lang="en-US" altLang="en-US" sz="646" dirty="0">
                  <a:solidFill>
                    <a:srgbClr val="1C1C1C">
                      <a:lumMod val="75000"/>
                      <a:lumOff val="25000"/>
                    </a:srgbClr>
                  </a:solidFill>
                  <a:latin typeface="Arial"/>
                  <a:cs typeface="Arial" pitchFamily="34" charset="0"/>
                </a:rPr>
                <a:t>All Rights Reserved</a:t>
              </a:r>
            </a:p>
          </p:txBody>
        </p:sp>
        <p:sp>
          <p:nvSpPr>
            <p:cNvPr id="17" name="Rectangle 16"/>
            <p:cNvSpPr/>
            <p:nvPr userDrawn="1">
              <p:custDataLst>
                <p:tags r:id="rId5"/>
              </p:custDataLst>
            </p:nvPr>
          </p:nvSpPr>
          <p:spPr>
            <a:xfrm>
              <a:off x="8006218" y="6480941"/>
              <a:ext cx="1488689" cy="99386"/>
            </a:xfrm>
            <a:prstGeom prst="rect">
              <a:avLst/>
            </a:prstGeom>
          </p:spPr>
          <p:txBody>
            <a:bodyPr wrap="none" lIns="0" tIns="0" rIns="0" bIns="0" anchor="ctr" anchorCtr="0">
              <a:spAutoFit/>
            </a:bodyPr>
            <a:lstStyle/>
            <a:p>
              <a:pPr algn="r" defTabSz="884105">
                <a:defRPr/>
              </a:pPr>
              <a:r>
                <a:rPr lang="en-US" sz="646" dirty="0">
                  <a:solidFill>
                    <a:srgbClr val="00234B"/>
                  </a:solidFill>
                  <a:latin typeface="Arial"/>
                </a:rPr>
                <a:t>Digital Customer Experience | Introduction to DCX</a:t>
              </a:r>
            </a:p>
          </p:txBody>
        </p:sp>
      </p:grpSp>
    </p:spTree>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Content 1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831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Freeform 6"/>
          <p:cNvSpPr>
            <a:spLocks/>
          </p:cNvSpPr>
          <p:nvPr userDrawn="1"/>
        </p:nvSpPr>
        <p:spPr bwMode="auto">
          <a:xfrm>
            <a:off x="-1" y="0"/>
            <a:ext cx="5557037" cy="6499225"/>
          </a:xfrm>
          <a:custGeom>
            <a:avLst/>
            <a:gdLst>
              <a:gd name="connsiteX0" fmla="*/ 9977 w 10000"/>
              <a:gd name="connsiteY0" fmla="*/ 377 h 10000"/>
              <a:gd name="connsiteX1" fmla="*/ 9977 w 10000"/>
              <a:gd name="connsiteY1" fmla="*/ 357 h 10000"/>
              <a:gd name="connsiteX2" fmla="*/ 9989 w 10000"/>
              <a:gd name="connsiteY2" fmla="*/ 338 h 10000"/>
              <a:gd name="connsiteX3" fmla="*/ 9989 w 10000"/>
              <a:gd name="connsiteY3" fmla="*/ 88 h 10000"/>
              <a:gd name="connsiteX4" fmla="*/ 9971 w 10000"/>
              <a:gd name="connsiteY4" fmla="*/ 64 h 10000"/>
              <a:gd name="connsiteX5" fmla="*/ 9971 w 10000"/>
              <a:gd name="connsiteY5" fmla="*/ 20 h 10000"/>
              <a:gd name="connsiteX6" fmla="*/ 9989 w 10000"/>
              <a:gd name="connsiteY6" fmla="*/ 0 h 10000"/>
              <a:gd name="connsiteX7" fmla="*/ 51 w 10000"/>
              <a:gd name="connsiteY7" fmla="*/ 0 h 10000"/>
              <a:gd name="connsiteX8" fmla="*/ 0 w 10000"/>
              <a:gd name="connsiteY8" fmla="*/ 44 h 10000"/>
              <a:gd name="connsiteX9" fmla="*/ 0 w 10000"/>
              <a:gd name="connsiteY9" fmla="*/ 8865 h 10000"/>
              <a:gd name="connsiteX10" fmla="*/ 46 w 10000"/>
              <a:gd name="connsiteY10" fmla="*/ 8865 h 10000"/>
              <a:gd name="connsiteX11" fmla="*/ 91 w 10000"/>
              <a:gd name="connsiteY11" fmla="*/ 8894 h 10000"/>
              <a:gd name="connsiteX12" fmla="*/ 1041 w 10000"/>
              <a:gd name="connsiteY12" fmla="*/ 9437 h 10000"/>
              <a:gd name="connsiteX13" fmla="*/ 2802 w 10000"/>
              <a:gd name="connsiteY13" fmla="*/ 9961 h 10000"/>
              <a:gd name="connsiteX14" fmla="*/ 3985 w 10000"/>
              <a:gd name="connsiteY14" fmla="*/ 9878 h 10000"/>
              <a:gd name="connsiteX15" fmla="*/ 5397 w 10000"/>
              <a:gd name="connsiteY15" fmla="*/ 9090 h 10000"/>
              <a:gd name="connsiteX16" fmla="*/ 5409 w 10000"/>
              <a:gd name="connsiteY16" fmla="*/ 9036 h 10000"/>
              <a:gd name="connsiteX17" fmla="*/ 5363 w 10000"/>
              <a:gd name="connsiteY17" fmla="*/ 8552 h 10000"/>
              <a:gd name="connsiteX18" fmla="*/ 5672 w 10000"/>
              <a:gd name="connsiteY18" fmla="*/ 7681 h 10000"/>
              <a:gd name="connsiteX19" fmla="*/ 6467 w 10000"/>
              <a:gd name="connsiteY19" fmla="*/ 6463 h 10000"/>
              <a:gd name="connsiteX20" fmla="*/ 8067 w 10000"/>
              <a:gd name="connsiteY20" fmla="*/ 4364 h 10000"/>
              <a:gd name="connsiteX21" fmla="*/ 9251 w 10000"/>
              <a:gd name="connsiteY21" fmla="*/ 2578 h 10000"/>
              <a:gd name="connsiteX22" fmla="*/ 9851 w 10000"/>
              <a:gd name="connsiteY22" fmla="*/ 1150 h 10000"/>
              <a:gd name="connsiteX23" fmla="*/ 9943 w 10000"/>
              <a:gd name="connsiteY23" fmla="*/ 714 h 10000"/>
              <a:gd name="connsiteX24" fmla="*/ 9960 w 10000"/>
              <a:gd name="connsiteY24" fmla="*/ 563 h 10000"/>
              <a:gd name="connsiteX25" fmla="*/ 9971 w 10000"/>
              <a:gd name="connsiteY25" fmla="*/ 411 h 10000"/>
              <a:gd name="connsiteX26" fmla="*/ 9977 w 10000"/>
              <a:gd name="connsiteY26"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64 h 10000"/>
              <a:gd name="connsiteX4" fmla="*/ 9971 w 10000"/>
              <a:gd name="connsiteY4" fmla="*/ 20 h 10000"/>
              <a:gd name="connsiteX5" fmla="*/ 9989 w 10000"/>
              <a:gd name="connsiteY5" fmla="*/ 0 h 10000"/>
              <a:gd name="connsiteX6" fmla="*/ 51 w 10000"/>
              <a:gd name="connsiteY6" fmla="*/ 0 h 10000"/>
              <a:gd name="connsiteX7" fmla="*/ 0 w 10000"/>
              <a:gd name="connsiteY7" fmla="*/ 44 h 10000"/>
              <a:gd name="connsiteX8" fmla="*/ 0 w 10000"/>
              <a:gd name="connsiteY8" fmla="*/ 8865 h 10000"/>
              <a:gd name="connsiteX9" fmla="*/ 46 w 10000"/>
              <a:gd name="connsiteY9" fmla="*/ 8865 h 10000"/>
              <a:gd name="connsiteX10" fmla="*/ 91 w 10000"/>
              <a:gd name="connsiteY10" fmla="*/ 8894 h 10000"/>
              <a:gd name="connsiteX11" fmla="*/ 1041 w 10000"/>
              <a:gd name="connsiteY11" fmla="*/ 9437 h 10000"/>
              <a:gd name="connsiteX12" fmla="*/ 2802 w 10000"/>
              <a:gd name="connsiteY12" fmla="*/ 9961 h 10000"/>
              <a:gd name="connsiteX13" fmla="*/ 3985 w 10000"/>
              <a:gd name="connsiteY13" fmla="*/ 9878 h 10000"/>
              <a:gd name="connsiteX14" fmla="*/ 5397 w 10000"/>
              <a:gd name="connsiteY14" fmla="*/ 9090 h 10000"/>
              <a:gd name="connsiteX15" fmla="*/ 5409 w 10000"/>
              <a:gd name="connsiteY15" fmla="*/ 9036 h 10000"/>
              <a:gd name="connsiteX16" fmla="*/ 5363 w 10000"/>
              <a:gd name="connsiteY16" fmla="*/ 8552 h 10000"/>
              <a:gd name="connsiteX17" fmla="*/ 5672 w 10000"/>
              <a:gd name="connsiteY17" fmla="*/ 7681 h 10000"/>
              <a:gd name="connsiteX18" fmla="*/ 6467 w 10000"/>
              <a:gd name="connsiteY18" fmla="*/ 6463 h 10000"/>
              <a:gd name="connsiteX19" fmla="*/ 8067 w 10000"/>
              <a:gd name="connsiteY19" fmla="*/ 4364 h 10000"/>
              <a:gd name="connsiteX20" fmla="*/ 9251 w 10000"/>
              <a:gd name="connsiteY20" fmla="*/ 2578 h 10000"/>
              <a:gd name="connsiteX21" fmla="*/ 9851 w 10000"/>
              <a:gd name="connsiteY21" fmla="*/ 1150 h 10000"/>
              <a:gd name="connsiteX22" fmla="*/ 9943 w 10000"/>
              <a:gd name="connsiteY22" fmla="*/ 714 h 10000"/>
              <a:gd name="connsiteX23" fmla="*/ 9960 w 10000"/>
              <a:gd name="connsiteY23" fmla="*/ 563 h 10000"/>
              <a:gd name="connsiteX24" fmla="*/ 9971 w 10000"/>
              <a:gd name="connsiteY24" fmla="*/ 411 h 10000"/>
              <a:gd name="connsiteX25" fmla="*/ 9977 w 10000"/>
              <a:gd name="connsiteY25"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9989 w 10000"/>
              <a:gd name="connsiteY4" fmla="*/ 0 h 10000"/>
              <a:gd name="connsiteX5" fmla="*/ 51 w 10000"/>
              <a:gd name="connsiteY5" fmla="*/ 0 h 10000"/>
              <a:gd name="connsiteX6" fmla="*/ 0 w 10000"/>
              <a:gd name="connsiteY6" fmla="*/ 44 h 10000"/>
              <a:gd name="connsiteX7" fmla="*/ 0 w 10000"/>
              <a:gd name="connsiteY7" fmla="*/ 8865 h 10000"/>
              <a:gd name="connsiteX8" fmla="*/ 46 w 10000"/>
              <a:gd name="connsiteY8" fmla="*/ 8865 h 10000"/>
              <a:gd name="connsiteX9" fmla="*/ 91 w 10000"/>
              <a:gd name="connsiteY9" fmla="*/ 8894 h 10000"/>
              <a:gd name="connsiteX10" fmla="*/ 1041 w 10000"/>
              <a:gd name="connsiteY10" fmla="*/ 9437 h 10000"/>
              <a:gd name="connsiteX11" fmla="*/ 2802 w 10000"/>
              <a:gd name="connsiteY11" fmla="*/ 9961 h 10000"/>
              <a:gd name="connsiteX12" fmla="*/ 3985 w 10000"/>
              <a:gd name="connsiteY12" fmla="*/ 9878 h 10000"/>
              <a:gd name="connsiteX13" fmla="*/ 5397 w 10000"/>
              <a:gd name="connsiteY13" fmla="*/ 9090 h 10000"/>
              <a:gd name="connsiteX14" fmla="*/ 5409 w 10000"/>
              <a:gd name="connsiteY14" fmla="*/ 9036 h 10000"/>
              <a:gd name="connsiteX15" fmla="*/ 5363 w 10000"/>
              <a:gd name="connsiteY15" fmla="*/ 8552 h 10000"/>
              <a:gd name="connsiteX16" fmla="*/ 5672 w 10000"/>
              <a:gd name="connsiteY16" fmla="*/ 7681 h 10000"/>
              <a:gd name="connsiteX17" fmla="*/ 6467 w 10000"/>
              <a:gd name="connsiteY17" fmla="*/ 6463 h 10000"/>
              <a:gd name="connsiteX18" fmla="*/ 8067 w 10000"/>
              <a:gd name="connsiteY18" fmla="*/ 4364 h 10000"/>
              <a:gd name="connsiteX19" fmla="*/ 9251 w 10000"/>
              <a:gd name="connsiteY19" fmla="*/ 2578 h 10000"/>
              <a:gd name="connsiteX20" fmla="*/ 9851 w 10000"/>
              <a:gd name="connsiteY20" fmla="*/ 1150 h 10000"/>
              <a:gd name="connsiteX21" fmla="*/ 9943 w 10000"/>
              <a:gd name="connsiteY21" fmla="*/ 714 h 10000"/>
              <a:gd name="connsiteX22" fmla="*/ 9960 w 10000"/>
              <a:gd name="connsiteY22" fmla="*/ 563 h 10000"/>
              <a:gd name="connsiteX23" fmla="*/ 9971 w 10000"/>
              <a:gd name="connsiteY23" fmla="*/ 411 h 10000"/>
              <a:gd name="connsiteX24" fmla="*/ 9977 w 10000"/>
              <a:gd name="connsiteY24"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7 w 10000"/>
              <a:gd name="connsiteY0" fmla="*/ 377 h 10000"/>
              <a:gd name="connsiteX1" fmla="*/ 9977 w 10000"/>
              <a:gd name="connsiteY1" fmla="*/ 357 h 10000"/>
              <a:gd name="connsiteX2" fmla="*/ 9989 w 10000"/>
              <a:gd name="connsiteY2" fmla="*/ 88 h 10000"/>
              <a:gd name="connsiteX3" fmla="*/ 9977 w 10000"/>
              <a:gd name="connsiteY3" fmla="*/ 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1 w 9990"/>
              <a:gd name="connsiteY0" fmla="*/ 411 h 10000"/>
              <a:gd name="connsiteX1" fmla="*/ 9977 w 9990"/>
              <a:gd name="connsiteY1" fmla="*/ 357 h 10000"/>
              <a:gd name="connsiteX2" fmla="*/ 9989 w 9990"/>
              <a:gd name="connsiteY2" fmla="*/ 88 h 10000"/>
              <a:gd name="connsiteX3" fmla="*/ 9977 w 9990"/>
              <a:gd name="connsiteY3" fmla="*/ 0 h 10000"/>
              <a:gd name="connsiteX4" fmla="*/ 51 w 9990"/>
              <a:gd name="connsiteY4" fmla="*/ 0 h 10000"/>
              <a:gd name="connsiteX5" fmla="*/ 0 w 9990"/>
              <a:gd name="connsiteY5" fmla="*/ 44 h 10000"/>
              <a:gd name="connsiteX6" fmla="*/ 0 w 9990"/>
              <a:gd name="connsiteY6" fmla="*/ 8865 h 10000"/>
              <a:gd name="connsiteX7" fmla="*/ 46 w 9990"/>
              <a:gd name="connsiteY7" fmla="*/ 8865 h 10000"/>
              <a:gd name="connsiteX8" fmla="*/ 91 w 9990"/>
              <a:gd name="connsiteY8" fmla="*/ 8894 h 10000"/>
              <a:gd name="connsiteX9" fmla="*/ 1041 w 9990"/>
              <a:gd name="connsiteY9" fmla="*/ 9437 h 10000"/>
              <a:gd name="connsiteX10" fmla="*/ 2802 w 9990"/>
              <a:gd name="connsiteY10" fmla="*/ 9961 h 10000"/>
              <a:gd name="connsiteX11" fmla="*/ 3985 w 9990"/>
              <a:gd name="connsiteY11" fmla="*/ 9878 h 10000"/>
              <a:gd name="connsiteX12" fmla="*/ 5397 w 9990"/>
              <a:gd name="connsiteY12" fmla="*/ 9090 h 10000"/>
              <a:gd name="connsiteX13" fmla="*/ 5409 w 9990"/>
              <a:gd name="connsiteY13" fmla="*/ 9036 h 10000"/>
              <a:gd name="connsiteX14" fmla="*/ 5363 w 9990"/>
              <a:gd name="connsiteY14" fmla="*/ 8552 h 10000"/>
              <a:gd name="connsiteX15" fmla="*/ 5672 w 9990"/>
              <a:gd name="connsiteY15" fmla="*/ 7681 h 10000"/>
              <a:gd name="connsiteX16" fmla="*/ 6467 w 9990"/>
              <a:gd name="connsiteY16" fmla="*/ 6463 h 10000"/>
              <a:gd name="connsiteX17" fmla="*/ 8067 w 9990"/>
              <a:gd name="connsiteY17" fmla="*/ 4364 h 10000"/>
              <a:gd name="connsiteX18" fmla="*/ 9251 w 9990"/>
              <a:gd name="connsiteY18" fmla="*/ 2578 h 10000"/>
              <a:gd name="connsiteX19" fmla="*/ 9851 w 9990"/>
              <a:gd name="connsiteY19" fmla="*/ 1150 h 10000"/>
              <a:gd name="connsiteX20" fmla="*/ 9943 w 9990"/>
              <a:gd name="connsiteY20" fmla="*/ 714 h 10000"/>
              <a:gd name="connsiteX21" fmla="*/ 9960 w 9990"/>
              <a:gd name="connsiteY21" fmla="*/ 563 h 10000"/>
              <a:gd name="connsiteX22" fmla="*/ 9971 w 9990"/>
              <a:gd name="connsiteY22" fmla="*/ 41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90" h="10000">
                <a:moveTo>
                  <a:pt x="9971" y="411"/>
                </a:moveTo>
                <a:cubicBezTo>
                  <a:pt x="9974" y="377"/>
                  <a:pt x="9974" y="411"/>
                  <a:pt x="9977" y="357"/>
                </a:cubicBezTo>
                <a:cubicBezTo>
                  <a:pt x="9979" y="309"/>
                  <a:pt x="9990" y="137"/>
                  <a:pt x="9989" y="88"/>
                </a:cubicBezTo>
                <a:cubicBezTo>
                  <a:pt x="9988" y="32"/>
                  <a:pt x="9977" y="15"/>
                  <a:pt x="9977" y="0"/>
                </a:cubicBezTo>
                <a:lnTo>
                  <a:pt x="51" y="0"/>
                </a:lnTo>
                <a:cubicBezTo>
                  <a:pt x="6" y="0"/>
                  <a:pt x="0" y="5"/>
                  <a:pt x="0" y="44"/>
                </a:cubicBezTo>
                <a:lnTo>
                  <a:pt x="0" y="8865"/>
                </a:lnTo>
                <a:lnTo>
                  <a:pt x="46" y="8865"/>
                </a:lnTo>
                <a:cubicBezTo>
                  <a:pt x="57" y="8875"/>
                  <a:pt x="74" y="8885"/>
                  <a:pt x="91" y="8894"/>
                </a:cubicBezTo>
                <a:cubicBezTo>
                  <a:pt x="395" y="9090"/>
                  <a:pt x="709" y="9276"/>
                  <a:pt x="1041" y="9437"/>
                </a:cubicBezTo>
                <a:cubicBezTo>
                  <a:pt x="1589" y="9702"/>
                  <a:pt x="2167" y="9902"/>
                  <a:pt x="2802" y="9961"/>
                </a:cubicBezTo>
                <a:cubicBezTo>
                  <a:pt x="3202" y="10000"/>
                  <a:pt x="3596" y="9976"/>
                  <a:pt x="3985" y="9878"/>
                </a:cubicBezTo>
                <a:cubicBezTo>
                  <a:pt x="4545" y="9731"/>
                  <a:pt x="4997" y="9447"/>
                  <a:pt x="5397" y="9090"/>
                </a:cubicBezTo>
                <a:cubicBezTo>
                  <a:pt x="5420" y="9075"/>
                  <a:pt x="5420" y="9061"/>
                  <a:pt x="5409" y="9036"/>
                </a:cubicBezTo>
                <a:cubicBezTo>
                  <a:pt x="5352" y="8880"/>
                  <a:pt x="5346" y="8713"/>
                  <a:pt x="5363" y="8552"/>
                </a:cubicBezTo>
                <a:cubicBezTo>
                  <a:pt x="5403" y="8244"/>
                  <a:pt x="5529" y="7960"/>
                  <a:pt x="5672" y="7681"/>
                </a:cubicBezTo>
                <a:cubicBezTo>
                  <a:pt x="5901" y="7255"/>
                  <a:pt x="6181" y="6859"/>
                  <a:pt x="6467" y="6463"/>
                </a:cubicBezTo>
                <a:cubicBezTo>
                  <a:pt x="6987" y="5758"/>
                  <a:pt x="7547" y="5068"/>
                  <a:pt x="8067" y="4364"/>
                </a:cubicBezTo>
                <a:cubicBezTo>
                  <a:pt x="8496" y="3787"/>
                  <a:pt x="8908" y="3200"/>
                  <a:pt x="9251" y="2578"/>
                </a:cubicBezTo>
                <a:cubicBezTo>
                  <a:pt x="9503" y="2118"/>
                  <a:pt x="9714" y="1649"/>
                  <a:pt x="9851" y="1150"/>
                </a:cubicBezTo>
                <a:cubicBezTo>
                  <a:pt x="9891" y="1008"/>
                  <a:pt x="9914" y="861"/>
                  <a:pt x="9943" y="714"/>
                </a:cubicBezTo>
                <a:cubicBezTo>
                  <a:pt x="9961" y="616"/>
                  <a:pt x="9955" y="613"/>
                  <a:pt x="9960" y="563"/>
                </a:cubicBezTo>
                <a:cubicBezTo>
                  <a:pt x="9966" y="514"/>
                  <a:pt x="9971" y="465"/>
                  <a:pt x="9971" y="411"/>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 name="Title 1"/>
          <p:cNvSpPr>
            <a:spLocks noGrp="1"/>
          </p:cNvSpPr>
          <p:nvPr>
            <p:ph type="title"/>
          </p:nvPr>
        </p:nvSpPr>
        <p:spPr>
          <a:xfrm>
            <a:off x="227349" y="824315"/>
            <a:ext cx="3763883" cy="1830078"/>
          </a:xfrm>
          <a:prstGeom prst="rect">
            <a:avLst/>
          </a:prstGeom>
        </p:spPr>
        <p:txBody>
          <a:bodyPr/>
          <a:lstStyle>
            <a:lvl1pPr>
              <a:defRPr>
                <a:solidFill>
                  <a:schemeClr val="accent2"/>
                </a:solidFill>
              </a:defRPr>
            </a:lvl1pPr>
          </a:lstStyle>
          <a:p>
            <a:r>
              <a:rPr lang="fr-FR" smtClean="0"/>
              <a:t>Modifiez le style du titre</a:t>
            </a:r>
            <a:endParaRPr lang="en-GB" dirty="0"/>
          </a:p>
        </p:txBody>
      </p:sp>
      <p:sp>
        <p:nvSpPr>
          <p:cNvPr id="4"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227349" y="2640369"/>
            <a:ext cx="3763883" cy="2388831"/>
          </a:xfrm>
          <a:prstGeom prst="rect">
            <a:avLst/>
          </a:prstGeom>
        </p:spPr>
        <p:txBody>
          <a:bodyPr>
            <a:noAutofit/>
          </a:bodyPr>
          <a:lstStyle>
            <a:lvl1pPr>
              <a:lnSpc>
                <a:spcPct val="100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2351584" y="-1"/>
            <a:ext cx="12192000" cy="6857998"/>
          </a:xfrm>
          <a:prstGeom prst="rect">
            <a:avLst/>
          </a:prstGeom>
          <a:noFill/>
        </p:spPr>
        <p:txBody>
          <a:bodyPr anchor="ctr"/>
          <a:lstStyle>
            <a:lvl1pPr algn="ctr">
              <a:defRPr/>
            </a:lvl1pPr>
          </a:lstStyle>
          <a:p>
            <a:r>
              <a:rPr lang="fr-FR" smtClean="0"/>
              <a:t>Cliquez sur l'icône pour ajouter une image</a:t>
            </a:r>
            <a:endParaRPr lang="pt-PT" dirty="0"/>
          </a:p>
        </p:txBody>
      </p:sp>
    </p:spTree>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ontent 1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933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1926" name="Freeform 6"/>
          <p:cNvSpPr>
            <a:spLocks/>
          </p:cNvSpPr>
          <p:nvPr userDrawn="1"/>
        </p:nvSpPr>
        <p:spPr bwMode="auto">
          <a:xfrm>
            <a:off x="0" y="2312"/>
            <a:ext cx="9360442" cy="6855688"/>
          </a:xfrm>
          <a:custGeom>
            <a:avLst/>
            <a:gdLst/>
            <a:ahLst/>
            <a:cxnLst>
              <a:cxn ang="0">
                <a:pos x="1085" y="2886"/>
              </a:cxn>
              <a:cxn ang="0">
                <a:pos x="8" y="2886"/>
              </a:cxn>
              <a:cxn ang="0">
                <a:pos x="0" y="2878"/>
              </a:cxn>
              <a:cxn ang="0">
                <a:pos x="0" y="8"/>
              </a:cxn>
              <a:cxn ang="0">
                <a:pos x="8" y="0"/>
              </a:cxn>
              <a:cxn ang="0">
                <a:pos x="3941" y="0"/>
              </a:cxn>
              <a:cxn ang="0">
                <a:pos x="3940" y="7"/>
              </a:cxn>
              <a:cxn ang="0">
                <a:pos x="3836" y="226"/>
              </a:cxn>
              <a:cxn ang="0">
                <a:pos x="3513" y="535"/>
              </a:cxn>
              <a:cxn ang="0">
                <a:pos x="3236" y="679"/>
              </a:cxn>
              <a:cxn ang="0">
                <a:pos x="2622" y="944"/>
              </a:cxn>
              <a:cxn ang="0">
                <a:pos x="2193" y="1162"/>
              </a:cxn>
              <a:cxn ang="0">
                <a:pos x="1907" y="1375"/>
              </a:cxn>
              <a:cxn ang="0">
                <a:pos x="1766" y="1572"/>
              </a:cxn>
              <a:cxn ang="0">
                <a:pos x="1719" y="1763"/>
              </a:cxn>
              <a:cxn ang="0">
                <a:pos x="1722" y="1846"/>
              </a:cxn>
              <a:cxn ang="0">
                <a:pos x="1760" y="2017"/>
              </a:cxn>
              <a:cxn ang="0">
                <a:pos x="1870" y="2257"/>
              </a:cxn>
              <a:cxn ang="0">
                <a:pos x="1868" y="2270"/>
              </a:cxn>
              <a:cxn ang="0">
                <a:pos x="1453" y="2615"/>
              </a:cxn>
              <a:cxn ang="0">
                <a:pos x="1090" y="2881"/>
              </a:cxn>
              <a:cxn ang="0">
                <a:pos x="1085" y="2886"/>
              </a:cxn>
            </a:cxnLst>
            <a:rect l="0" t="0" r="r" b="b"/>
            <a:pathLst>
              <a:path w="3942" h="2886">
                <a:moveTo>
                  <a:pt x="1085" y="2886"/>
                </a:moveTo>
                <a:cubicBezTo>
                  <a:pt x="726" y="2886"/>
                  <a:pt x="367" y="2886"/>
                  <a:pt x="8" y="2886"/>
                </a:cubicBezTo>
                <a:cubicBezTo>
                  <a:pt x="2" y="2886"/>
                  <a:pt x="0" y="2884"/>
                  <a:pt x="0" y="2878"/>
                </a:cubicBezTo>
                <a:cubicBezTo>
                  <a:pt x="1" y="1921"/>
                  <a:pt x="1" y="965"/>
                  <a:pt x="0" y="8"/>
                </a:cubicBezTo>
                <a:cubicBezTo>
                  <a:pt x="0" y="2"/>
                  <a:pt x="2" y="0"/>
                  <a:pt x="8" y="0"/>
                </a:cubicBezTo>
                <a:cubicBezTo>
                  <a:pt x="1319" y="0"/>
                  <a:pt x="2630" y="0"/>
                  <a:pt x="3941" y="0"/>
                </a:cubicBezTo>
                <a:cubicBezTo>
                  <a:pt x="3942" y="3"/>
                  <a:pt x="3941" y="5"/>
                  <a:pt x="3940" y="7"/>
                </a:cubicBezTo>
                <a:cubicBezTo>
                  <a:pt x="3916" y="85"/>
                  <a:pt x="3881" y="158"/>
                  <a:pt x="3836" y="226"/>
                </a:cubicBezTo>
                <a:cubicBezTo>
                  <a:pt x="3751" y="353"/>
                  <a:pt x="3638" y="451"/>
                  <a:pt x="3513" y="535"/>
                </a:cubicBezTo>
                <a:cubicBezTo>
                  <a:pt x="3426" y="593"/>
                  <a:pt x="3332" y="639"/>
                  <a:pt x="3236" y="679"/>
                </a:cubicBezTo>
                <a:cubicBezTo>
                  <a:pt x="3031" y="766"/>
                  <a:pt x="2825" y="852"/>
                  <a:pt x="2622" y="944"/>
                </a:cubicBezTo>
                <a:cubicBezTo>
                  <a:pt x="2475" y="1010"/>
                  <a:pt x="2331" y="1080"/>
                  <a:pt x="2193" y="1162"/>
                </a:cubicBezTo>
                <a:cubicBezTo>
                  <a:pt x="2090" y="1223"/>
                  <a:pt x="1992" y="1291"/>
                  <a:pt x="1907" y="1375"/>
                </a:cubicBezTo>
                <a:cubicBezTo>
                  <a:pt x="1849" y="1433"/>
                  <a:pt x="1800" y="1497"/>
                  <a:pt x="1766" y="1572"/>
                </a:cubicBezTo>
                <a:cubicBezTo>
                  <a:pt x="1739" y="1633"/>
                  <a:pt x="1723" y="1697"/>
                  <a:pt x="1719" y="1763"/>
                </a:cubicBezTo>
                <a:cubicBezTo>
                  <a:pt x="1718" y="1791"/>
                  <a:pt x="1719" y="1818"/>
                  <a:pt x="1722" y="1846"/>
                </a:cubicBezTo>
                <a:cubicBezTo>
                  <a:pt x="1728" y="1904"/>
                  <a:pt x="1741" y="1961"/>
                  <a:pt x="1760" y="2017"/>
                </a:cubicBezTo>
                <a:cubicBezTo>
                  <a:pt x="1787" y="2101"/>
                  <a:pt x="1826" y="2180"/>
                  <a:pt x="1870" y="2257"/>
                </a:cubicBezTo>
                <a:cubicBezTo>
                  <a:pt x="1873" y="2262"/>
                  <a:pt x="1874" y="2265"/>
                  <a:pt x="1868" y="2270"/>
                </a:cubicBezTo>
                <a:cubicBezTo>
                  <a:pt x="1733" y="2389"/>
                  <a:pt x="1594" y="2503"/>
                  <a:pt x="1453" y="2615"/>
                </a:cubicBezTo>
                <a:cubicBezTo>
                  <a:pt x="1336" y="2708"/>
                  <a:pt x="1214" y="2796"/>
                  <a:pt x="1090" y="2881"/>
                </a:cubicBezTo>
                <a:cubicBezTo>
                  <a:pt x="1088" y="2882"/>
                  <a:pt x="1085" y="2883"/>
                  <a:pt x="1085" y="2886"/>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 name="Title 1"/>
          <p:cNvSpPr>
            <a:spLocks noGrp="1"/>
          </p:cNvSpPr>
          <p:nvPr>
            <p:ph type="title"/>
          </p:nvPr>
        </p:nvSpPr>
        <p:spPr>
          <a:xfrm>
            <a:off x="227350" y="824315"/>
            <a:ext cx="4500650" cy="1830078"/>
          </a:xfrm>
          <a:prstGeom prst="rect">
            <a:avLst/>
          </a:prstGeom>
        </p:spPr>
        <p:txBody>
          <a:bodyPr/>
          <a:lstStyle>
            <a:lvl1pPr>
              <a:defRPr>
                <a:solidFill>
                  <a:schemeClr val="accent2"/>
                </a:solidFill>
              </a:defRPr>
            </a:lvl1pPr>
          </a:lstStyle>
          <a:p>
            <a:r>
              <a:rPr lang="fr-FR" dirty="0" smtClean="0"/>
              <a:t>Modifiez le style du titre</a:t>
            </a:r>
            <a:endParaRPr lang="en-GB" dirty="0"/>
          </a:p>
        </p:txBody>
      </p:sp>
      <p:sp>
        <p:nvSpPr>
          <p:cNvPr id="4" name="Espace réservé du texte 3"/>
          <p:cNvSpPr>
            <a:spLocks noGrp="1"/>
          </p:cNvSpPr>
          <p:nvPr>
            <p:ph type="body" sz="quarter" idx="33"/>
          </p:nvPr>
        </p:nvSpPr>
        <p:spPr>
          <a:xfrm>
            <a:off x="5160000" y="2997000"/>
            <a:ext cx="6755775" cy="3492700"/>
          </a:xfrm>
        </p:spPr>
        <p:txBody>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Tree>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ontent 14">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0361"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82950" name="Freeform 6"/>
          <p:cNvSpPr>
            <a:spLocks/>
          </p:cNvSpPr>
          <p:nvPr userDrawn="1"/>
        </p:nvSpPr>
        <p:spPr bwMode="auto">
          <a:xfrm>
            <a:off x="4102100" y="957972"/>
            <a:ext cx="8089900" cy="5900028"/>
          </a:xfrm>
          <a:custGeom>
            <a:avLst/>
            <a:gdLst/>
            <a:ahLst/>
            <a:cxnLst>
              <a:cxn ang="0">
                <a:pos x="3392" y="314"/>
              </a:cxn>
              <a:cxn ang="0">
                <a:pos x="3392" y="2059"/>
              </a:cxn>
              <a:cxn ang="0">
                <a:pos x="3375" y="2073"/>
              </a:cxn>
              <a:cxn ang="0">
                <a:pos x="3045" y="2278"/>
              </a:cxn>
              <a:cxn ang="0">
                <a:pos x="2880" y="2345"/>
              </a:cxn>
              <a:cxn ang="0">
                <a:pos x="2487" y="2458"/>
              </a:cxn>
              <a:cxn ang="0">
                <a:pos x="2422" y="2473"/>
              </a:cxn>
              <a:cxn ang="0">
                <a:pos x="183" y="2473"/>
              </a:cxn>
              <a:cxn ang="0">
                <a:pos x="182" y="2466"/>
              </a:cxn>
              <a:cxn ang="0">
                <a:pos x="123" y="2261"/>
              </a:cxn>
              <a:cxn ang="0">
                <a:pos x="87" y="2109"/>
              </a:cxn>
              <a:cxn ang="0">
                <a:pos x="40" y="1844"/>
              </a:cxn>
              <a:cxn ang="0">
                <a:pos x="22" y="1697"/>
              </a:cxn>
              <a:cxn ang="0">
                <a:pos x="9" y="1555"/>
              </a:cxn>
              <a:cxn ang="0">
                <a:pos x="3" y="1480"/>
              </a:cxn>
              <a:cxn ang="0">
                <a:pos x="0" y="1435"/>
              </a:cxn>
              <a:cxn ang="0">
                <a:pos x="0" y="1407"/>
              </a:cxn>
              <a:cxn ang="0">
                <a:pos x="5" y="1406"/>
              </a:cxn>
              <a:cxn ang="0">
                <a:pos x="110" y="1359"/>
              </a:cxn>
              <a:cxn ang="0">
                <a:pos x="261" y="1274"/>
              </a:cxn>
              <a:cxn ang="0">
                <a:pos x="563" y="1060"/>
              </a:cxn>
              <a:cxn ang="0">
                <a:pos x="987" y="725"/>
              </a:cxn>
              <a:cxn ang="0">
                <a:pos x="1356" y="450"/>
              </a:cxn>
              <a:cxn ang="0">
                <a:pos x="1456" y="383"/>
              </a:cxn>
              <a:cxn ang="0">
                <a:pos x="1856" y="161"/>
              </a:cxn>
              <a:cxn ang="0">
                <a:pos x="2259" y="29"/>
              </a:cxn>
              <a:cxn ang="0">
                <a:pos x="2486" y="2"/>
              </a:cxn>
              <a:cxn ang="0">
                <a:pos x="2493" y="0"/>
              </a:cxn>
              <a:cxn ang="0">
                <a:pos x="2511" y="0"/>
              </a:cxn>
              <a:cxn ang="0">
                <a:pos x="2515" y="2"/>
              </a:cxn>
              <a:cxn ang="0">
                <a:pos x="2595" y="2"/>
              </a:cxn>
              <a:cxn ang="0">
                <a:pos x="2690" y="9"/>
              </a:cxn>
              <a:cxn ang="0">
                <a:pos x="2942" y="63"/>
              </a:cxn>
              <a:cxn ang="0">
                <a:pos x="3305" y="245"/>
              </a:cxn>
              <a:cxn ang="0">
                <a:pos x="3392" y="314"/>
              </a:cxn>
            </a:cxnLst>
            <a:rect l="0" t="0" r="r" b="b"/>
            <a:pathLst>
              <a:path w="3392" h="2473">
                <a:moveTo>
                  <a:pt x="3392" y="314"/>
                </a:moveTo>
                <a:cubicBezTo>
                  <a:pt x="3392" y="896"/>
                  <a:pt x="3392" y="1477"/>
                  <a:pt x="3392" y="2059"/>
                </a:cubicBezTo>
                <a:cubicBezTo>
                  <a:pt x="3387" y="2063"/>
                  <a:pt x="3381" y="2068"/>
                  <a:pt x="3375" y="2073"/>
                </a:cubicBezTo>
                <a:cubicBezTo>
                  <a:pt x="3275" y="2157"/>
                  <a:pt x="3162" y="2221"/>
                  <a:pt x="3045" y="2278"/>
                </a:cubicBezTo>
                <a:cubicBezTo>
                  <a:pt x="2991" y="2304"/>
                  <a:pt x="2936" y="2325"/>
                  <a:pt x="2880" y="2345"/>
                </a:cubicBezTo>
                <a:cubicBezTo>
                  <a:pt x="2751" y="2391"/>
                  <a:pt x="2619" y="2427"/>
                  <a:pt x="2487" y="2458"/>
                </a:cubicBezTo>
                <a:cubicBezTo>
                  <a:pt x="2465" y="2463"/>
                  <a:pt x="2444" y="2467"/>
                  <a:pt x="2422" y="2473"/>
                </a:cubicBezTo>
                <a:cubicBezTo>
                  <a:pt x="1676" y="2473"/>
                  <a:pt x="929" y="2473"/>
                  <a:pt x="183" y="2473"/>
                </a:cubicBezTo>
                <a:cubicBezTo>
                  <a:pt x="184" y="2470"/>
                  <a:pt x="183" y="2468"/>
                  <a:pt x="182" y="2466"/>
                </a:cubicBezTo>
                <a:cubicBezTo>
                  <a:pt x="160" y="2398"/>
                  <a:pt x="140" y="2330"/>
                  <a:pt x="123" y="2261"/>
                </a:cubicBezTo>
                <a:cubicBezTo>
                  <a:pt x="110" y="2211"/>
                  <a:pt x="98" y="2160"/>
                  <a:pt x="87" y="2109"/>
                </a:cubicBezTo>
                <a:cubicBezTo>
                  <a:pt x="69" y="2022"/>
                  <a:pt x="53" y="1933"/>
                  <a:pt x="40" y="1844"/>
                </a:cubicBezTo>
                <a:cubicBezTo>
                  <a:pt x="33" y="1795"/>
                  <a:pt x="27" y="1746"/>
                  <a:pt x="22" y="1697"/>
                </a:cubicBezTo>
                <a:cubicBezTo>
                  <a:pt x="17" y="1649"/>
                  <a:pt x="12" y="1602"/>
                  <a:pt x="9" y="1555"/>
                </a:cubicBezTo>
                <a:cubicBezTo>
                  <a:pt x="7" y="1530"/>
                  <a:pt x="5" y="1505"/>
                  <a:pt x="3" y="1480"/>
                </a:cubicBezTo>
                <a:cubicBezTo>
                  <a:pt x="2" y="1465"/>
                  <a:pt x="3" y="1450"/>
                  <a:pt x="0" y="1435"/>
                </a:cubicBezTo>
                <a:cubicBezTo>
                  <a:pt x="0" y="1425"/>
                  <a:pt x="0" y="1416"/>
                  <a:pt x="0" y="1407"/>
                </a:cubicBezTo>
                <a:cubicBezTo>
                  <a:pt x="2" y="1407"/>
                  <a:pt x="3" y="1407"/>
                  <a:pt x="5" y="1406"/>
                </a:cubicBezTo>
                <a:cubicBezTo>
                  <a:pt x="41" y="1392"/>
                  <a:pt x="76" y="1377"/>
                  <a:pt x="110" y="1359"/>
                </a:cubicBezTo>
                <a:cubicBezTo>
                  <a:pt x="161" y="1332"/>
                  <a:pt x="212" y="1304"/>
                  <a:pt x="261" y="1274"/>
                </a:cubicBezTo>
                <a:cubicBezTo>
                  <a:pt x="366" y="1208"/>
                  <a:pt x="465" y="1135"/>
                  <a:pt x="563" y="1060"/>
                </a:cubicBezTo>
                <a:cubicBezTo>
                  <a:pt x="706" y="950"/>
                  <a:pt x="846" y="836"/>
                  <a:pt x="987" y="725"/>
                </a:cubicBezTo>
                <a:cubicBezTo>
                  <a:pt x="1108" y="630"/>
                  <a:pt x="1231" y="539"/>
                  <a:pt x="1356" y="450"/>
                </a:cubicBezTo>
                <a:cubicBezTo>
                  <a:pt x="1388" y="427"/>
                  <a:pt x="1422" y="405"/>
                  <a:pt x="1456" y="383"/>
                </a:cubicBezTo>
                <a:cubicBezTo>
                  <a:pt x="1584" y="300"/>
                  <a:pt x="1717" y="224"/>
                  <a:pt x="1856" y="161"/>
                </a:cubicBezTo>
                <a:cubicBezTo>
                  <a:pt x="1986" y="103"/>
                  <a:pt x="2119" y="56"/>
                  <a:pt x="2259" y="29"/>
                </a:cubicBezTo>
                <a:cubicBezTo>
                  <a:pt x="2334" y="14"/>
                  <a:pt x="2410" y="4"/>
                  <a:pt x="2486" y="2"/>
                </a:cubicBezTo>
                <a:cubicBezTo>
                  <a:pt x="2488" y="2"/>
                  <a:pt x="2491" y="2"/>
                  <a:pt x="2493" y="0"/>
                </a:cubicBezTo>
                <a:cubicBezTo>
                  <a:pt x="2499" y="0"/>
                  <a:pt x="2505" y="0"/>
                  <a:pt x="2511" y="0"/>
                </a:cubicBezTo>
                <a:cubicBezTo>
                  <a:pt x="2512" y="1"/>
                  <a:pt x="2514" y="2"/>
                  <a:pt x="2515" y="2"/>
                </a:cubicBezTo>
                <a:cubicBezTo>
                  <a:pt x="2542" y="2"/>
                  <a:pt x="2568" y="2"/>
                  <a:pt x="2595" y="2"/>
                </a:cubicBezTo>
                <a:cubicBezTo>
                  <a:pt x="2627" y="3"/>
                  <a:pt x="2658" y="6"/>
                  <a:pt x="2690" y="9"/>
                </a:cubicBezTo>
                <a:cubicBezTo>
                  <a:pt x="2776" y="19"/>
                  <a:pt x="2860" y="37"/>
                  <a:pt x="2942" y="63"/>
                </a:cubicBezTo>
                <a:cubicBezTo>
                  <a:pt x="3073" y="104"/>
                  <a:pt x="3194" y="164"/>
                  <a:pt x="3305" y="245"/>
                </a:cubicBezTo>
                <a:cubicBezTo>
                  <a:pt x="3335" y="267"/>
                  <a:pt x="3364" y="290"/>
                  <a:pt x="3392" y="314"/>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 name="Title 1"/>
          <p:cNvSpPr>
            <a:spLocks noGrp="1"/>
          </p:cNvSpPr>
          <p:nvPr>
            <p:ph type="title"/>
          </p:nvPr>
        </p:nvSpPr>
        <p:spPr>
          <a:xfrm>
            <a:off x="7505700" y="2158999"/>
            <a:ext cx="4051300" cy="1701893"/>
          </a:xfrm>
          <a:prstGeom prst="rect">
            <a:avLst/>
          </a:prstGeom>
        </p:spPr>
        <p:txBody>
          <a:bodyPr/>
          <a:lstStyle>
            <a:lvl1pPr>
              <a:defRPr>
                <a:solidFill>
                  <a:schemeClr val="accent5"/>
                </a:solidFill>
              </a:defRPr>
            </a:lvl1pPr>
          </a:lstStyle>
          <a:p>
            <a:r>
              <a:rPr lang="fr-FR" smtClean="0"/>
              <a:t>Modifiez le style du titre</a:t>
            </a:r>
            <a:endParaRPr lang="en-GB" dirty="0"/>
          </a:p>
        </p:txBody>
      </p:sp>
      <p:sp>
        <p:nvSpPr>
          <p:cNvPr id="82951" name="Freeform 7"/>
          <p:cNvSpPr>
            <a:spLocks/>
          </p:cNvSpPr>
          <p:nvPr userDrawn="1"/>
        </p:nvSpPr>
        <p:spPr bwMode="auto">
          <a:xfrm>
            <a:off x="8628063" y="-3175"/>
            <a:ext cx="266700" cy="6350"/>
          </a:xfrm>
          <a:custGeom>
            <a:avLst/>
            <a:gdLst/>
            <a:ahLst/>
            <a:cxnLst>
              <a:cxn ang="0">
                <a:pos x="84" y="0"/>
              </a:cxn>
              <a:cxn ang="0">
                <a:pos x="84" y="2"/>
              </a:cxn>
              <a:cxn ang="0">
                <a:pos x="4" y="2"/>
              </a:cxn>
              <a:cxn ang="0">
                <a:pos x="0" y="0"/>
              </a:cxn>
              <a:cxn ang="0">
                <a:pos x="84" y="0"/>
              </a:cxn>
            </a:cxnLst>
            <a:rect l="0" t="0" r="r" b="b"/>
            <a:pathLst>
              <a:path w="84" h="2">
                <a:moveTo>
                  <a:pt x="84" y="0"/>
                </a:moveTo>
                <a:cubicBezTo>
                  <a:pt x="83" y="1"/>
                  <a:pt x="83" y="1"/>
                  <a:pt x="84" y="2"/>
                </a:cubicBezTo>
                <a:cubicBezTo>
                  <a:pt x="57" y="2"/>
                  <a:pt x="31" y="2"/>
                  <a:pt x="4" y="2"/>
                </a:cubicBezTo>
                <a:cubicBezTo>
                  <a:pt x="3" y="2"/>
                  <a:pt x="1" y="1"/>
                  <a:pt x="0" y="0"/>
                </a:cubicBezTo>
                <a:cubicBezTo>
                  <a:pt x="28" y="0"/>
                  <a:pt x="56" y="0"/>
                  <a:pt x="84" y="0"/>
                </a:cubicBezTo>
                <a:close/>
              </a:path>
            </a:pathLst>
          </a:custGeom>
          <a:solidFill>
            <a:srgbClr val="7EC2E4"/>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3"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7505699" y="3846869"/>
            <a:ext cx="4051300" cy="2249131"/>
          </a:xfrm>
          <a:prstGeom prst="rect">
            <a:avLst/>
          </a:prstGeom>
        </p:spPr>
        <p:txBody>
          <a:bodyPr>
            <a:noAutofit/>
          </a:bodyPr>
          <a:lstStyle>
            <a:lvl1pPr>
              <a:lnSpc>
                <a:spcPct val="100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fr-FR" smtClean="0"/>
              <a:t>Cliquez sur l'icône pour ajouter une image</a:t>
            </a:r>
            <a:endParaRPr lang="pt-PT" dirty="0"/>
          </a:p>
        </p:txBody>
      </p:sp>
      <p:grpSp>
        <p:nvGrpSpPr>
          <p:cNvPr id="12" name="Group 10"/>
          <p:cNvGrpSpPr/>
          <p:nvPr userDrawn="1"/>
        </p:nvGrpSpPr>
        <p:grpSpPr>
          <a:xfrm>
            <a:off x="7571874" y="6483359"/>
            <a:ext cx="4316313" cy="253173"/>
            <a:chOff x="6152147" y="6480941"/>
            <a:chExt cx="3507004" cy="253173"/>
          </a:xfrm>
        </p:grpSpPr>
        <p:sp>
          <p:nvSpPr>
            <p:cNvPr id="14" name="TextBox 10"/>
            <p:cNvSpPr txBox="1"/>
            <p:nvPr userDrawn="1">
              <p:custDataLst>
                <p:tags r:id="rId3"/>
              </p:custDataLst>
            </p:nvPr>
          </p:nvSpPr>
          <p:spPr>
            <a:xfrm>
              <a:off x="9659098" y="6634728"/>
              <a:ext cx="53" cy="99386"/>
            </a:xfrm>
            <a:prstGeom prst="rect">
              <a:avLst/>
            </a:prstGeom>
            <a:noFill/>
          </p:spPr>
          <p:txBody>
            <a:bodyPr wrap="none" lIns="0" tIns="0" rIns="0" bIns="0" rtlCol="0" anchor="ctr">
              <a:spAutoFit/>
            </a:bodyPr>
            <a:lstStyle/>
            <a:p>
              <a:pPr algn="ctr" defTabSz="884105"/>
              <a:endParaRPr lang="en-US" sz="646" dirty="0">
                <a:solidFill>
                  <a:srgbClr val="1C1C1C">
                    <a:lumMod val="75000"/>
                    <a:lumOff val="25000"/>
                  </a:srgbClr>
                </a:solidFill>
                <a:latin typeface="Arial"/>
              </a:endParaRPr>
            </a:p>
          </p:txBody>
        </p:sp>
        <p:sp>
          <p:nvSpPr>
            <p:cNvPr id="17" name="Rectangle 16"/>
            <p:cNvSpPr>
              <a:spLocks noChangeArrowheads="1"/>
            </p:cNvSpPr>
            <p:nvPr userDrawn="1">
              <p:custDataLst>
                <p:tags r:id="rId4"/>
              </p:custDataLst>
            </p:nvPr>
          </p:nvSpPr>
          <p:spPr bwMode="auto">
            <a:xfrm>
              <a:off x="6152147" y="6634728"/>
              <a:ext cx="3342760" cy="99386"/>
            </a:xfrm>
            <a:prstGeom prst="rect">
              <a:avLst/>
            </a:prstGeom>
            <a:noFill/>
            <a:ln w="19050">
              <a:noFill/>
              <a:miter lim="800000"/>
              <a:headEnd/>
              <a:tailEnd/>
            </a:ln>
            <a:effectLst/>
          </p:spPr>
          <p:txBody>
            <a:bodyPr wrap="square" lIns="0" tIns="0" rIns="0" bIns="0" anchor="ctr" anchorCtr="0">
              <a:spAutoFit/>
            </a:bodyPr>
            <a:lstStyle/>
            <a:p>
              <a:pPr algn="r" defTabSz="918895" eaLnBrk="0" hangingPunct="0">
                <a:defRPr/>
              </a:pPr>
              <a:r>
                <a:rPr lang="en-US" altLang="en-US" sz="646" dirty="0">
                  <a:solidFill>
                    <a:srgbClr val="1C1C1C">
                      <a:lumMod val="75000"/>
                      <a:lumOff val="25000"/>
                    </a:srgbClr>
                  </a:solidFill>
                  <a:latin typeface="Arial"/>
                  <a:cs typeface="Arial" pitchFamily="34" charset="0"/>
                </a:rPr>
                <a:t>Copyright © Capgemini </a:t>
              </a:r>
              <a:r>
                <a:rPr lang="en-US" altLang="en-US" sz="646" dirty="0" smtClean="0">
                  <a:solidFill>
                    <a:srgbClr val="1C1C1C">
                      <a:lumMod val="75000"/>
                      <a:lumOff val="25000"/>
                    </a:srgbClr>
                  </a:solidFill>
                  <a:latin typeface="Arial"/>
                  <a:cs typeface="Arial" pitchFamily="34" charset="0"/>
                </a:rPr>
                <a:t>2017. </a:t>
              </a:r>
              <a:r>
                <a:rPr lang="en-US" altLang="en-US" sz="646" dirty="0">
                  <a:solidFill>
                    <a:srgbClr val="1C1C1C">
                      <a:lumMod val="75000"/>
                      <a:lumOff val="25000"/>
                    </a:srgbClr>
                  </a:solidFill>
                  <a:latin typeface="Arial"/>
                  <a:cs typeface="Arial" pitchFamily="34" charset="0"/>
                </a:rPr>
                <a:t>All Rights Reserved</a:t>
              </a:r>
            </a:p>
          </p:txBody>
        </p:sp>
        <p:sp>
          <p:nvSpPr>
            <p:cNvPr id="18" name="Rectangle 17"/>
            <p:cNvSpPr/>
            <p:nvPr userDrawn="1">
              <p:custDataLst>
                <p:tags r:id="rId5"/>
              </p:custDataLst>
            </p:nvPr>
          </p:nvSpPr>
          <p:spPr>
            <a:xfrm>
              <a:off x="8006218" y="6480941"/>
              <a:ext cx="1488689" cy="99386"/>
            </a:xfrm>
            <a:prstGeom prst="rect">
              <a:avLst/>
            </a:prstGeom>
          </p:spPr>
          <p:txBody>
            <a:bodyPr wrap="none" lIns="0" tIns="0" rIns="0" bIns="0" anchor="ctr" anchorCtr="0">
              <a:spAutoFit/>
            </a:bodyPr>
            <a:lstStyle/>
            <a:p>
              <a:pPr algn="r" defTabSz="884105">
                <a:defRPr/>
              </a:pPr>
              <a:r>
                <a:rPr lang="en-US" sz="646" dirty="0">
                  <a:solidFill>
                    <a:srgbClr val="00234B"/>
                  </a:solidFill>
                  <a:latin typeface="Arial"/>
                </a:rPr>
                <a:t>Digital Customer Experience | Introduction to DCX</a:t>
              </a:r>
            </a:p>
          </p:txBody>
        </p:sp>
      </p:grpSp>
    </p:spTree>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Content 1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138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3971" name="AutoShape 3"/>
          <p:cNvSpPr>
            <a:spLocks noChangeAspect="1" noChangeArrowheads="1" noTextEdit="1"/>
          </p:cNvSpPr>
          <p:nvPr userDrawn="1"/>
        </p:nvSpPr>
        <p:spPr bwMode="auto">
          <a:xfrm>
            <a:off x="0" y="0"/>
            <a:ext cx="7481888" cy="68865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3973" name="Freeform 5"/>
          <p:cNvSpPr>
            <a:spLocks/>
          </p:cNvSpPr>
          <p:nvPr userDrawn="1"/>
        </p:nvSpPr>
        <p:spPr bwMode="auto">
          <a:xfrm>
            <a:off x="1588" y="-3175"/>
            <a:ext cx="5280025" cy="6889750"/>
          </a:xfrm>
          <a:custGeom>
            <a:avLst/>
            <a:gdLst/>
            <a:ahLst/>
            <a:cxnLst>
              <a:cxn ang="0">
                <a:pos x="1" y="2835"/>
              </a:cxn>
              <a:cxn ang="0">
                <a:pos x="149" y="2735"/>
              </a:cxn>
              <a:cxn ang="0">
                <a:pos x="393" y="2614"/>
              </a:cxn>
              <a:cxn ang="0">
                <a:pos x="663" y="2508"/>
              </a:cxn>
              <a:cxn ang="0">
                <a:pos x="691" y="2498"/>
              </a:cxn>
              <a:cxn ang="0">
                <a:pos x="699" y="2495"/>
              </a:cxn>
              <a:cxn ang="0">
                <a:pos x="814" y="2453"/>
              </a:cxn>
              <a:cxn ang="0">
                <a:pos x="1047" y="2369"/>
              </a:cxn>
              <a:cxn ang="0">
                <a:pos x="1208" y="2307"/>
              </a:cxn>
              <a:cxn ang="0">
                <a:pos x="1405" y="2222"/>
              </a:cxn>
              <a:cxn ang="0">
                <a:pos x="1549" y="2149"/>
              </a:cxn>
              <a:cxn ang="0">
                <a:pos x="1664" y="2081"/>
              </a:cxn>
              <a:cxn ang="0">
                <a:pos x="1772" y="2004"/>
              </a:cxn>
              <a:cxn ang="0">
                <a:pos x="1889" y="1903"/>
              </a:cxn>
              <a:cxn ang="0">
                <a:pos x="2001" y="1776"/>
              </a:cxn>
              <a:cxn ang="0">
                <a:pos x="2058" y="1691"/>
              </a:cxn>
              <a:cxn ang="0">
                <a:pos x="2116" y="1571"/>
              </a:cxn>
              <a:cxn ang="0">
                <a:pos x="2170" y="1375"/>
              </a:cxn>
              <a:cxn ang="0">
                <a:pos x="2199" y="1207"/>
              </a:cxn>
              <a:cxn ang="0">
                <a:pos x="2206" y="940"/>
              </a:cxn>
              <a:cxn ang="0">
                <a:pos x="2179" y="751"/>
              </a:cxn>
              <a:cxn ang="0">
                <a:pos x="2123" y="578"/>
              </a:cxn>
              <a:cxn ang="0">
                <a:pos x="2068" y="464"/>
              </a:cxn>
              <a:cxn ang="0">
                <a:pos x="2010" y="370"/>
              </a:cxn>
              <a:cxn ang="0">
                <a:pos x="1957" y="298"/>
              </a:cxn>
              <a:cxn ang="0">
                <a:pos x="1843" y="174"/>
              </a:cxn>
              <a:cxn ang="0">
                <a:pos x="1733" y="77"/>
              </a:cxn>
              <a:cxn ang="0">
                <a:pos x="1630" y="0"/>
              </a:cxn>
              <a:cxn ang="0">
                <a:pos x="0" y="0"/>
              </a:cxn>
              <a:cxn ang="0">
                <a:pos x="0" y="2884"/>
              </a:cxn>
              <a:cxn ang="0">
                <a:pos x="1" y="2884"/>
              </a:cxn>
              <a:cxn ang="0">
                <a:pos x="1" y="2835"/>
              </a:cxn>
            </a:cxnLst>
            <a:rect l="0" t="0" r="r" b="b"/>
            <a:pathLst>
              <a:path w="2212" h="2884">
                <a:moveTo>
                  <a:pt x="1" y="2835"/>
                </a:moveTo>
                <a:cubicBezTo>
                  <a:pt x="48" y="2798"/>
                  <a:pt x="98" y="2765"/>
                  <a:pt x="149" y="2735"/>
                </a:cubicBezTo>
                <a:cubicBezTo>
                  <a:pt x="228" y="2689"/>
                  <a:pt x="309" y="2650"/>
                  <a:pt x="393" y="2614"/>
                </a:cubicBezTo>
                <a:cubicBezTo>
                  <a:pt x="482" y="2576"/>
                  <a:pt x="572" y="2541"/>
                  <a:pt x="663" y="2508"/>
                </a:cubicBezTo>
                <a:cubicBezTo>
                  <a:pt x="672" y="2505"/>
                  <a:pt x="682" y="2501"/>
                  <a:pt x="691" y="2498"/>
                </a:cubicBezTo>
                <a:cubicBezTo>
                  <a:pt x="693" y="2496"/>
                  <a:pt x="696" y="2495"/>
                  <a:pt x="699" y="2495"/>
                </a:cubicBezTo>
                <a:cubicBezTo>
                  <a:pt x="737" y="2481"/>
                  <a:pt x="776" y="2467"/>
                  <a:pt x="814" y="2453"/>
                </a:cubicBezTo>
                <a:cubicBezTo>
                  <a:pt x="892" y="2425"/>
                  <a:pt x="969" y="2397"/>
                  <a:pt x="1047" y="2369"/>
                </a:cubicBezTo>
                <a:cubicBezTo>
                  <a:pt x="1101" y="2349"/>
                  <a:pt x="1155" y="2328"/>
                  <a:pt x="1208" y="2307"/>
                </a:cubicBezTo>
                <a:cubicBezTo>
                  <a:pt x="1274" y="2281"/>
                  <a:pt x="1340" y="2253"/>
                  <a:pt x="1405" y="2222"/>
                </a:cubicBezTo>
                <a:cubicBezTo>
                  <a:pt x="1453" y="2200"/>
                  <a:pt x="1501" y="2176"/>
                  <a:pt x="1549" y="2149"/>
                </a:cubicBezTo>
                <a:cubicBezTo>
                  <a:pt x="1588" y="2127"/>
                  <a:pt x="1626" y="2105"/>
                  <a:pt x="1664" y="2081"/>
                </a:cubicBezTo>
                <a:cubicBezTo>
                  <a:pt x="1701" y="2057"/>
                  <a:pt x="1737" y="2032"/>
                  <a:pt x="1772" y="2004"/>
                </a:cubicBezTo>
                <a:cubicBezTo>
                  <a:pt x="1813" y="1973"/>
                  <a:pt x="1852" y="1940"/>
                  <a:pt x="1889" y="1903"/>
                </a:cubicBezTo>
                <a:cubicBezTo>
                  <a:pt x="1929" y="1864"/>
                  <a:pt x="1967" y="1821"/>
                  <a:pt x="2001" y="1776"/>
                </a:cubicBezTo>
                <a:cubicBezTo>
                  <a:pt x="2022" y="1749"/>
                  <a:pt x="2039" y="1719"/>
                  <a:pt x="2058" y="1691"/>
                </a:cubicBezTo>
                <a:cubicBezTo>
                  <a:pt x="2082" y="1653"/>
                  <a:pt x="2101" y="1613"/>
                  <a:pt x="2116" y="1571"/>
                </a:cubicBezTo>
                <a:cubicBezTo>
                  <a:pt x="2140" y="1507"/>
                  <a:pt x="2153" y="1441"/>
                  <a:pt x="2170" y="1375"/>
                </a:cubicBezTo>
                <a:cubicBezTo>
                  <a:pt x="2184" y="1320"/>
                  <a:pt x="2192" y="1264"/>
                  <a:pt x="2199" y="1207"/>
                </a:cubicBezTo>
                <a:cubicBezTo>
                  <a:pt x="2210" y="1118"/>
                  <a:pt x="2212" y="1029"/>
                  <a:pt x="2206" y="940"/>
                </a:cubicBezTo>
                <a:cubicBezTo>
                  <a:pt x="2202" y="876"/>
                  <a:pt x="2195" y="813"/>
                  <a:pt x="2179" y="751"/>
                </a:cubicBezTo>
                <a:cubicBezTo>
                  <a:pt x="2164" y="692"/>
                  <a:pt x="2148" y="633"/>
                  <a:pt x="2123" y="578"/>
                </a:cubicBezTo>
                <a:cubicBezTo>
                  <a:pt x="2106" y="539"/>
                  <a:pt x="2090" y="500"/>
                  <a:pt x="2068" y="464"/>
                </a:cubicBezTo>
                <a:cubicBezTo>
                  <a:pt x="2050" y="432"/>
                  <a:pt x="2032" y="400"/>
                  <a:pt x="2010" y="370"/>
                </a:cubicBezTo>
                <a:cubicBezTo>
                  <a:pt x="1993" y="346"/>
                  <a:pt x="1976" y="321"/>
                  <a:pt x="1957" y="298"/>
                </a:cubicBezTo>
                <a:cubicBezTo>
                  <a:pt x="1921" y="255"/>
                  <a:pt x="1884" y="213"/>
                  <a:pt x="1843" y="174"/>
                </a:cubicBezTo>
                <a:cubicBezTo>
                  <a:pt x="1808" y="140"/>
                  <a:pt x="1772" y="107"/>
                  <a:pt x="1733" y="77"/>
                </a:cubicBezTo>
                <a:cubicBezTo>
                  <a:pt x="1699" y="50"/>
                  <a:pt x="1665" y="25"/>
                  <a:pt x="1630" y="0"/>
                </a:cubicBezTo>
                <a:cubicBezTo>
                  <a:pt x="0" y="0"/>
                  <a:pt x="0" y="0"/>
                  <a:pt x="0" y="0"/>
                </a:cubicBezTo>
                <a:cubicBezTo>
                  <a:pt x="0" y="961"/>
                  <a:pt x="0" y="1923"/>
                  <a:pt x="0" y="2884"/>
                </a:cubicBezTo>
                <a:cubicBezTo>
                  <a:pt x="1" y="2884"/>
                  <a:pt x="1" y="2884"/>
                  <a:pt x="1" y="2884"/>
                </a:cubicBezTo>
                <a:cubicBezTo>
                  <a:pt x="1" y="2868"/>
                  <a:pt x="1" y="2852"/>
                  <a:pt x="1" y="2835"/>
                </a:cubicBezTo>
                <a:close/>
              </a:path>
            </a:pathLst>
          </a:cu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3975" name="Freeform 7"/>
          <p:cNvSpPr>
            <a:spLocks/>
          </p:cNvSpPr>
          <p:nvPr userDrawn="1"/>
        </p:nvSpPr>
        <p:spPr bwMode="auto">
          <a:xfrm>
            <a:off x="1651000" y="5957888"/>
            <a:ext cx="19050" cy="6350"/>
          </a:xfrm>
          <a:custGeom>
            <a:avLst/>
            <a:gdLst/>
            <a:ahLst/>
            <a:cxnLst>
              <a:cxn ang="0">
                <a:pos x="0" y="3"/>
              </a:cxn>
              <a:cxn ang="0">
                <a:pos x="8" y="0"/>
              </a:cxn>
              <a:cxn ang="0">
                <a:pos x="0" y="3"/>
              </a:cxn>
            </a:cxnLst>
            <a:rect l="0" t="0" r="r" b="b"/>
            <a:pathLst>
              <a:path w="8" h="3">
                <a:moveTo>
                  <a:pt x="0" y="3"/>
                </a:moveTo>
                <a:cubicBezTo>
                  <a:pt x="2" y="2"/>
                  <a:pt x="5" y="1"/>
                  <a:pt x="8" y="0"/>
                </a:cubicBezTo>
                <a:cubicBezTo>
                  <a:pt x="5" y="0"/>
                  <a:pt x="2" y="1"/>
                  <a:pt x="0" y="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3976" name="Freeform 8"/>
          <p:cNvSpPr>
            <a:spLocks/>
          </p:cNvSpPr>
          <p:nvPr userDrawn="1"/>
        </p:nvSpPr>
        <p:spPr bwMode="auto">
          <a:xfrm>
            <a:off x="4763" y="-3175"/>
            <a:ext cx="7481888" cy="6889750"/>
          </a:xfrm>
          <a:custGeom>
            <a:avLst/>
            <a:gdLst/>
            <a:ahLst/>
            <a:cxnLst>
              <a:cxn ang="0">
                <a:pos x="3123" y="2136"/>
              </a:cxn>
              <a:cxn ang="0">
                <a:pos x="3069" y="1788"/>
              </a:cxn>
              <a:cxn ang="0">
                <a:pos x="3010" y="1567"/>
              </a:cxn>
              <a:cxn ang="0">
                <a:pos x="2955" y="1406"/>
              </a:cxn>
              <a:cxn ang="0">
                <a:pos x="2899" y="1268"/>
              </a:cxn>
              <a:cxn ang="0">
                <a:pos x="2842" y="1144"/>
              </a:cxn>
              <a:cxn ang="0">
                <a:pos x="2785" y="1036"/>
              </a:cxn>
              <a:cxn ang="0">
                <a:pos x="2731" y="941"/>
              </a:cxn>
              <a:cxn ang="0">
                <a:pos x="2673" y="849"/>
              </a:cxn>
              <a:cxn ang="0">
                <a:pos x="2618" y="768"/>
              </a:cxn>
              <a:cxn ang="0">
                <a:pos x="2561" y="691"/>
              </a:cxn>
              <a:cxn ang="0">
                <a:pos x="2505" y="620"/>
              </a:cxn>
              <a:cxn ang="0">
                <a:pos x="2394" y="493"/>
              </a:cxn>
              <a:cxn ang="0">
                <a:pos x="2393" y="492"/>
              </a:cxn>
              <a:cxn ang="0">
                <a:pos x="2336" y="432"/>
              </a:cxn>
              <a:cxn ang="0">
                <a:pos x="2222" y="324"/>
              </a:cxn>
              <a:cxn ang="0">
                <a:pos x="2112" y="231"/>
              </a:cxn>
              <a:cxn ang="0">
                <a:pos x="1997" y="144"/>
              </a:cxn>
              <a:cxn ang="0">
                <a:pos x="1885" y="70"/>
              </a:cxn>
              <a:cxn ang="0">
                <a:pos x="1773" y="3"/>
              </a:cxn>
              <a:cxn ang="0">
                <a:pos x="1767" y="0"/>
              </a:cxn>
              <a:cxn ang="0">
                <a:pos x="1711" y="0"/>
              </a:cxn>
              <a:cxn ang="0">
                <a:pos x="1629" y="0"/>
              </a:cxn>
              <a:cxn ang="0">
                <a:pos x="1732" y="77"/>
              </a:cxn>
              <a:cxn ang="0">
                <a:pos x="1842" y="174"/>
              </a:cxn>
              <a:cxn ang="0">
                <a:pos x="1956" y="298"/>
              </a:cxn>
              <a:cxn ang="0">
                <a:pos x="2009" y="370"/>
              </a:cxn>
              <a:cxn ang="0">
                <a:pos x="2067" y="464"/>
              </a:cxn>
              <a:cxn ang="0">
                <a:pos x="2122" y="578"/>
              </a:cxn>
              <a:cxn ang="0">
                <a:pos x="2178" y="751"/>
              </a:cxn>
              <a:cxn ang="0">
                <a:pos x="2205" y="940"/>
              </a:cxn>
              <a:cxn ang="0">
                <a:pos x="2198" y="1207"/>
              </a:cxn>
              <a:cxn ang="0">
                <a:pos x="2169" y="1375"/>
              </a:cxn>
              <a:cxn ang="0">
                <a:pos x="2115" y="1571"/>
              </a:cxn>
              <a:cxn ang="0">
                <a:pos x="2057" y="1691"/>
              </a:cxn>
              <a:cxn ang="0">
                <a:pos x="2000" y="1776"/>
              </a:cxn>
              <a:cxn ang="0">
                <a:pos x="1888" y="1903"/>
              </a:cxn>
              <a:cxn ang="0">
                <a:pos x="1771" y="2004"/>
              </a:cxn>
              <a:cxn ang="0">
                <a:pos x="1663" y="2081"/>
              </a:cxn>
              <a:cxn ang="0">
                <a:pos x="1548" y="2149"/>
              </a:cxn>
              <a:cxn ang="0">
                <a:pos x="1404" y="2222"/>
              </a:cxn>
              <a:cxn ang="0">
                <a:pos x="1207" y="2307"/>
              </a:cxn>
              <a:cxn ang="0">
                <a:pos x="1046" y="2369"/>
              </a:cxn>
              <a:cxn ang="0">
                <a:pos x="813" y="2453"/>
              </a:cxn>
              <a:cxn ang="0">
                <a:pos x="698" y="2495"/>
              </a:cxn>
              <a:cxn ang="0">
                <a:pos x="690" y="2498"/>
              </a:cxn>
              <a:cxn ang="0">
                <a:pos x="662" y="2508"/>
              </a:cxn>
              <a:cxn ang="0">
                <a:pos x="392" y="2614"/>
              </a:cxn>
              <a:cxn ang="0">
                <a:pos x="148" y="2735"/>
              </a:cxn>
              <a:cxn ang="0">
                <a:pos x="0" y="2835"/>
              </a:cxn>
              <a:cxn ang="0">
                <a:pos x="0" y="2884"/>
              </a:cxn>
              <a:cxn ang="0">
                <a:pos x="536" y="2884"/>
              </a:cxn>
              <a:cxn ang="0">
                <a:pos x="2395" y="2884"/>
              </a:cxn>
              <a:cxn ang="0">
                <a:pos x="2608" y="2884"/>
              </a:cxn>
              <a:cxn ang="0">
                <a:pos x="2629" y="2870"/>
              </a:cxn>
              <a:cxn ang="0">
                <a:pos x="2798" y="2779"/>
              </a:cxn>
              <a:cxn ang="0">
                <a:pos x="2992" y="2729"/>
              </a:cxn>
              <a:cxn ang="0">
                <a:pos x="3091" y="2723"/>
              </a:cxn>
              <a:cxn ang="0">
                <a:pos x="3101" y="2715"/>
              </a:cxn>
              <a:cxn ang="0">
                <a:pos x="3128" y="2493"/>
              </a:cxn>
              <a:cxn ang="0">
                <a:pos x="3133" y="2390"/>
              </a:cxn>
              <a:cxn ang="0">
                <a:pos x="3123" y="2136"/>
              </a:cxn>
            </a:cxnLst>
            <a:rect l="0" t="0" r="r" b="b"/>
            <a:pathLst>
              <a:path w="3135" h="2884">
                <a:moveTo>
                  <a:pt x="3123" y="2136"/>
                </a:moveTo>
                <a:cubicBezTo>
                  <a:pt x="3111" y="2019"/>
                  <a:pt x="3098" y="1902"/>
                  <a:pt x="3069" y="1788"/>
                </a:cubicBezTo>
                <a:cubicBezTo>
                  <a:pt x="3051" y="1714"/>
                  <a:pt x="3036" y="1639"/>
                  <a:pt x="3010" y="1567"/>
                </a:cubicBezTo>
                <a:cubicBezTo>
                  <a:pt x="2992" y="1514"/>
                  <a:pt x="2978" y="1458"/>
                  <a:pt x="2955" y="1406"/>
                </a:cubicBezTo>
                <a:cubicBezTo>
                  <a:pt x="2936" y="1360"/>
                  <a:pt x="2921" y="1312"/>
                  <a:pt x="2899" y="1268"/>
                </a:cubicBezTo>
                <a:cubicBezTo>
                  <a:pt x="2879" y="1227"/>
                  <a:pt x="2864" y="1184"/>
                  <a:pt x="2842" y="1144"/>
                </a:cubicBezTo>
                <a:cubicBezTo>
                  <a:pt x="2822" y="1109"/>
                  <a:pt x="2807" y="1071"/>
                  <a:pt x="2785" y="1036"/>
                </a:cubicBezTo>
                <a:cubicBezTo>
                  <a:pt x="2766" y="1005"/>
                  <a:pt x="2751" y="972"/>
                  <a:pt x="2731" y="941"/>
                </a:cubicBezTo>
                <a:cubicBezTo>
                  <a:pt x="2710" y="911"/>
                  <a:pt x="2694" y="879"/>
                  <a:pt x="2673" y="849"/>
                </a:cubicBezTo>
                <a:cubicBezTo>
                  <a:pt x="2653" y="823"/>
                  <a:pt x="2638" y="794"/>
                  <a:pt x="2618" y="768"/>
                </a:cubicBezTo>
                <a:cubicBezTo>
                  <a:pt x="2598" y="744"/>
                  <a:pt x="2582" y="716"/>
                  <a:pt x="2561" y="691"/>
                </a:cubicBezTo>
                <a:cubicBezTo>
                  <a:pt x="2541" y="668"/>
                  <a:pt x="2524" y="643"/>
                  <a:pt x="2505" y="620"/>
                </a:cubicBezTo>
                <a:cubicBezTo>
                  <a:pt x="2469" y="577"/>
                  <a:pt x="2433" y="534"/>
                  <a:pt x="2394" y="493"/>
                </a:cubicBezTo>
                <a:cubicBezTo>
                  <a:pt x="2394" y="493"/>
                  <a:pt x="2394" y="493"/>
                  <a:pt x="2393" y="492"/>
                </a:cubicBezTo>
                <a:cubicBezTo>
                  <a:pt x="2374" y="473"/>
                  <a:pt x="2356" y="452"/>
                  <a:pt x="2336" y="432"/>
                </a:cubicBezTo>
                <a:cubicBezTo>
                  <a:pt x="2299" y="395"/>
                  <a:pt x="2261" y="359"/>
                  <a:pt x="2222" y="324"/>
                </a:cubicBezTo>
                <a:cubicBezTo>
                  <a:pt x="2186" y="292"/>
                  <a:pt x="2150" y="261"/>
                  <a:pt x="2112" y="231"/>
                </a:cubicBezTo>
                <a:cubicBezTo>
                  <a:pt x="2075" y="201"/>
                  <a:pt x="2036" y="172"/>
                  <a:pt x="1997" y="144"/>
                </a:cubicBezTo>
                <a:cubicBezTo>
                  <a:pt x="1960" y="118"/>
                  <a:pt x="1923" y="93"/>
                  <a:pt x="1885" y="70"/>
                </a:cubicBezTo>
                <a:cubicBezTo>
                  <a:pt x="1848" y="47"/>
                  <a:pt x="1811" y="25"/>
                  <a:pt x="1773" y="3"/>
                </a:cubicBezTo>
                <a:cubicBezTo>
                  <a:pt x="1771" y="2"/>
                  <a:pt x="1769" y="1"/>
                  <a:pt x="1767" y="0"/>
                </a:cubicBezTo>
                <a:cubicBezTo>
                  <a:pt x="1711" y="0"/>
                  <a:pt x="1711" y="0"/>
                  <a:pt x="1711" y="0"/>
                </a:cubicBezTo>
                <a:cubicBezTo>
                  <a:pt x="1629" y="0"/>
                  <a:pt x="1629" y="0"/>
                  <a:pt x="1629" y="0"/>
                </a:cubicBezTo>
                <a:cubicBezTo>
                  <a:pt x="1664" y="25"/>
                  <a:pt x="1698" y="50"/>
                  <a:pt x="1732" y="77"/>
                </a:cubicBezTo>
                <a:cubicBezTo>
                  <a:pt x="1771" y="107"/>
                  <a:pt x="1807" y="140"/>
                  <a:pt x="1842" y="174"/>
                </a:cubicBezTo>
                <a:cubicBezTo>
                  <a:pt x="1883" y="213"/>
                  <a:pt x="1920" y="255"/>
                  <a:pt x="1956" y="298"/>
                </a:cubicBezTo>
                <a:cubicBezTo>
                  <a:pt x="1975" y="321"/>
                  <a:pt x="1992" y="346"/>
                  <a:pt x="2009" y="370"/>
                </a:cubicBezTo>
                <a:cubicBezTo>
                  <a:pt x="2031" y="400"/>
                  <a:pt x="2049" y="432"/>
                  <a:pt x="2067" y="464"/>
                </a:cubicBezTo>
                <a:cubicBezTo>
                  <a:pt x="2089" y="500"/>
                  <a:pt x="2105" y="539"/>
                  <a:pt x="2122" y="578"/>
                </a:cubicBezTo>
                <a:cubicBezTo>
                  <a:pt x="2147" y="633"/>
                  <a:pt x="2163" y="692"/>
                  <a:pt x="2178" y="751"/>
                </a:cubicBezTo>
                <a:cubicBezTo>
                  <a:pt x="2194" y="813"/>
                  <a:pt x="2201" y="876"/>
                  <a:pt x="2205" y="940"/>
                </a:cubicBezTo>
                <a:cubicBezTo>
                  <a:pt x="2211" y="1029"/>
                  <a:pt x="2209" y="1118"/>
                  <a:pt x="2198" y="1207"/>
                </a:cubicBezTo>
                <a:cubicBezTo>
                  <a:pt x="2191" y="1264"/>
                  <a:pt x="2183" y="1320"/>
                  <a:pt x="2169" y="1375"/>
                </a:cubicBezTo>
                <a:cubicBezTo>
                  <a:pt x="2152" y="1441"/>
                  <a:pt x="2139" y="1507"/>
                  <a:pt x="2115" y="1571"/>
                </a:cubicBezTo>
                <a:cubicBezTo>
                  <a:pt x="2100" y="1613"/>
                  <a:pt x="2081" y="1653"/>
                  <a:pt x="2057" y="1691"/>
                </a:cubicBezTo>
                <a:cubicBezTo>
                  <a:pt x="2038" y="1719"/>
                  <a:pt x="2021" y="1749"/>
                  <a:pt x="2000" y="1776"/>
                </a:cubicBezTo>
                <a:cubicBezTo>
                  <a:pt x="1966" y="1821"/>
                  <a:pt x="1928" y="1864"/>
                  <a:pt x="1888" y="1903"/>
                </a:cubicBezTo>
                <a:cubicBezTo>
                  <a:pt x="1851" y="1940"/>
                  <a:pt x="1812" y="1973"/>
                  <a:pt x="1771" y="2004"/>
                </a:cubicBezTo>
                <a:cubicBezTo>
                  <a:pt x="1736" y="2032"/>
                  <a:pt x="1700" y="2057"/>
                  <a:pt x="1663" y="2081"/>
                </a:cubicBezTo>
                <a:cubicBezTo>
                  <a:pt x="1625" y="2105"/>
                  <a:pt x="1587" y="2127"/>
                  <a:pt x="1548" y="2149"/>
                </a:cubicBezTo>
                <a:cubicBezTo>
                  <a:pt x="1500" y="2176"/>
                  <a:pt x="1452" y="2200"/>
                  <a:pt x="1404" y="2222"/>
                </a:cubicBezTo>
                <a:cubicBezTo>
                  <a:pt x="1339" y="2253"/>
                  <a:pt x="1273" y="2281"/>
                  <a:pt x="1207" y="2307"/>
                </a:cubicBezTo>
                <a:cubicBezTo>
                  <a:pt x="1154" y="2328"/>
                  <a:pt x="1100" y="2349"/>
                  <a:pt x="1046" y="2369"/>
                </a:cubicBezTo>
                <a:cubicBezTo>
                  <a:pt x="968" y="2397"/>
                  <a:pt x="891" y="2425"/>
                  <a:pt x="813" y="2453"/>
                </a:cubicBezTo>
                <a:cubicBezTo>
                  <a:pt x="775" y="2467"/>
                  <a:pt x="736" y="2481"/>
                  <a:pt x="698" y="2495"/>
                </a:cubicBezTo>
                <a:cubicBezTo>
                  <a:pt x="695" y="2496"/>
                  <a:pt x="692" y="2497"/>
                  <a:pt x="690" y="2498"/>
                </a:cubicBezTo>
                <a:cubicBezTo>
                  <a:pt x="681" y="2501"/>
                  <a:pt x="671" y="2505"/>
                  <a:pt x="662" y="2508"/>
                </a:cubicBezTo>
                <a:cubicBezTo>
                  <a:pt x="571" y="2541"/>
                  <a:pt x="481" y="2576"/>
                  <a:pt x="392" y="2614"/>
                </a:cubicBezTo>
                <a:cubicBezTo>
                  <a:pt x="308" y="2650"/>
                  <a:pt x="227" y="2689"/>
                  <a:pt x="148" y="2735"/>
                </a:cubicBezTo>
                <a:cubicBezTo>
                  <a:pt x="97" y="2765"/>
                  <a:pt x="47" y="2798"/>
                  <a:pt x="0" y="2835"/>
                </a:cubicBezTo>
                <a:cubicBezTo>
                  <a:pt x="0" y="2852"/>
                  <a:pt x="0" y="2868"/>
                  <a:pt x="0" y="2884"/>
                </a:cubicBezTo>
                <a:cubicBezTo>
                  <a:pt x="536" y="2884"/>
                  <a:pt x="536" y="2884"/>
                  <a:pt x="536" y="2884"/>
                </a:cubicBezTo>
                <a:cubicBezTo>
                  <a:pt x="2395" y="2884"/>
                  <a:pt x="2395" y="2884"/>
                  <a:pt x="2395" y="2884"/>
                </a:cubicBezTo>
                <a:cubicBezTo>
                  <a:pt x="2608" y="2884"/>
                  <a:pt x="2608" y="2884"/>
                  <a:pt x="2608" y="2884"/>
                </a:cubicBezTo>
                <a:cubicBezTo>
                  <a:pt x="2615" y="2880"/>
                  <a:pt x="2622" y="2875"/>
                  <a:pt x="2629" y="2870"/>
                </a:cubicBezTo>
                <a:cubicBezTo>
                  <a:pt x="2682" y="2833"/>
                  <a:pt x="2738" y="2803"/>
                  <a:pt x="2798" y="2779"/>
                </a:cubicBezTo>
                <a:cubicBezTo>
                  <a:pt x="2861" y="2754"/>
                  <a:pt x="2926" y="2738"/>
                  <a:pt x="2992" y="2729"/>
                </a:cubicBezTo>
                <a:cubicBezTo>
                  <a:pt x="3025" y="2725"/>
                  <a:pt x="3058" y="2724"/>
                  <a:pt x="3091" y="2723"/>
                </a:cubicBezTo>
                <a:cubicBezTo>
                  <a:pt x="3097" y="2723"/>
                  <a:pt x="3099" y="2722"/>
                  <a:pt x="3101" y="2715"/>
                </a:cubicBezTo>
                <a:cubicBezTo>
                  <a:pt x="3115" y="2641"/>
                  <a:pt x="3120" y="2567"/>
                  <a:pt x="3128" y="2493"/>
                </a:cubicBezTo>
                <a:cubicBezTo>
                  <a:pt x="3132" y="2459"/>
                  <a:pt x="3132" y="2424"/>
                  <a:pt x="3133" y="2390"/>
                </a:cubicBezTo>
                <a:cubicBezTo>
                  <a:pt x="3135" y="2305"/>
                  <a:pt x="3131" y="2221"/>
                  <a:pt x="3123" y="2136"/>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3"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231350" y="2419570"/>
            <a:ext cx="4264593" cy="2063579"/>
          </a:xfrm>
          <a:prstGeom prst="rect">
            <a:avLst/>
          </a:prstGeom>
        </p:spPr>
        <p:txBody>
          <a:bodyPr>
            <a:noAutofit/>
          </a:bodyPr>
          <a:lstStyle>
            <a:lvl1pPr>
              <a:lnSpc>
                <a:spcPct val="100000"/>
              </a:lnSpc>
              <a:buClr>
                <a:schemeClr val="bg1"/>
              </a:buClr>
              <a:defRPr sz="1600">
                <a:solidFill>
                  <a:schemeClr val="bg1"/>
                </a:solidFill>
              </a:defRPr>
            </a:lvl1pPr>
            <a:lvl2pPr>
              <a:lnSpc>
                <a:spcPct val="100000"/>
              </a:lnSpc>
              <a:buClr>
                <a:schemeClr val="bg1"/>
              </a:buClr>
              <a:defRPr sz="1600">
                <a:solidFill>
                  <a:schemeClr val="bg1"/>
                </a:solidFill>
              </a:defRPr>
            </a:lvl2pPr>
            <a:lvl3pPr>
              <a:lnSpc>
                <a:spcPct val="100000"/>
              </a:lnSpc>
              <a:buClr>
                <a:schemeClr val="bg1"/>
              </a:buClr>
              <a:defRPr sz="1600">
                <a:solidFill>
                  <a:schemeClr val="bg1"/>
                </a:solidFill>
              </a:defRPr>
            </a:lvl3pPr>
            <a:lvl4pPr>
              <a:lnSpc>
                <a:spcPct val="100000"/>
              </a:lnSpc>
              <a:buClr>
                <a:schemeClr val="bg1"/>
              </a:buClr>
              <a:defRPr sz="1600">
                <a:solidFill>
                  <a:schemeClr val="bg1"/>
                </a:solidFill>
              </a:defRPr>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4" name="Title 1"/>
          <p:cNvSpPr>
            <a:spLocks noGrp="1"/>
          </p:cNvSpPr>
          <p:nvPr>
            <p:ph type="title"/>
          </p:nvPr>
        </p:nvSpPr>
        <p:spPr>
          <a:xfrm>
            <a:off x="227350" y="566057"/>
            <a:ext cx="4257564" cy="1767016"/>
          </a:xfrm>
          <a:prstGeom prst="rect">
            <a:avLst/>
          </a:prstGeom>
        </p:spPr>
        <p:txBody>
          <a:bodyPr/>
          <a:lstStyle>
            <a:lvl1pPr>
              <a:defRPr>
                <a:solidFill>
                  <a:schemeClr val="accent5"/>
                </a:solidFill>
              </a:defRPr>
            </a:lvl1pPr>
          </a:lstStyle>
          <a:p>
            <a:r>
              <a:rPr lang="fr-FR" smtClean="0"/>
              <a:t>Modifiez le style du titre</a:t>
            </a:r>
            <a:endParaRPr lang="en-GB" dirty="0"/>
          </a:p>
        </p:txBody>
      </p:sp>
      <p:sp>
        <p:nvSpPr>
          <p:cNvPr id="15"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r>
              <a:rPr lang="fr-FR" smtClean="0"/>
              <a:t>Cliquez sur l'icône pour ajouter une image</a:t>
            </a:r>
            <a:endParaRPr lang="pt-PT" dirty="0"/>
          </a:p>
        </p:txBody>
      </p:sp>
    </p:spTree>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815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smtClean="0"/>
              <a:t>Click to edit Master title style</a:t>
            </a:r>
          </a:p>
        </p:txBody>
      </p:sp>
    </p:spTree>
    <p:extLst>
      <p:ext uri="{BB962C8B-B14F-4D97-AF65-F5344CB8AC3E}">
        <p14:creationId xmlns:p14="http://schemas.microsoft.com/office/powerpoint/2010/main" val="822284882"/>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ontent 16">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6724994" cy="1104900"/>
          </a:xfrm>
          <a:prstGeom prst="rect">
            <a:avLst/>
          </a:prstGeom>
        </p:spPr>
        <p:txBody>
          <a:bodyPr/>
          <a:lstStyle/>
          <a:p>
            <a:r>
              <a:rPr lang="fr-FR" smtClean="0"/>
              <a:t>Modifiez le style du titre</a:t>
            </a:r>
            <a:endParaRPr lang="en-GB" dirty="0"/>
          </a:p>
        </p:txBody>
      </p:sp>
      <p:sp>
        <p:nvSpPr>
          <p:cNvPr id="9" name="Freeform 6"/>
          <p:cNvSpPr>
            <a:spLocks/>
          </p:cNvSpPr>
          <p:nvPr userDrawn="1"/>
        </p:nvSpPr>
        <p:spPr bwMode="auto">
          <a:xfrm>
            <a:off x="6441978" y="0"/>
            <a:ext cx="5750022" cy="5887322"/>
          </a:xfrm>
          <a:custGeom>
            <a:avLst/>
            <a:gdLst/>
            <a:ahLst/>
            <a:cxnLst>
              <a:cxn ang="0">
                <a:pos x="782" y="0"/>
              </a:cxn>
              <a:cxn ang="0">
                <a:pos x="2429" y="0"/>
              </a:cxn>
              <a:cxn ang="0">
                <a:pos x="2429" y="1457"/>
              </a:cxn>
              <a:cxn ang="0">
                <a:pos x="2429" y="1472"/>
              </a:cxn>
              <a:cxn ang="0">
                <a:pos x="2428" y="1482"/>
              </a:cxn>
              <a:cxn ang="0">
                <a:pos x="2388" y="1687"/>
              </a:cxn>
              <a:cxn ang="0">
                <a:pos x="2249" y="2084"/>
              </a:cxn>
              <a:cxn ang="0">
                <a:pos x="2122" y="2284"/>
              </a:cxn>
              <a:cxn ang="0">
                <a:pos x="2025" y="2379"/>
              </a:cxn>
              <a:cxn ang="0">
                <a:pos x="1819" y="2476"/>
              </a:cxn>
              <a:cxn ang="0">
                <a:pos x="1760" y="2484"/>
              </a:cxn>
              <a:cxn ang="0">
                <a:pos x="1699" y="2484"/>
              </a:cxn>
              <a:cxn ang="0">
                <a:pos x="1690" y="2483"/>
              </a:cxn>
              <a:cxn ang="0">
                <a:pos x="1562" y="2459"/>
              </a:cxn>
              <a:cxn ang="0">
                <a:pos x="1554" y="2451"/>
              </a:cxn>
              <a:cxn ang="0">
                <a:pos x="1522" y="2378"/>
              </a:cxn>
              <a:cxn ang="0">
                <a:pos x="1415" y="2267"/>
              </a:cxn>
              <a:cxn ang="0">
                <a:pos x="1266" y="2168"/>
              </a:cxn>
              <a:cxn ang="0">
                <a:pos x="929" y="1993"/>
              </a:cxn>
              <a:cxn ang="0">
                <a:pos x="556" y="1797"/>
              </a:cxn>
              <a:cxn ang="0">
                <a:pos x="256" y="1586"/>
              </a:cxn>
              <a:cxn ang="0">
                <a:pos x="68" y="1358"/>
              </a:cxn>
              <a:cxn ang="0">
                <a:pos x="24" y="1256"/>
              </a:cxn>
              <a:cxn ang="0">
                <a:pos x="0" y="1129"/>
              </a:cxn>
              <a:cxn ang="0">
                <a:pos x="0" y="1060"/>
              </a:cxn>
              <a:cxn ang="0">
                <a:pos x="12" y="973"/>
              </a:cxn>
              <a:cxn ang="0">
                <a:pos x="112" y="718"/>
              </a:cxn>
              <a:cxn ang="0">
                <a:pos x="336" y="415"/>
              </a:cxn>
              <a:cxn ang="0">
                <a:pos x="730" y="43"/>
              </a:cxn>
              <a:cxn ang="0">
                <a:pos x="782" y="0"/>
              </a:cxn>
            </a:cxnLst>
            <a:rect l="0" t="0" r="r" b="b"/>
            <a:pathLst>
              <a:path w="2429" h="2484">
                <a:moveTo>
                  <a:pt x="782" y="0"/>
                </a:moveTo>
                <a:cubicBezTo>
                  <a:pt x="1331" y="0"/>
                  <a:pt x="1880" y="0"/>
                  <a:pt x="2429" y="0"/>
                </a:cubicBezTo>
                <a:cubicBezTo>
                  <a:pt x="2429" y="486"/>
                  <a:pt x="2429" y="971"/>
                  <a:pt x="2429" y="1457"/>
                </a:cubicBezTo>
                <a:cubicBezTo>
                  <a:pt x="2429" y="1462"/>
                  <a:pt x="2429" y="1467"/>
                  <a:pt x="2429" y="1472"/>
                </a:cubicBezTo>
                <a:cubicBezTo>
                  <a:pt x="2429" y="1476"/>
                  <a:pt x="2429" y="1479"/>
                  <a:pt x="2428" y="1482"/>
                </a:cubicBezTo>
                <a:cubicBezTo>
                  <a:pt x="2418" y="1551"/>
                  <a:pt x="2405" y="1619"/>
                  <a:pt x="2388" y="1687"/>
                </a:cubicBezTo>
                <a:cubicBezTo>
                  <a:pt x="2355" y="1824"/>
                  <a:pt x="2312" y="1957"/>
                  <a:pt x="2249" y="2084"/>
                </a:cubicBezTo>
                <a:cubicBezTo>
                  <a:pt x="2214" y="2155"/>
                  <a:pt x="2171" y="2222"/>
                  <a:pt x="2122" y="2284"/>
                </a:cubicBezTo>
                <a:cubicBezTo>
                  <a:pt x="2093" y="2319"/>
                  <a:pt x="2061" y="2351"/>
                  <a:pt x="2025" y="2379"/>
                </a:cubicBezTo>
                <a:cubicBezTo>
                  <a:pt x="1964" y="2427"/>
                  <a:pt x="1896" y="2461"/>
                  <a:pt x="1819" y="2476"/>
                </a:cubicBezTo>
                <a:cubicBezTo>
                  <a:pt x="1799" y="2480"/>
                  <a:pt x="1779" y="2481"/>
                  <a:pt x="1760" y="2484"/>
                </a:cubicBezTo>
                <a:cubicBezTo>
                  <a:pt x="1740" y="2484"/>
                  <a:pt x="1719" y="2484"/>
                  <a:pt x="1699" y="2484"/>
                </a:cubicBezTo>
                <a:cubicBezTo>
                  <a:pt x="1696" y="2484"/>
                  <a:pt x="1693" y="2483"/>
                  <a:pt x="1690" y="2483"/>
                </a:cubicBezTo>
                <a:cubicBezTo>
                  <a:pt x="1647" y="2480"/>
                  <a:pt x="1604" y="2471"/>
                  <a:pt x="1562" y="2459"/>
                </a:cubicBezTo>
                <a:cubicBezTo>
                  <a:pt x="1558" y="2457"/>
                  <a:pt x="1555" y="2455"/>
                  <a:pt x="1554" y="2451"/>
                </a:cubicBezTo>
                <a:cubicBezTo>
                  <a:pt x="1549" y="2424"/>
                  <a:pt x="1537" y="2400"/>
                  <a:pt x="1522" y="2378"/>
                </a:cubicBezTo>
                <a:cubicBezTo>
                  <a:pt x="1494" y="2334"/>
                  <a:pt x="1455" y="2300"/>
                  <a:pt x="1415" y="2267"/>
                </a:cubicBezTo>
                <a:cubicBezTo>
                  <a:pt x="1369" y="2229"/>
                  <a:pt x="1317" y="2198"/>
                  <a:pt x="1266" y="2168"/>
                </a:cubicBezTo>
                <a:cubicBezTo>
                  <a:pt x="1156" y="2105"/>
                  <a:pt x="1042" y="2050"/>
                  <a:pt x="929" y="1993"/>
                </a:cubicBezTo>
                <a:cubicBezTo>
                  <a:pt x="803" y="1930"/>
                  <a:pt x="677" y="1868"/>
                  <a:pt x="556" y="1797"/>
                </a:cubicBezTo>
                <a:cubicBezTo>
                  <a:pt x="450" y="1734"/>
                  <a:pt x="348" y="1667"/>
                  <a:pt x="256" y="1586"/>
                </a:cubicBezTo>
                <a:cubicBezTo>
                  <a:pt x="181" y="1520"/>
                  <a:pt x="115" y="1447"/>
                  <a:pt x="68" y="1358"/>
                </a:cubicBezTo>
                <a:cubicBezTo>
                  <a:pt x="50" y="1325"/>
                  <a:pt x="35" y="1292"/>
                  <a:pt x="24" y="1256"/>
                </a:cubicBezTo>
                <a:cubicBezTo>
                  <a:pt x="11" y="1215"/>
                  <a:pt x="2" y="1173"/>
                  <a:pt x="0" y="1129"/>
                </a:cubicBezTo>
                <a:cubicBezTo>
                  <a:pt x="0" y="1106"/>
                  <a:pt x="0" y="1083"/>
                  <a:pt x="0" y="1060"/>
                </a:cubicBezTo>
                <a:cubicBezTo>
                  <a:pt x="1" y="1031"/>
                  <a:pt x="6" y="1002"/>
                  <a:pt x="12" y="973"/>
                </a:cubicBezTo>
                <a:cubicBezTo>
                  <a:pt x="30" y="883"/>
                  <a:pt x="67" y="799"/>
                  <a:pt x="112" y="718"/>
                </a:cubicBezTo>
                <a:cubicBezTo>
                  <a:pt x="175" y="608"/>
                  <a:pt x="252" y="509"/>
                  <a:pt x="336" y="415"/>
                </a:cubicBezTo>
                <a:cubicBezTo>
                  <a:pt x="456" y="280"/>
                  <a:pt x="591" y="159"/>
                  <a:pt x="730" y="43"/>
                </a:cubicBezTo>
                <a:cubicBezTo>
                  <a:pt x="748" y="29"/>
                  <a:pt x="766" y="15"/>
                  <a:pt x="782" y="0"/>
                </a:cubicBezTo>
                <a:close/>
              </a:path>
            </a:pathLst>
          </a:custGeom>
          <a:solidFill>
            <a:schemeClr val="accent5"/>
          </a:solid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0"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1"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2"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r>
              <a:rPr lang="fr-FR" smtClean="0"/>
              <a:t>Cliquez sur l'icône pour ajouter une image</a:t>
            </a:r>
            <a:endParaRPr lang="pt-PT" dirty="0"/>
          </a:p>
        </p:txBody>
      </p:sp>
      <p:sp>
        <p:nvSpPr>
          <p:cNvPr id="13"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227349" y="1919898"/>
            <a:ext cx="4123375" cy="4016445"/>
          </a:xfrm>
          <a:prstGeom prst="rect">
            <a:avLst/>
          </a:prstGeom>
        </p:spPr>
        <p:txBody>
          <a:bodyPr>
            <a:noAutofit/>
          </a:bodyPr>
          <a:lstStyle>
            <a:lvl1pPr>
              <a:lnSpc>
                <a:spcPct val="1000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Tree>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ontent 17">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240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p:cNvSpPr>
            <a:spLocks/>
          </p:cNvSpPr>
          <p:nvPr userDrawn="1"/>
        </p:nvSpPr>
        <p:spPr bwMode="auto">
          <a:xfrm>
            <a:off x="6258848" y="0"/>
            <a:ext cx="5933152" cy="2073918"/>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 name="Title 1"/>
          <p:cNvSpPr>
            <a:spLocks noGrp="1"/>
          </p:cNvSpPr>
          <p:nvPr>
            <p:ph type="title"/>
          </p:nvPr>
        </p:nvSpPr>
        <p:spPr>
          <a:xfrm>
            <a:off x="227349" y="-1"/>
            <a:ext cx="5975743" cy="1865871"/>
          </a:xfrm>
          <a:prstGeom prst="rect">
            <a:avLst/>
          </a:prstGeom>
        </p:spPr>
        <p:txBody>
          <a:bodyPr/>
          <a:lstStyle/>
          <a:p>
            <a:r>
              <a:rPr lang="fr-FR" smtClean="0"/>
              <a:t>Modifiez le style du titre</a:t>
            </a:r>
            <a:endParaRPr lang="en-GB" dirty="0"/>
          </a:p>
        </p:txBody>
      </p:sp>
      <p:sp>
        <p:nvSpPr>
          <p:cNvPr id="13"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4"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5"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7"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227349" y="2085518"/>
            <a:ext cx="5988100" cy="4286253"/>
          </a:xfrm>
          <a:prstGeom prst="rect">
            <a:avLst/>
          </a:prstGeom>
        </p:spPr>
        <p:txBody>
          <a:bodyPr>
            <a:noAutofit/>
          </a:bodyPr>
          <a:lstStyle>
            <a:lvl1pPr>
              <a:lnSpc>
                <a:spcPct val="100000"/>
              </a:lnSpc>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Tree>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8" cy="143985"/>
        </p:xfrm>
        <a:graphic>
          <a:graphicData uri="http://schemas.openxmlformats.org/presentationml/2006/ole">
            <mc:AlternateContent xmlns:mc="http://schemas.openxmlformats.org/markup-compatibility/2006">
              <mc:Choice xmlns:v="urn:schemas-microsoft-com:vml" Requires="v">
                <p:oleObj spid="_x0000_s15873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smtClean="0"/>
              <a:t>Click to edit Master title style</a:t>
            </a:r>
            <a:endParaRPr lang="en-US" noProof="0"/>
          </a:p>
        </p:txBody>
      </p:sp>
      <p:sp>
        <p:nvSpPr>
          <p:cNvPr id="3" name="Content Placeholder 2"/>
          <p:cNvSpPr>
            <a:spLocks noGrp="1"/>
          </p:cNvSpPr>
          <p:nvPr>
            <p:ph idx="1"/>
            <p:custDataLst>
              <p:tags r:id="rId4"/>
            </p:custDataLst>
          </p:nvPr>
        </p:nvSpPr>
        <p:spPr>
          <a:xfrm>
            <a:off x="402493" y="1282701"/>
            <a:ext cx="11392878" cy="4951412"/>
          </a:xfrm>
        </p:spPr>
        <p:txBody>
          <a:bodyPr/>
          <a:lstStyle>
            <a:lvl1pPr>
              <a:defRPr b="0">
                <a:solidFill>
                  <a:schemeClr val="tx2"/>
                </a:solidFill>
              </a:defRPr>
            </a:lvl1pPr>
            <a:lvl2pPr marL="457200" indent="-228600">
              <a:defRPr>
                <a:solidFill>
                  <a:schemeClr val="tx2"/>
                </a:solidFill>
              </a:defRPr>
            </a:lvl2pPr>
            <a:lvl3pPr marL="685800" indent="-228600">
              <a:defRPr>
                <a:solidFill>
                  <a:schemeClr val="tx2"/>
                </a:solidFill>
              </a:defRPr>
            </a:lvl3pPr>
            <a:lvl4pPr>
              <a:defRPr>
                <a:solidFill>
                  <a:schemeClr val="tx2"/>
                </a:solidFill>
              </a:defRPr>
            </a:lvl4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011789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9_Blanc">
    <p:spTree>
      <p:nvGrpSpPr>
        <p:cNvPr id="1" name=""/>
        <p:cNvGrpSpPr/>
        <p:nvPr/>
      </p:nvGrpSpPr>
      <p:grpSpPr>
        <a:xfrm>
          <a:off x="0" y="0"/>
          <a:ext cx="0" cy="0"/>
          <a:chOff x="0" y="0"/>
          <a:chExt cx="0" cy="0"/>
        </a:xfrm>
      </p:grpSpPr>
      <p:pic>
        <p:nvPicPr>
          <p:cNvPr id="45" name="Image 14" descr="behaviors digit.jpg"/>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147724" y="754304"/>
            <a:ext cx="8044276" cy="5609378"/>
          </a:xfrm>
          <a:prstGeom prst="rect">
            <a:avLst/>
          </a:prstGeom>
        </p:spPr>
      </p:pic>
      <p:sp>
        <p:nvSpPr>
          <p:cNvPr id="46" name="Rectangle 45"/>
          <p:cNvSpPr/>
          <p:nvPr userDrawn="1"/>
        </p:nvSpPr>
        <p:spPr bwMode="auto">
          <a:xfrm>
            <a:off x="0" y="771325"/>
            <a:ext cx="4147724" cy="5629476"/>
          </a:xfrm>
          <a:prstGeom prst="rect">
            <a:avLst/>
          </a:prstGeom>
          <a:solidFill>
            <a:srgbClr val="FFFFFF">
              <a:alpha val="89020"/>
            </a:srgbClr>
          </a:solidFill>
          <a:ln w="6350" cap="flat" cmpd="sng" algn="ctr">
            <a:noFill/>
            <a:prstDash val="solid"/>
            <a:round/>
            <a:headEnd type="none" w="med" len="med"/>
            <a:tailEnd type="none" w="med" len="med"/>
          </a:ln>
          <a:effectLst/>
        </p:spPr>
        <p:txBody>
          <a:bodyPr vert="horz" wrap="none" lIns="91435" tIns="45718" rIns="91435" bIns="45718" numCol="1" rtlCol="0" anchor="ctr" anchorCtr="0" compatLnSpc="1">
            <a:prstTxWarp prst="textNoShape">
              <a:avLst/>
            </a:prstTxWarp>
          </a:bodyPr>
          <a:lstStyle/>
          <a:p>
            <a:pPr algn="ctr" defTabSz="914263" eaLnBrk="0" fontAlgn="base" hangingPunct="0">
              <a:spcBef>
                <a:spcPct val="0"/>
              </a:spcBef>
              <a:spcAft>
                <a:spcPct val="0"/>
              </a:spcAft>
            </a:pPr>
            <a:endParaRPr lang="en-US" sz="1600" dirty="0">
              <a:solidFill>
                <a:srgbClr val="1C1C1C"/>
              </a:solidFill>
              <a:cs typeface="Arial" charset="0"/>
            </a:endParaRPr>
          </a:p>
        </p:txBody>
      </p:sp>
      <p:sp>
        <p:nvSpPr>
          <p:cNvPr id="33" name="Title Placeholder 1"/>
          <p:cNvSpPr>
            <a:spLocks noGrp="1"/>
          </p:cNvSpPr>
          <p:nvPr>
            <p:ph type="title"/>
            <p:custDataLst>
              <p:tags r:id="rId1"/>
            </p:custDataLst>
          </p:nvPr>
        </p:nvSpPr>
        <p:spPr>
          <a:xfrm>
            <a:off x="1" y="5"/>
            <a:ext cx="12191999" cy="754299"/>
          </a:xfrm>
          <a:prstGeom prst="rect">
            <a:avLst/>
          </a:prstGeom>
        </p:spPr>
        <p:txBody>
          <a:bodyPr vert="horz" lIns="283968" tIns="31552" rIns="157760" bIns="31552" rtlCol="0" anchor="ctr">
            <a:noAutofit/>
          </a:bodyPr>
          <a:lstStyle/>
          <a:p>
            <a:r>
              <a:rPr lang="pl-PL" noProof="0" dirty="0"/>
              <a:t>Click to edit Master title style</a:t>
            </a:r>
            <a:endParaRPr lang="en-US" noProof="0" dirty="0"/>
          </a:p>
        </p:txBody>
      </p:sp>
      <p:grpSp>
        <p:nvGrpSpPr>
          <p:cNvPr id="4" name="Group 3"/>
          <p:cNvGrpSpPr/>
          <p:nvPr userDrawn="1"/>
        </p:nvGrpSpPr>
        <p:grpSpPr>
          <a:xfrm>
            <a:off x="-9523" y="5974427"/>
            <a:ext cx="12218669" cy="398827"/>
            <a:chOff x="-9524" y="6940244"/>
            <a:chExt cx="12218669" cy="398827"/>
          </a:xfrm>
        </p:grpSpPr>
        <p:cxnSp>
          <p:nvCxnSpPr>
            <p:cNvPr id="51" name="Straight Connector 50"/>
            <p:cNvCxnSpPr/>
            <p:nvPr userDrawn="1"/>
          </p:nvCxnSpPr>
          <p:spPr bwMode="auto">
            <a:xfrm flipH="1">
              <a:off x="-9524" y="7331404"/>
              <a:ext cx="9328784" cy="0"/>
            </a:xfrm>
            <a:prstGeom prst="line">
              <a:avLst/>
            </a:prstGeom>
            <a:solidFill>
              <a:schemeClr val="accent5">
                <a:lumMod val="75000"/>
              </a:schemeClr>
            </a:solidFill>
            <a:ln w="12700" cap="flat" cmpd="sng" algn="ctr">
              <a:solidFill>
                <a:schemeClr val="accent5">
                  <a:lumMod val="75000"/>
                </a:schemeClr>
              </a:solidFill>
              <a:prstDash val="solid"/>
              <a:round/>
              <a:headEnd type="none" w="med" len="med"/>
              <a:tailEnd type="none" w="med" len="med"/>
            </a:ln>
            <a:effectLst/>
          </p:spPr>
        </p:cxnSp>
        <p:cxnSp>
          <p:nvCxnSpPr>
            <p:cNvPr id="52" name="Straight Connector 51"/>
            <p:cNvCxnSpPr/>
            <p:nvPr userDrawn="1"/>
          </p:nvCxnSpPr>
          <p:spPr bwMode="auto">
            <a:xfrm flipH="1">
              <a:off x="11695969" y="7331404"/>
              <a:ext cx="513176" cy="0"/>
            </a:xfrm>
            <a:prstGeom prst="line">
              <a:avLst/>
            </a:prstGeom>
            <a:solidFill>
              <a:schemeClr val="accent5">
                <a:lumMod val="75000"/>
              </a:schemeClr>
            </a:solidFill>
            <a:ln w="9525" cap="flat" cmpd="sng" algn="ctr">
              <a:solidFill>
                <a:schemeClr val="accent5">
                  <a:lumMod val="75000"/>
                </a:schemeClr>
              </a:solidFill>
              <a:prstDash val="solid"/>
              <a:round/>
              <a:headEnd type="none" w="med" len="med"/>
              <a:tailEnd type="none" w="med" len="med"/>
            </a:ln>
            <a:effectLst/>
          </p:spPr>
        </p:cxnSp>
        <p:grpSp>
          <p:nvGrpSpPr>
            <p:cNvPr id="53" name="Group 52"/>
            <p:cNvGrpSpPr/>
            <p:nvPr userDrawn="1"/>
          </p:nvGrpSpPr>
          <p:grpSpPr>
            <a:xfrm>
              <a:off x="9265920" y="6982789"/>
              <a:ext cx="279487" cy="356282"/>
              <a:chOff x="17746562" y="-229690"/>
              <a:chExt cx="742950" cy="762000"/>
            </a:xfrm>
            <a:solidFill>
              <a:schemeClr val="accent5">
                <a:lumMod val="75000"/>
              </a:schemeClr>
            </a:solidFill>
          </p:grpSpPr>
          <p:sp>
            <p:nvSpPr>
              <p:cNvPr id="83" name="Oval 44"/>
              <p:cNvSpPr>
                <a:spLocks noChangeArrowheads="1"/>
              </p:cNvSpPr>
              <p:nvPr userDrawn="1"/>
            </p:nvSpPr>
            <p:spPr bwMode="auto">
              <a:xfrm>
                <a:off x="17973575" y="444098"/>
                <a:ext cx="49213" cy="492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84" name="Freeform 45"/>
              <p:cNvSpPr>
                <a:spLocks noEditPoints="1"/>
              </p:cNvSpPr>
              <p:nvPr userDrawn="1"/>
            </p:nvSpPr>
            <p:spPr bwMode="auto">
              <a:xfrm>
                <a:off x="17746562" y="-229690"/>
                <a:ext cx="742950" cy="762000"/>
              </a:xfrm>
              <a:custGeom>
                <a:avLst/>
                <a:gdLst>
                  <a:gd name="T0" fmla="*/ 1279 w 1480"/>
                  <a:gd name="T1" fmla="*/ 674 h 1518"/>
                  <a:gd name="T2" fmla="*/ 1269 w 1480"/>
                  <a:gd name="T3" fmla="*/ 665 h 1518"/>
                  <a:gd name="T4" fmla="*/ 1001 w 1480"/>
                  <a:gd name="T5" fmla="*/ 633 h 1518"/>
                  <a:gd name="T6" fmla="*/ 928 w 1480"/>
                  <a:gd name="T7" fmla="*/ 0 h 1518"/>
                  <a:gd name="T8" fmla="*/ 0 w 1480"/>
                  <a:gd name="T9" fmla="*/ 72 h 1518"/>
                  <a:gd name="T10" fmla="*/ 72 w 1480"/>
                  <a:gd name="T11" fmla="*/ 1518 h 1518"/>
                  <a:gd name="T12" fmla="*/ 1001 w 1480"/>
                  <a:gd name="T13" fmla="*/ 1446 h 1518"/>
                  <a:gd name="T14" fmla="*/ 1024 w 1480"/>
                  <a:gd name="T15" fmla="*/ 1210 h 1518"/>
                  <a:gd name="T16" fmla="*/ 1279 w 1480"/>
                  <a:gd name="T17" fmla="*/ 675 h 1518"/>
                  <a:gd name="T18" fmla="*/ 928 w 1480"/>
                  <a:gd name="T19" fmla="*/ 52 h 1518"/>
                  <a:gd name="T20" fmla="*/ 948 w 1480"/>
                  <a:gd name="T21" fmla="*/ 180 h 1518"/>
                  <a:gd name="T22" fmla="*/ 53 w 1480"/>
                  <a:gd name="T23" fmla="*/ 72 h 1518"/>
                  <a:gd name="T24" fmla="*/ 928 w 1480"/>
                  <a:gd name="T25" fmla="*/ 1465 h 1518"/>
                  <a:gd name="T26" fmla="*/ 53 w 1480"/>
                  <a:gd name="T27" fmla="*/ 1446 h 1518"/>
                  <a:gd name="T28" fmla="*/ 948 w 1480"/>
                  <a:gd name="T29" fmla="*/ 1338 h 1518"/>
                  <a:gd name="T30" fmla="*/ 928 w 1480"/>
                  <a:gd name="T31" fmla="*/ 1465 h 1518"/>
                  <a:gd name="T32" fmla="*/ 53 w 1480"/>
                  <a:gd name="T33" fmla="*/ 1286 h 1518"/>
                  <a:gd name="T34" fmla="*/ 948 w 1480"/>
                  <a:gd name="T35" fmla="*/ 232 h 1518"/>
                  <a:gd name="T36" fmla="*/ 835 w 1480"/>
                  <a:gd name="T37" fmla="*/ 728 h 1518"/>
                  <a:gd name="T38" fmla="*/ 732 w 1480"/>
                  <a:gd name="T39" fmla="*/ 625 h 1518"/>
                  <a:gd name="T40" fmla="*/ 714 w 1480"/>
                  <a:gd name="T41" fmla="*/ 607 h 1518"/>
                  <a:gd name="T42" fmla="*/ 569 w 1480"/>
                  <a:gd name="T43" fmla="*/ 612 h 1518"/>
                  <a:gd name="T44" fmla="*/ 569 w 1480"/>
                  <a:gd name="T45" fmla="*/ 763 h 1518"/>
                  <a:gd name="T46" fmla="*/ 797 w 1480"/>
                  <a:gd name="T47" fmla="*/ 1089 h 1518"/>
                  <a:gd name="T48" fmla="*/ 948 w 1480"/>
                  <a:gd name="T49" fmla="*/ 1286 h 1518"/>
                  <a:gd name="T50" fmla="*/ 1024 w 1480"/>
                  <a:gd name="T51" fmla="*/ 1157 h 1518"/>
                  <a:gd name="T52" fmla="*/ 835 w 1480"/>
                  <a:gd name="T53" fmla="*/ 975 h 1518"/>
                  <a:gd name="T54" fmla="*/ 887 w 1480"/>
                  <a:gd name="T55" fmla="*/ 1023 h 1518"/>
                  <a:gd name="T56" fmla="*/ 891 w 1480"/>
                  <a:gd name="T57" fmla="*/ 1010 h 1518"/>
                  <a:gd name="T58" fmla="*/ 606 w 1480"/>
                  <a:gd name="T59" fmla="*/ 649 h 1518"/>
                  <a:gd name="T60" fmla="*/ 677 w 1480"/>
                  <a:gd name="T61" fmla="*/ 644 h 1518"/>
                  <a:gd name="T62" fmla="*/ 819 w 1480"/>
                  <a:gd name="T63" fmla="*/ 786 h 1518"/>
                  <a:gd name="T64" fmla="*/ 832 w 1480"/>
                  <a:gd name="T65" fmla="*/ 796 h 1518"/>
                  <a:gd name="T66" fmla="*/ 1125 w 1480"/>
                  <a:gd name="T67" fmla="*/ 660 h 1518"/>
                  <a:gd name="T68" fmla="*/ 1242 w 1480"/>
                  <a:gd name="T69" fmla="*/ 712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80" h="1518">
                    <a:moveTo>
                      <a:pt x="1279" y="675"/>
                    </a:moveTo>
                    <a:cubicBezTo>
                      <a:pt x="1279" y="674"/>
                      <a:pt x="1279" y="674"/>
                      <a:pt x="1279" y="674"/>
                    </a:cubicBezTo>
                    <a:cubicBezTo>
                      <a:pt x="1279" y="674"/>
                      <a:pt x="1279" y="674"/>
                      <a:pt x="1279" y="674"/>
                    </a:cubicBezTo>
                    <a:cubicBezTo>
                      <a:pt x="1269" y="665"/>
                      <a:pt x="1269" y="665"/>
                      <a:pt x="1269" y="665"/>
                    </a:cubicBezTo>
                    <a:cubicBezTo>
                      <a:pt x="1230" y="627"/>
                      <a:pt x="1182" y="607"/>
                      <a:pt x="1125" y="607"/>
                    </a:cubicBezTo>
                    <a:cubicBezTo>
                      <a:pt x="1083" y="607"/>
                      <a:pt x="1041" y="618"/>
                      <a:pt x="1001" y="633"/>
                    </a:cubicBezTo>
                    <a:cubicBezTo>
                      <a:pt x="1001" y="72"/>
                      <a:pt x="1001" y="72"/>
                      <a:pt x="1001" y="72"/>
                    </a:cubicBezTo>
                    <a:cubicBezTo>
                      <a:pt x="1001" y="32"/>
                      <a:pt x="968" y="0"/>
                      <a:pt x="928" y="0"/>
                    </a:cubicBezTo>
                    <a:cubicBezTo>
                      <a:pt x="72" y="0"/>
                      <a:pt x="72" y="0"/>
                      <a:pt x="72" y="0"/>
                    </a:cubicBezTo>
                    <a:cubicBezTo>
                      <a:pt x="33" y="0"/>
                      <a:pt x="0" y="32"/>
                      <a:pt x="0" y="72"/>
                    </a:cubicBezTo>
                    <a:cubicBezTo>
                      <a:pt x="0" y="1446"/>
                      <a:pt x="0" y="1446"/>
                      <a:pt x="0" y="1446"/>
                    </a:cubicBezTo>
                    <a:cubicBezTo>
                      <a:pt x="0" y="1486"/>
                      <a:pt x="33" y="1518"/>
                      <a:pt x="72" y="1518"/>
                    </a:cubicBezTo>
                    <a:cubicBezTo>
                      <a:pt x="928" y="1518"/>
                      <a:pt x="928" y="1518"/>
                      <a:pt x="928" y="1518"/>
                    </a:cubicBezTo>
                    <a:cubicBezTo>
                      <a:pt x="968" y="1518"/>
                      <a:pt x="1001" y="1486"/>
                      <a:pt x="1001" y="1446"/>
                    </a:cubicBezTo>
                    <a:cubicBezTo>
                      <a:pt x="1001" y="1209"/>
                      <a:pt x="1001" y="1209"/>
                      <a:pt x="1001" y="1209"/>
                    </a:cubicBezTo>
                    <a:cubicBezTo>
                      <a:pt x="1008" y="1210"/>
                      <a:pt x="1016" y="1210"/>
                      <a:pt x="1024" y="1210"/>
                    </a:cubicBezTo>
                    <a:cubicBezTo>
                      <a:pt x="1106" y="1210"/>
                      <a:pt x="1189" y="1167"/>
                      <a:pt x="1278" y="1078"/>
                    </a:cubicBezTo>
                    <a:cubicBezTo>
                      <a:pt x="1480" y="876"/>
                      <a:pt x="1329" y="724"/>
                      <a:pt x="1279" y="675"/>
                    </a:cubicBezTo>
                    <a:close/>
                    <a:moveTo>
                      <a:pt x="72" y="52"/>
                    </a:moveTo>
                    <a:cubicBezTo>
                      <a:pt x="928" y="52"/>
                      <a:pt x="928" y="52"/>
                      <a:pt x="928" y="52"/>
                    </a:cubicBezTo>
                    <a:cubicBezTo>
                      <a:pt x="939" y="52"/>
                      <a:pt x="948" y="61"/>
                      <a:pt x="948" y="72"/>
                    </a:cubicBezTo>
                    <a:cubicBezTo>
                      <a:pt x="948" y="180"/>
                      <a:pt x="948" y="180"/>
                      <a:pt x="948" y="180"/>
                    </a:cubicBezTo>
                    <a:cubicBezTo>
                      <a:pt x="53" y="180"/>
                      <a:pt x="53" y="180"/>
                      <a:pt x="53" y="180"/>
                    </a:cubicBezTo>
                    <a:cubicBezTo>
                      <a:pt x="53" y="72"/>
                      <a:pt x="53" y="72"/>
                      <a:pt x="53" y="72"/>
                    </a:cubicBezTo>
                    <a:cubicBezTo>
                      <a:pt x="53" y="61"/>
                      <a:pt x="62" y="52"/>
                      <a:pt x="72" y="52"/>
                    </a:cubicBezTo>
                    <a:close/>
                    <a:moveTo>
                      <a:pt x="928" y="1465"/>
                    </a:moveTo>
                    <a:cubicBezTo>
                      <a:pt x="72" y="1465"/>
                      <a:pt x="72" y="1465"/>
                      <a:pt x="72" y="1465"/>
                    </a:cubicBezTo>
                    <a:cubicBezTo>
                      <a:pt x="62" y="1465"/>
                      <a:pt x="53" y="1457"/>
                      <a:pt x="53" y="1446"/>
                    </a:cubicBezTo>
                    <a:cubicBezTo>
                      <a:pt x="53" y="1338"/>
                      <a:pt x="53" y="1338"/>
                      <a:pt x="53" y="1338"/>
                    </a:cubicBezTo>
                    <a:cubicBezTo>
                      <a:pt x="948" y="1338"/>
                      <a:pt x="948" y="1338"/>
                      <a:pt x="948" y="1338"/>
                    </a:cubicBezTo>
                    <a:cubicBezTo>
                      <a:pt x="948" y="1446"/>
                      <a:pt x="948" y="1446"/>
                      <a:pt x="948" y="1446"/>
                    </a:cubicBezTo>
                    <a:cubicBezTo>
                      <a:pt x="948" y="1457"/>
                      <a:pt x="939" y="1465"/>
                      <a:pt x="928" y="1465"/>
                    </a:cubicBezTo>
                    <a:close/>
                    <a:moveTo>
                      <a:pt x="948" y="1286"/>
                    </a:moveTo>
                    <a:cubicBezTo>
                      <a:pt x="53" y="1286"/>
                      <a:pt x="53" y="1286"/>
                      <a:pt x="53" y="1286"/>
                    </a:cubicBezTo>
                    <a:cubicBezTo>
                      <a:pt x="53" y="232"/>
                      <a:pt x="53" y="232"/>
                      <a:pt x="53" y="232"/>
                    </a:cubicBezTo>
                    <a:cubicBezTo>
                      <a:pt x="948" y="232"/>
                      <a:pt x="948" y="232"/>
                      <a:pt x="948" y="232"/>
                    </a:cubicBezTo>
                    <a:cubicBezTo>
                      <a:pt x="948" y="657"/>
                      <a:pt x="948" y="657"/>
                      <a:pt x="948" y="657"/>
                    </a:cubicBezTo>
                    <a:cubicBezTo>
                      <a:pt x="902" y="681"/>
                      <a:pt x="862" y="708"/>
                      <a:pt x="835" y="728"/>
                    </a:cubicBezTo>
                    <a:cubicBezTo>
                      <a:pt x="818" y="711"/>
                      <a:pt x="795" y="688"/>
                      <a:pt x="774" y="667"/>
                    </a:cubicBezTo>
                    <a:cubicBezTo>
                      <a:pt x="732" y="625"/>
                      <a:pt x="732" y="625"/>
                      <a:pt x="732" y="625"/>
                    </a:cubicBezTo>
                    <a:cubicBezTo>
                      <a:pt x="723" y="616"/>
                      <a:pt x="718" y="610"/>
                      <a:pt x="714" y="607"/>
                    </a:cubicBezTo>
                    <a:cubicBezTo>
                      <a:pt x="714" y="607"/>
                      <a:pt x="714" y="607"/>
                      <a:pt x="714" y="607"/>
                    </a:cubicBezTo>
                    <a:cubicBezTo>
                      <a:pt x="696" y="589"/>
                      <a:pt x="672" y="579"/>
                      <a:pt x="646" y="579"/>
                    </a:cubicBezTo>
                    <a:cubicBezTo>
                      <a:pt x="617" y="579"/>
                      <a:pt x="589" y="591"/>
                      <a:pt x="569" y="612"/>
                    </a:cubicBezTo>
                    <a:cubicBezTo>
                      <a:pt x="548" y="632"/>
                      <a:pt x="537" y="659"/>
                      <a:pt x="537" y="687"/>
                    </a:cubicBezTo>
                    <a:cubicBezTo>
                      <a:pt x="537" y="716"/>
                      <a:pt x="548" y="742"/>
                      <a:pt x="569" y="763"/>
                    </a:cubicBezTo>
                    <a:cubicBezTo>
                      <a:pt x="776" y="970"/>
                      <a:pt x="776" y="970"/>
                      <a:pt x="776" y="970"/>
                    </a:cubicBezTo>
                    <a:cubicBezTo>
                      <a:pt x="761" y="1007"/>
                      <a:pt x="763" y="1054"/>
                      <a:pt x="797" y="1089"/>
                    </a:cubicBezTo>
                    <a:cubicBezTo>
                      <a:pt x="836" y="1130"/>
                      <a:pt x="885" y="1175"/>
                      <a:pt x="948" y="1197"/>
                    </a:cubicBezTo>
                    <a:lnTo>
                      <a:pt x="948" y="1286"/>
                    </a:lnTo>
                    <a:close/>
                    <a:moveTo>
                      <a:pt x="1240" y="1041"/>
                    </a:moveTo>
                    <a:cubicBezTo>
                      <a:pt x="1156" y="1125"/>
                      <a:pt x="1085" y="1157"/>
                      <a:pt x="1024" y="1157"/>
                    </a:cubicBezTo>
                    <a:cubicBezTo>
                      <a:pt x="950" y="1157"/>
                      <a:pt x="890" y="1110"/>
                      <a:pt x="835" y="1053"/>
                    </a:cubicBezTo>
                    <a:cubicBezTo>
                      <a:pt x="811" y="1028"/>
                      <a:pt x="818" y="992"/>
                      <a:pt x="835" y="975"/>
                    </a:cubicBezTo>
                    <a:cubicBezTo>
                      <a:pt x="880" y="1020"/>
                      <a:pt x="880" y="1020"/>
                      <a:pt x="880" y="1020"/>
                    </a:cubicBezTo>
                    <a:cubicBezTo>
                      <a:pt x="883" y="1022"/>
                      <a:pt x="885" y="1023"/>
                      <a:pt x="887" y="1023"/>
                    </a:cubicBezTo>
                    <a:cubicBezTo>
                      <a:pt x="889" y="1023"/>
                      <a:pt x="891" y="1022"/>
                      <a:pt x="892" y="1021"/>
                    </a:cubicBezTo>
                    <a:cubicBezTo>
                      <a:pt x="893" y="1020"/>
                      <a:pt x="896" y="1016"/>
                      <a:pt x="891" y="1010"/>
                    </a:cubicBezTo>
                    <a:cubicBezTo>
                      <a:pt x="885" y="1005"/>
                      <a:pt x="606" y="725"/>
                      <a:pt x="606" y="725"/>
                    </a:cubicBezTo>
                    <a:cubicBezTo>
                      <a:pt x="585" y="704"/>
                      <a:pt x="585" y="670"/>
                      <a:pt x="606" y="649"/>
                    </a:cubicBezTo>
                    <a:cubicBezTo>
                      <a:pt x="617" y="638"/>
                      <a:pt x="632" y="632"/>
                      <a:pt x="646" y="632"/>
                    </a:cubicBezTo>
                    <a:cubicBezTo>
                      <a:pt x="658" y="632"/>
                      <a:pt x="669" y="636"/>
                      <a:pt x="677" y="644"/>
                    </a:cubicBezTo>
                    <a:cubicBezTo>
                      <a:pt x="677" y="644"/>
                      <a:pt x="784" y="751"/>
                      <a:pt x="819" y="786"/>
                    </a:cubicBezTo>
                    <a:cubicBezTo>
                      <a:pt x="819" y="786"/>
                      <a:pt x="819" y="786"/>
                      <a:pt x="819" y="786"/>
                    </a:cubicBezTo>
                    <a:cubicBezTo>
                      <a:pt x="826" y="793"/>
                      <a:pt x="826" y="793"/>
                      <a:pt x="826" y="793"/>
                    </a:cubicBezTo>
                    <a:cubicBezTo>
                      <a:pt x="828" y="795"/>
                      <a:pt x="830" y="796"/>
                      <a:pt x="832" y="796"/>
                    </a:cubicBezTo>
                    <a:cubicBezTo>
                      <a:pt x="834" y="796"/>
                      <a:pt x="837" y="795"/>
                      <a:pt x="838" y="793"/>
                    </a:cubicBezTo>
                    <a:cubicBezTo>
                      <a:pt x="841" y="791"/>
                      <a:pt x="994" y="660"/>
                      <a:pt x="1125" y="660"/>
                    </a:cubicBezTo>
                    <a:cubicBezTo>
                      <a:pt x="1164" y="660"/>
                      <a:pt x="1201" y="672"/>
                      <a:pt x="1232" y="702"/>
                    </a:cubicBezTo>
                    <a:cubicBezTo>
                      <a:pt x="1242" y="712"/>
                      <a:pt x="1242" y="712"/>
                      <a:pt x="1242" y="712"/>
                    </a:cubicBezTo>
                    <a:cubicBezTo>
                      <a:pt x="1307" y="777"/>
                      <a:pt x="1397" y="885"/>
                      <a:pt x="1240" y="10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85" name="Freeform 46"/>
              <p:cNvSpPr>
                <a:spLocks/>
              </p:cNvSpPr>
              <p:nvPr userDrawn="1"/>
            </p:nvSpPr>
            <p:spPr bwMode="auto">
              <a:xfrm>
                <a:off x="17940237" y="-19452"/>
                <a:ext cx="206375" cy="203200"/>
              </a:xfrm>
              <a:custGeom>
                <a:avLst/>
                <a:gdLst>
                  <a:gd name="T0" fmla="*/ 124 w 410"/>
                  <a:gd name="T1" fmla="*/ 123 h 407"/>
                  <a:gd name="T2" fmla="*/ 362 w 410"/>
                  <a:gd name="T3" fmla="*/ 123 h 407"/>
                  <a:gd name="T4" fmla="*/ 399 w 410"/>
                  <a:gd name="T5" fmla="*/ 123 h 407"/>
                  <a:gd name="T6" fmla="*/ 399 w 410"/>
                  <a:gd name="T7" fmla="*/ 86 h 407"/>
                  <a:gd name="T8" fmla="*/ 86 w 410"/>
                  <a:gd name="T9" fmla="*/ 86 h 407"/>
                  <a:gd name="T10" fmla="*/ 86 w 410"/>
                  <a:gd name="T11" fmla="*/ 399 h 407"/>
                  <a:gd name="T12" fmla="*/ 105 w 410"/>
                  <a:gd name="T13" fmla="*/ 407 h 407"/>
                  <a:gd name="T14" fmla="*/ 124 w 410"/>
                  <a:gd name="T15" fmla="*/ 399 h 407"/>
                  <a:gd name="T16" fmla="*/ 124 w 410"/>
                  <a:gd name="T17" fmla="*/ 362 h 407"/>
                  <a:gd name="T18" fmla="*/ 124 w 410"/>
                  <a:gd name="T19" fmla="*/ 123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0" h="407">
                    <a:moveTo>
                      <a:pt x="124" y="123"/>
                    </a:moveTo>
                    <a:cubicBezTo>
                      <a:pt x="189" y="58"/>
                      <a:pt x="296" y="58"/>
                      <a:pt x="362" y="123"/>
                    </a:cubicBezTo>
                    <a:cubicBezTo>
                      <a:pt x="372" y="134"/>
                      <a:pt x="389" y="134"/>
                      <a:pt x="399" y="123"/>
                    </a:cubicBezTo>
                    <a:cubicBezTo>
                      <a:pt x="410" y="113"/>
                      <a:pt x="410" y="97"/>
                      <a:pt x="399" y="86"/>
                    </a:cubicBezTo>
                    <a:cubicBezTo>
                      <a:pt x="313" y="0"/>
                      <a:pt x="173" y="0"/>
                      <a:pt x="86" y="86"/>
                    </a:cubicBezTo>
                    <a:cubicBezTo>
                      <a:pt x="0" y="172"/>
                      <a:pt x="0" y="313"/>
                      <a:pt x="86" y="399"/>
                    </a:cubicBezTo>
                    <a:cubicBezTo>
                      <a:pt x="92" y="404"/>
                      <a:pt x="98" y="407"/>
                      <a:pt x="105" y="407"/>
                    </a:cubicBezTo>
                    <a:cubicBezTo>
                      <a:pt x="112" y="407"/>
                      <a:pt x="119" y="404"/>
                      <a:pt x="124" y="399"/>
                    </a:cubicBezTo>
                    <a:cubicBezTo>
                      <a:pt x="134" y="389"/>
                      <a:pt x="134" y="372"/>
                      <a:pt x="124" y="362"/>
                    </a:cubicBezTo>
                    <a:cubicBezTo>
                      <a:pt x="58" y="296"/>
                      <a:pt x="58" y="189"/>
                      <a:pt x="124"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grpSp>
          <p:nvGrpSpPr>
            <p:cNvPr id="54" name="Group 53"/>
            <p:cNvGrpSpPr/>
            <p:nvPr userDrawn="1"/>
          </p:nvGrpSpPr>
          <p:grpSpPr>
            <a:xfrm>
              <a:off x="9575942" y="6940244"/>
              <a:ext cx="375098" cy="396922"/>
              <a:chOff x="17605275" y="4174723"/>
              <a:chExt cx="873125" cy="923925"/>
            </a:xfrm>
            <a:solidFill>
              <a:schemeClr val="accent5">
                <a:lumMod val="75000"/>
              </a:schemeClr>
            </a:solidFill>
          </p:grpSpPr>
          <p:sp>
            <p:nvSpPr>
              <p:cNvPr id="81" name="Freeform 53"/>
              <p:cNvSpPr>
                <a:spLocks noEditPoints="1"/>
              </p:cNvSpPr>
              <p:nvPr userDrawn="1"/>
            </p:nvSpPr>
            <p:spPr bwMode="auto">
              <a:xfrm>
                <a:off x="17605275" y="4174723"/>
                <a:ext cx="873125" cy="776288"/>
              </a:xfrm>
              <a:custGeom>
                <a:avLst/>
                <a:gdLst>
                  <a:gd name="T0" fmla="*/ 1738 w 1738"/>
                  <a:gd name="T1" fmla="*/ 595 h 1548"/>
                  <a:gd name="T2" fmla="*/ 1046 w 1738"/>
                  <a:gd name="T3" fmla="*/ 262 h 1548"/>
                  <a:gd name="T4" fmla="*/ 678 w 1738"/>
                  <a:gd name="T5" fmla="*/ 191 h 1548"/>
                  <a:gd name="T6" fmla="*/ 191 w 1738"/>
                  <a:gd name="T7" fmla="*/ 404 h 1548"/>
                  <a:gd name="T8" fmla="*/ 165 w 1738"/>
                  <a:gd name="T9" fmla="*/ 1169 h 1548"/>
                  <a:gd name="T10" fmla="*/ 352 w 1738"/>
                  <a:gd name="T11" fmla="*/ 1460 h 1548"/>
                  <a:gd name="T12" fmla="*/ 634 w 1738"/>
                  <a:gd name="T13" fmla="*/ 1292 h 1548"/>
                  <a:gd name="T14" fmla="*/ 371 w 1738"/>
                  <a:gd name="T15" fmla="*/ 1239 h 1548"/>
                  <a:gd name="T16" fmla="*/ 521 w 1738"/>
                  <a:gd name="T17" fmla="*/ 979 h 1548"/>
                  <a:gd name="T18" fmla="*/ 519 w 1738"/>
                  <a:gd name="T19" fmla="*/ 969 h 1548"/>
                  <a:gd name="T20" fmla="*/ 517 w 1738"/>
                  <a:gd name="T21" fmla="*/ 966 h 1548"/>
                  <a:gd name="T22" fmla="*/ 609 w 1738"/>
                  <a:gd name="T23" fmla="*/ 701 h 1548"/>
                  <a:gd name="T24" fmla="*/ 382 w 1738"/>
                  <a:gd name="T25" fmla="*/ 595 h 1548"/>
                  <a:gd name="T26" fmla="*/ 826 w 1738"/>
                  <a:gd name="T27" fmla="*/ 376 h 1548"/>
                  <a:gd name="T28" fmla="*/ 724 w 1738"/>
                  <a:gd name="T29" fmla="*/ 623 h 1548"/>
                  <a:gd name="T30" fmla="*/ 992 w 1738"/>
                  <a:gd name="T31" fmla="*/ 610 h 1548"/>
                  <a:gd name="T32" fmla="*/ 1037 w 1738"/>
                  <a:gd name="T33" fmla="*/ 583 h 1548"/>
                  <a:gd name="T34" fmla="*/ 1375 w 1738"/>
                  <a:gd name="T35" fmla="*/ 513 h 1548"/>
                  <a:gd name="T36" fmla="*/ 1155 w 1738"/>
                  <a:gd name="T37" fmla="*/ 675 h 1548"/>
                  <a:gd name="T38" fmla="*/ 1367 w 1738"/>
                  <a:gd name="T39" fmla="*/ 727 h 1548"/>
                  <a:gd name="T40" fmla="*/ 1220 w 1738"/>
                  <a:gd name="T41" fmla="*/ 968 h 1548"/>
                  <a:gd name="T42" fmla="*/ 1217 w 1738"/>
                  <a:gd name="T43" fmla="*/ 980 h 1548"/>
                  <a:gd name="T44" fmla="*/ 1219 w 1738"/>
                  <a:gd name="T45" fmla="*/ 990 h 1548"/>
                  <a:gd name="T46" fmla="*/ 1221 w 1738"/>
                  <a:gd name="T47" fmla="*/ 993 h 1548"/>
                  <a:gd name="T48" fmla="*/ 1105 w 1738"/>
                  <a:gd name="T49" fmla="*/ 1239 h 1548"/>
                  <a:gd name="T50" fmla="*/ 1368 w 1738"/>
                  <a:gd name="T51" fmla="*/ 1292 h 1548"/>
                  <a:gd name="T52" fmla="*/ 1738 w 1738"/>
                  <a:gd name="T53" fmla="*/ 1358 h 1548"/>
                  <a:gd name="T54" fmla="*/ 191 w 1738"/>
                  <a:gd name="T55" fmla="*/ 457 h 1548"/>
                  <a:gd name="T56" fmla="*/ 53 w 1738"/>
                  <a:gd name="T57" fmla="*/ 595 h 1548"/>
                  <a:gd name="T58" fmla="*/ 191 w 1738"/>
                  <a:gd name="T59" fmla="*/ 1220 h 1548"/>
                  <a:gd name="T60" fmla="*/ 310 w 1738"/>
                  <a:gd name="T61" fmla="*/ 1287 h 1548"/>
                  <a:gd name="T62" fmla="*/ 191 w 1738"/>
                  <a:gd name="T63" fmla="*/ 1496 h 1548"/>
                  <a:gd name="T64" fmla="*/ 217 w 1738"/>
                  <a:gd name="T65" fmla="*/ 1169 h 1548"/>
                  <a:gd name="T66" fmla="*/ 464 w 1738"/>
                  <a:gd name="T67" fmla="*/ 980 h 1548"/>
                  <a:gd name="T68" fmla="*/ 869 w 1738"/>
                  <a:gd name="T69" fmla="*/ 328 h 1548"/>
                  <a:gd name="T70" fmla="*/ 869 w 1738"/>
                  <a:gd name="T71" fmla="*/ 53 h 1548"/>
                  <a:gd name="T72" fmla="*/ 989 w 1738"/>
                  <a:gd name="T73" fmla="*/ 260 h 1548"/>
                  <a:gd name="T74" fmla="*/ 873 w 1738"/>
                  <a:gd name="T75" fmla="*/ 329 h 1548"/>
                  <a:gd name="T76" fmla="*/ 1547 w 1738"/>
                  <a:gd name="T77" fmla="*/ 733 h 1548"/>
                  <a:gd name="T78" fmla="*/ 1422 w 1738"/>
                  <a:gd name="T79" fmla="*/ 738 h 1548"/>
                  <a:gd name="T80" fmla="*/ 1417 w 1738"/>
                  <a:gd name="T81" fmla="*/ 1219 h 1548"/>
                  <a:gd name="T82" fmla="*/ 1547 w 1738"/>
                  <a:gd name="T83" fmla="*/ 1496 h 1548"/>
                  <a:gd name="T84" fmla="*/ 1437 w 1738"/>
                  <a:gd name="T85" fmla="*/ 1278 h 1548"/>
                  <a:gd name="T86" fmla="*/ 1685 w 1738"/>
                  <a:gd name="T87" fmla="*/ 1358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38" h="1548">
                    <a:moveTo>
                      <a:pt x="1574" y="1169"/>
                    </a:moveTo>
                    <a:cubicBezTo>
                      <a:pt x="1574" y="784"/>
                      <a:pt x="1574" y="784"/>
                      <a:pt x="1574" y="784"/>
                    </a:cubicBezTo>
                    <a:cubicBezTo>
                      <a:pt x="1667" y="771"/>
                      <a:pt x="1738" y="691"/>
                      <a:pt x="1738" y="595"/>
                    </a:cubicBezTo>
                    <a:cubicBezTo>
                      <a:pt x="1738" y="490"/>
                      <a:pt x="1653" y="404"/>
                      <a:pt x="1547" y="404"/>
                    </a:cubicBezTo>
                    <a:cubicBezTo>
                      <a:pt x="1490" y="404"/>
                      <a:pt x="1439" y="429"/>
                      <a:pt x="1404" y="469"/>
                    </a:cubicBezTo>
                    <a:cubicBezTo>
                      <a:pt x="1046" y="262"/>
                      <a:pt x="1046" y="262"/>
                      <a:pt x="1046" y="262"/>
                    </a:cubicBezTo>
                    <a:cubicBezTo>
                      <a:pt x="1055" y="240"/>
                      <a:pt x="1060" y="215"/>
                      <a:pt x="1060" y="191"/>
                    </a:cubicBezTo>
                    <a:cubicBezTo>
                      <a:pt x="1060" y="86"/>
                      <a:pt x="974" y="0"/>
                      <a:pt x="869" y="0"/>
                    </a:cubicBezTo>
                    <a:cubicBezTo>
                      <a:pt x="764" y="0"/>
                      <a:pt x="678" y="86"/>
                      <a:pt x="678" y="191"/>
                    </a:cubicBezTo>
                    <a:cubicBezTo>
                      <a:pt x="678" y="216"/>
                      <a:pt x="683" y="240"/>
                      <a:pt x="692" y="262"/>
                    </a:cubicBezTo>
                    <a:cubicBezTo>
                      <a:pt x="334" y="469"/>
                      <a:pt x="334" y="469"/>
                      <a:pt x="334" y="469"/>
                    </a:cubicBezTo>
                    <a:cubicBezTo>
                      <a:pt x="299" y="429"/>
                      <a:pt x="248" y="404"/>
                      <a:pt x="191" y="404"/>
                    </a:cubicBezTo>
                    <a:cubicBezTo>
                      <a:pt x="86" y="404"/>
                      <a:pt x="0" y="490"/>
                      <a:pt x="0" y="595"/>
                    </a:cubicBezTo>
                    <a:cubicBezTo>
                      <a:pt x="0" y="691"/>
                      <a:pt x="72" y="771"/>
                      <a:pt x="165" y="784"/>
                    </a:cubicBezTo>
                    <a:cubicBezTo>
                      <a:pt x="165" y="1169"/>
                      <a:pt x="165" y="1169"/>
                      <a:pt x="165" y="1169"/>
                    </a:cubicBezTo>
                    <a:cubicBezTo>
                      <a:pt x="72" y="1182"/>
                      <a:pt x="0" y="1261"/>
                      <a:pt x="0" y="1358"/>
                    </a:cubicBezTo>
                    <a:cubicBezTo>
                      <a:pt x="0" y="1463"/>
                      <a:pt x="86" y="1548"/>
                      <a:pt x="191" y="1548"/>
                    </a:cubicBezTo>
                    <a:cubicBezTo>
                      <a:pt x="256" y="1548"/>
                      <a:pt x="317" y="1515"/>
                      <a:pt x="352" y="1460"/>
                    </a:cubicBezTo>
                    <a:cubicBezTo>
                      <a:pt x="371" y="1429"/>
                      <a:pt x="382" y="1394"/>
                      <a:pt x="382" y="1358"/>
                    </a:cubicBezTo>
                    <a:cubicBezTo>
                      <a:pt x="382" y="1335"/>
                      <a:pt x="378" y="1313"/>
                      <a:pt x="370" y="1292"/>
                    </a:cubicBezTo>
                    <a:cubicBezTo>
                      <a:pt x="634" y="1292"/>
                      <a:pt x="634" y="1292"/>
                      <a:pt x="634" y="1292"/>
                    </a:cubicBezTo>
                    <a:cubicBezTo>
                      <a:pt x="648" y="1292"/>
                      <a:pt x="660" y="1280"/>
                      <a:pt x="660" y="1265"/>
                    </a:cubicBezTo>
                    <a:cubicBezTo>
                      <a:pt x="660" y="1251"/>
                      <a:pt x="648" y="1239"/>
                      <a:pt x="634" y="1239"/>
                    </a:cubicBezTo>
                    <a:cubicBezTo>
                      <a:pt x="371" y="1239"/>
                      <a:pt x="371" y="1239"/>
                      <a:pt x="371" y="1239"/>
                    </a:cubicBezTo>
                    <a:cubicBezTo>
                      <a:pt x="518" y="994"/>
                      <a:pt x="518" y="994"/>
                      <a:pt x="518" y="994"/>
                    </a:cubicBezTo>
                    <a:cubicBezTo>
                      <a:pt x="520" y="989"/>
                      <a:pt x="521" y="984"/>
                      <a:pt x="521" y="980"/>
                    </a:cubicBezTo>
                    <a:cubicBezTo>
                      <a:pt x="521" y="979"/>
                      <a:pt x="521" y="979"/>
                      <a:pt x="521" y="979"/>
                    </a:cubicBezTo>
                    <a:cubicBezTo>
                      <a:pt x="521" y="979"/>
                      <a:pt x="521" y="979"/>
                      <a:pt x="521" y="979"/>
                    </a:cubicBezTo>
                    <a:cubicBezTo>
                      <a:pt x="521" y="975"/>
                      <a:pt x="520" y="972"/>
                      <a:pt x="519" y="969"/>
                    </a:cubicBezTo>
                    <a:cubicBezTo>
                      <a:pt x="519" y="969"/>
                      <a:pt x="519" y="969"/>
                      <a:pt x="519" y="969"/>
                    </a:cubicBezTo>
                    <a:cubicBezTo>
                      <a:pt x="519" y="968"/>
                      <a:pt x="518" y="968"/>
                      <a:pt x="518" y="968"/>
                    </a:cubicBezTo>
                    <a:cubicBezTo>
                      <a:pt x="518" y="967"/>
                      <a:pt x="518" y="967"/>
                      <a:pt x="518" y="967"/>
                    </a:cubicBezTo>
                    <a:cubicBezTo>
                      <a:pt x="518" y="967"/>
                      <a:pt x="518" y="966"/>
                      <a:pt x="517" y="966"/>
                    </a:cubicBezTo>
                    <a:cubicBezTo>
                      <a:pt x="371" y="727"/>
                      <a:pt x="371" y="727"/>
                      <a:pt x="371" y="727"/>
                    </a:cubicBezTo>
                    <a:cubicBezTo>
                      <a:pt x="583" y="727"/>
                      <a:pt x="583" y="727"/>
                      <a:pt x="583" y="727"/>
                    </a:cubicBezTo>
                    <a:cubicBezTo>
                      <a:pt x="598" y="727"/>
                      <a:pt x="609" y="716"/>
                      <a:pt x="609" y="701"/>
                    </a:cubicBezTo>
                    <a:cubicBezTo>
                      <a:pt x="609" y="687"/>
                      <a:pt x="598" y="675"/>
                      <a:pt x="583" y="675"/>
                    </a:cubicBezTo>
                    <a:cubicBezTo>
                      <a:pt x="364" y="675"/>
                      <a:pt x="364" y="675"/>
                      <a:pt x="364" y="675"/>
                    </a:cubicBezTo>
                    <a:cubicBezTo>
                      <a:pt x="375" y="650"/>
                      <a:pt x="382" y="623"/>
                      <a:pt x="382" y="595"/>
                    </a:cubicBezTo>
                    <a:cubicBezTo>
                      <a:pt x="382" y="566"/>
                      <a:pt x="375" y="538"/>
                      <a:pt x="363" y="513"/>
                    </a:cubicBezTo>
                    <a:cubicBezTo>
                      <a:pt x="719" y="308"/>
                      <a:pt x="719" y="308"/>
                      <a:pt x="719" y="308"/>
                    </a:cubicBezTo>
                    <a:cubicBezTo>
                      <a:pt x="745" y="342"/>
                      <a:pt x="783" y="366"/>
                      <a:pt x="826" y="376"/>
                    </a:cubicBezTo>
                    <a:cubicBezTo>
                      <a:pt x="702" y="583"/>
                      <a:pt x="702" y="583"/>
                      <a:pt x="702" y="583"/>
                    </a:cubicBezTo>
                    <a:cubicBezTo>
                      <a:pt x="694" y="596"/>
                      <a:pt x="698" y="612"/>
                      <a:pt x="711" y="620"/>
                    </a:cubicBezTo>
                    <a:cubicBezTo>
                      <a:pt x="715" y="622"/>
                      <a:pt x="720" y="623"/>
                      <a:pt x="724" y="623"/>
                    </a:cubicBezTo>
                    <a:cubicBezTo>
                      <a:pt x="733" y="623"/>
                      <a:pt x="742" y="619"/>
                      <a:pt x="747" y="610"/>
                    </a:cubicBezTo>
                    <a:cubicBezTo>
                      <a:pt x="869" y="406"/>
                      <a:pt x="869" y="406"/>
                      <a:pt x="869" y="406"/>
                    </a:cubicBezTo>
                    <a:cubicBezTo>
                      <a:pt x="992" y="610"/>
                      <a:pt x="992" y="610"/>
                      <a:pt x="992" y="610"/>
                    </a:cubicBezTo>
                    <a:cubicBezTo>
                      <a:pt x="996" y="619"/>
                      <a:pt x="1005" y="623"/>
                      <a:pt x="1014" y="623"/>
                    </a:cubicBezTo>
                    <a:cubicBezTo>
                      <a:pt x="1019" y="623"/>
                      <a:pt x="1023" y="622"/>
                      <a:pt x="1028" y="620"/>
                    </a:cubicBezTo>
                    <a:cubicBezTo>
                      <a:pt x="1040" y="612"/>
                      <a:pt x="1044" y="596"/>
                      <a:pt x="1037" y="583"/>
                    </a:cubicBezTo>
                    <a:cubicBezTo>
                      <a:pt x="913" y="376"/>
                      <a:pt x="913" y="376"/>
                      <a:pt x="913" y="376"/>
                    </a:cubicBezTo>
                    <a:cubicBezTo>
                      <a:pt x="955" y="366"/>
                      <a:pt x="993" y="342"/>
                      <a:pt x="1020" y="308"/>
                    </a:cubicBezTo>
                    <a:cubicBezTo>
                      <a:pt x="1375" y="513"/>
                      <a:pt x="1375" y="513"/>
                      <a:pt x="1375" y="513"/>
                    </a:cubicBezTo>
                    <a:cubicBezTo>
                      <a:pt x="1363" y="538"/>
                      <a:pt x="1357" y="566"/>
                      <a:pt x="1357" y="595"/>
                    </a:cubicBezTo>
                    <a:cubicBezTo>
                      <a:pt x="1357" y="623"/>
                      <a:pt x="1363" y="650"/>
                      <a:pt x="1374" y="675"/>
                    </a:cubicBezTo>
                    <a:cubicBezTo>
                      <a:pt x="1155" y="675"/>
                      <a:pt x="1155" y="675"/>
                      <a:pt x="1155" y="675"/>
                    </a:cubicBezTo>
                    <a:cubicBezTo>
                      <a:pt x="1141" y="675"/>
                      <a:pt x="1129" y="687"/>
                      <a:pt x="1129" y="701"/>
                    </a:cubicBezTo>
                    <a:cubicBezTo>
                      <a:pt x="1129" y="716"/>
                      <a:pt x="1141" y="727"/>
                      <a:pt x="1155" y="727"/>
                    </a:cubicBezTo>
                    <a:cubicBezTo>
                      <a:pt x="1367" y="727"/>
                      <a:pt x="1367" y="727"/>
                      <a:pt x="1367" y="727"/>
                    </a:cubicBezTo>
                    <a:cubicBezTo>
                      <a:pt x="1221" y="966"/>
                      <a:pt x="1221" y="966"/>
                      <a:pt x="1221" y="966"/>
                    </a:cubicBezTo>
                    <a:cubicBezTo>
                      <a:pt x="1221" y="966"/>
                      <a:pt x="1221" y="966"/>
                      <a:pt x="1221" y="967"/>
                    </a:cubicBezTo>
                    <a:cubicBezTo>
                      <a:pt x="1221" y="967"/>
                      <a:pt x="1220" y="968"/>
                      <a:pt x="1220" y="968"/>
                    </a:cubicBezTo>
                    <a:cubicBezTo>
                      <a:pt x="1220" y="968"/>
                      <a:pt x="1220" y="969"/>
                      <a:pt x="1220" y="969"/>
                    </a:cubicBezTo>
                    <a:cubicBezTo>
                      <a:pt x="1219" y="969"/>
                      <a:pt x="1219" y="970"/>
                      <a:pt x="1219" y="970"/>
                    </a:cubicBezTo>
                    <a:cubicBezTo>
                      <a:pt x="1218" y="973"/>
                      <a:pt x="1217" y="977"/>
                      <a:pt x="1217" y="980"/>
                    </a:cubicBezTo>
                    <a:cubicBezTo>
                      <a:pt x="1217" y="981"/>
                      <a:pt x="1217" y="981"/>
                      <a:pt x="1217" y="981"/>
                    </a:cubicBezTo>
                    <a:cubicBezTo>
                      <a:pt x="1217" y="981"/>
                      <a:pt x="1217" y="981"/>
                      <a:pt x="1217" y="981"/>
                    </a:cubicBezTo>
                    <a:cubicBezTo>
                      <a:pt x="1217" y="984"/>
                      <a:pt x="1218" y="987"/>
                      <a:pt x="1219" y="990"/>
                    </a:cubicBezTo>
                    <a:cubicBezTo>
                      <a:pt x="1219" y="991"/>
                      <a:pt x="1219" y="991"/>
                      <a:pt x="1219" y="991"/>
                    </a:cubicBezTo>
                    <a:cubicBezTo>
                      <a:pt x="1220" y="992"/>
                      <a:pt x="1220" y="992"/>
                      <a:pt x="1220" y="992"/>
                    </a:cubicBezTo>
                    <a:cubicBezTo>
                      <a:pt x="1220" y="993"/>
                      <a:pt x="1220" y="993"/>
                      <a:pt x="1221" y="993"/>
                    </a:cubicBezTo>
                    <a:cubicBezTo>
                      <a:pt x="1221" y="994"/>
                      <a:pt x="1221" y="994"/>
                      <a:pt x="1221" y="994"/>
                    </a:cubicBezTo>
                    <a:cubicBezTo>
                      <a:pt x="1368" y="1239"/>
                      <a:pt x="1368" y="1239"/>
                      <a:pt x="1368" y="1239"/>
                    </a:cubicBezTo>
                    <a:cubicBezTo>
                      <a:pt x="1105" y="1239"/>
                      <a:pt x="1105" y="1239"/>
                      <a:pt x="1105" y="1239"/>
                    </a:cubicBezTo>
                    <a:cubicBezTo>
                      <a:pt x="1090" y="1239"/>
                      <a:pt x="1078" y="1251"/>
                      <a:pt x="1078" y="1265"/>
                    </a:cubicBezTo>
                    <a:cubicBezTo>
                      <a:pt x="1078" y="1280"/>
                      <a:pt x="1090" y="1292"/>
                      <a:pt x="1105" y="1292"/>
                    </a:cubicBezTo>
                    <a:cubicBezTo>
                      <a:pt x="1368" y="1292"/>
                      <a:pt x="1368" y="1292"/>
                      <a:pt x="1368" y="1292"/>
                    </a:cubicBezTo>
                    <a:cubicBezTo>
                      <a:pt x="1361" y="1313"/>
                      <a:pt x="1357" y="1335"/>
                      <a:pt x="1357" y="1358"/>
                    </a:cubicBezTo>
                    <a:cubicBezTo>
                      <a:pt x="1357" y="1463"/>
                      <a:pt x="1442" y="1548"/>
                      <a:pt x="1547" y="1548"/>
                    </a:cubicBezTo>
                    <a:cubicBezTo>
                      <a:pt x="1653" y="1548"/>
                      <a:pt x="1738" y="1463"/>
                      <a:pt x="1738" y="1358"/>
                    </a:cubicBezTo>
                    <a:cubicBezTo>
                      <a:pt x="1738" y="1261"/>
                      <a:pt x="1667" y="1182"/>
                      <a:pt x="1574" y="1169"/>
                    </a:cubicBezTo>
                    <a:close/>
                    <a:moveTo>
                      <a:pt x="53" y="595"/>
                    </a:moveTo>
                    <a:cubicBezTo>
                      <a:pt x="53" y="519"/>
                      <a:pt x="115" y="457"/>
                      <a:pt x="191" y="457"/>
                    </a:cubicBezTo>
                    <a:cubicBezTo>
                      <a:pt x="267" y="457"/>
                      <a:pt x="329" y="519"/>
                      <a:pt x="329" y="595"/>
                    </a:cubicBezTo>
                    <a:cubicBezTo>
                      <a:pt x="329" y="671"/>
                      <a:pt x="267" y="733"/>
                      <a:pt x="191" y="733"/>
                    </a:cubicBezTo>
                    <a:cubicBezTo>
                      <a:pt x="115" y="733"/>
                      <a:pt x="53" y="671"/>
                      <a:pt x="53" y="595"/>
                    </a:cubicBezTo>
                    <a:close/>
                    <a:moveTo>
                      <a:pt x="191" y="1496"/>
                    </a:moveTo>
                    <a:cubicBezTo>
                      <a:pt x="115" y="1496"/>
                      <a:pt x="53" y="1434"/>
                      <a:pt x="53" y="1358"/>
                    </a:cubicBezTo>
                    <a:cubicBezTo>
                      <a:pt x="53" y="1281"/>
                      <a:pt x="115" y="1220"/>
                      <a:pt x="191" y="1220"/>
                    </a:cubicBezTo>
                    <a:cubicBezTo>
                      <a:pt x="233" y="1220"/>
                      <a:pt x="273" y="1239"/>
                      <a:pt x="299" y="1271"/>
                    </a:cubicBezTo>
                    <a:cubicBezTo>
                      <a:pt x="299" y="1274"/>
                      <a:pt x="300" y="1276"/>
                      <a:pt x="302" y="1278"/>
                    </a:cubicBezTo>
                    <a:cubicBezTo>
                      <a:pt x="304" y="1282"/>
                      <a:pt x="306" y="1285"/>
                      <a:pt x="310" y="1287"/>
                    </a:cubicBezTo>
                    <a:cubicBezTo>
                      <a:pt x="322" y="1308"/>
                      <a:pt x="329" y="1333"/>
                      <a:pt x="329" y="1358"/>
                    </a:cubicBezTo>
                    <a:cubicBezTo>
                      <a:pt x="329" y="1384"/>
                      <a:pt x="322" y="1409"/>
                      <a:pt x="307" y="1431"/>
                    </a:cubicBezTo>
                    <a:cubicBezTo>
                      <a:pt x="282" y="1472"/>
                      <a:pt x="238" y="1496"/>
                      <a:pt x="191" y="1496"/>
                    </a:cubicBezTo>
                    <a:close/>
                    <a:moveTo>
                      <a:pt x="464" y="980"/>
                    </a:moveTo>
                    <a:cubicBezTo>
                      <a:pt x="322" y="1219"/>
                      <a:pt x="322" y="1219"/>
                      <a:pt x="322" y="1219"/>
                    </a:cubicBezTo>
                    <a:cubicBezTo>
                      <a:pt x="293" y="1192"/>
                      <a:pt x="256" y="1174"/>
                      <a:pt x="217" y="1169"/>
                    </a:cubicBezTo>
                    <a:cubicBezTo>
                      <a:pt x="217" y="784"/>
                      <a:pt x="217" y="784"/>
                      <a:pt x="217" y="784"/>
                    </a:cubicBezTo>
                    <a:cubicBezTo>
                      <a:pt x="255" y="779"/>
                      <a:pt x="289" y="762"/>
                      <a:pt x="316" y="738"/>
                    </a:cubicBezTo>
                    <a:lnTo>
                      <a:pt x="464" y="980"/>
                    </a:lnTo>
                    <a:close/>
                    <a:moveTo>
                      <a:pt x="873" y="329"/>
                    </a:moveTo>
                    <a:cubicBezTo>
                      <a:pt x="872" y="328"/>
                      <a:pt x="870" y="328"/>
                      <a:pt x="869" y="328"/>
                    </a:cubicBezTo>
                    <a:cubicBezTo>
                      <a:pt x="869" y="328"/>
                      <a:pt x="869" y="328"/>
                      <a:pt x="869" y="328"/>
                    </a:cubicBezTo>
                    <a:cubicBezTo>
                      <a:pt x="868" y="328"/>
                      <a:pt x="866" y="329"/>
                      <a:pt x="865" y="329"/>
                    </a:cubicBezTo>
                    <a:cubicBezTo>
                      <a:pt x="791" y="327"/>
                      <a:pt x="731" y="265"/>
                      <a:pt x="731" y="191"/>
                    </a:cubicBezTo>
                    <a:cubicBezTo>
                      <a:pt x="731" y="115"/>
                      <a:pt x="793" y="53"/>
                      <a:pt x="869" y="53"/>
                    </a:cubicBezTo>
                    <a:cubicBezTo>
                      <a:pt x="945" y="53"/>
                      <a:pt x="1007" y="115"/>
                      <a:pt x="1007" y="191"/>
                    </a:cubicBezTo>
                    <a:cubicBezTo>
                      <a:pt x="1007" y="215"/>
                      <a:pt x="1001" y="239"/>
                      <a:pt x="989" y="260"/>
                    </a:cubicBezTo>
                    <a:cubicBezTo>
                      <a:pt x="989" y="260"/>
                      <a:pt x="989" y="260"/>
                      <a:pt x="989" y="260"/>
                    </a:cubicBezTo>
                    <a:cubicBezTo>
                      <a:pt x="989" y="260"/>
                      <a:pt x="989" y="260"/>
                      <a:pt x="989" y="260"/>
                    </a:cubicBezTo>
                    <a:cubicBezTo>
                      <a:pt x="989" y="260"/>
                      <a:pt x="989" y="260"/>
                      <a:pt x="989" y="260"/>
                    </a:cubicBezTo>
                    <a:cubicBezTo>
                      <a:pt x="965" y="301"/>
                      <a:pt x="921" y="327"/>
                      <a:pt x="873" y="329"/>
                    </a:cubicBezTo>
                    <a:close/>
                    <a:moveTo>
                      <a:pt x="1547" y="457"/>
                    </a:moveTo>
                    <a:cubicBezTo>
                      <a:pt x="1624" y="457"/>
                      <a:pt x="1685" y="519"/>
                      <a:pt x="1685" y="595"/>
                    </a:cubicBezTo>
                    <a:cubicBezTo>
                      <a:pt x="1685" y="671"/>
                      <a:pt x="1624" y="733"/>
                      <a:pt x="1547" y="733"/>
                    </a:cubicBezTo>
                    <a:cubicBezTo>
                      <a:pt x="1471" y="733"/>
                      <a:pt x="1409" y="671"/>
                      <a:pt x="1409" y="595"/>
                    </a:cubicBezTo>
                    <a:cubicBezTo>
                      <a:pt x="1409" y="519"/>
                      <a:pt x="1471" y="457"/>
                      <a:pt x="1547" y="457"/>
                    </a:cubicBezTo>
                    <a:close/>
                    <a:moveTo>
                      <a:pt x="1422" y="738"/>
                    </a:moveTo>
                    <a:cubicBezTo>
                      <a:pt x="1449" y="762"/>
                      <a:pt x="1483" y="779"/>
                      <a:pt x="1521" y="784"/>
                    </a:cubicBezTo>
                    <a:cubicBezTo>
                      <a:pt x="1521" y="1169"/>
                      <a:pt x="1521" y="1169"/>
                      <a:pt x="1521" y="1169"/>
                    </a:cubicBezTo>
                    <a:cubicBezTo>
                      <a:pt x="1482" y="1174"/>
                      <a:pt x="1446" y="1192"/>
                      <a:pt x="1417" y="1219"/>
                    </a:cubicBezTo>
                    <a:cubicBezTo>
                      <a:pt x="1274" y="980"/>
                      <a:pt x="1274" y="980"/>
                      <a:pt x="1274" y="980"/>
                    </a:cubicBezTo>
                    <a:lnTo>
                      <a:pt x="1422" y="738"/>
                    </a:lnTo>
                    <a:close/>
                    <a:moveTo>
                      <a:pt x="1547" y="1496"/>
                    </a:moveTo>
                    <a:cubicBezTo>
                      <a:pt x="1471" y="1496"/>
                      <a:pt x="1409" y="1434"/>
                      <a:pt x="1409" y="1358"/>
                    </a:cubicBezTo>
                    <a:cubicBezTo>
                      <a:pt x="1409" y="1333"/>
                      <a:pt x="1416" y="1308"/>
                      <a:pt x="1429" y="1287"/>
                    </a:cubicBezTo>
                    <a:cubicBezTo>
                      <a:pt x="1432" y="1285"/>
                      <a:pt x="1435" y="1282"/>
                      <a:pt x="1437" y="1278"/>
                    </a:cubicBezTo>
                    <a:cubicBezTo>
                      <a:pt x="1438" y="1276"/>
                      <a:pt x="1439" y="1274"/>
                      <a:pt x="1440" y="1271"/>
                    </a:cubicBezTo>
                    <a:cubicBezTo>
                      <a:pt x="1466" y="1239"/>
                      <a:pt x="1505" y="1220"/>
                      <a:pt x="1547" y="1220"/>
                    </a:cubicBezTo>
                    <a:cubicBezTo>
                      <a:pt x="1624" y="1220"/>
                      <a:pt x="1685" y="1281"/>
                      <a:pt x="1685" y="1358"/>
                    </a:cubicBezTo>
                    <a:cubicBezTo>
                      <a:pt x="1685" y="1434"/>
                      <a:pt x="1624" y="1496"/>
                      <a:pt x="1547" y="14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82" name="Freeform 54"/>
              <p:cNvSpPr>
                <a:spLocks noEditPoints="1"/>
              </p:cNvSpPr>
              <p:nvPr userDrawn="1"/>
            </p:nvSpPr>
            <p:spPr bwMode="auto">
              <a:xfrm>
                <a:off x="17778312" y="4517623"/>
                <a:ext cx="527050" cy="581025"/>
              </a:xfrm>
              <a:custGeom>
                <a:avLst/>
                <a:gdLst>
                  <a:gd name="T0" fmla="*/ 664 w 1050"/>
                  <a:gd name="T1" fmla="*/ 618 h 1158"/>
                  <a:gd name="T2" fmla="*/ 797 w 1050"/>
                  <a:gd name="T3" fmla="*/ 332 h 1158"/>
                  <a:gd name="T4" fmla="*/ 525 w 1050"/>
                  <a:gd name="T5" fmla="*/ 0 h 1158"/>
                  <a:gd name="T6" fmla="*/ 253 w 1050"/>
                  <a:gd name="T7" fmla="*/ 332 h 1158"/>
                  <a:gd name="T8" fmla="*/ 387 w 1050"/>
                  <a:gd name="T9" fmla="*/ 618 h 1158"/>
                  <a:gd name="T10" fmla="*/ 81 w 1050"/>
                  <a:gd name="T11" fmla="*/ 795 h 1158"/>
                  <a:gd name="T12" fmla="*/ 1 w 1050"/>
                  <a:gd name="T13" fmla="*/ 1131 h 1158"/>
                  <a:gd name="T14" fmla="*/ 8 w 1050"/>
                  <a:gd name="T15" fmla="*/ 1150 h 1158"/>
                  <a:gd name="T16" fmla="*/ 27 w 1050"/>
                  <a:gd name="T17" fmla="*/ 1158 h 1158"/>
                  <a:gd name="T18" fmla="*/ 1024 w 1050"/>
                  <a:gd name="T19" fmla="*/ 1158 h 1158"/>
                  <a:gd name="T20" fmla="*/ 1043 w 1050"/>
                  <a:gd name="T21" fmla="*/ 1150 h 1158"/>
                  <a:gd name="T22" fmla="*/ 1050 w 1050"/>
                  <a:gd name="T23" fmla="*/ 1131 h 1158"/>
                  <a:gd name="T24" fmla="*/ 970 w 1050"/>
                  <a:gd name="T25" fmla="*/ 795 h 1158"/>
                  <a:gd name="T26" fmla="*/ 664 w 1050"/>
                  <a:gd name="T27" fmla="*/ 618 h 1158"/>
                  <a:gd name="T28" fmla="*/ 306 w 1050"/>
                  <a:gd name="T29" fmla="*/ 332 h 1158"/>
                  <a:gd name="T30" fmla="*/ 525 w 1050"/>
                  <a:gd name="T31" fmla="*/ 52 h 1158"/>
                  <a:gd name="T32" fmla="*/ 716 w 1050"/>
                  <a:gd name="T33" fmla="*/ 129 h 1158"/>
                  <a:gd name="T34" fmla="*/ 744 w 1050"/>
                  <a:gd name="T35" fmla="*/ 332 h 1158"/>
                  <a:gd name="T36" fmla="*/ 525 w 1050"/>
                  <a:gd name="T37" fmla="*/ 612 h 1158"/>
                  <a:gd name="T38" fmla="*/ 306 w 1050"/>
                  <a:gd name="T39" fmla="*/ 332 h 1158"/>
                  <a:gd name="T40" fmla="*/ 525 w 1050"/>
                  <a:gd name="T41" fmla="*/ 665 h 1158"/>
                  <a:gd name="T42" fmla="*/ 625 w 1050"/>
                  <a:gd name="T43" fmla="*/ 641 h 1158"/>
                  <a:gd name="T44" fmla="*/ 525 w 1050"/>
                  <a:gd name="T45" fmla="*/ 786 h 1158"/>
                  <a:gd name="T46" fmla="*/ 425 w 1050"/>
                  <a:gd name="T47" fmla="*/ 641 h 1158"/>
                  <a:gd name="T48" fmla="*/ 525 w 1050"/>
                  <a:gd name="T49" fmla="*/ 665 h 1158"/>
                  <a:gd name="T50" fmla="*/ 55 w 1050"/>
                  <a:gd name="T51" fmla="*/ 1106 h 1158"/>
                  <a:gd name="T52" fmla="*/ 382 w 1050"/>
                  <a:gd name="T53" fmla="*/ 672 h 1158"/>
                  <a:gd name="T54" fmla="*/ 504 w 1050"/>
                  <a:gd name="T55" fmla="*/ 847 h 1158"/>
                  <a:gd name="T56" fmla="*/ 525 w 1050"/>
                  <a:gd name="T57" fmla="*/ 858 h 1158"/>
                  <a:gd name="T58" fmla="*/ 547 w 1050"/>
                  <a:gd name="T59" fmla="*/ 847 h 1158"/>
                  <a:gd name="T60" fmla="*/ 668 w 1050"/>
                  <a:gd name="T61" fmla="*/ 672 h 1158"/>
                  <a:gd name="T62" fmla="*/ 996 w 1050"/>
                  <a:gd name="T63" fmla="*/ 1106 h 1158"/>
                  <a:gd name="T64" fmla="*/ 55 w 1050"/>
                  <a:gd name="T65" fmla="*/ 1106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50" h="1158">
                    <a:moveTo>
                      <a:pt x="664" y="618"/>
                    </a:moveTo>
                    <a:cubicBezTo>
                      <a:pt x="743" y="560"/>
                      <a:pt x="797" y="454"/>
                      <a:pt x="797" y="332"/>
                    </a:cubicBezTo>
                    <a:cubicBezTo>
                      <a:pt x="797" y="169"/>
                      <a:pt x="797" y="0"/>
                      <a:pt x="525" y="0"/>
                    </a:cubicBezTo>
                    <a:cubicBezTo>
                      <a:pt x="253" y="0"/>
                      <a:pt x="253" y="169"/>
                      <a:pt x="253" y="332"/>
                    </a:cubicBezTo>
                    <a:cubicBezTo>
                      <a:pt x="253" y="454"/>
                      <a:pt x="307" y="560"/>
                      <a:pt x="387" y="618"/>
                    </a:cubicBezTo>
                    <a:cubicBezTo>
                      <a:pt x="242" y="639"/>
                      <a:pt x="142" y="697"/>
                      <a:pt x="81" y="795"/>
                    </a:cubicBezTo>
                    <a:cubicBezTo>
                      <a:pt x="18" y="895"/>
                      <a:pt x="5" y="1027"/>
                      <a:pt x="1" y="1131"/>
                    </a:cubicBezTo>
                    <a:cubicBezTo>
                      <a:pt x="0" y="1138"/>
                      <a:pt x="3" y="1145"/>
                      <a:pt x="8" y="1150"/>
                    </a:cubicBezTo>
                    <a:cubicBezTo>
                      <a:pt x="13" y="1155"/>
                      <a:pt x="20" y="1158"/>
                      <a:pt x="27" y="1158"/>
                    </a:cubicBezTo>
                    <a:cubicBezTo>
                      <a:pt x="1024" y="1158"/>
                      <a:pt x="1024" y="1158"/>
                      <a:pt x="1024" y="1158"/>
                    </a:cubicBezTo>
                    <a:cubicBezTo>
                      <a:pt x="1031" y="1158"/>
                      <a:pt x="1038" y="1155"/>
                      <a:pt x="1043" y="1150"/>
                    </a:cubicBezTo>
                    <a:cubicBezTo>
                      <a:pt x="1048" y="1145"/>
                      <a:pt x="1050" y="1138"/>
                      <a:pt x="1050" y="1131"/>
                    </a:cubicBezTo>
                    <a:cubicBezTo>
                      <a:pt x="1045" y="1027"/>
                      <a:pt x="1032" y="895"/>
                      <a:pt x="970" y="795"/>
                    </a:cubicBezTo>
                    <a:cubicBezTo>
                      <a:pt x="908" y="697"/>
                      <a:pt x="808" y="639"/>
                      <a:pt x="664" y="618"/>
                    </a:cubicBezTo>
                    <a:close/>
                    <a:moveTo>
                      <a:pt x="306" y="332"/>
                    </a:moveTo>
                    <a:cubicBezTo>
                      <a:pt x="306" y="153"/>
                      <a:pt x="316" y="52"/>
                      <a:pt x="525" y="52"/>
                    </a:cubicBezTo>
                    <a:cubicBezTo>
                      <a:pt x="658" y="52"/>
                      <a:pt x="697" y="96"/>
                      <a:pt x="716" y="129"/>
                    </a:cubicBezTo>
                    <a:cubicBezTo>
                      <a:pt x="744" y="180"/>
                      <a:pt x="744" y="257"/>
                      <a:pt x="744" y="332"/>
                    </a:cubicBezTo>
                    <a:cubicBezTo>
                      <a:pt x="744" y="486"/>
                      <a:pt x="646" y="612"/>
                      <a:pt x="525" y="612"/>
                    </a:cubicBezTo>
                    <a:cubicBezTo>
                      <a:pt x="404" y="612"/>
                      <a:pt x="306" y="486"/>
                      <a:pt x="306" y="332"/>
                    </a:cubicBezTo>
                    <a:close/>
                    <a:moveTo>
                      <a:pt x="525" y="665"/>
                    </a:moveTo>
                    <a:cubicBezTo>
                      <a:pt x="560" y="665"/>
                      <a:pt x="594" y="656"/>
                      <a:pt x="625" y="641"/>
                    </a:cubicBezTo>
                    <a:cubicBezTo>
                      <a:pt x="525" y="786"/>
                      <a:pt x="525" y="786"/>
                      <a:pt x="525" y="786"/>
                    </a:cubicBezTo>
                    <a:cubicBezTo>
                      <a:pt x="425" y="641"/>
                      <a:pt x="425" y="641"/>
                      <a:pt x="425" y="641"/>
                    </a:cubicBezTo>
                    <a:cubicBezTo>
                      <a:pt x="456" y="656"/>
                      <a:pt x="490" y="665"/>
                      <a:pt x="525" y="665"/>
                    </a:cubicBezTo>
                    <a:close/>
                    <a:moveTo>
                      <a:pt x="55" y="1106"/>
                    </a:moveTo>
                    <a:cubicBezTo>
                      <a:pt x="69" y="868"/>
                      <a:pt x="133" y="713"/>
                      <a:pt x="382" y="672"/>
                    </a:cubicBezTo>
                    <a:cubicBezTo>
                      <a:pt x="504" y="847"/>
                      <a:pt x="504" y="847"/>
                      <a:pt x="504" y="847"/>
                    </a:cubicBezTo>
                    <a:cubicBezTo>
                      <a:pt x="508" y="854"/>
                      <a:pt x="517" y="858"/>
                      <a:pt x="525" y="858"/>
                    </a:cubicBezTo>
                    <a:cubicBezTo>
                      <a:pt x="534" y="858"/>
                      <a:pt x="542" y="854"/>
                      <a:pt x="547" y="847"/>
                    </a:cubicBezTo>
                    <a:cubicBezTo>
                      <a:pt x="668" y="672"/>
                      <a:pt x="668" y="672"/>
                      <a:pt x="668" y="672"/>
                    </a:cubicBezTo>
                    <a:cubicBezTo>
                      <a:pt x="917" y="713"/>
                      <a:pt x="981" y="868"/>
                      <a:pt x="996" y="1106"/>
                    </a:cubicBezTo>
                    <a:lnTo>
                      <a:pt x="55" y="1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grpSp>
          <p:nvGrpSpPr>
            <p:cNvPr id="55" name="Group 54"/>
            <p:cNvGrpSpPr/>
            <p:nvPr userDrawn="1"/>
          </p:nvGrpSpPr>
          <p:grpSpPr>
            <a:xfrm>
              <a:off x="10065395" y="6985929"/>
              <a:ext cx="447290" cy="351237"/>
              <a:chOff x="13123762" y="2736448"/>
              <a:chExt cx="990600" cy="777875"/>
            </a:xfrm>
            <a:solidFill>
              <a:schemeClr val="accent5">
                <a:lumMod val="75000"/>
              </a:schemeClr>
            </a:solidFill>
          </p:grpSpPr>
          <p:sp>
            <p:nvSpPr>
              <p:cNvPr id="77" name="Freeform 71"/>
              <p:cNvSpPr>
                <a:spLocks noEditPoints="1"/>
              </p:cNvSpPr>
              <p:nvPr userDrawn="1"/>
            </p:nvSpPr>
            <p:spPr bwMode="auto">
              <a:xfrm>
                <a:off x="13123762" y="2736448"/>
                <a:ext cx="990600" cy="777875"/>
              </a:xfrm>
              <a:custGeom>
                <a:avLst/>
                <a:gdLst>
                  <a:gd name="T0" fmla="*/ 1883 w 1975"/>
                  <a:gd name="T1" fmla="*/ 883 h 1550"/>
                  <a:gd name="T2" fmla="*/ 1973 w 1975"/>
                  <a:gd name="T3" fmla="*/ 603 h 1550"/>
                  <a:gd name="T4" fmla="*/ 1740 w 1975"/>
                  <a:gd name="T5" fmla="*/ 174 h 1550"/>
                  <a:gd name="T6" fmla="*/ 1185 w 1975"/>
                  <a:gd name="T7" fmla="*/ 0 h 1550"/>
                  <a:gd name="T8" fmla="*/ 630 w 1975"/>
                  <a:gd name="T9" fmla="*/ 174 h 1550"/>
                  <a:gd name="T10" fmla="*/ 396 w 1975"/>
                  <a:gd name="T11" fmla="*/ 603 h 1550"/>
                  <a:gd name="T12" fmla="*/ 400 w 1975"/>
                  <a:gd name="T13" fmla="*/ 666 h 1550"/>
                  <a:gd name="T14" fmla="*/ 2 w 1975"/>
                  <a:gd name="T15" fmla="*/ 1089 h 1550"/>
                  <a:gd name="T16" fmla="*/ 67 w 1975"/>
                  <a:gd name="T17" fmla="*/ 1293 h 1550"/>
                  <a:gd name="T18" fmla="*/ 3 w 1975"/>
                  <a:gd name="T19" fmla="*/ 1517 h 1550"/>
                  <a:gd name="T20" fmla="*/ 12 w 1975"/>
                  <a:gd name="T21" fmla="*/ 1545 h 1550"/>
                  <a:gd name="T22" fmla="*/ 28 w 1975"/>
                  <a:gd name="T23" fmla="*/ 1550 h 1550"/>
                  <a:gd name="T24" fmla="*/ 42 w 1975"/>
                  <a:gd name="T25" fmla="*/ 1546 h 1550"/>
                  <a:gd name="T26" fmla="*/ 218 w 1975"/>
                  <a:gd name="T27" fmla="*/ 1435 h 1550"/>
                  <a:gd name="T28" fmla="*/ 581 w 1975"/>
                  <a:gd name="T29" fmla="*/ 1533 h 1550"/>
                  <a:gd name="T30" fmla="*/ 942 w 1975"/>
                  <a:gd name="T31" fmla="*/ 1437 h 1550"/>
                  <a:gd name="T32" fmla="*/ 1140 w 1975"/>
                  <a:gd name="T33" fmla="*/ 1205 h 1550"/>
                  <a:gd name="T34" fmla="*/ 1185 w 1975"/>
                  <a:gd name="T35" fmla="*/ 1206 h 1550"/>
                  <a:gd name="T36" fmla="*/ 1686 w 1975"/>
                  <a:gd name="T37" fmla="*/ 1069 h 1550"/>
                  <a:gd name="T38" fmla="*/ 1933 w 1975"/>
                  <a:gd name="T39" fmla="*/ 1225 h 1550"/>
                  <a:gd name="T40" fmla="*/ 1947 w 1975"/>
                  <a:gd name="T41" fmla="*/ 1229 h 1550"/>
                  <a:gd name="T42" fmla="*/ 1963 w 1975"/>
                  <a:gd name="T43" fmla="*/ 1224 h 1550"/>
                  <a:gd name="T44" fmla="*/ 1972 w 1975"/>
                  <a:gd name="T45" fmla="*/ 1196 h 1550"/>
                  <a:gd name="T46" fmla="*/ 1883 w 1975"/>
                  <a:gd name="T47" fmla="*/ 883 h 1550"/>
                  <a:gd name="T48" fmla="*/ 581 w 1975"/>
                  <a:gd name="T49" fmla="*/ 1481 h 1550"/>
                  <a:gd name="T50" fmla="*/ 232 w 1975"/>
                  <a:gd name="T51" fmla="*/ 1382 h 1550"/>
                  <a:gd name="T52" fmla="*/ 204 w 1975"/>
                  <a:gd name="T53" fmla="*/ 1382 h 1550"/>
                  <a:gd name="T54" fmla="*/ 72 w 1975"/>
                  <a:gd name="T55" fmla="*/ 1465 h 1550"/>
                  <a:gd name="T56" fmla="*/ 121 w 1975"/>
                  <a:gd name="T57" fmla="*/ 1296 h 1550"/>
                  <a:gd name="T58" fmla="*/ 117 w 1975"/>
                  <a:gd name="T59" fmla="*/ 1273 h 1550"/>
                  <a:gd name="T60" fmla="*/ 54 w 1975"/>
                  <a:gd name="T61" fmla="*/ 1089 h 1550"/>
                  <a:gd name="T62" fmla="*/ 410 w 1975"/>
                  <a:gd name="T63" fmla="*/ 718 h 1550"/>
                  <a:gd name="T64" fmla="*/ 630 w 1975"/>
                  <a:gd name="T65" fmla="*/ 1032 h 1550"/>
                  <a:gd name="T66" fmla="*/ 1086 w 1975"/>
                  <a:gd name="T67" fmla="*/ 1201 h 1550"/>
                  <a:gd name="T68" fmla="*/ 581 w 1975"/>
                  <a:gd name="T69" fmla="*/ 1481 h 1550"/>
                  <a:gd name="T70" fmla="*/ 1700 w 1975"/>
                  <a:gd name="T71" fmla="*/ 1015 h 1550"/>
                  <a:gd name="T72" fmla="*/ 1671 w 1975"/>
                  <a:gd name="T73" fmla="*/ 1016 h 1550"/>
                  <a:gd name="T74" fmla="*/ 1185 w 1975"/>
                  <a:gd name="T75" fmla="*/ 1153 h 1550"/>
                  <a:gd name="T76" fmla="*/ 449 w 1975"/>
                  <a:gd name="T77" fmla="*/ 603 h 1550"/>
                  <a:gd name="T78" fmla="*/ 1185 w 1975"/>
                  <a:gd name="T79" fmla="*/ 53 h 1550"/>
                  <a:gd name="T80" fmla="*/ 1921 w 1975"/>
                  <a:gd name="T81" fmla="*/ 603 h 1550"/>
                  <a:gd name="T82" fmla="*/ 1833 w 1975"/>
                  <a:gd name="T83" fmla="*/ 863 h 1550"/>
                  <a:gd name="T84" fmla="*/ 1829 w 1975"/>
                  <a:gd name="T85" fmla="*/ 886 h 1550"/>
                  <a:gd name="T86" fmla="*/ 1903 w 1975"/>
                  <a:gd name="T87" fmla="*/ 1144 h 1550"/>
                  <a:gd name="T88" fmla="*/ 1700 w 1975"/>
                  <a:gd name="T89" fmla="*/ 1015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75" h="1550">
                    <a:moveTo>
                      <a:pt x="1883" y="883"/>
                    </a:moveTo>
                    <a:cubicBezTo>
                      <a:pt x="1942" y="798"/>
                      <a:pt x="1973" y="701"/>
                      <a:pt x="1973" y="603"/>
                    </a:cubicBezTo>
                    <a:cubicBezTo>
                      <a:pt x="1973" y="441"/>
                      <a:pt x="1890" y="288"/>
                      <a:pt x="1740" y="174"/>
                    </a:cubicBezTo>
                    <a:cubicBezTo>
                      <a:pt x="1591" y="62"/>
                      <a:pt x="1394" y="0"/>
                      <a:pt x="1185" y="0"/>
                    </a:cubicBezTo>
                    <a:cubicBezTo>
                      <a:pt x="976" y="0"/>
                      <a:pt x="778" y="62"/>
                      <a:pt x="630" y="174"/>
                    </a:cubicBezTo>
                    <a:cubicBezTo>
                      <a:pt x="479" y="288"/>
                      <a:pt x="396" y="441"/>
                      <a:pt x="396" y="603"/>
                    </a:cubicBezTo>
                    <a:cubicBezTo>
                      <a:pt x="396" y="624"/>
                      <a:pt x="398" y="645"/>
                      <a:pt x="400" y="666"/>
                    </a:cubicBezTo>
                    <a:cubicBezTo>
                      <a:pt x="164" y="725"/>
                      <a:pt x="2" y="896"/>
                      <a:pt x="2" y="1089"/>
                    </a:cubicBezTo>
                    <a:cubicBezTo>
                      <a:pt x="2" y="1160"/>
                      <a:pt x="24" y="1231"/>
                      <a:pt x="67" y="1293"/>
                    </a:cubicBezTo>
                    <a:cubicBezTo>
                      <a:pt x="3" y="1517"/>
                      <a:pt x="3" y="1517"/>
                      <a:pt x="3" y="1517"/>
                    </a:cubicBezTo>
                    <a:cubicBezTo>
                      <a:pt x="0" y="1527"/>
                      <a:pt x="4" y="1538"/>
                      <a:pt x="12" y="1545"/>
                    </a:cubicBezTo>
                    <a:cubicBezTo>
                      <a:pt x="17" y="1548"/>
                      <a:pt x="23" y="1550"/>
                      <a:pt x="28" y="1550"/>
                    </a:cubicBezTo>
                    <a:cubicBezTo>
                      <a:pt x="33" y="1550"/>
                      <a:pt x="38" y="1549"/>
                      <a:pt x="42" y="1546"/>
                    </a:cubicBezTo>
                    <a:cubicBezTo>
                      <a:pt x="218" y="1435"/>
                      <a:pt x="218" y="1435"/>
                      <a:pt x="218" y="1435"/>
                    </a:cubicBezTo>
                    <a:cubicBezTo>
                      <a:pt x="320" y="1498"/>
                      <a:pt x="449" y="1533"/>
                      <a:pt x="581" y="1533"/>
                    </a:cubicBezTo>
                    <a:cubicBezTo>
                      <a:pt x="714" y="1533"/>
                      <a:pt x="838" y="1500"/>
                      <a:pt x="942" y="1437"/>
                    </a:cubicBezTo>
                    <a:cubicBezTo>
                      <a:pt x="1038" y="1378"/>
                      <a:pt x="1108" y="1296"/>
                      <a:pt x="1140" y="1205"/>
                    </a:cubicBezTo>
                    <a:cubicBezTo>
                      <a:pt x="1155" y="1206"/>
                      <a:pt x="1170" y="1206"/>
                      <a:pt x="1185" y="1206"/>
                    </a:cubicBezTo>
                    <a:cubicBezTo>
                      <a:pt x="1368" y="1206"/>
                      <a:pt x="1545" y="1157"/>
                      <a:pt x="1686" y="1069"/>
                    </a:cubicBezTo>
                    <a:cubicBezTo>
                      <a:pt x="1933" y="1225"/>
                      <a:pt x="1933" y="1225"/>
                      <a:pt x="1933" y="1225"/>
                    </a:cubicBezTo>
                    <a:cubicBezTo>
                      <a:pt x="1937" y="1228"/>
                      <a:pt x="1942" y="1229"/>
                      <a:pt x="1947" y="1229"/>
                    </a:cubicBezTo>
                    <a:cubicBezTo>
                      <a:pt x="1953" y="1229"/>
                      <a:pt x="1958" y="1227"/>
                      <a:pt x="1963" y="1224"/>
                    </a:cubicBezTo>
                    <a:cubicBezTo>
                      <a:pt x="1972" y="1217"/>
                      <a:pt x="1975" y="1206"/>
                      <a:pt x="1972" y="1196"/>
                    </a:cubicBezTo>
                    <a:lnTo>
                      <a:pt x="1883" y="883"/>
                    </a:lnTo>
                    <a:close/>
                    <a:moveTo>
                      <a:pt x="581" y="1481"/>
                    </a:moveTo>
                    <a:cubicBezTo>
                      <a:pt x="452" y="1481"/>
                      <a:pt x="328" y="1446"/>
                      <a:pt x="232" y="1382"/>
                    </a:cubicBezTo>
                    <a:cubicBezTo>
                      <a:pt x="223" y="1376"/>
                      <a:pt x="212" y="1376"/>
                      <a:pt x="204" y="1382"/>
                    </a:cubicBezTo>
                    <a:cubicBezTo>
                      <a:pt x="72" y="1465"/>
                      <a:pt x="72" y="1465"/>
                      <a:pt x="72" y="1465"/>
                    </a:cubicBezTo>
                    <a:cubicBezTo>
                      <a:pt x="121" y="1296"/>
                      <a:pt x="121" y="1296"/>
                      <a:pt x="121" y="1296"/>
                    </a:cubicBezTo>
                    <a:cubicBezTo>
                      <a:pt x="123" y="1288"/>
                      <a:pt x="121" y="1280"/>
                      <a:pt x="117" y="1273"/>
                    </a:cubicBezTo>
                    <a:cubicBezTo>
                      <a:pt x="76" y="1217"/>
                      <a:pt x="54" y="1153"/>
                      <a:pt x="54" y="1089"/>
                    </a:cubicBezTo>
                    <a:cubicBezTo>
                      <a:pt x="54" y="921"/>
                      <a:pt x="200" y="772"/>
                      <a:pt x="410" y="718"/>
                    </a:cubicBezTo>
                    <a:cubicBezTo>
                      <a:pt x="440" y="836"/>
                      <a:pt x="515" y="945"/>
                      <a:pt x="630" y="1032"/>
                    </a:cubicBezTo>
                    <a:cubicBezTo>
                      <a:pt x="755" y="1126"/>
                      <a:pt x="914" y="1185"/>
                      <a:pt x="1086" y="1201"/>
                    </a:cubicBezTo>
                    <a:cubicBezTo>
                      <a:pt x="1019" y="1365"/>
                      <a:pt x="813" y="1481"/>
                      <a:pt x="581" y="1481"/>
                    </a:cubicBezTo>
                    <a:close/>
                    <a:moveTo>
                      <a:pt x="1700" y="1015"/>
                    </a:moveTo>
                    <a:cubicBezTo>
                      <a:pt x="1691" y="1010"/>
                      <a:pt x="1680" y="1010"/>
                      <a:pt x="1671" y="1016"/>
                    </a:cubicBezTo>
                    <a:cubicBezTo>
                      <a:pt x="1537" y="1104"/>
                      <a:pt x="1364" y="1153"/>
                      <a:pt x="1185" y="1153"/>
                    </a:cubicBezTo>
                    <a:cubicBezTo>
                      <a:pt x="779" y="1153"/>
                      <a:pt x="449" y="906"/>
                      <a:pt x="449" y="603"/>
                    </a:cubicBezTo>
                    <a:cubicBezTo>
                      <a:pt x="449" y="300"/>
                      <a:pt x="779" y="53"/>
                      <a:pt x="1185" y="53"/>
                    </a:cubicBezTo>
                    <a:cubicBezTo>
                      <a:pt x="1591" y="53"/>
                      <a:pt x="1921" y="300"/>
                      <a:pt x="1921" y="603"/>
                    </a:cubicBezTo>
                    <a:cubicBezTo>
                      <a:pt x="1921" y="694"/>
                      <a:pt x="1890" y="784"/>
                      <a:pt x="1833" y="863"/>
                    </a:cubicBezTo>
                    <a:cubicBezTo>
                      <a:pt x="1828" y="870"/>
                      <a:pt x="1827" y="878"/>
                      <a:pt x="1829" y="886"/>
                    </a:cubicBezTo>
                    <a:cubicBezTo>
                      <a:pt x="1903" y="1144"/>
                      <a:pt x="1903" y="1144"/>
                      <a:pt x="1903" y="1144"/>
                    </a:cubicBezTo>
                    <a:lnTo>
                      <a:pt x="1700" y="10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78" name="Freeform 72"/>
              <p:cNvSpPr>
                <a:spLocks noEditPoints="1"/>
              </p:cNvSpPr>
              <p:nvPr userDrawn="1"/>
            </p:nvSpPr>
            <p:spPr bwMode="auto">
              <a:xfrm>
                <a:off x="13534925" y="2987273"/>
                <a:ext cx="96838" cy="98425"/>
              </a:xfrm>
              <a:custGeom>
                <a:avLst/>
                <a:gdLst>
                  <a:gd name="T0" fmla="*/ 98 w 195"/>
                  <a:gd name="T1" fmla="*/ 0 h 195"/>
                  <a:gd name="T2" fmla="*/ 0 w 195"/>
                  <a:gd name="T3" fmla="*/ 97 h 195"/>
                  <a:gd name="T4" fmla="*/ 98 w 195"/>
                  <a:gd name="T5" fmla="*/ 195 h 195"/>
                  <a:gd name="T6" fmla="*/ 195 w 195"/>
                  <a:gd name="T7" fmla="*/ 97 h 195"/>
                  <a:gd name="T8" fmla="*/ 98 w 195"/>
                  <a:gd name="T9" fmla="*/ 0 h 195"/>
                  <a:gd name="T10" fmla="*/ 98 w 195"/>
                  <a:gd name="T11" fmla="*/ 142 h 195"/>
                  <a:gd name="T12" fmla="*/ 53 w 195"/>
                  <a:gd name="T13" fmla="*/ 97 h 195"/>
                  <a:gd name="T14" fmla="*/ 98 w 195"/>
                  <a:gd name="T15" fmla="*/ 52 h 195"/>
                  <a:gd name="T16" fmla="*/ 142 w 195"/>
                  <a:gd name="T17" fmla="*/ 97 h 195"/>
                  <a:gd name="T18" fmla="*/ 98 w 195"/>
                  <a:gd name="T19" fmla="*/ 142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5">
                    <a:moveTo>
                      <a:pt x="98" y="0"/>
                    </a:moveTo>
                    <a:cubicBezTo>
                      <a:pt x="44" y="0"/>
                      <a:pt x="0" y="43"/>
                      <a:pt x="0" y="97"/>
                    </a:cubicBezTo>
                    <a:cubicBezTo>
                      <a:pt x="0" y="151"/>
                      <a:pt x="44" y="195"/>
                      <a:pt x="98" y="195"/>
                    </a:cubicBezTo>
                    <a:cubicBezTo>
                      <a:pt x="151" y="195"/>
                      <a:pt x="195" y="151"/>
                      <a:pt x="195" y="97"/>
                    </a:cubicBezTo>
                    <a:cubicBezTo>
                      <a:pt x="195" y="43"/>
                      <a:pt x="151" y="0"/>
                      <a:pt x="98" y="0"/>
                    </a:cubicBezTo>
                    <a:close/>
                    <a:moveTo>
                      <a:pt x="98" y="142"/>
                    </a:moveTo>
                    <a:cubicBezTo>
                      <a:pt x="73" y="142"/>
                      <a:pt x="53" y="122"/>
                      <a:pt x="53" y="97"/>
                    </a:cubicBezTo>
                    <a:cubicBezTo>
                      <a:pt x="53" y="73"/>
                      <a:pt x="73" y="52"/>
                      <a:pt x="98" y="52"/>
                    </a:cubicBezTo>
                    <a:cubicBezTo>
                      <a:pt x="122" y="52"/>
                      <a:pt x="142" y="73"/>
                      <a:pt x="142" y="97"/>
                    </a:cubicBezTo>
                    <a:cubicBezTo>
                      <a:pt x="142" y="122"/>
                      <a:pt x="122" y="142"/>
                      <a:pt x="98"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79" name="Freeform 73"/>
              <p:cNvSpPr>
                <a:spLocks noEditPoints="1"/>
              </p:cNvSpPr>
              <p:nvPr userDrawn="1"/>
            </p:nvSpPr>
            <p:spPr bwMode="auto">
              <a:xfrm>
                <a:off x="13676212" y="2987273"/>
                <a:ext cx="98425" cy="98425"/>
              </a:xfrm>
              <a:custGeom>
                <a:avLst/>
                <a:gdLst>
                  <a:gd name="T0" fmla="*/ 98 w 195"/>
                  <a:gd name="T1" fmla="*/ 0 h 195"/>
                  <a:gd name="T2" fmla="*/ 0 w 195"/>
                  <a:gd name="T3" fmla="*/ 97 h 195"/>
                  <a:gd name="T4" fmla="*/ 98 w 195"/>
                  <a:gd name="T5" fmla="*/ 195 h 195"/>
                  <a:gd name="T6" fmla="*/ 195 w 195"/>
                  <a:gd name="T7" fmla="*/ 97 h 195"/>
                  <a:gd name="T8" fmla="*/ 98 w 195"/>
                  <a:gd name="T9" fmla="*/ 0 h 195"/>
                  <a:gd name="T10" fmla="*/ 98 w 195"/>
                  <a:gd name="T11" fmla="*/ 142 h 195"/>
                  <a:gd name="T12" fmla="*/ 53 w 195"/>
                  <a:gd name="T13" fmla="*/ 97 h 195"/>
                  <a:gd name="T14" fmla="*/ 98 w 195"/>
                  <a:gd name="T15" fmla="*/ 52 h 195"/>
                  <a:gd name="T16" fmla="*/ 142 w 195"/>
                  <a:gd name="T17" fmla="*/ 97 h 195"/>
                  <a:gd name="T18" fmla="*/ 98 w 195"/>
                  <a:gd name="T19" fmla="*/ 142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5">
                    <a:moveTo>
                      <a:pt x="98" y="0"/>
                    </a:moveTo>
                    <a:cubicBezTo>
                      <a:pt x="44" y="0"/>
                      <a:pt x="0" y="43"/>
                      <a:pt x="0" y="97"/>
                    </a:cubicBezTo>
                    <a:cubicBezTo>
                      <a:pt x="0" y="151"/>
                      <a:pt x="44" y="195"/>
                      <a:pt x="98" y="195"/>
                    </a:cubicBezTo>
                    <a:cubicBezTo>
                      <a:pt x="151" y="195"/>
                      <a:pt x="195" y="151"/>
                      <a:pt x="195" y="97"/>
                    </a:cubicBezTo>
                    <a:cubicBezTo>
                      <a:pt x="195" y="43"/>
                      <a:pt x="151" y="0"/>
                      <a:pt x="98" y="0"/>
                    </a:cubicBezTo>
                    <a:close/>
                    <a:moveTo>
                      <a:pt x="98" y="142"/>
                    </a:moveTo>
                    <a:cubicBezTo>
                      <a:pt x="73" y="142"/>
                      <a:pt x="53" y="122"/>
                      <a:pt x="53" y="97"/>
                    </a:cubicBezTo>
                    <a:cubicBezTo>
                      <a:pt x="53" y="73"/>
                      <a:pt x="73" y="52"/>
                      <a:pt x="98" y="52"/>
                    </a:cubicBezTo>
                    <a:cubicBezTo>
                      <a:pt x="122" y="52"/>
                      <a:pt x="142" y="73"/>
                      <a:pt x="142" y="97"/>
                    </a:cubicBezTo>
                    <a:cubicBezTo>
                      <a:pt x="142" y="122"/>
                      <a:pt x="122" y="142"/>
                      <a:pt x="98"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80" name="Freeform 74"/>
              <p:cNvSpPr>
                <a:spLocks noEditPoints="1"/>
              </p:cNvSpPr>
              <p:nvPr userDrawn="1"/>
            </p:nvSpPr>
            <p:spPr bwMode="auto">
              <a:xfrm>
                <a:off x="13817500" y="2987273"/>
                <a:ext cx="98425" cy="98425"/>
              </a:xfrm>
              <a:custGeom>
                <a:avLst/>
                <a:gdLst>
                  <a:gd name="T0" fmla="*/ 98 w 195"/>
                  <a:gd name="T1" fmla="*/ 0 h 195"/>
                  <a:gd name="T2" fmla="*/ 0 w 195"/>
                  <a:gd name="T3" fmla="*/ 97 h 195"/>
                  <a:gd name="T4" fmla="*/ 98 w 195"/>
                  <a:gd name="T5" fmla="*/ 195 h 195"/>
                  <a:gd name="T6" fmla="*/ 195 w 195"/>
                  <a:gd name="T7" fmla="*/ 97 h 195"/>
                  <a:gd name="T8" fmla="*/ 98 w 195"/>
                  <a:gd name="T9" fmla="*/ 0 h 195"/>
                  <a:gd name="T10" fmla="*/ 98 w 195"/>
                  <a:gd name="T11" fmla="*/ 142 h 195"/>
                  <a:gd name="T12" fmla="*/ 53 w 195"/>
                  <a:gd name="T13" fmla="*/ 97 h 195"/>
                  <a:gd name="T14" fmla="*/ 98 w 195"/>
                  <a:gd name="T15" fmla="*/ 52 h 195"/>
                  <a:gd name="T16" fmla="*/ 143 w 195"/>
                  <a:gd name="T17" fmla="*/ 97 h 195"/>
                  <a:gd name="T18" fmla="*/ 98 w 195"/>
                  <a:gd name="T19" fmla="*/ 142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5">
                    <a:moveTo>
                      <a:pt x="98" y="0"/>
                    </a:moveTo>
                    <a:cubicBezTo>
                      <a:pt x="44" y="0"/>
                      <a:pt x="0" y="43"/>
                      <a:pt x="0" y="97"/>
                    </a:cubicBezTo>
                    <a:cubicBezTo>
                      <a:pt x="0" y="151"/>
                      <a:pt x="44" y="195"/>
                      <a:pt x="98" y="195"/>
                    </a:cubicBezTo>
                    <a:cubicBezTo>
                      <a:pt x="152" y="195"/>
                      <a:pt x="195" y="151"/>
                      <a:pt x="195" y="97"/>
                    </a:cubicBezTo>
                    <a:cubicBezTo>
                      <a:pt x="195" y="43"/>
                      <a:pt x="152" y="0"/>
                      <a:pt x="98" y="0"/>
                    </a:cubicBezTo>
                    <a:close/>
                    <a:moveTo>
                      <a:pt x="98" y="142"/>
                    </a:moveTo>
                    <a:cubicBezTo>
                      <a:pt x="73" y="142"/>
                      <a:pt x="53" y="122"/>
                      <a:pt x="53" y="97"/>
                    </a:cubicBezTo>
                    <a:cubicBezTo>
                      <a:pt x="53" y="73"/>
                      <a:pt x="73" y="52"/>
                      <a:pt x="98" y="52"/>
                    </a:cubicBezTo>
                    <a:cubicBezTo>
                      <a:pt x="122" y="52"/>
                      <a:pt x="143" y="73"/>
                      <a:pt x="143" y="97"/>
                    </a:cubicBezTo>
                    <a:cubicBezTo>
                      <a:pt x="143" y="122"/>
                      <a:pt x="122" y="142"/>
                      <a:pt x="98"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grpSp>
          <p:nvGrpSpPr>
            <p:cNvPr id="56" name="Group 55"/>
            <p:cNvGrpSpPr/>
            <p:nvPr userDrawn="1"/>
          </p:nvGrpSpPr>
          <p:grpSpPr>
            <a:xfrm>
              <a:off x="11510812" y="6996124"/>
              <a:ext cx="289818" cy="341042"/>
              <a:chOff x="19234050" y="-1743477"/>
              <a:chExt cx="682625" cy="803275"/>
            </a:xfrm>
            <a:solidFill>
              <a:schemeClr val="accent5">
                <a:lumMod val="75000"/>
              </a:schemeClr>
            </a:solidFill>
          </p:grpSpPr>
          <p:sp>
            <p:nvSpPr>
              <p:cNvPr id="71" name="Freeform 19"/>
              <p:cNvSpPr>
                <a:spLocks noEditPoints="1"/>
              </p:cNvSpPr>
              <p:nvPr userDrawn="1"/>
            </p:nvSpPr>
            <p:spPr bwMode="auto">
              <a:xfrm>
                <a:off x="19234050" y="-1743477"/>
                <a:ext cx="682625" cy="803275"/>
              </a:xfrm>
              <a:custGeom>
                <a:avLst/>
                <a:gdLst>
                  <a:gd name="T0" fmla="*/ 1352 w 1359"/>
                  <a:gd name="T1" fmla="*/ 772 h 1600"/>
                  <a:gd name="T2" fmla="*/ 1166 w 1359"/>
                  <a:gd name="T3" fmla="*/ 623 h 1600"/>
                  <a:gd name="T4" fmla="*/ 1102 w 1359"/>
                  <a:gd name="T5" fmla="*/ 342 h 1600"/>
                  <a:gd name="T6" fmla="*/ 1102 w 1359"/>
                  <a:gd name="T7" fmla="*/ 341 h 1600"/>
                  <a:gd name="T8" fmla="*/ 1101 w 1359"/>
                  <a:gd name="T9" fmla="*/ 333 h 1600"/>
                  <a:gd name="T10" fmla="*/ 1099 w 1359"/>
                  <a:gd name="T11" fmla="*/ 330 h 1600"/>
                  <a:gd name="T12" fmla="*/ 1097 w 1359"/>
                  <a:gd name="T13" fmla="*/ 326 h 1600"/>
                  <a:gd name="T14" fmla="*/ 779 w 1359"/>
                  <a:gd name="T15" fmla="*/ 8 h 1600"/>
                  <a:gd name="T16" fmla="*/ 775 w 1359"/>
                  <a:gd name="T17" fmla="*/ 5 h 1600"/>
                  <a:gd name="T18" fmla="*/ 772 w 1359"/>
                  <a:gd name="T19" fmla="*/ 3 h 1600"/>
                  <a:gd name="T20" fmla="*/ 768 w 1359"/>
                  <a:gd name="T21" fmla="*/ 1 h 1600"/>
                  <a:gd name="T22" fmla="*/ 765 w 1359"/>
                  <a:gd name="T23" fmla="*/ 0 h 1600"/>
                  <a:gd name="T24" fmla="*/ 761 w 1359"/>
                  <a:gd name="T25" fmla="*/ 0 h 1600"/>
                  <a:gd name="T26" fmla="*/ 74 w 1359"/>
                  <a:gd name="T27" fmla="*/ 0 h 1600"/>
                  <a:gd name="T28" fmla="*/ 0 w 1359"/>
                  <a:gd name="T29" fmla="*/ 1526 h 1600"/>
                  <a:gd name="T30" fmla="*/ 1029 w 1359"/>
                  <a:gd name="T31" fmla="*/ 1600 h 1600"/>
                  <a:gd name="T32" fmla="*/ 1102 w 1359"/>
                  <a:gd name="T33" fmla="*/ 1058 h 1600"/>
                  <a:gd name="T34" fmla="*/ 1248 w 1359"/>
                  <a:gd name="T35" fmla="*/ 913 h 1600"/>
                  <a:gd name="T36" fmla="*/ 1352 w 1359"/>
                  <a:gd name="T37" fmla="*/ 809 h 1600"/>
                  <a:gd name="T38" fmla="*/ 847 w 1359"/>
                  <a:gd name="T39" fmla="*/ 1239 h 1600"/>
                  <a:gd name="T40" fmla="*/ 1081 w 1359"/>
                  <a:gd name="T41" fmla="*/ 782 h 1600"/>
                  <a:gd name="T42" fmla="*/ 847 w 1359"/>
                  <a:gd name="T43" fmla="*/ 1239 h 1600"/>
                  <a:gd name="T44" fmla="*/ 793 w 1359"/>
                  <a:gd name="T45" fmla="*/ 1260 h 1600"/>
                  <a:gd name="T46" fmla="*/ 715 w 1359"/>
                  <a:gd name="T47" fmla="*/ 1181 h 1600"/>
                  <a:gd name="T48" fmla="*/ 1012 w 1359"/>
                  <a:gd name="T49" fmla="*/ 316 h 1600"/>
                  <a:gd name="T50" fmla="*/ 786 w 1359"/>
                  <a:gd name="T51" fmla="*/ 295 h 1600"/>
                  <a:gd name="T52" fmla="*/ 1050 w 1359"/>
                  <a:gd name="T53" fmla="*/ 1526 h 1600"/>
                  <a:gd name="T54" fmla="*/ 74 w 1359"/>
                  <a:gd name="T55" fmla="*/ 1547 h 1600"/>
                  <a:gd name="T56" fmla="*/ 53 w 1359"/>
                  <a:gd name="T57" fmla="*/ 73 h 1600"/>
                  <a:gd name="T58" fmla="*/ 734 w 1359"/>
                  <a:gd name="T59" fmla="*/ 53 h 1600"/>
                  <a:gd name="T60" fmla="*/ 807 w 1359"/>
                  <a:gd name="T61" fmla="*/ 368 h 1600"/>
                  <a:gd name="T62" fmla="*/ 1050 w 1359"/>
                  <a:gd name="T63" fmla="*/ 739 h 1600"/>
                  <a:gd name="T64" fmla="*/ 677 w 1359"/>
                  <a:gd name="T65" fmla="*/ 1111 h 1600"/>
                  <a:gd name="T66" fmla="*/ 674 w 1359"/>
                  <a:gd name="T67" fmla="*/ 1118 h 1600"/>
                  <a:gd name="T68" fmla="*/ 672 w 1359"/>
                  <a:gd name="T69" fmla="*/ 1122 h 1600"/>
                  <a:gd name="T70" fmla="*/ 638 w 1359"/>
                  <a:gd name="T71" fmla="*/ 1306 h 1600"/>
                  <a:gd name="T72" fmla="*/ 664 w 1359"/>
                  <a:gd name="T73" fmla="*/ 1337 h 1600"/>
                  <a:gd name="T74" fmla="*/ 852 w 1359"/>
                  <a:gd name="T75" fmla="*/ 1302 h 1600"/>
                  <a:gd name="T76" fmla="*/ 855 w 1359"/>
                  <a:gd name="T77" fmla="*/ 1301 h 1600"/>
                  <a:gd name="T78" fmla="*/ 862 w 1359"/>
                  <a:gd name="T79" fmla="*/ 1298 h 1600"/>
                  <a:gd name="T80" fmla="*/ 866 w 1359"/>
                  <a:gd name="T81" fmla="*/ 1295 h 1600"/>
                  <a:gd name="T82" fmla="*/ 1050 w 1359"/>
                  <a:gd name="T83" fmla="*/ 1526 h 1600"/>
                  <a:gd name="T84" fmla="*/ 1118 w 1359"/>
                  <a:gd name="T85" fmla="*/ 745 h 1600"/>
                  <a:gd name="T86" fmla="*/ 1296 w 1359"/>
                  <a:gd name="T87" fmla="*/ 790 h 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59" h="1600">
                    <a:moveTo>
                      <a:pt x="1359" y="790"/>
                    </a:moveTo>
                    <a:cubicBezTo>
                      <a:pt x="1359" y="783"/>
                      <a:pt x="1357" y="777"/>
                      <a:pt x="1352" y="772"/>
                    </a:cubicBezTo>
                    <a:cubicBezTo>
                      <a:pt x="1203" y="623"/>
                      <a:pt x="1203" y="623"/>
                      <a:pt x="1203" y="623"/>
                    </a:cubicBezTo>
                    <a:cubicBezTo>
                      <a:pt x="1193" y="612"/>
                      <a:pt x="1176" y="612"/>
                      <a:pt x="1166" y="623"/>
                    </a:cubicBezTo>
                    <a:cubicBezTo>
                      <a:pt x="1102" y="686"/>
                      <a:pt x="1102" y="686"/>
                      <a:pt x="1102" y="686"/>
                    </a:cubicBezTo>
                    <a:cubicBezTo>
                      <a:pt x="1102" y="342"/>
                      <a:pt x="1102" y="342"/>
                      <a:pt x="1102" y="342"/>
                    </a:cubicBezTo>
                    <a:cubicBezTo>
                      <a:pt x="1102" y="342"/>
                      <a:pt x="1102" y="341"/>
                      <a:pt x="1102" y="341"/>
                    </a:cubicBezTo>
                    <a:cubicBezTo>
                      <a:pt x="1102" y="341"/>
                      <a:pt x="1102" y="341"/>
                      <a:pt x="1102" y="341"/>
                    </a:cubicBezTo>
                    <a:cubicBezTo>
                      <a:pt x="1102" y="338"/>
                      <a:pt x="1102" y="336"/>
                      <a:pt x="1101" y="334"/>
                    </a:cubicBezTo>
                    <a:cubicBezTo>
                      <a:pt x="1101" y="333"/>
                      <a:pt x="1101" y="333"/>
                      <a:pt x="1101" y="333"/>
                    </a:cubicBezTo>
                    <a:cubicBezTo>
                      <a:pt x="1100" y="332"/>
                      <a:pt x="1100" y="331"/>
                      <a:pt x="1099" y="330"/>
                    </a:cubicBezTo>
                    <a:cubicBezTo>
                      <a:pt x="1099" y="330"/>
                      <a:pt x="1099" y="330"/>
                      <a:pt x="1099" y="330"/>
                    </a:cubicBezTo>
                    <a:cubicBezTo>
                      <a:pt x="1099" y="329"/>
                      <a:pt x="1098" y="328"/>
                      <a:pt x="1097" y="327"/>
                    </a:cubicBezTo>
                    <a:cubicBezTo>
                      <a:pt x="1097" y="327"/>
                      <a:pt x="1097" y="326"/>
                      <a:pt x="1097" y="326"/>
                    </a:cubicBezTo>
                    <a:cubicBezTo>
                      <a:pt x="1096" y="325"/>
                      <a:pt x="1095" y="324"/>
                      <a:pt x="1095" y="324"/>
                    </a:cubicBezTo>
                    <a:cubicBezTo>
                      <a:pt x="779" y="8"/>
                      <a:pt x="779" y="8"/>
                      <a:pt x="779" y="8"/>
                    </a:cubicBezTo>
                    <a:cubicBezTo>
                      <a:pt x="778" y="7"/>
                      <a:pt x="777" y="6"/>
                      <a:pt x="776" y="5"/>
                    </a:cubicBezTo>
                    <a:cubicBezTo>
                      <a:pt x="776" y="5"/>
                      <a:pt x="775" y="5"/>
                      <a:pt x="775" y="5"/>
                    </a:cubicBezTo>
                    <a:cubicBezTo>
                      <a:pt x="774" y="4"/>
                      <a:pt x="773" y="3"/>
                      <a:pt x="772" y="3"/>
                    </a:cubicBezTo>
                    <a:cubicBezTo>
                      <a:pt x="772" y="3"/>
                      <a:pt x="772" y="3"/>
                      <a:pt x="772" y="3"/>
                    </a:cubicBezTo>
                    <a:cubicBezTo>
                      <a:pt x="771" y="2"/>
                      <a:pt x="770" y="2"/>
                      <a:pt x="769" y="2"/>
                    </a:cubicBezTo>
                    <a:cubicBezTo>
                      <a:pt x="769" y="1"/>
                      <a:pt x="769" y="1"/>
                      <a:pt x="768" y="1"/>
                    </a:cubicBezTo>
                    <a:cubicBezTo>
                      <a:pt x="767" y="1"/>
                      <a:pt x="766" y="1"/>
                      <a:pt x="765" y="0"/>
                    </a:cubicBezTo>
                    <a:cubicBezTo>
                      <a:pt x="765" y="0"/>
                      <a:pt x="765" y="0"/>
                      <a:pt x="765" y="0"/>
                    </a:cubicBezTo>
                    <a:cubicBezTo>
                      <a:pt x="764" y="0"/>
                      <a:pt x="763" y="0"/>
                      <a:pt x="762" y="0"/>
                    </a:cubicBezTo>
                    <a:cubicBezTo>
                      <a:pt x="761" y="0"/>
                      <a:pt x="761" y="0"/>
                      <a:pt x="761" y="0"/>
                    </a:cubicBezTo>
                    <a:cubicBezTo>
                      <a:pt x="761" y="0"/>
                      <a:pt x="760" y="0"/>
                      <a:pt x="760" y="0"/>
                    </a:cubicBezTo>
                    <a:cubicBezTo>
                      <a:pt x="74" y="0"/>
                      <a:pt x="74" y="0"/>
                      <a:pt x="74" y="0"/>
                    </a:cubicBezTo>
                    <a:cubicBezTo>
                      <a:pt x="33" y="0"/>
                      <a:pt x="0" y="33"/>
                      <a:pt x="0" y="73"/>
                    </a:cubicBezTo>
                    <a:cubicBezTo>
                      <a:pt x="0" y="1526"/>
                      <a:pt x="0" y="1526"/>
                      <a:pt x="0" y="1526"/>
                    </a:cubicBezTo>
                    <a:cubicBezTo>
                      <a:pt x="0" y="1567"/>
                      <a:pt x="33" y="1600"/>
                      <a:pt x="74" y="1600"/>
                    </a:cubicBezTo>
                    <a:cubicBezTo>
                      <a:pt x="1029" y="1600"/>
                      <a:pt x="1029" y="1600"/>
                      <a:pt x="1029" y="1600"/>
                    </a:cubicBezTo>
                    <a:cubicBezTo>
                      <a:pt x="1069" y="1600"/>
                      <a:pt x="1102" y="1567"/>
                      <a:pt x="1102" y="1526"/>
                    </a:cubicBezTo>
                    <a:cubicBezTo>
                      <a:pt x="1102" y="1058"/>
                      <a:pt x="1102" y="1058"/>
                      <a:pt x="1102" y="1058"/>
                    </a:cubicBezTo>
                    <a:cubicBezTo>
                      <a:pt x="1248" y="913"/>
                      <a:pt x="1248" y="913"/>
                      <a:pt x="1248" y="913"/>
                    </a:cubicBezTo>
                    <a:cubicBezTo>
                      <a:pt x="1248" y="913"/>
                      <a:pt x="1248" y="913"/>
                      <a:pt x="1248" y="913"/>
                    </a:cubicBezTo>
                    <a:cubicBezTo>
                      <a:pt x="1248" y="913"/>
                      <a:pt x="1248" y="913"/>
                      <a:pt x="1248" y="913"/>
                    </a:cubicBezTo>
                    <a:cubicBezTo>
                      <a:pt x="1352" y="809"/>
                      <a:pt x="1352" y="809"/>
                      <a:pt x="1352" y="809"/>
                    </a:cubicBezTo>
                    <a:cubicBezTo>
                      <a:pt x="1357" y="804"/>
                      <a:pt x="1359" y="797"/>
                      <a:pt x="1359" y="790"/>
                    </a:cubicBezTo>
                    <a:close/>
                    <a:moveTo>
                      <a:pt x="847" y="1239"/>
                    </a:moveTo>
                    <a:cubicBezTo>
                      <a:pt x="736" y="1127"/>
                      <a:pt x="736" y="1127"/>
                      <a:pt x="736" y="1127"/>
                    </a:cubicBezTo>
                    <a:cubicBezTo>
                      <a:pt x="1081" y="782"/>
                      <a:pt x="1081" y="782"/>
                      <a:pt x="1081" y="782"/>
                    </a:cubicBezTo>
                    <a:cubicBezTo>
                      <a:pt x="1192" y="894"/>
                      <a:pt x="1192" y="894"/>
                      <a:pt x="1192" y="894"/>
                    </a:cubicBezTo>
                    <a:lnTo>
                      <a:pt x="847" y="1239"/>
                    </a:lnTo>
                    <a:close/>
                    <a:moveTo>
                      <a:pt x="715" y="1181"/>
                    </a:moveTo>
                    <a:cubicBezTo>
                      <a:pt x="793" y="1260"/>
                      <a:pt x="793" y="1260"/>
                      <a:pt x="793" y="1260"/>
                    </a:cubicBezTo>
                    <a:cubicBezTo>
                      <a:pt x="697" y="1277"/>
                      <a:pt x="697" y="1277"/>
                      <a:pt x="697" y="1277"/>
                    </a:cubicBezTo>
                    <a:lnTo>
                      <a:pt x="715" y="1181"/>
                    </a:lnTo>
                    <a:close/>
                    <a:moveTo>
                      <a:pt x="786" y="90"/>
                    </a:moveTo>
                    <a:cubicBezTo>
                      <a:pt x="1012" y="316"/>
                      <a:pt x="1012" y="316"/>
                      <a:pt x="1012" y="316"/>
                    </a:cubicBezTo>
                    <a:cubicBezTo>
                      <a:pt x="807" y="316"/>
                      <a:pt x="807" y="316"/>
                      <a:pt x="807" y="316"/>
                    </a:cubicBezTo>
                    <a:cubicBezTo>
                      <a:pt x="796" y="316"/>
                      <a:pt x="786" y="307"/>
                      <a:pt x="786" y="295"/>
                    </a:cubicBezTo>
                    <a:lnTo>
                      <a:pt x="786" y="90"/>
                    </a:lnTo>
                    <a:close/>
                    <a:moveTo>
                      <a:pt x="1050" y="1526"/>
                    </a:moveTo>
                    <a:cubicBezTo>
                      <a:pt x="1050" y="1538"/>
                      <a:pt x="1040" y="1547"/>
                      <a:pt x="1029" y="1547"/>
                    </a:cubicBezTo>
                    <a:cubicBezTo>
                      <a:pt x="74" y="1547"/>
                      <a:pt x="74" y="1547"/>
                      <a:pt x="74" y="1547"/>
                    </a:cubicBezTo>
                    <a:cubicBezTo>
                      <a:pt x="62" y="1547"/>
                      <a:pt x="53" y="1538"/>
                      <a:pt x="53" y="1526"/>
                    </a:cubicBezTo>
                    <a:cubicBezTo>
                      <a:pt x="53" y="73"/>
                      <a:pt x="53" y="73"/>
                      <a:pt x="53" y="73"/>
                    </a:cubicBezTo>
                    <a:cubicBezTo>
                      <a:pt x="53" y="62"/>
                      <a:pt x="62" y="53"/>
                      <a:pt x="74" y="53"/>
                    </a:cubicBezTo>
                    <a:cubicBezTo>
                      <a:pt x="734" y="53"/>
                      <a:pt x="734" y="53"/>
                      <a:pt x="734" y="53"/>
                    </a:cubicBezTo>
                    <a:cubicBezTo>
                      <a:pt x="734" y="295"/>
                      <a:pt x="734" y="295"/>
                      <a:pt x="734" y="295"/>
                    </a:cubicBezTo>
                    <a:cubicBezTo>
                      <a:pt x="734" y="336"/>
                      <a:pt x="767" y="368"/>
                      <a:pt x="807" y="368"/>
                    </a:cubicBezTo>
                    <a:cubicBezTo>
                      <a:pt x="1050" y="368"/>
                      <a:pt x="1050" y="368"/>
                      <a:pt x="1050" y="368"/>
                    </a:cubicBezTo>
                    <a:cubicBezTo>
                      <a:pt x="1050" y="739"/>
                      <a:pt x="1050" y="739"/>
                      <a:pt x="1050" y="739"/>
                    </a:cubicBezTo>
                    <a:cubicBezTo>
                      <a:pt x="680" y="1109"/>
                      <a:pt x="680" y="1109"/>
                      <a:pt x="680" y="1109"/>
                    </a:cubicBezTo>
                    <a:cubicBezTo>
                      <a:pt x="679" y="1110"/>
                      <a:pt x="678" y="1110"/>
                      <a:pt x="677" y="1111"/>
                    </a:cubicBezTo>
                    <a:cubicBezTo>
                      <a:pt x="677" y="1112"/>
                      <a:pt x="677" y="1112"/>
                      <a:pt x="677" y="1112"/>
                    </a:cubicBezTo>
                    <a:cubicBezTo>
                      <a:pt x="675" y="1114"/>
                      <a:pt x="674" y="1116"/>
                      <a:pt x="674" y="1118"/>
                    </a:cubicBezTo>
                    <a:cubicBezTo>
                      <a:pt x="673" y="1118"/>
                      <a:pt x="673" y="1119"/>
                      <a:pt x="673" y="1119"/>
                    </a:cubicBezTo>
                    <a:cubicBezTo>
                      <a:pt x="673" y="1120"/>
                      <a:pt x="673" y="1121"/>
                      <a:pt x="672" y="1122"/>
                    </a:cubicBezTo>
                    <a:cubicBezTo>
                      <a:pt x="672" y="1122"/>
                      <a:pt x="672" y="1122"/>
                      <a:pt x="672" y="1122"/>
                    </a:cubicBezTo>
                    <a:cubicBezTo>
                      <a:pt x="638" y="1306"/>
                      <a:pt x="638" y="1306"/>
                      <a:pt x="638" y="1306"/>
                    </a:cubicBezTo>
                    <a:cubicBezTo>
                      <a:pt x="637" y="1314"/>
                      <a:pt x="639" y="1323"/>
                      <a:pt x="645" y="1329"/>
                    </a:cubicBezTo>
                    <a:cubicBezTo>
                      <a:pt x="650" y="1334"/>
                      <a:pt x="657" y="1337"/>
                      <a:pt x="664" y="1337"/>
                    </a:cubicBezTo>
                    <a:cubicBezTo>
                      <a:pt x="666" y="1337"/>
                      <a:pt x="667" y="1337"/>
                      <a:pt x="669" y="1336"/>
                    </a:cubicBezTo>
                    <a:cubicBezTo>
                      <a:pt x="852" y="1302"/>
                      <a:pt x="852" y="1302"/>
                      <a:pt x="852" y="1302"/>
                    </a:cubicBezTo>
                    <a:cubicBezTo>
                      <a:pt x="852" y="1302"/>
                      <a:pt x="852" y="1302"/>
                      <a:pt x="852" y="1302"/>
                    </a:cubicBezTo>
                    <a:cubicBezTo>
                      <a:pt x="853" y="1302"/>
                      <a:pt x="854" y="1302"/>
                      <a:pt x="855" y="1301"/>
                    </a:cubicBezTo>
                    <a:cubicBezTo>
                      <a:pt x="856" y="1301"/>
                      <a:pt x="856" y="1301"/>
                      <a:pt x="856" y="1301"/>
                    </a:cubicBezTo>
                    <a:cubicBezTo>
                      <a:pt x="858" y="1300"/>
                      <a:pt x="861" y="1299"/>
                      <a:pt x="862" y="1298"/>
                    </a:cubicBezTo>
                    <a:cubicBezTo>
                      <a:pt x="863" y="1297"/>
                      <a:pt x="863" y="1297"/>
                      <a:pt x="863" y="1297"/>
                    </a:cubicBezTo>
                    <a:cubicBezTo>
                      <a:pt x="864" y="1296"/>
                      <a:pt x="865" y="1296"/>
                      <a:pt x="866" y="1295"/>
                    </a:cubicBezTo>
                    <a:cubicBezTo>
                      <a:pt x="1050" y="1111"/>
                      <a:pt x="1050" y="1111"/>
                      <a:pt x="1050" y="1111"/>
                    </a:cubicBezTo>
                    <a:lnTo>
                      <a:pt x="1050" y="1526"/>
                    </a:lnTo>
                    <a:close/>
                    <a:moveTo>
                      <a:pt x="1230" y="857"/>
                    </a:moveTo>
                    <a:cubicBezTo>
                      <a:pt x="1118" y="745"/>
                      <a:pt x="1118" y="745"/>
                      <a:pt x="1118" y="745"/>
                    </a:cubicBezTo>
                    <a:cubicBezTo>
                      <a:pt x="1184" y="679"/>
                      <a:pt x="1184" y="679"/>
                      <a:pt x="1184" y="679"/>
                    </a:cubicBezTo>
                    <a:cubicBezTo>
                      <a:pt x="1296" y="790"/>
                      <a:pt x="1296" y="790"/>
                      <a:pt x="1296" y="790"/>
                    </a:cubicBezTo>
                    <a:lnTo>
                      <a:pt x="1230" y="8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72" name="Freeform 20"/>
              <p:cNvSpPr>
                <a:spLocks/>
              </p:cNvSpPr>
              <p:nvPr userDrawn="1"/>
            </p:nvSpPr>
            <p:spPr bwMode="auto">
              <a:xfrm>
                <a:off x="19318187" y="-1610127"/>
                <a:ext cx="192088" cy="25400"/>
              </a:xfrm>
              <a:custGeom>
                <a:avLst/>
                <a:gdLst>
                  <a:gd name="T0" fmla="*/ 26 w 384"/>
                  <a:gd name="T1" fmla="*/ 52 h 52"/>
                  <a:gd name="T2" fmla="*/ 358 w 384"/>
                  <a:gd name="T3" fmla="*/ 52 h 52"/>
                  <a:gd name="T4" fmla="*/ 384 w 384"/>
                  <a:gd name="T5" fmla="*/ 26 h 52"/>
                  <a:gd name="T6" fmla="*/ 358 w 384"/>
                  <a:gd name="T7" fmla="*/ 0 h 52"/>
                  <a:gd name="T8" fmla="*/ 26 w 384"/>
                  <a:gd name="T9" fmla="*/ 0 h 52"/>
                  <a:gd name="T10" fmla="*/ 0 w 384"/>
                  <a:gd name="T11" fmla="*/ 26 h 52"/>
                  <a:gd name="T12" fmla="*/ 26 w 384"/>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84" h="52">
                    <a:moveTo>
                      <a:pt x="26" y="52"/>
                    </a:moveTo>
                    <a:cubicBezTo>
                      <a:pt x="358" y="52"/>
                      <a:pt x="358" y="52"/>
                      <a:pt x="358" y="52"/>
                    </a:cubicBezTo>
                    <a:cubicBezTo>
                      <a:pt x="372" y="52"/>
                      <a:pt x="384" y="41"/>
                      <a:pt x="384" y="26"/>
                    </a:cubicBezTo>
                    <a:cubicBezTo>
                      <a:pt x="384" y="11"/>
                      <a:pt x="372" y="0"/>
                      <a:pt x="358" y="0"/>
                    </a:cubicBezTo>
                    <a:cubicBezTo>
                      <a:pt x="26" y="0"/>
                      <a:pt x="26" y="0"/>
                      <a:pt x="26" y="0"/>
                    </a:cubicBezTo>
                    <a:cubicBezTo>
                      <a:pt x="12" y="0"/>
                      <a:pt x="0" y="11"/>
                      <a:pt x="0" y="26"/>
                    </a:cubicBezTo>
                    <a:cubicBezTo>
                      <a:pt x="0" y="41"/>
                      <a:pt x="12" y="52"/>
                      <a:pt x="2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73" name="Freeform 21"/>
              <p:cNvSpPr>
                <a:spLocks/>
              </p:cNvSpPr>
              <p:nvPr userDrawn="1"/>
            </p:nvSpPr>
            <p:spPr bwMode="auto">
              <a:xfrm>
                <a:off x="19318187" y="-1532339"/>
                <a:ext cx="271463" cy="26988"/>
              </a:xfrm>
              <a:custGeom>
                <a:avLst/>
                <a:gdLst>
                  <a:gd name="T0" fmla="*/ 26 w 542"/>
                  <a:gd name="T1" fmla="*/ 52 h 52"/>
                  <a:gd name="T2" fmla="*/ 516 w 542"/>
                  <a:gd name="T3" fmla="*/ 52 h 52"/>
                  <a:gd name="T4" fmla="*/ 542 w 542"/>
                  <a:gd name="T5" fmla="*/ 26 h 52"/>
                  <a:gd name="T6" fmla="*/ 516 w 542"/>
                  <a:gd name="T7" fmla="*/ 0 h 52"/>
                  <a:gd name="T8" fmla="*/ 26 w 542"/>
                  <a:gd name="T9" fmla="*/ 0 h 52"/>
                  <a:gd name="T10" fmla="*/ 0 w 542"/>
                  <a:gd name="T11" fmla="*/ 26 h 52"/>
                  <a:gd name="T12" fmla="*/ 26 w 54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542" h="52">
                    <a:moveTo>
                      <a:pt x="26" y="52"/>
                    </a:moveTo>
                    <a:cubicBezTo>
                      <a:pt x="516" y="52"/>
                      <a:pt x="516" y="52"/>
                      <a:pt x="516" y="52"/>
                    </a:cubicBezTo>
                    <a:cubicBezTo>
                      <a:pt x="530" y="52"/>
                      <a:pt x="542" y="41"/>
                      <a:pt x="542" y="26"/>
                    </a:cubicBezTo>
                    <a:cubicBezTo>
                      <a:pt x="542" y="11"/>
                      <a:pt x="530" y="0"/>
                      <a:pt x="516" y="0"/>
                    </a:cubicBezTo>
                    <a:cubicBezTo>
                      <a:pt x="26" y="0"/>
                      <a:pt x="26" y="0"/>
                      <a:pt x="26" y="0"/>
                    </a:cubicBezTo>
                    <a:cubicBezTo>
                      <a:pt x="12" y="0"/>
                      <a:pt x="0" y="11"/>
                      <a:pt x="0" y="26"/>
                    </a:cubicBezTo>
                    <a:cubicBezTo>
                      <a:pt x="0" y="41"/>
                      <a:pt x="12" y="52"/>
                      <a:pt x="2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74" name="Freeform 22"/>
              <p:cNvSpPr>
                <a:spLocks/>
              </p:cNvSpPr>
              <p:nvPr userDrawn="1"/>
            </p:nvSpPr>
            <p:spPr bwMode="auto">
              <a:xfrm>
                <a:off x="19318187" y="-1452964"/>
                <a:ext cx="192088" cy="26988"/>
              </a:xfrm>
              <a:custGeom>
                <a:avLst/>
                <a:gdLst>
                  <a:gd name="T0" fmla="*/ 26 w 384"/>
                  <a:gd name="T1" fmla="*/ 52 h 52"/>
                  <a:gd name="T2" fmla="*/ 358 w 384"/>
                  <a:gd name="T3" fmla="*/ 52 h 52"/>
                  <a:gd name="T4" fmla="*/ 384 w 384"/>
                  <a:gd name="T5" fmla="*/ 26 h 52"/>
                  <a:gd name="T6" fmla="*/ 358 w 384"/>
                  <a:gd name="T7" fmla="*/ 0 h 52"/>
                  <a:gd name="T8" fmla="*/ 26 w 384"/>
                  <a:gd name="T9" fmla="*/ 0 h 52"/>
                  <a:gd name="T10" fmla="*/ 0 w 384"/>
                  <a:gd name="T11" fmla="*/ 26 h 52"/>
                  <a:gd name="T12" fmla="*/ 26 w 384"/>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84" h="52">
                    <a:moveTo>
                      <a:pt x="26" y="52"/>
                    </a:moveTo>
                    <a:cubicBezTo>
                      <a:pt x="358" y="52"/>
                      <a:pt x="358" y="52"/>
                      <a:pt x="358" y="52"/>
                    </a:cubicBezTo>
                    <a:cubicBezTo>
                      <a:pt x="372" y="52"/>
                      <a:pt x="384" y="40"/>
                      <a:pt x="384" y="26"/>
                    </a:cubicBezTo>
                    <a:cubicBezTo>
                      <a:pt x="384" y="11"/>
                      <a:pt x="372" y="0"/>
                      <a:pt x="358" y="0"/>
                    </a:cubicBezTo>
                    <a:cubicBezTo>
                      <a:pt x="26" y="0"/>
                      <a:pt x="26" y="0"/>
                      <a:pt x="26" y="0"/>
                    </a:cubicBezTo>
                    <a:cubicBezTo>
                      <a:pt x="12" y="0"/>
                      <a:pt x="0" y="11"/>
                      <a:pt x="0" y="26"/>
                    </a:cubicBezTo>
                    <a:cubicBezTo>
                      <a:pt x="0" y="40"/>
                      <a:pt x="12" y="52"/>
                      <a:pt x="2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75" name="Freeform 23"/>
              <p:cNvSpPr>
                <a:spLocks/>
              </p:cNvSpPr>
              <p:nvPr userDrawn="1"/>
            </p:nvSpPr>
            <p:spPr bwMode="auto">
              <a:xfrm>
                <a:off x="19318187" y="-1373589"/>
                <a:ext cx="231775" cy="26988"/>
              </a:xfrm>
              <a:custGeom>
                <a:avLst/>
                <a:gdLst>
                  <a:gd name="T0" fmla="*/ 437 w 463"/>
                  <a:gd name="T1" fmla="*/ 0 h 52"/>
                  <a:gd name="T2" fmla="*/ 26 w 463"/>
                  <a:gd name="T3" fmla="*/ 0 h 52"/>
                  <a:gd name="T4" fmla="*/ 0 w 463"/>
                  <a:gd name="T5" fmla="*/ 26 h 52"/>
                  <a:gd name="T6" fmla="*/ 26 w 463"/>
                  <a:gd name="T7" fmla="*/ 52 h 52"/>
                  <a:gd name="T8" fmla="*/ 437 w 463"/>
                  <a:gd name="T9" fmla="*/ 52 h 52"/>
                  <a:gd name="T10" fmla="*/ 463 w 463"/>
                  <a:gd name="T11" fmla="*/ 26 h 52"/>
                  <a:gd name="T12" fmla="*/ 437 w 463"/>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463" h="52">
                    <a:moveTo>
                      <a:pt x="437" y="0"/>
                    </a:moveTo>
                    <a:cubicBezTo>
                      <a:pt x="26" y="0"/>
                      <a:pt x="26" y="0"/>
                      <a:pt x="26" y="0"/>
                    </a:cubicBezTo>
                    <a:cubicBezTo>
                      <a:pt x="12" y="0"/>
                      <a:pt x="0" y="11"/>
                      <a:pt x="0" y="26"/>
                    </a:cubicBezTo>
                    <a:cubicBezTo>
                      <a:pt x="0" y="40"/>
                      <a:pt x="12" y="52"/>
                      <a:pt x="26" y="52"/>
                    </a:cubicBezTo>
                    <a:cubicBezTo>
                      <a:pt x="437" y="52"/>
                      <a:pt x="437" y="52"/>
                      <a:pt x="437" y="52"/>
                    </a:cubicBezTo>
                    <a:cubicBezTo>
                      <a:pt x="451" y="52"/>
                      <a:pt x="463" y="40"/>
                      <a:pt x="463" y="26"/>
                    </a:cubicBezTo>
                    <a:cubicBezTo>
                      <a:pt x="463" y="11"/>
                      <a:pt x="451" y="0"/>
                      <a:pt x="4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76" name="Freeform 24"/>
              <p:cNvSpPr>
                <a:spLocks noEditPoints="1"/>
              </p:cNvSpPr>
              <p:nvPr userDrawn="1"/>
            </p:nvSpPr>
            <p:spPr bwMode="auto">
              <a:xfrm>
                <a:off x="19329300" y="-1229127"/>
                <a:ext cx="176213" cy="219075"/>
              </a:xfrm>
              <a:custGeom>
                <a:avLst/>
                <a:gdLst>
                  <a:gd name="T0" fmla="*/ 342 w 349"/>
                  <a:gd name="T1" fmla="*/ 186 h 438"/>
                  <a:gd name="T2" fmla="*/ 324 w 349"/>
                  <a:gd name="T3" fmla="*/ 188 h 438"/>
                  <a:gd name="T4" fmla="*/ 223 w 349"/>
                  <a:gd name="T5" fmla="*/ 233 h 438"/>
                  <a:gd name="T6" fmla="*/ 209 w 349"/>
                  <a:gd name="T7" fmla="*/ 237 h 438"/>
                  <a:gd name="T8" fmla="*/ 156 w 349"/>
                  <a:gd name="T9" fmla="*/ 266 h 438"/>
                  <a:gd name="T10" fmla="*/ 155 w 349"/>
                  <a:gd name="T11" fmla="*/ 265 h 438"/>
                  <a:gd name="T12" fmla="*/ 142 w 349"/>
                  <a:gd name="T13" fmla="*/ 16 h 438"/>
                  <a:gd name="T14" fmla="*/ 109 w 349"/>
                  <a:gd name="T15" fmla="*/ 0 h 438"/>
                  <a:gd name="T16" fmla="*/ 109 w 349"/>
                  <a:gd name="T17" fmla="*/ 0 h 438"/>
                  <a:gd name="T18" fmla="*/ 105 w 349"/>
                  <a:gd name="T19" fmla="*/ 0 h 438"/>
                  <a:gd name="T20" fmla="*/ 47 w 349"/>
                  <a:gd name="T21" fmla="*/ 28 h 438"/>
                  <a:gd name="T22" fmla="*/ 103 w 349"/>
                  <a:gd name="T23" fmla="*/ 229 h 438"/>
                  <a:gd name="T24" fmla="*/ 104 w 349"/>
                  <a:gd name="T25" fmla="*/ 231 h 438"/>
                  <a:gd name="T26" fmla="*/ 116 w 349"/>
                  <a:gd name="T27" fmla="*/ 251 h 438"/>
                  <a:gd name="T28" fmla="*/ 119 w 349"/>
                  <a:gd name="T29" fmla="*/ 255 h 438"/>
                  <a:gd name="T30" fmla="*/ 115 w 349"/>
                  <a:gd name="T31" fmla="*/ 253 h 438"/>
                  <a:gd name="T32" fmla="*/ 30 w 349"/>
                  <a:gd name="T33" fmla="*/ 251 h 438"/>
                  <a:gd name="T34" fmla="*/ 7 w 349"/>
                  <a:gd name="T35" fmla="*/ 311 h 438"/>
                  <a:gd name="T36" fmla="*/ 81 w 349"/>
                  <a:gd name="T37" fmla="*/ 383 h 438"/>
                  <a:gd name="T38" fmla="*/ 74 w 349"/>
                  <a:gd name="T39" fmla="*/ 393 h 438"/>
                  <a:gd name="T40" fmla="*/ 74 w 349"/>
                  <a:gd name="T41" fmla="*/ 430 h 438"/>
                  <a:gd name="T42" fmla="*/ 93 w 349"/>
                  <a:gd name="T43" fmla="*/ 438 h 438"/>
                  <a:gd name="T44" fmla="*/ 112 w 349"/>
                  <a:gd name="T45" fmla="*/ 430 h 438"/>
                  <a:gd name="T46" fmla="*/ 137 w 349"/>
                  <a:gd name="T47" fmla="*/ 387 h 438"/>
                  <a:gd name="T48" fmla="*/ 155 w 349"/>
                  <a:gd name="T49" fmla="*/ 378 h 438"/>
                  <a:gd name="T50" fmla="*/ 169 w 349"/>
                  <a:gd name="T51" fmla="*/ 292 h 438"/>
                  <a:gd name="T52" fmla="*/ 223 w 349"/>
                  <a:gd name="T53" fmla="*/ 260 h 438"/>
                  <a:gd name="T54" fmla="*/ 344 w 349"/>
                  <a:gd name="T55" fmla="*/ 205 h 438"/>
                  <a:gd name="T56" fmla="*/ 342 w 349"/>
                  <a:gd name="T57" fmla="*/ 186 h 438"/>
                  <a:gd name="T58" fmla="*/ 70 w 349"/>
                  <a:gd name="T59" fmla="*/ 41 h 438"/>
                  <a:gd name="T60" fmla="*/ 105 w 349"/>
                  <a:gd name="T61" fmla="*/ 26 h 438"/>
                  <a:gd name="T62" fmla="*/ 109 w 349"/>
                  <a:gd name="T63" fmla="*/ 27 h 438"/>
                  <a:gd name="T64" fmla="*/ 122 w 349"/>
                  <a:gd name="T65" fmla="*/ 33 h 438"/>
                  <a:gd name="T66" fmla="*/ 134 w 349"/>
                  <a:gd name="T67" fmla="*/ 230 h 438"/>
                  <a:gd name="T68" fmla="*/ 127 w 349"/>
                  <a:gd name="T69" fmla="*/ 218 h 438"/>
                  <a:gd name="T70" fmla="*/ 126 w 349"/>
                  <a:gd name="T71" fmla="*/ 216 h 438"/>
                  <a:gd name="T72" fmla="*/ 70 w 349"/>
                  <a:gd name="T73" fmla="*/ 41 h 438"/>
                  <a:gd name="T74" fmla="*/ 33 w 349"/>
                  <a:gd name="T75" fmla="*/ 304 h 438"/>
                  <a:gd name="T76" fmla="*/ 45 w 349"/>
                  <a:gd name="T77" fmla="*/ 272 h 438"/>
                  <a:gd name="T78" fmla="*/ 104 w 349"/>
                  <a:gd name="T79" fmla="*/ 277 h 438"/>
                  <a:gd name="T80" fmla="*/ 125 w 349"/>
                  <a:gd name="T81" fmla="*/ 286 h 438"/>
                  <a:gd name="T82" fmla="*/ 108 w 349"/>
                  <a:gd name="T83" fmla="*/ 351 h 438"/>
                  <a:gd name="T84" fmla="*/ 93 w 349"/>
                  <a:gd name="T85" fmla="*/ 359 h 438"/>
                  <a:gd name="T86" fmla="*/ 33 w 349"/>
                  <a:gd name="T87" fmla="*/ 304 h 438"/>
                  <a:gd name="T88" fmla="*/ 139 w 349"/>
                  <a:gd name="T89" fmla="*/ 357 h 438"/>
                  <a:gd name="T90" fmla="*/ 133 w 349"/>
                  <a:gd name="T91" fmla="*/ 361 h 438"/>
                  <a:gd name="T92" fmla="*/ 133 w 349"/>
                  <a:gd name="T93" fmla="*/ 360 h 438"/>
                  <a:gd name="T94" fmla="*/ 147 w 349"/>
                  <a:gd name="T95" fmla="*/ 309 h 438"/>
                  <a:gd name="T96" fmla="*/ 139 w 349"/>
                  <a:gd name="T97" fmla="*/ 357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9" h="438">
                    <a:moveTo>
                      <a:pt x="342" y="186"/>
                    </a:moveTo>
                    <a:cubicBezTo>
                      <a:pt x="337" y="182"/>
                      <a:pt x="328" y="183"/>
                      <a:pt x="324" y="188"/>
                    </a:cubicBezTo>
                    <a:cubicBezTo>
                      <a:pt x="309" y="207"/>
                      <a:pt x="269" y="249"/>
                      <a:pt x="223" y="233"/>
                    </a:cubicBezTo>
                    <a:cubicBezTo>
                      <a:pt x="218" y="231"/>
                      <a:pt x="212" y="233"/>
                      <a:pt x="209" y="237"/>
                    </a:cubicBezTo>
                    <a:cubicBezTo>
                      <a:pt x="187" y="263"/>
                      <a:pt x="169" y="267"/>
                      <a:pt x="156" y="266"/>
                    </a:cubicBezTo>
                    <a:cubicBezTo>
                      <a:pt x="156" y="266"/>
                      <a:pt x="155" y="266"/>
                      <a:pt x="155" y="265"/>
                    </a:cubicBezTo>
                    <a:cubicBezTo>
                      <a:pt x="171" y="175"/>
                      <a:pt x="176" y="57"/>
                      <a:pt x="142" y="16"/>
                    </a:cubicBezTo>
                    <a:cubicBezTo>
                      <a:pt x="133" y="6"/>
                      <a:pt x="122" y="0"/>
                      <a:pt x="109" y="0"/>
                    </a:cubicBezTo>
                    <a:cubicBezTo>
                      <a:pt x="109" y="0"/>
                      <a:pt x="109" y="0"/>
                      <a:pt x="109" y="0"/>
                    </a:cubicBezTo>
                    <a:cubicBezTo>
                      <a:pt x="108" y="0"/>
                      <a:pt x="107" y="0"/>
                      <a:pt x="105" y="0"/>
                    </a:cubicBezTo>
                    <a:cubicBezTo>
                      <a:pt x="77" y="0"/>
                      <a:pt x="58" y="10"/>
                      <a:pt x="47" y="28"/>
                    </a:cubicBezTo>
                    <a:cubicBezTo>
                      <a:pt x="27" y="64"/>
                      <a:pt x="46" y="132"/>
                      <a:pt x="103" y="229"/>
                    </a:cubicBezTo>
                    <a:cubicBezTo>
                      <a:pt x="104" y="231"/>
                      <a:pt x="104" y="231"/>
                      <a:pt x="104" y="231"/>
                    </a:cubicBezTo>
                    <a:cubicBezTo>
                      <a:pt x="108" y="237"/>
                      <a:pt x="112" y="244"/>
                      <a:pt x="116" y="251"/>
                    </a:cubicBezTo>
                    <a:cubicBezTo>
                      <a:pt x="117" y="252"/>
                      <a:pt x="118" y="253"/>
                      <a:pt x="119" y="255"/>
                    </a:cubicBezTo>
                    <a:cubicBezTo>
                      <a:pt x="117" y="254"/>
                      <a:pt x="116" y="254"/>
                      <a:pt x="115" y="253"/>
                    </a:cubicBezTo>
                    <a:cubicBezTo>
                      <a:pt x="89" y="241"/>
                      <a:pt x="60" y="228"/>
                      <a:pt x="30" y="251"/>
                    </a:cubicBezTo>
                    <a:cubicBezTo>
                      <a:pt x="8" y="266"/>
                      <a:pt x="0" y="287"/>
                      <a:pt x="7" y="311"/>
                    </a:cubicBezTo>
                    <a:cubicBezTo>
                      <a:pt x="16" y="341"/>
                      <a:pt x="47" y="370"/>
                      <a:pt x="81" y="383"/>
                    </a:cubicBezTo>
                    <a:cubicBezTo>
                      <a:pt x="77" y="390"/>
                      <a:pt x="75" y="392"/>
                      <a:pt x="74" y="393"/>
                    </a:cubicBezTo>
                    <a:cubicBezTo>
                      <a:pt x="64" y="403"/>
                      <a:pt x="64" y="420"/>
                      <a:pt x="74" y="430"/>
                    </a:cubicBezTo>
                    <a:cubicBezTo>
                      <a:pt x="80" y="435"/>
                      <a:pt x="86" y="438"/>
                      <a:pt x="93" y="438"/>
                    </a:cubicBezTo>
                    <a:cubicBezTo>
                      <a:pt x="100" y="438"/>
                      <a:pt x="107" y="435"/>
                      <a:pt x="112" y="430"/>
                    </a:cubicBezTo>
                    <a:cubicBezTo>
                      <a:pt x="121" y="421"/>
                      <a:pt x="129" y="407"/>
                      <a:pt x="137" y="387"/>
                    </a:cubicBezTo>
                    <a:cubicBezTo>
                      <a:pt x="144" y="385"/>
                      <a:pt x="150" y="382"/>
                      <a:pt x="155" y="378"/>
                    </a:cubicBezTo>
                    <a:cubicBezTo>
                      <a:pt x="188" y="354"/>
                      <a:pt x="179" y="317"/>
                      <a:pt x="169" y="292"/>
                    </a:cubicBezTo>
                    <a:cubicBezTo>
                      <a:pt x="188" y="289"/>
                      <a:pt x="206" y="279"/>
                      <a:pt x="223" y="260"/>
                    </a:cubicBezTo>
                    <a:cubicBezTo>
                      <a:pt x="264" y="270"/>
                      <a:pt x="308" y="250"/>
                      <a:pt x="344" y="205"/>
                    </a:cubicBezTo>
                    <a:cubicBezTo>
                      <a:pt x="349" y="199"/>
                      <a:pt x="348" y="191"/>
                      <a:pt x="342" y="186"/>
                    </a:cubicBezTo>
                    <a:close/>
                    <a:moveTo>
                      <a:pt x="70" y="41"/>
                    </a:moveTo>
                    <a:cubicBezTo>
                      <a:pt x="72" y="37"/>
                      <a:pt x="79" y="26"/>
                      <a:pt x="105" y="26"/>
                    </a:cubicBezTo>
                    <a:cubicBezTo>
                      <a:pt x="106" y="26"/>
                      <a:pt x="107" y="27"/>
                      <a:pt x="109" y="27"/>
                    </a:cubicBezTo>
                    <a:cubicBezTo>
                      <a:pt x="112" y="27"/>
                      <a:pt x="117" y="27"/>
                      <a:pt x="122" y="33"/>
                    </a:cubicBezTo>
                    <a:cubicBezTo>
                      <a:pt x="142" y="58"/>
                      <a:pt x="147" y="137"/>
                      <a:pt x="134" y="230"/>
                    </a:cubicBezTo>
                    <a:cubicBezTo>
                      <a:pt x="132" y="226"/>
                      <a:pt x="129" y="222"/>
                      <a:pt x="127" y="218"/>
                    </a:cubicBezTo>
                    <a:cubicBezTo>
                      <a:pt x="126" y="216"/>
                      <a:pt x="126" y="216"/>
                      <a:pt x="126" y="216"/>
                    </a:cubicBezTo>
                    <a:cubicBezTo>
                      <a:pt x="55" y="95"/>
                      <a:pt x="63" y="53"/>
                      <a:pt x="70" y="41"/>
                    </a:cubicBezTo>
                    <a:close/>
                    <a:moveTo>
                      <a:pt x="33" y="304"/>
                    </a:moveTo>
                    <a:cubicBezTo>
                      <a:pt x="29" y="291"/>
                      <a:pt x="33" y="281"/>
                      <a:pt x="45" y="272"/>
                    </a:cubicBezTo>
                    <a:cubicBezTo>
                      <a:pt x="63" y="259"/>
                      <a:pt x="78" y="265"/>
                      <a:pt x="104" y="277"/>
                    </a:cubicBezTo>
                    <a:cubicBezTo>
                      <a:pt x="110" y="280"/>
                      <a:pt x="117" y="283"/>
                      <a:pt x="125" y="286"/>
                    </a:cubicBezTo>
                    <a:cubicBezTo>
                      <a:pt x="120" y="310"/>
                      <a:pt x="114" y="332"/>
                      <a:pt x="108" y="351"/>
                    </a:cubicBezTo>
                    <a:cubicBezTo>
                      <a:pt x="102" y="352"/>
                      <a:pt x="97" y="355"/>
                      <a:pt x="93" y="359"/>
                    </a:cubicBezTo>
                    <a:cubicBezTo>
                      <a:pt x="66" y="350"/>
                      <a:pt x="39" y="327"/>
                      <a:pt x="33" y="304"/>
                    </a:cubicBezTo>
                    <a:close/>
                    <a:moveTo>
                      <a:pt x="139" y="357"/>
                    </a:moveTo>
                    <a:cubicBezTo>
                      <a:pt x="138" y="359"/>
                      <a:pt x="135" y="360"/>
                      <a:pt x="133" y="361"/>
                    </a:cubicBezTo>
                    <a:cubicBezTo>
                      <a:pt x="133" y="360"/>
                      <a:pt x="133" y="360"/>
                      <a:pt x="133" y="360"/>
                    </a:cubicBezTo>
                    <a:cubicBezTo>
                      <a:pt x="138" y="345"/>
                      <a:pt x="142" y="327"/>
                      <a:pt x="147" y="309"/>
                    </a:cubicBezTo>
                    <a:cubicBezTo>
                      <a:pt x="157" y="338"/>
                      <a:pt x="149" y="350"/>
                      <a:pt x="139" y="3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grpSp>
          <p:nvGrpSpPr>
            <p:cNvPr id="57" name="Group 56"/>
            <p:cNvGrpSpPr/>
            <p:nvPr userDrawn="1"/>
          </p:nvGrpSpPr>
          <p:grpSpPr>
            <a:xfrm>
              <a:off x="11149540" y="7001204"/>
              <a:ext cx="231675" cy="335962"/>
              <a:chOff x="14846200" y="1255311"/>
              <a:chExt cx="525463" cy="762000"/>
            </a:xfrm>
            <a:solidFill>
              <a:schemeClr val="accent5">
                <a:lumMod val="75000"/>
              </a:schemeClr>
            </a:solidFill>
          </p:grpSpPr>
          <p:sp>
            <p:nvSpPr>
              <p:cNvPr id="67" name="Freeform 57"/>
              <p:cNvSpPr>
                <a:spLocks noEditPoints="1"/>
              </p:cNvSpPr>
              <p:nvPr userDrawn="1"/>
            </p:nvSpPr>
            <p:spPr bwMode="auto">
              <a:xfrm>
                <a:off x="14846200" y="1255311"/>
                <a:ext cx="525463" cy="762000"/>
              </a:xfrm>
              <a:custGeom>
                <a:avLst/>
                <a:gdLst>
                  <a:gd name="T0" fmla="*/ 857 w 1047"/>
                  <a:gd name="T1" fmla="*/ 396 h 1518"/>
                  <a:gd name="T2" fmla="*/ 822 w 1047"/>
                  <a:gd name="T3" fmla="*/ 383 h 1518"/>
                  <a:gd name="T4" fmla="*/ 749 w 1047"/>
                  <a:gd name="T5" fmla="*/ 0 h 1518"/>
                  <a:gd name="T6" fmla="*/ 0 w 1047"/>
                  <a:gd name="T7" fmla="*/ 72 h 1518"/>
                  <a:gd name="T8" fmla="*/ 73 w 1047"/>
                  <a:gd name="T9" fmla="*/ 1518 h 1518"/>
                  <a:gd name="T10" fmla="*/ 822 w 1047"/>
                  <a:gd name="T11" fmla="*/ 1446 h 1518"/>
                  <a:gd name="T12" fmla="*/ 960 w 1047"/>
                  <a:gd name="T13" fmla="*/ 842 h 1518"/>
                  <a:gd name="T14" fmla="*/ 1040 w 1047"/>
                  <a:gd name="T15" fmla="*/ 833 h 1518"/>
                  <a:gd name="T16" fmla="*/ 73 w 1047"/>
                  <a:gd name="T17" fmla="*/ 52 h 1518"/>
                  <a:gd name="T18" fmla="*/ 769 w 1047"/>
                  <a:gd name="T19" fmla="*/ 72 h 1518"/>
                  <a:gd name="T20" fmla="*/ 53 w 1047"/>
                  <a:gd name="T21" fmla="*/ 180 h 1518"/>
                  <a:gd name="T22" fmla="*/ 73 w 1047"/>
                  <a:gd name="T23" fmla="*/ 52 h 1518"/>
                  <a:gd name="T24" fmla="*/ 73 w 1047"/>
                  <a:gd name="T25" fmla="*/ 1466 h 1518"/>
                  <a:gd name="T26" fmla="*/ 53 w 1047"/>
                  <a:gd name="T27" fmla="*/ 1338 h 1518"/>
                  <a:gd name="T28" fmla="*/ 411 w 1047"/>
                  <a:gd name="T29" fmla="*/ 1383 h 1518"/>
                  <a:gd name="T30" fmla="*/ 769 w 1047"/>
                  <a:gd name="T31" fmla="*/ 1338 h 1518"/>
                  <a:gd name="T32" fmla="*/ 749 w 1047"/>
                  <a:gd name="T33" fmla="*/ 1466 h 1518"/>
                  <a:gd name="T34" fmla="*/ 53 w 1047"/>
                  <a:gd name="T35" fmla="*/ 1286 h 1518"/>
                  <a:gd name="T36" fmla="*/ 769 w 1047"/>
                  <a:gd name="T37" fmla="*/ 232 h 1518"/>
                  <a:gd name="T38" fmla="*/ 535 w 1047"/>
                  <a:gd name="T39" fmla="*/ 631 h 1518"/>
                  <a:gd name="T40" fmla="*/ 376 w 1047"/>
                  <a:gd name="T41" fmla="*/ 695 h 1518"/>
                  <a:gd name="T42" fmla="*/ 363 w 1047"/>
                  <a:gd name="T43" fmla="*/ 730 h 1518"/>
                  <a:gd name="T44" fmla="*/ 480 w 1047"/>
                  <a:gd name="T45" fmla="*/ 971 h 1518"/>
                  <a:gd name="T46" fmla="*/ 500 w 1047"/>
                  <a:gd name="T47" fmla="*/ 970 h 1518"/>
                  <a:gd name="T48" fmla="*/ 526 w 1047"/>
                  <a:gd name="T49" fmla="*/ 1112 h 1518"/>
                  <a:gd name="T50" fmla="*/ 592 w 1047"/>
                  <a:gd name="T51" fmla="*/ 1180 h 1518"/>
                  <a:gd name="T52" fmla="*/ 707 w 1047"/>
                  <a:gd name="T53" fmla="*/ 1078 h 1518"/>
                  <a:gd name="T54" fmla="*/ 769 w 1047"/>
                  <a:gd name="T55" fmla="*/ 863 h 1518"/>
                  <a:gd name="T56" fmla="*/ 556 w 1047"/>
                  <a:gd name="T57" fmla="*/ 945 h 1518"/>
                  <a:gd name="T58" fmla="*/ 659 w 1047"/>
                  <a:gd name="T59" fmla="*/ 1099 h 1518"/>
                  <a:gd name="T60" fmla="*/ 578 w 1047"/>
                  <a:gd name="T61" fmla="*/ 1125 h 1518"/>
                  <a:gd name="T62" fmla="*/ 556 w 1047"/>
                  <a:gd name="T63" fmla="*/ 945 h 1518"/>
                  <a:gd name="T64" fmla="*/ 503 w 1047"/>
                  <a:gd name="T65" fmla="*/ 912 h 1518"/>
                  <a:gd name="T66" fmla="*/ 513 w 1047"/>
                  <a:gd name="T67" fmla="*/ 691 h 1518"/>
                  <a:gd name="T68" fmla="*/ 594 w 1047"/>
                  <a:gd name="T69" fmla="*/ 870 h 1518"/>
                  <a:gd name="T70" fmla="*/ 640 w 1047"/>
                  <a:gd name="T71" fmla="*/ 843 h 1518"/>
                  <a:gd name="T72" fmla="*/ 564 w 1047"/>
                  <a:gd name="T73" fmla="*/ 675 h 1518"/>
                  <a:gd name="T74" fmla="*/ 977 w 1047"/>
                  <a:gd name="T75" fmla="*/ 789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7" h="1518">
                    <a:moveTo>
                      <a:pt x="1043" y="807"/>
                    </a:moveTo>
                    <a:cubicBezTo>
                      <a:pt x="857" y="396"/>
                      <a:pt x="857" y="396"/>
                      <a:pt x="857" y="396"/>
                    </a:cubicBezTo>
                    <a:cubicBezTo>
                      <a:pt x="853" y="387"/>
                      <a:pt x="845" y="382"/>
                      <a:pt x="836" y="381"/>
                    </a:cubicBezTo>
                    <a:cubicBezTo>
                      <a:pt x="831" y="380"/>
                      <a:pt x="826" y="381"/>
                      <a:pt x="822" y="383"/>
                    </a:cubicBezTo>
                    <a:cubicBezTo>
                      <a:pt x="822" y="72"/>
                      <a:pt x="822" y="72"/>
                      <a:pt x="822" y="72"/>
                    </a:cubicBezTo>
                    <a:cubicBezTo>
                      <a:pt x="822" y="32"/>
                      <a:pt x="789" y="0"/>
                      <a:pt x="749" y="0"/>
                    </a:cubicBezTo>
                    <a:cubicBezTo>
                      <a:pt x="73" y="0"/>
                      <a:pt x="73" y="0"/>
                      <a:pt x="73" y="0"/>
                    </a:cubicBezTo>
                    <a:cubicBezTo>
                      <a:pt x="33" y="0"/>
                      <a:pt x="0" y="32"/>
                      <a:pt x="0" y="72"/>
                    </a:cubicBezTo>
                    <a:cubicBezTo>
                      <a:pt x="0" y="1446"/>
                      <a:pt x="0" y="1446"/>
                      <a:pt x="0" y="1446"/>
                    </a:cubicBezTo>
                    <a:cubicBezTo>
                      <a:pt x="0" y="1486"/>
                      <a:pt x="33" y="1518"/>
                      <a:pt x="73" y="1518"/>
                    </a:cubicBezTo>
                    <a:cubicBezTo>
                      <a:pt x="749" y="1518"/>
                      <a:pt x="749" y="1518"/>
                      <a:pt x="749" y="1518"/>
                    </a:cubicBezTo>
                    <a:cubicBezTo>
                      <a:pt x="789" y="1518"/>
                      <a:pt x="822" y="1486"/>
                      <a:pt x="822" y="1446"/>
                    </a:cubicBezTo>
                    <a:cubicBezTo>
                      <a:pt x="822" y="854"/>
                      <a:pt x="822" y="854"/>
                      <a:pt x="822" y="854"/>
                    </a:cubicBezTo>
                    <a:cubicBezTo>
                      <a:pt x="865" y="847"/>
                      <a:pt x="913" y="842"/>
                      <a:pt x="960" y="842"/>
                    </a:cubicBezTo>
                    <a:cubicBezTo>
                      <a:pt x="980" y="842"/>
                      <a:pt x="999" y="842"/>
                      <a:pt x="1016" y="844"/>
                    </a:cubicBezTo>
                    <a:cubicBezTo>
                      <a:pt x="1026" y="845"/>
                      <a:pt x="1035" y="841"/>
                      <a:pt x="1040" y="833"/>
                    </a:cubicBezTo>
                    <a:cubicBezTo>
                      <a:pt x="1046" y="825"/>
                      <a:pt x="1047" y="816"/>
                      <a:pt x="1043" y="807"/>
                    </a:cubicBezTo>
                    <a:close/>
                    <a:moveTo>
                      <a:pt x="73" y="52"/>
                    </a:moveTo>
                    <a:cubicBezTo>
                      <a:pt x="749" y="52"/>
                      <a:pt x="749" y="52"/>
                      <a:pt x="749" y="52"/>
                    </a:cubicBezTo>
                    <a:cubicBezTo>
                      <a:pt x="760" y="52"/>
                      <a:pt x="769" y="61"/>
                      <a:pt x="769" y="72"/>
                    </a:cubicBezTo>
                    <a:cubicBezTo>
                      <a:pt x="769" y="180"/>
                      <a:pt x="769" y="180"/>
                      <a:pt x="769" y="180"/>
                    </a:cubicBezTo>
                    <a:cubicBezTo>
                      <a:pt x="53" y="180"/>
                      <a:pt x="53" y="180"/>
                      <a:pt x="53" y="180"/>
                    </a:cubicBezTo>
                    <a:cubicBezTo>
                      <a:pt x="53" y="72"/>
                      <a:pt x="53" y="72"/>
                      <a:pt x="53" y="72"/>
                    </a:cubicBezTo>
                    <a:cubicBezTo>
                      <a:pt x="53" y="61"/>
                      <a:pt x="62" y="52"/>
                      <a:pt x="73" y="52"/>
                    </a:cubicBezTo>
                    <a:close/>
                    <a:moveTo>
                      <a:pt x="749" y="1466"/>
                    </a:moveTo>
                    <a:cubicBezTo>
                      <a:pt x="73" y="1466"/>
                      <a:pt x="73" y="1466"/>
                      <a:pt x="73" y="1466"/>
                    </a:cubicBezTo>
                    <a:cubicBezTo>
                      <a:pt x="62" y="1466"/>
                      <a:pt x="53" y="1457"/>
                      <a:pt x="53" y="1446"/>
                    </a:cubicBezTo>
                    <a:cubicBezTo>
                      <a:pt x="53" y="1338"/>
                      <a:pt x="53" y="1338"/>
                      <a:pt x="53" y="1338"/>
                    </a:cubicBezTo>
                    <a:cubicBezTo>
                      <a:pt x="362" y="1338"/>
                      <a:pt x="362" y="1338"/>
                      <a:pt x="362" y="1338"/>
                    </a:cubicBezTo>
                    <a:cubicBezTo>
                      <a:pt x="365" y="1363"/>
                      <a:pt x="385" y="1383"/>
                      <a:pt x="411" y="1383"/>
                    </a:cubicBezTo>
                    <a:cubicBezTo>
                      <a:pt x="437" y="1383"/>
                      <a:pt x="458" y="1363"/>
                      <a:pt x="460" y="1338"/>
                    </a:cubicBezTo>
                    <a:cubicBezTo>
                      <a:pt x="769" y="1338"/>
                      <a:pt x="769" y="1338"/>
                      <a:pt x="769" y="1338"/>
                    </a:cubicBezTo>
                    <a:cubicBezTo>
                      <a:pt x="769" y="1446"/>
                      <a:pt x="769" y="1446"/>
                      <a:pt x="769" y="1446"/>
                    </a:cubicBezTo>
                    <a:cubicBezTo>
                      <a:pt x="769" y="1457"/>
                      <a:pt x="760" y="1466"/>
                      <a:pt x="749" y="1466"/>
                    </a:cubicBezTo>
                    <a:close/>
                    <a:moveTo>
                      <a:pt x="769" y="1286"/>
                    </a:moveTo>
                    <a:cubicBezTo>
                      <a:pt x="53" y="1286"/>
                      <a:pt x="53" y="1286"/>
                      <a:pt x="53" y="1286"/>
                    </a:cubicBezTo>
                    <a:cubicBezTo>
                      <a:pt x="53" y="232"/>
                      <a:pt x="53" y="232"/>
                      <a:pt x="53" y="232"/>
                    </a:cubicBezTo>
                    <a:cubicBezTo>
                      <a:pt x="769" y="232"/>
                      <a:pt x="769" y="232"/>
                      <a:pt x="769" y="232"/>
                    </a:cubicBezTo>
                    <a:cubicBezTo>
                      <a:pt x="769" y="443"/>
                      <a:pt x="769" y="443"/>
                      <a:pt x="769" y="443"/>
                    </a:cubicBezTo>
                    <a:cubicBezTo>
                      <a:pt x="684" y="537"/>
                      <a:pt x="576" y="606"/>
                      <a:pt x="535" y="631"/>
                    </a:cubicBezTo>
                    <a:cubicBezTo>
                      <a:pt x="528" y="629"/>
                      <a:pt x="522" y="629"/>
                      <a:pt x="516" y="632"/>
                    </a:cubicBezTo>
                    <a:cubicBezTo>
                      <a:pt x="376" y="695"/>
                      <a:pt x="376" y="695"/>
                      <a:pt x="376" y="695"/>
                    </a:cubicBezTo>
                    <a:cubicBezTo>
                      <a:pt x="370" y="698"/>
                      <a:pt x="365" y="703"/>
                      <a:pt x="362" y="710"/>
                    </a:cubicBezTo>
                    <a:cubicBezTo>
                      <a:pt x="360" y="716"/>
                      <a:pt x="360" y="724"/>
                      <a:pt x="363" y="730"/>
                    </a:cubicBezTo>
                    <a:cubicBezTo>
                      <a:pt x="466" y="957"/>
                      <a:pt x="466" y="957"/>
                      <a:pt x="466" y="957"/>
                    </a:cubicBezTo>
                    <a:cubicBezTo>
                      <a:pt x="469" y="964"/>
                      <a:pt x="474" y="969"/>
                      <a:pt x="480" y="971"/>
                    </a:cubicBezTo>
                    <a:cubicBezTo>
                      <a:pt x="483" y="972"/>
                      <a:pt x="486" y="973"/>
                      <a:pt x="490" y="973"/>
                    </a:cubicBezTo>
                    <a:cubicBezTo>
                      <a:pt x="493" y="973"/>
                      <a:pt x="497" y="972"/>
                      <a:pt x="500" y="970"/>
                    </a:cubicBezTo>
                    <a:cubicBezTo>
                      <a:pt x="508" y="967"/>
                      <a:pt x="508" y="967"/>
                      <a:pt x="508" y="967"/>
                    </a:cubicBezTo>
                    <a:cubicBezTo>
                      <a:pt x="518" y="1003"/>
                      <a:pt x="534" y="1067"/>
                      <a:pt x="526" y="1112"/>
                    </a:cubicBezTo>
                    <a:cubicBezTo>
                      <a:pt x="522" y="1135"/>
                      <a:pt x="530" y="1150"/>
                      <a:pt x="537" y="1159"/>
                    </a:cubicBezTo>
                    <a:cubicBezTo>
                      <a:pt x="545" y="1168"/>
                      <a:pt x="561" y="1180"/>
                      <a:pt x="592" y="1180"/>
                    </a:cubicBezTo>
                    <a:cubicBezTo>
                      <a:pt x="630" y="1180"/>
                      <a:pt x="682" y="1160"/>
                      <a:pt x="703" y="1128"/>
                    </a:cubicBezTo>
                    <a:cubicBezTo>
                      <a:pt x="713" y="1112"/>
                      <a:pt x="715" y="1094"/>
                      <a:pt x="707" y="1078"/>
                    </a:cubicBezTo>
                    <a:cubicBezTo>
                      <a:pt x="686" y="1032"/>
                      <a:pt x="665" y="929"/>
                      <a:pt x="658" y="892"/>
                    </a:cubicBezTo>
                    <a:cubicBezTo>
                      <a:pt x="681" y="885"/>
                      <a:pt x="721" y="874"/>
                      <a:pt x="769" y="863"/>
                    </a:cubicBezTo>
                    <a:lnTo>
                      <a:pt x="769" y="1286"/>
                    </a:lnTo>
                    <a:close/>
                    <a:moveTo>
                      <a:pt x="556" y="945"/>
                    </a:moveTo>
                    <a:cubicBezTo>
                      <a:pt x="610" y="921"/>
                      <a:pt x="610" y="921"/>
                      <a:pt x="610" y="921"/>
                    </a:cubicBezTo>
                    <a:cubicBezTo>
                      <a:pt x="619" y="968"/>
                      <a:pt x="638" y="1054"/>
                      <a:pt x="659" y="1099"/>
                    </a:cubicBezTo>
                    <a:cubicBezTo>
                      <a:pt x="654" y="1109"/>
                      <a:pt x="622" y="1127"/>
                      <a:pt x="592" y="1127"/>
                    </a:cubicBezTo>
                    <a:cubicBezTo>
                      <a:pt x="583" y="1127"/>
                      <a:pt x="579" y="1126"/>
                      <a:pt x="578" y="1125"/>
                    </a:cubicBezTo>
                    <a:cubicBezTo>
                      <a:pt x="577" y="1124"/>
                      <a:pt x="577" y="1123"/>
                      <a:pt x="578" y="1121"/>
                    </a:cubicBezTo>
                    <a:cubicBezTo>
                      <a:pt x="588" y="1062"/>
                      <a:pt x="568" y="984"/>
                      <a:pt x="556" y="945"/>
                    </a:cubicBezTo>
                    <a:close/>
                    <a:moveTo>
                      <a:pt x="594" y="870"/>
                    </a:moveTo>
                    <a:cubicBezTo>
                      <a:pt x="503" y="912"/>
                      <a:pt x="503" y="912"/>
                      <a:pt x="503" y="912"/>
                    </a:cubicBezTo>
                    <a:cubicBezTo>
                      <a:pt x="422" y="732"/>
                      <a:pt x="422" y="732"/>
                      <a:pt x="422" y="732"/>
                    </a:cubicBezTo>
                    <a:cubicBezTo>
                      <a:pt x="513" y="691"/>
                      <a:pt x="513" y="691"/>
                      <a:pt x="513" y="691"/>
                    </a:cubicBezTo>
                    <a:cubicBezTo>
                      <a:pt x="544" y="759"/>
                      <a:pt x="544" y="759"/>
                      <a:pt x="544" y="759"/>
                    </a:cubicBezTo>
                    <a:lnTo>
                      <a:pt x="594" y="870"/>
                    </a:lnTo>
                    <a:close/>
                    <a:moveTo>
                      <a:pt x="960" y="789"/>
                    </a:moveTo>
                    <a:cubicBezTo>
                      <a:pt x="824" y="789"/>
                      <a:pt x="692" y="826"/>
                      <a:pt x="640" y="843"/>
                    </a:cubicBezTo>
                    <a:cubicBezTo>
                      <a:pt x="568" y="684"/>
                      <a:pt x="568" y="684"/>
                      <a:pt x="568" y="684"/>
                    </a:cubicBezTo>
                    <a:cubicBezTo>
                      <a:pt x="564" y="675"/>
                      <a:pt x="564" y="675"/>
                      <a:pt x="564" y="675"/>
                    </a:cubicBezTo>
                    <a:cubicBezTo>
                      <a:pt x="613" y="646"/>
                      <a:pt x="735" y="566"/>
                      <a:pt x="827" y="457"/>
                    </a:cubicBezTo>
                    <a:cubicBezTo>
                      <a:pt x="977" y="789"/>
                      <a:pt x="977" y="789"/>
                      <a:pt x="977" y="789"/>
                    </a:cubicBezTo>
                    <a:cubicBezTo>
                      <a:pt x="971" y="789"/>
                      <a:pt x="966" y="789"/>
                      <a:pt x="960" y="7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nvGrpSpPr>
              <p:cNvPr id="68" name="Group 67"/>
              <p:cNvGrpSpPr/>
              <p:nvPr userDrawn="1"/>
            </p:nvGrpSpPr>
            <p:grpSpPr>
              <a:xfrm>
                <a:off x="14921447" y="1427713"/>
                <a:ext cx="153453" cy="154372"/>
                <a:chOff x="14868107" y="1392153"/>
                <a:chExt cx="265113" cy="266700"/>
              </a:xfrm>
              <a:grpFill/>
            </p:grpSpPr>
            <p:sp>
              <p:nvSpPr>
                <p:cNvPr id="69" name="Freeform 83"/>
                <p:cNvSpPr>
                  <a:spLocks noEditPoints="1"/>
                </p:cNvSpPr>
                <p:nvPr userDrawn="1"/>
              </p:nvSpPr>
              <p:spPr bwMode="auto">
                <a:xfrm>
                  <a:off x="14868107" y="1392153"/>
                  <a:ext cx="265113" cy="266700"/>
                </a:xfrm>
                <a:custGeom>
                  <a:avLst/>
                  <a:gdLst>
                    <a:gd name="T0" fmla="*/ 265 w 531"/>
                    <a:gd name="T1" fmla="*/ 0 h 531"/>
                    <a:gd name="T2" fmla="*/ 0 w 531"/>
                    <a:gd name="T3" fmla="*/ 266 h 531"/>
                    <a:gd name="T4" fmla="*/ 265 w 531"/>
                    <a:gd name="T5" fmla="*/ 531 h 531"/>
                    <a:gd name="T6" fmla="*/ 531 w 531"/>
                    <a:gd name="T7" fmla="*/ 266 h 531"/>
                    <a:gd name="T8" fmla="*/ 265 w 531"/>
                    <a:gd name="T9" fmla="*/ 0 h 531"/>
                    <a:gd name="T10" fmla="*/ 265 w 531"/>
                    <a:gd name="T11" fmla="*/ 479 h 531"/>
                    <a:gd name="T12" fmla="*/ 52 w 531"/>
                    <a:gd name="T13" fmla="*/ 266 h 531"/>
                    <a:gd name="T14" fmla="*/ 265 w 531"/>
                    <a:gd name="T15" fmla="*/ 53 h 531"/>
                    <a:gd name="T16" fmla="*/ 478 w 531"/>
                    <a:gd name="T17" fmla="*/ 266 h 531"/>
                    <a:gd name="T18" fmla="*/ 265 w 531"/>
                    <a:gd name="T19" fmla="*/ 479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1" h="531">
                      <a:moveTo>
                        <a:pt x="265" y="0"/>
                      </a:moveTo>
                      <a:cubicBezTo>
                        <a:pt x="119" y="0"/>
                        <a:pt x="0" y="119"/>
                        <a:pt x="0" y="266"/>
                      </a:cubicBezTo>
                      <a:cubicBezTo>
                        <a:pt x="0" y="412"/>
                        <a:pt x="119" y="531"/>
                        <a:pt x="265" y="531"/>
                      </a:cubicBezTo>
                      <a:cubicBezTo>
                        <a:pt x="412" y="531"/>
                        <a:pt x="531" y="412"/>
                        <a:pt x="531" y="266"/>
                      </a:cubicBezTo>
                      <a:cubicBezTo>
                        <a:pt x="531" y="119"/>
                        <a:pt x="412" y="0"/>
                        <a:pt x="265" y="0"/>
                      </a:cubicBezTo>
                      <a:close/>
                      <a:moveTo>
                        <a:pt x="265" y="479"/>
                      </a:moveTo>
                      <a:cubicBezTo>
                        <a:pt x="148" y="479"/>
                        <a:pt x="52" y="383"/>
                        <a:pt x="52" y="266"/>
                      </a:cubicBezTo>
                      <a:cubicBezTo>
                        <a:pt x="52" y="148"/>
                        <a:pt x="148" y="53"/>
                        <a:pt x="265" y="53"/>
                      </a:cubicBezTo>
                      <a:cubicBezTo>
                        <a:pt x="383" y="53"/>
                        <a:pt x="478" y="148"/>
                        <a:pt x="478" y="266"/>
                      </a:cubicBezTo>
                      <a:cubicBezTo>
                        <a:pt x="478" y="383"/>
                        <a:pt x="383" y="479"/>
                        <a:pt x="265" y="4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70" name="Freeform 84"/>
                <p:cNvSpPr>
                  <a:spLocks/>
                </p:cNvSpPr>
                <p:nvPr userDrawn="1"/>
              </p:nvSpPr>
              <p:spPr bwMode="auto">
                <a:xfrm>
                  <a:off x="14947482" y="1430253"/>
                  <a:ext cx="106363" cy="190500"/>
                </a:xfrm>
                <a:custGeom>
                  <a:avLst/>
                  <a:gdLst>
                    <a:gd name="T0" fmla="*/ 121 w 212"/>
                    <a:gd name="T1" fmla="*/ 160 h 381"/>
                    <a:gd name="T2" fmla="*/ 70 w 212"/>
                    <a:gd name="T3" fmla="*/ 124 h 381"/>
                    <a:gd name="T4" fmla="*/ 114 w 212"/>
                    <a:gd name="T5" fmla="*/ 102 h 381"/>
                    <a:gd name="T6" fmla="*/ 160 w 212"/>
                    <a:gd name="T7" fmla="*/ 113 h 381"/>
                    <a:gd name="T8" fmla="*/ 196 w 212"/>
                    <a:gd name="T9" fmla="*/ 104 h 381"/>
                    <a:gd name="T10" fmla="*/ 187 w 212"/>
                    <a:gd name="T11" fmla="*/ 68 h 381"/>
                    <a:gd name="T12" fmla="*/ 133 w 212"/>
                    <a:gd name="T13" fmla="*/ 51 h 381"/>
                    <a:gd name="T14" fmla="*/ 133 w 212"/>
                    <a:gd name="T15" fmla="*/ 26 h 381"/>
                    <a:gd name="T16" fmla="*/ 107 w 212"/>
                    <a:gd name="T17" fmla="*/ 0 h 381"/>
                    <a:gd name="T18" fmla="*/ 81 w 212"/>
                    <a:gd name="T19" fmla="*/ 26 h 381"/>
                    <a:gd name="T20" fmla="*/ 81 w 212"/>
                    <a:gd name="T21" fmla="*/ 53 h 381"/>
                    <a:gd name="T22" fmla="*/ 17 w 212"/>
                    <a:gd name="T23" fmla="*/ 124 h 381"/>
                    <a:gd name="T24" fmla="*/ 106 w 212"/>
                    <a:gd name="T25" fmla="*/ 210 h 381"/>
                    <a:gd name="T26" fmla="*/ 159 w 212"/>
                    <a:gd name="T27" fmla="*/ 250 h 381"/>
                    <a:gd name="T28" fmla="*/ 107 w 212"/>
                    <a:gd name="T29" fmla="*/ 279 h 381"/>
                    <a:gd name="T30" fmla="*/ 48 w 212"/>
                    <a:gd name="T31" fmla="*/ 256 h 381"/>
                    <a:gd name="T32" fmla="*/ 10 w 212"/>
                    <a:gd name="T33" fmla="*/ 257 h 381"/>
                    <a:gd name="T34" fmla="*/ 11 w 212"/>
                    <a:gd name="T35" fmla="*/ 294 h 381"/>
                    <a:gd name="T36" fmla="*/ 81 w 212"/>
                    <a:gd name="T37" fmla="*/ 329 h 381"/>
                    <a:gd name="T38" fmla="*/ 81 w 212"/>
                    <a:gd name="T39" fmla="*/ 355 h 381"/>
                    <a:gd name="T40" fmla="*/ 107 w 212"/>
                    <a:gd name="T41" fmla="*/ 381 h 381"/>
                    <a:gd name="T42" fmla="*/ 133 w 212"/>
                    <a:gd name="T43" fmla="*/ 355 h 381"/>
                    <a:gd name="T44" fmla="*/ 133 w 212"/>
                    <a:gd name="T45" fmla="*/ 330 h 381"/>
                    <a:gd name="T46" fmla="*/ 211 w 212"/>
                    <a:gd name="T47" fmla="*/ 251 h 381"/>
                    <a:gd name="T48" fmla="*/ 121 w 212"/>
                    <a:gd name="T49" fmla="*/ 16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2" h="381">
                      <a:moveTo>
                        <a:pt x="121" y="160"/>
                      </a:moveTo>
                      <a:cubicBezTo>
                        <a:pt x="82" y="148"/>
                        <a:pt x="70" y="142"/>
                        <a:pt x="70" y="124"/>
                      </a:cubicBezTo>
                      <a:cubicBezTo>
                        <a:pt x="70" y="109"/>
                        <a:pt x="92" y="102"/>
                        <a:pt x="114" y="102"/>
                      </a:cubicBezTo>
                      <a:cubicBezTo>
                        <a:pt x="130" y="102"/>
                        <a:pt x="148" y="106"/>
                        <a:pt x="160" y="113"/>
                      </a:cubicBezTo>
                      <a:cubicBezTo>
                        <a:pt x="172" y="121"/>
                        <a:pt x="188" y="117"/>
                        <a:pt x="196" y="104"/>
                      </a:cubicBezTo>
                      <a:cubicBezTo>
                        <a:pt x="203" y="92"/>
                        <a:pt x="199" y="75"/>
                        <a:pt x="187" y="68"/>
                      </a:cubicBezTo>
                      <a:cubicBezTo>
                        <a:pt x="172" y="59"/>
                        <a:pt x="153" y="53"/>
                        <a:pt x="133" y="51"/>
                      </a:cubicBezTo>
                      <a:cubicBezTo>
                        <a:pt x="133" y="26"/>
                        <a:pt x="133" y="26"/>
                        <a:pt x="133" y="26"/>
                      </a:cubicBezTo>
                      <a:cubicBezTo>
                        <a:pt x="133" y="12"/>
                        <a:pt x="122" y="0"/>
                        <a:pt x="107" y="0"/>
                      </a:cubicBezTo>
                      <a:cubicBezTo>
                        <a:pt x="93" y="0"/>
                        <a:pt x="81" y="12"/>
                        <a:pt x="81" y="26"/>
                      </a:cubicBezTo>
                      <a:cubicBezTo>
                        <a:pt x="81" y="53"/>
                        <a:pt x="81" y="53"/>
                        <a:pt x="81" y="53"/>
                      </a:cubicBezTo>
                      <a:cubicBezTo>
                        <a:pt x="37" y="63"/>
                        <a:pt x="17" y="94"/>
                        <a:pt x="17" y="124"/>
                      </a:cubicBezTo>
                      <a:cubicBezTo>
                        <a:pt x="17" y="184"/>
                        <a:pt x="70" y="200"/>
                        <a:pt x="106" y="210"/>
                      </a:cubicBezTo>
                      <a:cubicBezTo>
                        <a:pt x="147" y="223"/>
                        <a:pt x="159" y="229"/>
                        <a:pt x="159" y="250"/>
                      </a:cubicBezTo>
                      <a:cubicBezTo>
                        <a:pt x="159" y="278"/>
                        <a:pt x="116" y="279"/>
                        <a:pt x="107" y="279"/>
                      </a:cubicBezTo>
                      <a:cubicBezTo>
                        <a:pt x="86" y="279"/>
                        <a:pt x="62" y="270"/>
                        <a:pt x="48" y="256"/>
                      </a:cubicBezTo>
                      <a:cubicBezTo>
                        <a:pt x="37" y="246"/>
                        <a:pt x="20" y="246"/>
                        <a:pt x="10" y="257"/>
                      </a:cubicBezTo>
                      <a:cubicBezTo>
                        <a:pt x="0" y="267"/>
                        <a:pt x="1" y="284"/>
                        <a:pt x="11" y="294"/>
                      </a:cubicBezTo>
                      <a:cubicBezTo>
                        <a:pt x="29" y="311"/>
                        <a:pt x="55" y="324"/>
                        <a:pt x="81" y="329"/>
                      </a:cubicBezTo>
                      <a:cubicBezTo>
                        <a:pt x="81" y="355"/>
                        <a:pt x="81" y="355"/>
                        <a:pt x="81" y="355"/>
                      </a:cubicBezTo>
                      <a:cubicBezTo>
                        <a:pt x="81" y="370"/>
                        <a:pt x="93" y="381"/>
                        <a:pt x="107" y="381"/>
                      </a:cubicBezTo>
                      <a:cubicBezTo>
                        <a:pt x="122" y="381"/>
                        <a:pt x="133" y="370"/>
                        <a:pt x="133" y="355"/>
                      </a:cubicBezTo>
                      <a:cubicBezTo>
                        <a:pt x="133" y="330"/>
                        <a:pt x="133" y="330"/>
                        <a:pt x="133" y="330"/>
                      </a:cubicBezTo>
                      <a:cubicBezTo>
                        <a:pt x="181" y="322"/>
                        <a:pt x="211" y="292"/>
                        <a:pt x="211" y="251"/>
                      </a:cubicBezTo>
                      <a:cubicBezTo>
                        <a:pt x="212" y="187"/>
                        <a:pt x="159" y="172"/>
                        <a:pt x="121"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grpSp>
        <p:grpSp>
          <p:nvGrpSpPr>
            <p:cNvPr id="58" name="Group 57"/>
            <p:cNvGrpSpPr/>
            <p:nvPr userDrawn="1"/>
          </p:nvGrpSpPr>
          <p:grpSpPr>
            <a:xfrm>
              <a:off x="10649900" y="7001962"/>
              <a:ext cx="400525" cy="335204"/>
              <a:chOff x="13249175" y="1326748"/>
              <a:chExt cx="739775" cy="619125"/>
            </a:xfrm>
            <a:solidFill>
              <a:schemeClr val="accent5">
                <a:lumMod val="75000"/>
              </a:schemeClr>
            </a:solidFill>
          </p:grpSpPr>
          <p:sp>
            <p:nvSpPr>
              <p:cNvPr id="65" name="Freeform 55"/>
              <p:cNvSpPr>
                <a:spLocks noEditPoints="1"/>
              </p:cNvSpPr>
              <p:nvPr userDrawn="1"/>
            </p:nvSpPr>
            <p:spPr bwMode="auto">
              <a:xfrm>
                <a:off x="13249175" y="1326748"/>
                <a:ext cx="739775" cy="619125"/>
              </a:xfrm>
              <a:custGeom>
                <a:avLst/>
                <a:gdLst>
                  <a:gd name="T0" fmla="*/ 1410 w 1475"/>
                  <a:gd name="T1" fmla="*/ 0 h 1232"/>
                  <a:gd name="T2" fmla="*/ 65 w 1475"/>
                  <a:gd name="T3" fmla="*/ 0 h 1232"/>
                  <a:gd name="T4" fmla="*/ 0 w 1475"/>
                  <a:gd name="T5" fmla="*/ 65 h 1232"/>
                  <a:gd name="T6" fmla="*/ 0 w 1475"/>
                  <a:gd name="T7" fmla="*/ 929 h 1232"/>
                  <a:gd name="T8" fmla="*/ 65 w 1475"/>
                  <a:gd name="T9" fmla="*/ 994 h 1232"/>
                  <a:gd name="T10" fmla="*/ 545 w 1475"/>
                  <a:gd name="T11" fmla="*/ 994 h 1232"/>
                  <a:gd name="T12" fmla="*/ 464 w 1475"/>
                  <a:gd name="T13" fmla="*/ 1187 h 1232"/>
                  <a:gd name="T14" fmla="*/ 459 w 1475"/>
                  <a:gd name="T15" fmla="*/ 1216 h 1232"/>
                  <a:gd name="T16" fmla="*/ 483 w 1475"/>
                  <a:gd name="T17" fmla="*/ 1232 h 1232"/>
                  <a:gd name="T18" fmla="*/ 992 w 1475"/>
                  <a:gd name="T19" fmla="*/ 1232 h 1232"/>
                  <a:gd name="T20" fmla="*/ 1016 w 1475"/>
                  <a:gd name="T21" fmla="*/ 1216 h 1232"/>
                  <a:gd name="T22" fmla="*/ 1011 w 1475"/>
                  <a:gd name="T23" fmla="*/ 1187 h 1232"/>
                  <a:gd name="T24" fmla="*/ 931 w 1475"/>
                  <a:gd name="T25" fmla="*/ 994 h 1232"/>
                  <a:gd name="T26" fmla="*/ 1410 w 1475"/>
                  <a:gd name="T27" fmla="*/ 994 h 1232"/>
                  <a:gd name="T28" fmla="*/ 1475 w 1475"/>
                  <a:gd name="T29" fmla="*/ 929 h 1232"/>
                  <a:gd name="T30" fmla="*/ 1475 w 1475"/>
                  <a:gd name="T31" fmla="*/ 65 h 1232"/>
                  <a:gd name="T32" fmla="*/ 1410 w 1475"/>
                  <a:gd name="T33" fmla="*/ 0 h 1232"/>
                  <a:gd name="T34" fmla="*/ 65 w 1475"/>
                  <a:gd name="T35" fmla="*/ 52 h 1232"/>
                  <a:gd name="T36" fmla="*/ 1410 w 1475"/>
                  <a:gd name="T37" fmla="*/ 52 h 1232"/>
                  <a:gd name="T38" fmla="*/ 1422 w 1475"/>
                  <a:gd name="T39" fmla="*/ 65 h 1232"/>
                  <a:gd name="T40" fmla="*/ 1422 w 1475"/>
                  <a:gd name="T41" fmla="*/ 792 h 1232"/>
                  <a:gd name="T42" fmla="*/ 53 w 1475"/>
                  <a:gd name="T43" fmla="*/ 792 h 1232"/>
                  <a:gd name="T44" fmla="*/ 53 w 1475"/>
                  <a:gd name="T45" fmla="*/ 65 h 1232"/>
                  <a:gd name="T46" fmla="*/ 65 w 1475"/>
                  <a:gd name="T47" fmla="*/ 52 h 1232"/>
                  <a:gd name="T48" fmla="*/ 939 w 1475"/>
                  <a:gd name="T49" fmla="*/ 1180 h 1232"/>
                  <a:gd name="T50" fmla="*/ 536 w 1475"/>
                  <a:gd name="T51" fmla="*/ 1180 h 1232"/>
                  <a:gd name="T52" fmla="*/ 598 w 1475"/>
                  <a:gd name="T53" fmla="*/ 994 h 1232"/>
                  <a:gd name="T54" fmla="*/ 877 w 1475"/>
                  <a:gd name="T55" fmla="*/ 994 h 1232"/>
                  <a:gd name="T56" fmla="*/ 939 w 1475"/>
                  <a:gd name="T57" fmla="*/ 1180 h 1232"/>
                  <a:gd name="T58" fmla="*/ 1410 w 1475"/>
                  <a:gd name="T59" fmla="*/ 942 h 1232"/>
                  <a:gd name="T60" fmla="*/ 1280 w 1475"/>
                  <a:gd name="T61" fmla="*/ 942 h 1232"/>
                  <a:gd name="T62" fmla="*/ 1280 w 1475"/>
                  <a:gd name="T63" fmla="*/ 920 h 1232"/>
                  <a:gd name="T64" fmla="*/ 1254 w 1475"/>
                  <a:gd name="T65" fmla="*/ 894 h 1232"/>
                  <a:gd name="T66" fmla="*/ 1227 w 1475"/>
                  <a:gd name="T67" fmla="*/ 920 h 1232"/>
                  <a:gd name="T68" fmla="*/ 1227 w 1475"/>
                  <a:gd name="T69" fmla="*/ 942 h 1232"/>
                  <a:gd name="T70" fmla="*/ 1122 w 1475"/>
                  <a:gd name="T71" fmla="*/ 942 h 1232"/>
                  <a:gd name="T72" fmla="*/ 1122 w 1475"/>
                  <a:gd name="T73" fmla="*/ 920 h 1232"/>
                  <a:gd name="T74" fmla="*/ 1096 w 1475"/>
                  <a:gd name="T75" fmla="*/ 894 h 1232"/>
                  <a:gd name="T76" fmla="*/ 1069 w 1475"/>
                  <a:gd name="T77" fmla="*/ 920 h 1232"/>
                  <a:gd name="T78" fmla="*/ 1069 w 1475"/>
                  <a:gd name="T79" fmla="*/ 942 h 1232"/>
                  <a:gd name="T80" fmla="*/ 900 w 1475"/>
                  <a:gd name="T81" fmla="*/ 942 h 1232"/>
                  <a:gd name="T82" fmla="*/ 575 w 1475"/>
                  <a:gd name="T83" fmla="*/ 942 h 1232"/>
                  <a:gd name="T84" fmla="*/ 65 w 1475"/>
                  <a:gd name="T85" fmla="*/ 942 h 1232"/>
                  <a:gd name="T86" fmla="*/ 53 w 1475"/>
                  <a:gd name="T87" fmla="*/ 929 h 1232"/>
                  <a:gd name="T88" fmla="*/ 53 w 1475"/>
                  <a:gd name="T89" fmla="*/ 844 h 1232"/>
                  <a:gd name="T90" fmla="*/ 1422 w 1475"/>
                  <a:gd name="T91" fmla="*/ 844 h 1232"/>
                  <a:gd name="T92" fmla="*/ 1422 w 1475"/>
                  <a:gd name="T93" fmla="*/ 929 h 1232"/>
                  <a:gd name="T94" fmla="*/ 1410 w 1475"/>
                  <a:gd name="T95" fmla="*/ 942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75" h="1232">
                    <a:moveTo>
                      <a:pt x="1410" y="0"/>
                    </a:moveTo>
                    <a:cubicBezTo>
                      <a:pt x="65" y="0"/>
                      <a:pt x="65" y="0"/>
                      <a:pt x="65" y="0"/>
                    </a:cubicBezTo>
                    <a:cubicBezTo>
                      <a:pt x="30" y="0"/>
                      <a:pt x="0" y="29"/>
                      <a:pt x="0" y="65"/>
                    </a:cubicBezTo>
                    <a:cubicBezTo>
                      <a:pt x="0" y="929"/>
                      <a:pt x="0" y="929"/>
                      <a:pt x="0" y="929"/>
                    </a:cubicBezTo>
                    <a:cubicBezTo>
                      <a:pt x="0" y="965"/>
                      <a:pt x="30" y="994"/>
                      <a:pt x="65" y="994"/>
                    </a:cubicBezTo>
                    <a:cubicBezTo>
                      <a:pt x="545" y="994"/>
                      <a:pt x="545" y="994"/>
                      <a:pt x="545" y="994"/>
                    </a:cubicBezTo>
                    <a:cubicBezTo>
                      <a:pt x="537" y="1042"/>
                      <a:pt x="515" y="1137"/>
                      <a:pt x="464" y="1187"/>
                    </a:cubicBezTo>
                    <a:cubicBezTo>
                      <a:pt x="457" y="1195"/>
                      <a:pt x="455" y="1206"/>
                      <a:pt x="459" y="1216"/>
                    </a:cubicBezTo>
                    <a:cubicBezTo>
                      <a:pt x="463" y="1226"/>
                      <a:pt x="472" y="1232"/>
                      <a:pt x="483" y="1232"/>
                    </a:cubicBezTo>
                    <a:cubicBezTo>
                      <a:pt x="992" y="1232"/>
                      <a:pt x="992" y="1232"/>
                      <a:pt x="992" y="1232"/>
                    </a:cubicBezTo>
                    <a:cubicBezTo>
                      <a:pt x="1003" y="1232"/>
                      <a:pt x="1012" y="1226"/>
                      <a:pt x="1016" y="1216"/>
                    </a:cubicBezTo>
                    <a:cubicBezTo>
                      <a:pt x="1021" y="1206"/>
                      <a:pt x="1018" y="1195"/>
                      <a:pt x="1011" y="1187"/>
                    </a:cubicBezTo>
                    <a:cubicBezTo>
                      <a:pt x="960" y="1137"/>
                      <a:pt x="938" y="1042"/>
                      <a:pt x="931" y="994"/>
                    </a:cubicBezTo>
                    <a:cubicBezTo>
                      <a:pt x="1410" y="994"/>
                      <a:pt x="1410" y="994"/>
                      <a:pt x="1410" y="994"/>
                    </a:cubicBezTo>
                    <a:cubicBezTo>
                      <a:pt x="1446" y="994"/>
                      <a:pt x="1475" y="965"/>
                      <a:pt x="1475" y="929"/>
                    </a:cubicBezTo>
                    <a:cubicBezTo>
                      <a:pt x="1475" y="65"/>
                      <a:pt x="1475" y="65"/>
                      <a:pt x="1475" y="65"/>
                    </a:cubicBezTo>
                    <a:cubicBezTo>
                      <a:pt x="1475" y="29"/>
                      <a:pt x="1446" y="0"/>
                      <a:pt x="1410" y="0"/>
                    </a:cubicBezTo>
                    <a:close/>
                    <a:moveTo>
                      <a:pt x="65" y="52"/>
                    </a:moveTo>
                    <a:cubicBezTo>
                      <a:pt x="1410" y="52"/>
                      <a:pt x="1410" y="52"/>
                      <a:pt x="1410" y="52"/>
                    </a:cubicBezTo>
                    <a:cubicBezTo>
                      <a:pt x="1417" y="52"/>
                      <a:pt x="1422" y="58"/>
                      <a:pt x="1422" y="65"/>
                    </a:cubicBezTo>
                    <a:cubicBezTo>
                      <a:pt x="1422" y="792"/>
                      <a:pt x="1422" y="792"/>
                      <a:pt x="1422" y="792"/>
                    </a:cubicBezTo>
                    <a:cubicBezTo>
                      <a:pt x="53" y="792"/>
                      <a:pt x="53" y="792"/>
                      <a:pt x="53" y="792"/>
                    </a:cubicBezTo>
                    <a:cubicBezTo>
                      <a:pt x="53" y="65"/>
                      <a:pt x="53" y="65"/>
                      <a:pt x="53" y="65"/>
                    </a:cubicBezTo>
                    <a:cubicBezTo>
                      <a:pt x="53" y="58"/>
                      <a:pt x="59" y="52"/>
                      <a:pt x="65" y="52"/>
                    </a:cubicBezTo>
                    <a:close/>
                    <a:moveTo>
                      <a:pt x="939" y="1180"/>
                    </a:moveTo>
                    <a:cubicBezTo>
                      <a:pt x="536" y="1180"/>
                      <a:pt x="536" y="1180"/>
                      <a:pt x="536" y="1180"/>
                    </a:cubicBezTo>
                    <a:cubicBezTo>
                      <a:pt x="576" y="1115"/>
                      <a:pt x="592" y="1034"/>
                      <a:pt x="598" y="994"/>
                    </a:cubicBezTo>
                    <a:cubicBezTo>
                      <a:pt x="877" y="994"/>
                      <a:pt x="877" y="994"/>
                      <a:pt x="877" y="994"/>
                    </a:cubicBezTo>
                    <a:cubicBezTo>
                      <a:pt x="883" y="1034"/>
                      <a:pt x="899" y="1115"/>
                      <a:pt x="939" y="1180"/>
                    </a:cubicBezTo>
                    <a:close/>
                    <a:moveTo>
                      <a:pt x="1410" y="942"/>
                    </a:moveTo>
                    <a:cubicBezTo>
                      <a:pt x="1280" y="942"/>
                      <a:pt x="1280" y="942"/>
                      <a:pt x="1280" y="942"/>
                    </a:cubicBezTo>
                    <a:cubicBezTo>
                      <a:pt x="1280" y="920"/>
                      <a:pt x="1280" y="920"/>
                      <a:pt x="1280" y="920"/>
                    </a:cubicBezTo>
                    <a:cubicBezTo>
                      <a:pt x="1280" y="906"/>
                      <a:pt x="1268" y="894"/>
                      <a:pt x="1254" y="894"/>
                    </a:cubicBezTo>
                    <a:cubicBezTo>
                      <a:pt x="1239" y="894"/>
                      <a:pt x="1227" y="906"/>
                      <a:pt x="1227" y="920"/>
                    </a:cubicBezTo>
                    <a:cubicBezTo>
                      <a:pt x="1227" y="942"/>
                      <a:pt x="1227" y="942"/>
                      <a:pt x="1227" y="942"/>
                    </a:cubicBezTo>
                    <a:cubicBezTo>
                      <a:pt x="1122" y="942"/>
                      <a:pt x="1122" y="942"/>
                      <a:pt x="1122" y="942"/>
                    </a:cubicBezTo>
                    <a:cubicBezTo>
                      <a:pt x="1122" y="920"/>
                      <a:pt x="1122" y="920"/>
                      <a:pt x="1122" y="920"/>
                    </a:cubicBezTo>
                    <a:cubicBezTo>
                      <a:pt x="1122" y="906"/>
                      <a:pt x="1110" y="894"/>
                      <a:pt x="1096" y="894"/>
                    </a:cubicBezTo>
                    <a:cubicBezTo>
                      <a:pt x="1081" y="894"/>
                      <a:pt x="1069" y="906"/>
                      <a:pt x="1069" y="920"/>
                    </a:cubicBezTo>
                    <a:cubicBezTo>
                      <a:pt x="1069" y="942"/>
                      <a:pt x="1069" y="942"/>
                      <a:pt x="1069" y="942"/>
                    </a:cubicBezTo>
                    <a:cubicBezTo>
                      <a:pt x="900" y="942"/>
                      <a:pt x="900" y="942"/>
                      <a:pt x="900" y="942"/>
                    </a:cubicBezTo>
                    <a:cubicBezTo>
                      <a:pt x="575" y="942"/>
                      <a:pt x="575" y="942"/>
                      <a:pt x="575" y="942"/>
                    </a:cubicBezTo>
                    <a:cubicBezTo>
                      <a:pt x="65" y="942"/>
                      <a:pt x="65" y="942"/>
                      <a:pt x="65" y="942"/>
                    </a:cubicBezTo>
                    <a:cubicBezTo>
                      <a:pt x="59" y="942"/>
                      <a:pt x="53" y="936"/>
                      <a:pt x="53" y="929"/>
                    </a:cubicBezTo>
                    <a:cubicBezTo>
                      <a:pt x="53" y="844"/>
                      <a:pt x="53" y="844"/>
                      <a:pt x="53" y="844"/>
                    </a:cubicBezTo>
                    <a:cubicBezTo>
                      <a:pt x="1422" y="844"/>
                      <a:pt x="1422" y="844"/>
                      <a:pt x="1422" y="844"/>
                    </a:cubicBezTo>
                    <a:cubicBezTo>
                      <a:pt x="1422" y="929"/>
                      <a:pt x="1422" y="929"/>
                      <a:pt x="1422" y="929"/>
                    </a:cubicBezTo>
                    <a:cubicBezTo>
                      <a:pt x="1422" y="936"/>
                      <a:pt x="1417" y="942"/>
                      <a:pt x="1410" y="9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66" name="Freeform 56"/>
              <p:cNvSpPr>
                <a:spLocks noEditPoints="1"/>
              </p:cNvSpPr>
              <p:nvPr userDrawn="1"/>
            </p:nvSpPr>
            <p:spPr bwMode="auto">
              <a:xfrm>
                <a:off x="13323787" y="1410886"/>
                <a:ext cx="590550" cy="217488"/>
              </a:xfrm>
              <a:custGeom>
                <a:avLst/>
                <a:gdLst>
                  <a:gd name="T0" fmla="*/ 78 w 1175"/>
                  <a:gd name="T1" fmla="*/ 300 h 435"/>
                  <a:gd name="T2" fmla="*/ 144 w 1175"/>
                  <a:gd name="T3" fmla="*/ 263 h 435"/>
                  <a:gd name="T4" fmla="*/ 511 w 1175"/>
                  <a:gd name="T5" fmla="*/ 369 h 435"/>
                  <a:gd name="T6" fmla="*/ 588 w 1175"/>
                  <a:gd name="T7" fmla="*/ 435 h 435"/>
                  <a:gd name="T8" fmla="*/ 665 w 1175"/>
                  <a:gd name="T9" fmla="*/ 357 h 435"/>
                  <a:gd name="T10" fmla="*/ 665 w 1175"/>
                  <a:gd name="T11" fmla="*/ 348 h 435"/>
                  <a:gd name="T12" fmla="*/ 1043 w 1175"/>
                  <a:gd name="T13" fmla="*/ 133 h 435"/>
                  <a:gd name="T14" fmla="*/ 1097 w 1175"/>
                  <a:gd name="T15" fmla="*/ 155 h 435"/>
                  <a:gd name="T16" fmla="*/ 1175 w 1175"/>
                  <a:gd name="T17" fmla="*/ 78 h 435"/>
                  <a:gd name="T18" fmla="*/ 1097 w 1175"/>
                  <a:gd name="T19" fmla="*/ 0 h 435"/>
                  <a:gd name="T20" fmla="*/ 1019 w 1175"/>
                  <a:gd name="T21" fmla="*/ 78 h 435"/>
                  <a:gd name="T22" fmla="*/ 1020 w 1175"/>
                  <a:gd name="T23" fmla="*/ 85 h 435"/>
                  <a:gd name="T24" fmla="*/ 641 w 1175"/>
                  <a:gd name="T25" fmla="*/ 300 h 435"/>
                  <a:gd name="T26" fmla="*/ 588 w 1175"/>
                  <a:gd name="T27" fmla="*/ 279 h 435"/>
                  <a:gd name="T28" fmla="*/ 521 w 1175"/>
                  <a:gd name="T29" fmla="*/ 317 h 435"/>
                  <a:gd name="T30" fmla="*/ 155 w 1175"/>
                  <a:gd name="T31" fmla="*/ 211 h 435"/>
                  <a:gd name="T32" fmla="*/ 78 w 1175"/>
                  <a:gd name="T33" fmla="*/ 145 h 435"/>
                  <a:gd name="T34" fmla="*/ 0 w 1175"/>
                  <a:gd name="T35" fmla="*/ 223 h 435"/>
                  <a:gd name="T36" fmla="*/ 78 w 1175"/>
                  <a:gd name="T37" fmla="*/ 300 h 435"/>
                  <a:gd name="T38" fmla="*/ 1097 w 1175"/>
                  <a:gd name="T39" fmla="*/ 53 h 435"/>
                  <a:gd name="T40" fmla="*/ 1122 w 1175"/>
                  <a:gd name="T41" fmla="*/ 78 h 435"/>
                  <a:gd name="T42" fmla="*/ 1097 w 1175"/>
                  <a:gd name="T43" fmla="*/ 103 h 435"/>
                  <a:gd name="T44" fmla="*/ 1074 w 1175"/>
                  <a:gd name="T45" fmla="*/ 88 h 435"/>
                  <a:gd name="T46" fmla="*/ 1074 w 1175"/>
                  <a:gd name="T47" fmla="*/ 87 h 435"/>
                  <a:gd name="T48" fmla="*/ 1072 w 1175"/>
                  <a:gd name="T49" fmla="*/ 78 h 435"/>
                  <a:gd name="T50" fmla="*/ 1097 w 1175"/>
                  <a:gd name="T51" fmla="*/ 53 h 435"/>
                  <a:gd name="T52" fmla="*/ 588 w 1175"/>
                  <a:gd name="T53" fmla="*/ 332 h 435"/>
                  <a:gd name="T54" fmla="*/ 613 w 1175"/>
                  <a:gd name="T55" fmla="*/ 357 h 435"/>
                  <a:gd name="T56" fmla="*/ 588 w 1175"/>
                  <a:gd name="T57" fmla="*/ 382 h 435"/>
                  <a:gd name="T58" fmla="*/ 563 w 1175"/>
                  <a:gd name="T59" fmla="*/ 357 h 435"/>
                  <a:gd name="T60" fmla="*/ 563 w 1175"/>
                  <a:gd name="T61" fmla="*/ 354 h 435"/>
                  <a:gd name="T62" fmla="*/ 563 w 1175"/>
                  <a:gd name="T63" fmla="*/ 353 h 435"/>
                  <a:gd name="T64" fmla="*/ 588 w 1175"/>
                  <a:gd name="T65" fmla="*/ 332 h 435"/>
                  <a:gd name="T66" fmla="*/ 78 w 1175"/>
                  <a:gd name="T67" fmla="*/ 198 h 435"/>
                  <a:gd name="T68" fmla="*/ 103 w 1175"/>
                  <a:gd name="T69" fmla="*/ 223 h 435"/>
                  <a:gd name="T70" fmla="*/ 78 w 1175"/>
                  <a:gd name="T71" fmla="*/ 248 h 435"/>
                  <a:gd name="T72" fmla="*/ 53 w 1175"/>
                  <a:gd name="T73" fmla="*/ 223 h 435"/>
                  <a:gd name="T74" fmla="*/ 78 w 1175"/>
                  <a:gd name="T75" fmla="*/ 198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5" h="435">
                    <a:moveTo>
                      <a:pt x="78" y="300"/>
                    </a:moveTo>
                    <a:cubicBezTo>
                      <a:pt x="106" y="300"/>
                      <a:pt x="131" y="285"/>
                      <a:pt x="144" y="263"/>
                    </a:cubicBezTo>
                    <a:cubicBezTo>
                      <a:pt x="511" y="369"/>
                      <a:pt x="511" y="369"/>
                      <a:pt x="511" y="369"/>
                    </a:cubicBezTo>
                    <a:cubicBezTo>
                      <a:pt x="517" y="406"/>
                      <a:pt x="549" y="435"/>
                      <a:pt x="588" y="435"/>
                    </a:cubicBezTo>
                    <a:cubicBezTo>
                      <a:pt x="630" y="435"/>
                      <a:pt x="665" y="400"/>
                      <a:pt x="665" y="357"/>
                    </a:cubicBezTo>
                    <a:cubicBezTo>
                      <a:pt x="665" y="354"/>
                      <a:pt x="665" y="351"/>
                      <a:pt x="665" y="348"/>
                    </a:cubicBezTo>
                    <a:cubicBezTo>
                      <a:pt x="1043" y="133"/>
                      <a:pt x="1043" y="133"/>
                      <a:pt x="1043" y="133"/>
                    </a:cubicBezTo>
                    <a:cubicBezTo>
                      <a:pt x="1057" y="147"/>
                      <a:pt x="1076" y="155"/>
                      <a:pt x="1097" y="155"/>
                    </a:cubicBezTo>
                    <a:cubicBezTo>
                      <a:pt x="1140" y="155"/>
                      <a:pt x="1175" y="121"/>
                      <a:pt x="1175" y="78"/>
                    </a:cubicBezTo>
                    <a:cubicBezTo>
                      <a:pt x="1175" y="35"/>
                      <a:pt x="1140" y="0"/>
                      <a:pt x="1097" y="0"/>
                    </a:cubicBezTo>
                    <a:cubicBezTo>
                      <a:pt x="1054" y="0"/>
                      <a:pt x="1019" y="35"/>
                      <a:pt x="1019" y="78"/>
                    </a:cubicBezTo>
                    <a:cubicBezTo>
                      <a:pt x="1019" y="80"/>
                      <a:pt x="1020" y="83"/>
                      <a:pt x="1020" y="85"/>
                    </a:cubicBezTo>
                    <a:cubicBezTo>
                      <a:pt x="641" y="300"/>
                      <a:pt x="641" y="300"/>
                      <a:pt x="641" y="300"/>
                    </a:cubicBezTo>
                    <a:cubicBezTo>
                      <a:pt x="627" y="287"/>
                      <a:pt x="608" y="279"/>
                      <a:pt x="588" y="279"/>
                    </a:cubicBezTo>
                    <a:cubicBezTo>
                      <a:pt x="559" y="279"/>
                      <a:pt x="534" y="295"/>
                      <a:pt x="521" y="317"/>
                    </a:cubicBezTo>
                    <a:cubicBezTo>
                      <a:pt x="155" y="211"/>
                      <a:pt x="155" y="211"/>
                      <a:pt x="155" y="211"/>
                    </a:cubicBezTo>
                    <a:cubicBezTo>
                      <a:pt x="149" y="174"/>
                      <a:pt x="117" y="145"/>
                      <a:pt x="78" y="145"/>
                    </a:cubicBezTo>
                    <a:cubicBezTo>
                      <a:pt x="35" y="145"/>
                      <a:pt x="0" y="180"/>
                      <a:pt x="0" y="223"/>
                    </a:cubicBezTo>
                    <a:cubicBezTo>
                      <a:pt x="0" y="265"/>
                      <a:pt x="35" y="300"/>
                      <a:pt x="78" y="300"/>
                    </a:cubicBezTo>
                    <a:close/>
                    <a:moveTo>
                      <a:pt x="1097" y="53"/>
                    </a:moveTo>
                    <a:cubicBezTo>
                      <a:pt x="1111" y="53"/>
                      <a:pt x="1122" y="64"/>
                      <a:pt x="1122" y="78"/>
                    </a:cubicBezTo>
                    <a:cubicBezTo>
                      <a:pt x="1122" y="92"/>
                      <a:pt x="1111" y="103"/>
                      <a:pt x="1097" y="103"/>
                    </a:cubicBezTo>
                    <a:cubicBezTo>
                      <a:pt x="1087" y="103"/>
                      <a:pt x="1078" y="97"/>
                      <a:pt x="1074" y="88"/>
                    </a:cubicBezTo>
                    <a:cubicBezTo>
                      <a:pt x="1074" y="88"/>
                      <a:pt x="1074" y="88"/>
                      <a:pt x="1074" y="87"/>
                    </a:cubicBezTo>
                    <a:cubicBezTo>
                      <a:pt x="1073" y="84"/>
                      <a:pt x="1072" y="81"/>
                      <a:pt x="1072" y="78"/>
                    </a:cubicBezTo>
                    <a:cubicBezTo>
                      <a:pt x="1072" y="64"/>
                      <a:pt x="1083" y="53"/>
                      <a:pt x="1097" y="53"/>
                    </a:cubicBezTo>
                    <a:close/>
                    <a:moveTo>
                      <a:pt x="588" y="332"/>
                    </a:moveTo>
                    <a:cubicBezTo>
                      <a:pt x="601" y="332"/>
                      <a:pt x="613" y="343"/>
                      <a:pt x="613" y="357"/>
                    </a:cubicBezTo>
                    <a:cubicBezTo>
                      <a:pt x="613" y="371"/>
                      <a:pt x="601" y="382"/>
                      <a:pt x="588" y="382"/>
                    </a:cubicBezTo>
                    <a:cubicBezTo>
                      <a:pt x="574" y="382"/>
                      <a:pt x="563" y="371"/>
                      <a:pt x="563" y="357"/>
                    </a:cubicBezTo>
                    <a:cubicBezTo>
                      <a:pt x="563" y="356"/>
                      <a:pt x="563" y="355"/>
                      <a:pt x="563" y="354"/>
                    </a:cubicBezTo>
                    <a:cubicBezTo>
                      <a:pt x="563" y="354"/>
                      <a:pt x="563" y="353"/>
                      <a:pt x="563" y="353"/>
                    </a:cubicBezTo>
                    <a:cubicBezTo>
                      <a:pt x="565" y="341"/>
                      <a:pt x="575" y="332"/>
                      <a:pt x="588" y="332"/>
                    </a:cubicBezTo>
                    <a:close/>
                    <a:moveTo>
                      <a:pt x="78" y="198"/>
                    </a:moveTo>
                    <a:cubicBezTo>
                      <a:pt x="92" y="198"/>
                      <a:pt x="103" y="209"/>
                      <a:pt x="103" y="223"/>
                    </a:cubicBezTo>
                    <a:cubicBezTo>
                      <a:pt x="103" y="236"/>
                      <a:pt x="92" y="248"/>
                      <a:pt x="78" y="248"/>
                    </a:cubicBezTo>
                    <a:cubicBezTo>
                      <a:pt x="64" y="248"/>
                      <a:pt x="53" y="236"/>
                      <a:pt x="53" y="223"/>
                    </a:cubicBezTo>
                    <a:cubicBezTo>
                      <a:pt x="53" y="209"/>
                      <a:pt x="64" y="198"/>
                      <a:pt x="78"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cxnSp>
          <p:nvCxnSpPr>
            <p:cNvPr id="59" name="Straight Connector 58"/>
            <p:cNvCxnSpPr/>
            <p:nvPr userDrawn="1"/>
          </p:nvCxnSpPr>
          <p:spPr bwMode="auto">
            <a:xfrm flipH="1">
              <a:off x="9437370" y="7331404"/>
              <a:ext cx="273050" cy="0"/>
            </a:xfrm>
            <a:prstGeom prst="line">
              <a:avLst/>
            </a:prstGeom>
            <a:solidFill>
              <a:schemeClr val="accent5">
                <a:lumMod val="75000"/>
              </a:schemeClr>
            </a:solidFill>
            <a:ln w="9525" cap="flat" cmpd="sng" algn="ctr">
              <a:solidFill>
                <a:schemeClr val="accent5">
                  <a:lumMod val="75000"/>
                </a:schemeClr>
              </a:solidFill>
              <a:prstDash val="solid"/>
              <a:round/>
              <a:headEnd type="none" w="med" len="med"/>
              <a:tailEnd type="none" w="med" len="med"/>
            </a:ln>
            <a:effectLst/>
          </p:spPr>
        </p:cxnSp>
        <p:cxnSp>
          <p:nvCxnSpPr>
            <p:cNvPr id="60" name="Straight Connector 59"/>
            <p:cNvCxnSpPr/>
            <p:nvPr userDrawn="1"/>
          </p:nvCxnSpPr>
          <p:spPr bwMode="auto">
            <a:xfrm flipH="1">
              <a:off x="9799320" y="7331404"/>
              <a:ext cx="273050" cy="0"/>
            </a:xfrm>
            <a:prstGeom prst="line">
              <a:avLst/>
            </a:prstGeom>
            <a:solidFill>
              <a:schemeClr val="accent5">
                <a:lumMod val="75000"/>
              </a:schemeClr>
            </a:solidFill>
            <a:ln w="9525" cap="flat" cmpd="sng" algn="ctr">
              <a:solidFill>
                <a:schemeClr val="accent5">
                  <a:lumMod val="75000"/>
                </a:schemeClr>
              </a:solidFill>
              <a:prstDash val="solid"/>
              <a:round/>
              <a:headEnd type="none" w="med" len="med"/>
              <a:tailEnd type="none" w="med" len="med"/>
            </a:ln>
            <a:effectLst/>
          </p:spPr>
        </p:cxnSp>
        <p:cxnSp>
          <p:nvCxnSpPr>
            <p:cNvPr id="61" name="Straight Connector 60"/>
            <p:cNvCxnSpPr/>
            <p:nvPr userDrawn="1"/>
          </p:nvCxnSpPr>
          <p:spPr bwMode="auto">
            <a:xfrm flipH="1">
              <a:off x="10517505" y="7331404"/>
              <a:ext cx="273050" cy="0"/>
            </a:xfrm>
            <a:prstGeom prst="line">
              <a:avLst/>
            </a:prstGeom>
            <a:solidFill>
              <a:schemeClr val="accent5">
                <a:lumMod val="75000"/>
              </a:schemeClr>
            </a:solidFill>
            <a:ln w="9525" cap="flat" cmpd="sng" algn="ctr">
              <a:solidFill>
                <a:schemeClr val="accent5">
                  <a:lumMod val="75000"/>
                </a:schemeClr>
              </a:solidFill>
              <a:prstDash val="solid"/>
              <a:round/>
              <a:headEnd type="none" w="med" len="med"/>
              <a:tailEnd type="none" w="med" len="med"/>
            </a:ln>
            <a:effectLst/>
          </p:spPr>
        </p:cxnSp>
        <p:cxnSp>
          <p:nvCxnSpPr>
            <p:cNvPr id="62" name="Straight Connector 61"/>
            <p:cNvCxnSpPr>
              <a:endCxn id="77" idx="20"/>
            </p:cNvCxnSpPr>
            <p:nvPr userDrawn="1"/>
          </p:nvCxnSpPr>
          <p:spPr bwMode="auto">
            <a:xfrm flipH="1" flipV="1">
              <a:off x="10506344" y="7264426"/>
              <a:ext cx="20686" cy="74645"/>
            </a:xfrm>
            <a:prstGeom prst="line">
              <a:avLst/>
            </a:prstGeom>
            <a:solidFill>
              <a:schemeClr val="accent5">
                <a:lumMod val="75000"/>
              </a:schemeClr>
            </a:solidFill>
            <a:ln w="12700" cap="flat" cmpd="sng" algn="ctr">
              <a:solidFill>
                <a:schemeClr val="accent5">
                  <a:lumMod val="75000"/>
                </a:schemeClr>
              </a:solidFill>
              <a:prstDash val="solid"/>
              <a:round/>
              <a:headEnd type="none" w="med" len="med"/>
              <a:tailEnd type="none" w="med" len="med"/>
            </a:ln>
            <a:effectLst/>
          </p:spPr>
        </p:cxnSp>
        <p:cxnSp>
          <p:nvCxnSpPr>
            <p:cNvPr id="63" name="Straight Connector 62"/>
            <p:cNvCxnSpPr/>
            <p:nvPr userDrawn="1"/>
          </p:nvCxnSpPr>
          <p:spPr bwMode="auto">
            <a:xfrm flipH="1">
              <a:off x="10911840" y="7331404"/>
              <a:ext cx="273050" cy="0"/>
            </a:xfrm>
            <a:prstGeom prst="line">
              <a:avLst/>
            </a:prstGeom>
            <a:solidFill>
              <a:schemeClr val="accent5">
                <a:lumMod val="75000"/>
              </a:schemeClr>
            </a:solidFill>
            <a:ln w="9525" cap="flat" cmpd="sng" algn="ctr">
              <a:solidFill>
                <a:schemeClr val="accent5">
                  <a:lumMod val="75000"/>
                </a:schemeClr>
              </a:solidFill>
              <a:prstDash val="solid"/>
              <a:round/>
              <a:headEnd type="none" w="med" len="med"/>
              <a:tailEnd type="none" w="med" len="med"/>
            </a:ln>
            <a:effectLst/>
          </p:spPr>
        </p:cxnSp>
        <p:cxnSp>
          <p:nvCxnSpPr>
            <p:cNvPr id="64" name="Straight Connector 63"/>
            <p:cNvCxnSpPr/>
            <p:nvPr userDrawn="1"/>
          </p:nvCxnSpPr>
          <p:spPr bwMode="auto">
            <a:xfrm flipH="1">
              <a:off x="11298555" y="7331404"/>
              <a:ext cx="273050" cy="0"/>
            </a:xfrm>
            <a:prstGeom prst="line">
              <a:avLst/>
            </a:prstGeom>
            <a:solidFill>
              <a:schemeClr val="accent5">
                <a:lumMod val="75000"/>
              </a:schemeClr>
            </a:solidFill>
            <a:ln w="9525" cap="flat" cmpd="sng" algn="ctr">
              <a:solidFill>
                <a:schemeClr val="accent5">
                  <a:lumMod val="75000"/>
                </a:schemeClr>
              </a:solidFill>
              <a:prstDash val="solid"/>
              <a:round/>
              <a:headEnd type="none" w="med" len="med"/>
              <a:tailEnd type="none" w="med" len="med"/>
            </a:ln>
            <a:effectLst/>
          </p:spPr>
        </p:cxnSp>
      </p:grpSp>
    </p:spTree>
    <p:extLst>
      <p:ext uri="{BB962C8B-B14F-4D97-AF65-F5344CB8AC3E}">
        <p14:creationId xmlns:p14="http://schemas.microsoft.com/office/powerpoint/2010/main" val="151809316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6_Blanc">
    <p:spTree>
      <p:nvGrpSpPr>
        <p:cNvPr id="1" name=""/>
        <p:cNvGrpSpPr/>
        <p:nvPr/>
      </p:nvGrpSpPr>
      <p:grpSpPr>
        <a:xfrm>
          <a:off x="0" y="0"/>
          <a:ext cx="0" cy="0"/>
          <a:chOff x="0" y="0"/>
          <a:chExt cx="0" cy="0"/>
        </a:xfrm>
      </p:grpSpPr>
      <p:pic>
        <p:nvPicPr>
          <p:cNvPr id="68" name="Picture 67"/>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522" y="754302"/>
            <a:ext cx="12201523" cy="5646498"/>
          </a:xfrm>
          <a:prstGeom prst="rect">
            <a:avLst/>
          </a:prstGeom>
        </p:spPr>
      </p:pic>
      <p:sp>
        <p:nvSpPr>
          <p:cNvPr id="69" name="Rectangle 68"/>
          <p:cNvSpPr/>
          <p:nvPr userDrawn="1"/>
        </p:nvSpPr>
        <p:spPr>
          <a:xfrm>
            <a:off x="0" y="754302"/>
            <a:ext cx="7467601" cy="5638817"/>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3"/>
            <a:endParaRPr lang="en-US" sz="2400" dirty="0" smtClean="0">
              <a:solidFill>
                <a:srgbClr val="998C85">
                  <a:lumMod val="50000"/>
                </a:srgbClr>
              </a:solidFill>
            </a:endParaRPr>
          </a:p>
        </p:txBody>
      </p:sp>
      <p:sp>
        <p:nvSpPr>
          <p:cNvPr id="31" name="Title 1"/>
          <p:cNvSpPr>
            <a:spLocks noGrp="1"/>
          </p:cNvSpPr>
          <p:nvPr>
            <p:ph type="title"/>
            <p:custDataLst>
              <p:tags r:id="rId1"/>
            </p:custDataLst>
          </p:nvPr>
        </p:nvSpPr>
        <p:spPr>
          <a:xfrm>
            <a:off x="1" y="5"/>
            <a:ext cx="12191999" cy="754299"/>
          </a:xfrm>
          <a:prstGeom prst="rect">
            <a:avLst/>
          </a:prstGeom>
        </p:spPr>
        <p:txBody>
          <a:bodyPr vert="horz" lIns="283968" tIns="31552" rIns="157760" bIns="31552" rtlCol="0" anchor="ctr">
            <a:noAutofit/>
          </a:bodyPr>
          <a:lstStyle>
            <a:lvl1pPr>
              <a:defRPr lang="en-US" dirty="0"/>
            </a:lvl1pPr>
          </a:lstStyle>
          <a:p>
            <a:pPr lvl="0"/>
            <a:r>
              <a:rPr lang="pl-PL" noProof="0" dirty="0" err="1"/>
              <a:t>Click</a:t>
            </a:r>
            <a:r>
              <a:rPr lang="pl-PL" noProof="0" dirty="0"/>
              <a:t> to </a:t>
            </a:r>
            <a:r>
              <a:rPr lang="pl-PL" noProof="0" dirty="0" err="1"/>
              <a:t>edit</a:t>
            </a:r>
            <a:r>
              <a:rPr lang="pl-PL" noProof="0" dirty="0"/>
              <a:t> Master </a:t>
            </a:r>
            <a:r>
              <a:rPr lang="pl-PL" noProof="0" dirty="0" err="1"/>
              <a:t>title</a:t>
            </a:r>
            <a:r>
              <a:rPr lang="pl-PL" noProof="0" dirty="0"/>
              <a:t> style</a:t>
            </a:r>
            <a:endParaRPr lang="en-US" dirty="0"/>
          </a:p>
        </p:txBody>
      </p:sp>
      <p:grpSp>
        <p:nvGrpSpPr>
          <p:cNvPr id="70" name="Group 69"/>
          <p:cNvGrpSpPr/>
          <p:nvPr userDrawn="1"/>
        </p:nvGrpSpPr>
        <p:grpSpPr>
          <a:xfrm>
            <a:off x="-9523" y="6012527"/>
            <a:ext cx="12218669" cy="398827"/>
            <a:chOff x="-9524" y="6940244"/>
            <a:chExt cx="12218669" cy="398827"/>
          </a:xfrm>
        </p:grpSpPr>
        <p:cxnSp>
          <p:nvCxnSpPr>
            <p:cNvPr id="71" name="Straight Connector 70"/>
            <p:cNvCxnSpPr/>
            <p:nvPr userDrawn="1"/>
          </p:nvCxnSpPr>
          <p:spPr bwMode="auto">
            <a:xfrm flipH="1">
              <a:off x="-9524" y="7331404"/>
              <a:ext cx="9328784" cy="0"/>
            </a:xfrm>
            <a:prstGeom prst="line">
              <a:avLst/>
            </a:prstGeom>
            <a:solidFill>
              <a:schemeClr val="accent5">
                <a:lumMod val="75000"/>
              </a:schemeClr>
            </a:solidFill>
            <a:ln w="12700" cap="flat" cmpd="sng" algn="ctr">
              <a:solidFill>
                <a:schemeClr val="accent5">
                  <a:lumMod val="75000"/>
                </a:schemeClr>
              </a:solidFill>
              <a:prstDash val="solid"/>
              <a:round/>
              <a:headEnd type="none" w="med" len="med"/>
              <a:tailEnd type="none" w="med" len="med"/>
            </a:ln>
            <a:effectLst/>
          </p:spPr>
        </p:cxnSp>
        <p:cxnSp>
          <p:nvCxnSpPr>
            <p:cNvPr id="72" name="Straight Connector 71"/>
            <p:cNvCxnSpPr/>
            <p:nvPr userDrawn="1"/>
          </p:nvCxnSpPr>
          <p:spPr bwMode="auto">
            <a:xfrm flipH="1">
              <a:off x="11695969" y="7331404"/>
              <a:ext cx="513176" cy="0"/>
            </a:xfrm>
            <a:prstGeom prst="line">
              <a:avLst/>
            </a:prstGeom>
            <a:solidFill>
              <a:schemeClr val="accent5">
                <a:lumMod val="75000"/>
              </a:schemeClr>
            </a:solidFill>
            <a:ln w="9525" cap="flat" cmpd="sng" algn="ctr">
              <a:solidFill>
                <a:schemeClr val="accent5">
                  <a:lumMod val="75000"/>
                </a:schemeClr>
              </a:solidFill>
              <a:prstDash val="solid"/>
              <a:round/>
              <a:headEnd type="none" w="med" len="med"/>
              <a:tailEnd type="none" w="med" len="med"/>
            </a:ln>
            <a:effectLst/>
          </p:spPr>
        </p:cxnSp>
        <p:grpSp>
          <p:nvGrpSpPr>
            <p:cNvPr id="73" name="Group 72"/>
            <p:cNvGrpSpPr/>
            <p:nvPr userDrawn="1"/>
          </p:nvGrpSpPr>
          <p:grpSpPr>
            <a:xfrm>
              <a:off x="9265920" y="6982789"/>
              <a:ext cx="279487" cy="356282"/>
              <a:chOff x="17746562" y="-229690"/>
              <a:chExt cx="742950" cy="762000"/>
            </a:xfrm>
            <a:solidFill>
              <a:schemeClr val="accent5">
                <a:lumMod val="75000"/>
              </a:schemeClr>
            </a:solidFill>
          </p:grpSpPr>
          <p:sp>
            <p:nvSpPr>
              <p:cNvPr id="103" name="Oval 44"/>
              <p:cNvSpPr>
                <a:spLocks noChangeArrowheads="1"/>
              </p:cNvSpPr>
              <p:nvPr userDrawn="1"/>
            </p:nvSpPr>
            <p:spPr bwMode="auto">
              <a:xfrm>
                <a:off x="17973575" y="444098"/>
                <a:ext cx="49213" cy="492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104" name="Freeform 45"/>
              <p:cNvSpPr>
                <a:spLocks noEditPoints="1"/>
              </p:cNvSpPr>
              <p:nvPr userDrawn="1"/>
            </p:nvSpPr>
            <p:spPr bwMode="auto">
              <a:xfrm>
                <a:off x="17746562" y="-229690"/>
                <a:ext cx="742950" cy="762000"/>
              </a:xfrm>
              <a:custGeom>
                <a:avLst/>
                <a:gdLst>
                  <a:gd name="T0" fmla="*/ 1279 w 1480"/>
                  <a:gd name="T1" fmla="*/ 674 h 1518"/>
                  <a:gd name="T2" fmla="*/ 1269 w 1480"/>
                  <a:gd name="T3" fmla="*/ 665 h 1518"/>
                  <a:gd name="T4" fmla="*/ 1001 w 1480"/>
                  <a:gd name="T5" fmla="*/ 633 h 1518"/>
                  <a:gd name="T6" fmla="*/ 928 w 1480"/>
                  <a:gd name="T7" fmla="*/ 0 h 1518"/>
                  <a:gd name="T8" fmla="*/ 0 w 1480"/>
                  <a:gd name="T9" fmla="*/ 72 h 1518"/>
                  <a:gd name="T10" fmla="*/ 72 w 1480"/>
                  <a:gd name="T11" fmla="*/ 1518 h 1518"/>
                  <a:gd name="T12" fmla="*/ 1001 w 1480"/>
                  <a:gd name="T13" fmla="*/ 1446 h 1518"/>
                  <a:gd name="T14" fmla="*/ 1024 w 1480"/>
                  <a:gd name="T15" fmla="*/ 1210 h 1518"/>
                  <a:gd name="T16" fmla="*/ 1279 w 1480"/>
                  <a:gd name="T17" fmla="*/ 675 h 1518"/>
                  <a:gd name="T18" fmla="*/ 928 w 1480"/>
                  <a:gd name="T19" fmla="*/ 52 h 1518"/>
                  <a:gd name="T20" fmla="*/ 948 w 1480"/>
                  <a:gd name="T21" fmla="*/ 180 h 1518"/>
                  <a:gd name="T22" fmla="*/ 53 w 1480"/>
                  <a:gd name="T23" fmla="*/ 72 h 1518"/>
                  <a:gd name="T24" fmla="*/ 928 w 1480"/>
                  <a:gd name="T25" fmla="*/ 1465 h 1518"/>
                  <a:gd name="T26" fmla="*/ 53 w 1480"/>
                  <a:gd name="T27" fmla="*/ 1446 h 1518"/>
                  <a:gd name="T28" fmla="*/ 948 w 1480"/>
                  <a:gd name="T29" fmla="*/ 1338 h 1518"/>
                  <a:gd name="T30" fmla="*/ 928 w 1480"/>
                  <a:gd name="T31" fmla="*/ 1465 h 1518"/>
                  <a:gd name="T32" fmla="*/ 53 w 1480"/>
                  <a:gd name="T33" fmla="*/ 1286 h 1518"/>
                  <a:gd name="T34" fmla="*/ 948 w 1480"/>
                  <a:gd name="T35" fmla="*/ 232 h 1518"/>
                  <a:gd name="T36" fmla="*/ 835 w 1480"/>
                  <a:gd name="T37" fmla="*/ 728 h 1518"/>
                  <a:gd name="T38" fmla="*/ 732 w 1480"/>
                  <a:gd name="T39" fmla="*/ 625 h 1518"/>
                  <a:gd name="T40" fmla="*/ 714 w 1480"/>
                  <a:gd name="T41" fmla="*/ 607 h 1518"/>
                  <a:gd name="T42" fmla="*/ 569 w 1480"/>
                  <a:gd name="T43" fmla="*/ 612 h 1518"/>
                  <a:gd name="T44" fmla="*/ 569 w 1480"/>
                  <a:gd name="T45" fmla="*/ 763 h 1518"/>
                  <a:gd name="T46" fmla="*/ 797 w 1480"/>
                  <a:gd name="T47" fmla="*/ 1089 h 1518"/>
                  <a:gd name="T48" fmla="*/ 948 w 1480"/>
                  <a:gd name="T49" fmla="*/ 1286 h 1518"/>
                  <a:gd name="T50" fmla="*/ 1024 w 1480"/>
                  <a:gd name="T51" fmla="*/ 1157 h 1518"/>
                  <a:gd name="T52" fmla="*/ 835 w 1480"/>
                  <a:gd name="T53" fmla="*/ 975 h 1518"/>
                  <a:gd name="T54" fmla="*/ 887 w 1480"/>
                  <a:gd name="T55" fmla="*/ 1023 h 1518"/>
                  <a:gd name="T56" fmla="*/ 891 w 1480"/>
                  <a:gd name="T57" fmla="*/ 1010 h 1518"/>
                  <a:gd name="T58" fmla="*/ 606 w 1480"/>
                  <a:gd name="T59" fmla="*/ 649 h 1518"/>
                  <a:gd name="T60" fmla="*/ 677 w 1480"/>
                  <a:gd name="T61" fmla="*/ 644 h 1518"/>
                  <a:gd name="T62" fmla="*/ 819 w 1480"/>
                  <a:gd name="T63" fmla="*/ 786 h 1518"/>
                  <a:gd name="T64" fmla="*/ 832 w 1480"/>
                  <a:gd name="T65" fmla="*/ 796 h 1518"/>
                  <a:gd name="T66" fmla="*/ 1125 w 1480"/>
                  <a:gd name="T67" fmla="*/ 660 h 1518"/>
                  <a:gd name="T68" fmla="*/ 1242 w 1480"/>
                  <a:gd name="T69" fmla="*/ 712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80" h="1518">
                    <a:moveTo>
                      <a:pt x="1279" y="675"/>
                    </a:moveTo>
                    <a:cubicBezTo>
                      <a:pt x="1279" y="674"/>
                      <a:pt x="1279" y="674"/>
                      <a:pt x="1279" y="674"/>
                    </a:cubicBezTo>
                    <a:cubicBezTo>
                      <a:pt x="1279" y="674"/>
                      <a:pt x="1279" y="674"/>
                      <a:pt x="1279" y="674"/>
                    </a:cubicBezTo>
                    <a:cubicBezTo>
                      <a:pt x="1269" y="665"/>
                      <a:pt x="1269" y="665"/>
                      <a:pt x="1269" y="665"/>
                    </a:cubicBezTo>
                    <a:cubicBezTo>
                      <a:pt x="1230" y="627"/>
                      <a:pt x="1182" y="607"/>
                      <a:pt x="1125" y="607"/>
                    </a:cubicBezTo>
                    <a:cubicBezTo>
                      <a:pt x="1083" y="607"/>
                      <a:pt x="1041" y="618"/>
                      <a:pt x="1001" y="633"/>
                    </a:cubicBezTo>
                    <a:cubicBezTo>
                      <a:pt x="1001" y="72"/>
                      <a:pt x="1001" y="72"/>
                      <a:pt x="1001" y="72"/>
                    </a:cubicBezTo>
                    <a:cubicBezTo>
                      <a:pt x="1001" y="32"/>
                      <a:pt x="968" y="0"/>
                      <a:pt x="928" y="0"/>
                    </a:cubicBezTo>
                    <a:cubicBezTo>
                      <a:pt x="72" y="0"/>
                      <a:pt x="72" y="0"/>
                      <a:pt x="72" y="0"/>
                    </a:cubicBezTo>
                    <a:cubicBezTo>
                      <a:pt x="33" y="0"/>
                      <a:pt x="0" y="32"/>
                      <a:pt x="0" y="72"/>
                    </a:cubicBezTo>
                    <a:cubicBezTo>
                      <a:pt x="0" y="1446"/>
                      <a:pt x="0" y="1446"/>
                      <a:pt x="0" y="1446"/>
                    </a:cubicBezTo>
                    <a:cubicBezTo>
                      <a:pt x="0" y="1486"/>
                      <a:pt x="33" y="1518"/>
                      <a:pt x="72" y="1518"/>
                    </a:cubicBezTo>
                    <a:cubicBezTo>
                      <a:pt x="928" y="1518"/>
                      <a:pt x="928" y="1518"/>
                      <a:pt x="928" y="1518"/>
                    </a:cubicBezTo>
                    <a:cubicBezTo>
                      <a:pt x="968" y="1518"/>
                      <a:pt x="1001" y="1486"/>
                      <a:pt x="1001" y="1446"/>
                    </a:cubicBezTo>
                    <a:cubicBezTo>
                      <a:pt x="1001" y="1209"/>
                      <a:pt x="1001" y="1209"/>
                      <a:pt x="1001" y="1209"/>
                    </a:cubicBezTo>
                    <a:cubicBezTo>
                      <a:pt x="1008" y="1210"/>
                      <a:pt x="1016" y="1210"/>
                      <a:pt x="1024" y="1210"/>
                    </a:cubicBezTo>
                    <a:cubicBezTo>
                      <a:pt x="1106" y="1210"/>
                      <a:pt x="1189" y="1167"/>
                      <a:pt x="1278" y="1078"/>
                    </a:cubicBezTo>
                    <a:cubicBezTo>
                      <a:pt x="1480" y="876"/>
                      <a:pt x="1329" y="724"/>
                      <a:pt x="1279" y="675"/>
                    </a:cubicBezTo>
                    <a:close/>
                    <a:moveTo>
                      <a:pt x="72" y="52"/>
                    </a:moveTo>
                    <a:cubicBezTo>
                      <a:pt x="928" y="52"/>
                      <a:pt x="928" y="52"/>
                      <a:pt x="928" y="52"/>
                    </a:cubicBezTo>
                    <a:cubicBezTo>
                      <a:pt x="939" y="52"/>
                      <a:pt x="948" y="61"/>
                      <a:pt x="948" y="72"/>
                    </a:cubicBezTo>
                    <a:cubicBezTo>
                      <a:pt x="948" y="180"/>
                      <a:pt x="948" y="180"/>
                      <a:pt x="948" y="180"/>
                    </a:cubicBezTo>
                    <a:cubicBezTo>
                      <a:pt x="53" y="180"/>
                      <a:pt x="53" y="180"/>
                      <a:pt x="53" y="180"/>
                    </a:cubicBezTo>
                    <a:cubicBezTo>
                      <a:pt x="53" y="72"/>
                      <a:pt x="53" y="72"/>
                      <a:pt x="53" y="72"/>
                    </a:cubicBezTo>
                    <a:cubicBezTo>
                      <a:pt x="53" y="61"/>
                      <a:pt x="62" y="52"/>
                      <a:pt x="72" y="52"/>
                    </a:cubicBezTo>
                    <a:close/>
                    <a:moveTo>
                      <a:pt x="928" y="1465"/>
                    </a:moveTo>
                    <a:cubicBezTo>
                      <a:pt x="72" y="1465"/>
                      <a:pt x="72" y="1465"/>
                      <a:pt x="72" y="1465"/>
                    </a:cubicBezTo>
                    <a:cubicBezTo>
                      <a:pt x="62" y="1465"/>
                      <a:pt x="53" y="1457"/>
                      <a:pt x="53" y="1446"/>
                    </a:cubicBezTo>
                    <a:cubicBezTo>
                      <a:pt x="53" y="1338"/>
                      <a:pt x="53" y="1338"/>
                      <a:pt x="53" y="1338"/>
                    </a:cubicBezTo>
                    <a:cubicBezTo>
                      <a:pt x="948" y="1338"/>
                      <a:pt x="948" y="1338"/>
                      <a:pt x="948" y="1338"/>
                    </a:cubicBezTo>
                    <a:cubicBezTo>
                      <a:pt x="948" y="1446"/>
                      <a:pt x="948" y="1446"/>
                      <a:pt x="948" y="1446"/>
                    </a:cubicBezTo>
                    <a:cubicBezTo>
                      <a:pt x="948" y="1457"/>
                      <a:pt x="939" y="1465"/>
                      <a:pt x="928" y="1465"/>
                    </a:cubicBezTo>
                    <a:close/>
                    <a:moveTo>
                      <a:pt x="948" y="1286"/>
                    </a:moveTo>
                    <a:cubicBezTo>
                      <a:pt x="53" y="1286"/>
                      <a:pt x="53" y="1286"/>
                      <a:pt x="53" y="1286"/>
                    </a:cubicBezTo>
                    <a:cubicBezTo>
                      <a:pt x="53" y="232"/>
                      <a:pt x="53" y="232"/>
                      <a:pt x="53" y="232"/>
                    </a:cubicBezTo>
                    <a:cubicBezTo>
                      <a:pt x="948" y="232"/>
                      <a:pt x="948" y="232"/>
                      <a:pt x="948" y="232"/>
                    </a:cubicBezTo>
                    <a:cubicBezTo>
                      <a:pt x="948" y="657"/>
                      <a:pt x="948" y="657"/>
                      <a:pt x="948" y="657"/>
                    </a:cubicBezTo>
                    <a:cubicBezTo>
                      <a:pt x="902" y="681"/>
                      <a:pt x="862" y="708"/>
                      <a:pt x="835" y="728"/>
                    </a:cubicBezTo>
                    <a:cubicBezTo>
                      <a:pt x="818" y="711"/>
                      <a:pt x="795" y="688"/>
                      <a:pt x="774" y="667"/>
                    </a:cubicBezTo>
                    <a:cubicBezTo>
                      <a:pt x="732" y="625"/>
                      <a:pt x="732" y="625"/>
                      <a:pt x="732" y="625"/>
                    </a:cubicBezTo>
                    <a:cubicBezTo>
                      <a:pt x="723" y="616"/>
                      <a:pt x="718" y="610"/>
                      <a:pt x="714" y="607"/>
                    </a:cubicBezTo>
                    <a:cubicBezTo>
                      <a:pt x="714" y="607"/>
                      <a:pt x="714" y="607"/>
                      <a:pt x="714" y="607"/>
                    </a:cubicBezTo>
                    <a:cubicBezTo>
                      <a:pt x="696" y="589"/>
                      <a:pt x="672" y="579"/>
                      <a:pt x="646" y="579"/>
                    </a:cubicBezTo>
                    <a:cubicBezTo>
                      <a:pt x="617" y="579"/>
                      <a:pt x="589" y="591"/>
                      <a:pt x="569" y="612"/>
                    </a:cubicBezTo>
                    <a:cubicBezTo>
                      <a:pt x="548" y="632"/>
                      <a:pt x="537" y="659"/>
                      <a:pt x="537" y="687"/>
                    </a:cubicBezTo>
                    <a:cubicBezTo>
                      <a:pt x="537" y="716"/>
                      <a:pt x="548" y="742"/>
                      <a:pt x="569" y="763"/>
                    </a:cubicBezTo>
                    <a:cubicBezTo>
                      <a:pt x="776" y="970"/>
                      <a:pt x="776" y="970"/>
                      <a:pt x="776" y="970"/>
                    </a:cubicBezTo>
                    <a:cubicBezTo>
                      <a:pt x="761" y="1007"/>
                      <a:pt x="763" y="1054"/>
                      <a:pt x="797" y="1089"/>
                    </a:cubicBezTo>
                    <a:cubicBezTo>
                      <a:pt x="836" y="1130"/>
                      <a:pt x="885" y="1175"/>
                      <a:pt x="948" y="1197"/>
                    </a:cubicBezTo>
                    <a:lnTo>
                      <a:pt x="948" y="1286"/>
                    </a:lnTo>
                    <a:close/>
                    <a:moveTo>
                      <a:pt x="1240" y="1041"/>
                    </a:moveTo>
                    <a:cubicBezTo>
                      <a:pt x="1156" y="1125"/>
                      <a:pt x="1085" y="1157"/>
                      <a:pt x="1024" y="1157"/>
                    </a:cubicBezTo>
                    <a:cubicBezTo>
                      <a:pt x="950" y="1157"/>
                      <a:pt x="890" y="1110"/>
                      <a:pt x="835" y="1053"/>
                    </a:cubicBezTo>
                    <a:cubicBezTo>
                      <a:pt x="811" y="1028"/>
                      <a:pt x="818" y="992"/>
                      <a:pt x="835" y="975"/>
                    </a:cubicBezTo>
                    <a:cubicBezTo>
                      <a:pt x="880" y="1020"/>
                      <a:pt x="880" y="1020"/>
                      <a:pt x="880" y="1020"/>
                    </a:cubicBezTo>
                    <a:cubicBezTo>
                      <a:pt x="883" y="1022"/>
                      <a:pt x="885" y="1023"/>
                      <a:pt x="887" y="1023"/>
                    </a:cubicBezTo>
                    <a:cubicBezTo>
                      <a:pt x="889" y="1023"/>
                      <a:pt x="891" y="1022"/>
                      <a:pt x="892" y="1021"/>
                    </a:cubicBezTo>
                    <a:cubicBezTo>
                      <a:pt x="893" y="1020"/>
                      <a:pt x="896" y="1016"/>
                      <a:pt x="891" y="1010"/>
                    </a:cubicBezTo>
                    <a:cubicBezTo>
                      <a:pt x="885" y="1005"/>
                      <a:pt x="606" y="725"/>
                      <a:pt x="606" y="725"/>
                    </a:cubicBezTo>
                    <a:cubicBezTo>
                      <a:pt x="585" y="704"/>
                      <a:pt x="585" y="670"/>
                      <a:pt x="606" y="649"/>
                    </a:cubicBezTo>
                    <a:cubicBezTo>
                      <a:pt x="617" y="638"/>
                      <a:pt x="632" y="632"/>
                      <a:pt x="646" y="632"/>
                    </a:cubicBezTo>
                    <a:cubicBezTo>
                      <a:pt x="658" y="632"/>
                      <a:pt x="669" y="636"/>
                      <a:pt x="677" y="644"/>
                    </a:cubicBezTo>
                    <a:cubicBezTo>
                      <a:pt x="677" y="644"/>
                      <a:pt x="784" y="751"/>
                      <a:pt x="819" y="786"/>
                    </a:cubicBezTo>
                    <a:cubicBezTo>
                      <a:pt x="819" y="786"/>
                      <a:pt x="819" y="786"/>
                      <a:pt x="819" y="786"/>
                    </a:cubicBezTo>
                    <a:cubicBezTo>
                      <a:pt x="826" y="793"/>
                      <a:pt x="826" y="793"/>
                      <a:pt x="826" y="793"/>
                    </a:cubicBezTo>
                    <a:cubicBezTo>
                      <a:pt x="828" y="795"/>
                      <a:pt x="830" y="796"/>
                      <a:pt x="832" y="796"/>
                    </a:cubicBezTo>
                    <a:cubicBezTo>
                      <a:pt x="834" y="796"/>
                      <a:pt x="837" y="795"/>
                      <a:pt x="838" y="793"/>
                    </a:cubicBezTo>
                    <a:cubicBezTo>
                      <a:pt x="841" y="791"/>
                      <a:pt x="994" y="660"/>
                      <a:pt x="1125" y="660"/>
                    </a:cubicBezTo>
                    <a:cubicBezTo>
                      <a:pt x="1164" y="660"/>
                      <a:pt x="1201" y="672"/>
                      <a:pt x="1232" y="702"/>
                    </a:cubicBezTo>
                    <a:cubicBezTo>
                      <a:pt x="1242" y="712"/>
                      <a:pt x="1242" y="712"/>
                      <a:pt x="1242" y="712"/>
                    </a:cubicBezTo>
                    <a:cubicBezTo>
                      <a:pt x="1307" y="777"/>
                      <a:pt x="1397" y="885"/>
                      <a:pt x="1240" y="10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105" name="Freeform 46"/>
              <p:cNvSpPr>
                <a:spLocks/>
              </p:cNvSpPr>
              <p:nvPr userDrawn="1"/>
            </p:nvSpPr>
            <p:spPr bwMode="auto">
              <a:xfrm>
                <a:off x="17940237" y="-19452"/>
                <a:ext cx="206375" cy="203200"/>
              </a:xfrm>
              <a:custGeom>
                <a:avLst/>
                <a:gdLst>
                  <a:gd name="T0" fmla="*/ 124 w 410"/>
                  <a:gd name="T1" fmla="*/ 123 h 407"/>
                  <a:gd name="T2" fmla="*/ 362 w 410"/>
                  <a:gd name="T3" fmla="*/ 123 h 407"/>
                  <a:gd name="T4" fmla="*/ 399 w 410"/>
                  <a:gd name="T5" fmla="*/ 123 h 407"/>
                  <a:gd name="T6" fmla="*/ 399 w 410"/>
                  <a:gd name="T7" fmla="*/ 86 h 407"/>
                  <a:gd name="T8" fmla="*/ 86 w 410"/>
                  <a:gd name="T9" fmla="*/ 86 h 407"/>
                  <a:gd name="T10" fmla="*/ 86 w 410"/>
                  <a:gd name="T11" fmla="*/ 399 h 407"/>
                  <a:gd name="T12" fmla="*/ 105 w 410"/>
                  <a:gd name="T13" fmla="*/ 407 h 407"/>
                  <a:gd name="T14" fmla="*/ 124 w 410"/>
                  <a:gd name="T15" fmla="*/ 399 h 407"/>
                  <a:gd name="T16" fmla="*/ 124 w 410"/>
                  <a:gd name="T17" fmla="*/ 362 h 407"/>
                  <a:gd name="T18" fmla="*/ 124 w 410"/>
                  <a:gd name="T19" fmla="*/ 123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0" h="407">
                    <a:moveTo>
                      <a:pt x="124" y="123"/>
                    </a:moveTo>
                    <a:cubicBezTo>
                      <a:pt x="189" y="58"/>
                      <a:pt x="296" y="58"/>
                      <a:pt x="362" y="123"/>
                    </a:cubicBezTo>
                    <a:cubicBezTo>
                      <a:pt x="372" y="134"/>
                      <a:pt x="389" y="134"/>
                      <a:pt x="399" y="123"/>
                    </a:cubicBezTo>
                    <a:cubicBezTo>
                      <a:pt x="410" y="113"/>
                      <a:pt x="410" y="97"/>
                      <a:pt x="399" y="86"/>
                    </a:cubicBezTo>
                    <a:cubicBezTo>
                      <a:pt x="313" y="0"/>
                      <a:pt x="173" y="0"/>
                      <a:pt x="86" y="86"/>
                    </a:cubicBezTo>
                    <a:cubicBezTo>
                      <a:pt x="0" y="172"/>
                      <a:pt x="0" y="313"/>
                      <a:pt x="86" y="399"/>
                    </a:cubicBezTo>
                    <a:cubicBezTo>
                      <a:pt x="92" y="404"/>
                      <a:pt x="98" y="407"/>
                      <a:pt x="105" y="407"/>
                    </a:cubicBezTo>
                    <a:cubicBezTo>
                      <a:pt x="112" y="407"/>
                      <a:pt x="119" y="404"/>
                      <a:pt x="124" y="399"/>
                    </a:cubicBezTo>
                    <a:cubicBezTo>
                      <a:pt x="134" y="389"/>
                      <a:pt x="134" y="372"/>
                      <a:pt x="124" y="362"/>
                    </a:cubicBezTo>
                    <a:cubicBezTo>
                      <a:pt x="58" y="296"/>
                      <a:pt x="58" y="189"/>
                      <a:pt x="124"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grpSp>
          <p:nvGrpSpPr>
            <p:cNvPr id="74" name="Group 73"/>
            <p:cNvGrpSpPr/>
            <p:nvPr userDrawn="1"/>
          </p:nvGrpSpPr>
          <p:grpSpPr>
            <a:xfrm>
              <a:off x="9575942" y="6940244"/>
              <a:ext cx="375098" cy="396922"/>
              <a:chOff x="17605275" y="4174723"/>
              <a:chExt cx="873125" cy="923925"/>
            </a:xfrm>
            <a:solidFill>
              <a:schemeClr val="accent5">
                <a:lumMod val="75000"/>
              </a:schemeClr>
            </a:solidFill>
          </p:grpSpPr>
          <p:sp>
            <p:nvSpPr>
              <p:cNvPr id="101" name="Freeform 53"/>
              <p:cNvSpPr>
                <a:spLocks noEditPoints="1"/>
              </p:cNvSpPr>
              <p:nvPr userDrawn="1"/>
            </p:nvSpPr>
            <p:spPr bwMode="auto">
              <a:xfrm>
                <a:off x="17605275" y="4174723"/>
                <a:ext cx="873125" cy="776288"/>
              </a:xfrm>
              <a:custGeom>
                <a:avLst/>
                <a:gdLst>
                  <a:gd name="T0" fmla="*/ 1738 w 1738"/>
                  <a:gd name="T1" fmla="*/ 595 h 1548"/>
                  <a:gd name="T2" fmla="*/ 1046 w 1738"/>
                  <a:gd name="T3" fmla="*/ 262 h 1548"/>
                  <a:gd name="T4" fmla="*/ 678 w 1738"/>
                  <a:gd name="T5" fmla="*/ 191 h 1548"/>
                  <a:gd name="T6" fmla="*/ 191 w 1738"/>
                  <a:gd name="T7" fmla="*/ 404 h 1548"/>
                  <a:gd name="T8" fmla="*/ 165 w 1738"/>
                  <a:gd name="T9" fmla="*/ 1169 h 1548"/>
                  <a:gd name="T10" fmla="*/ 352 w 1738"/>
                  <a:gd name="T11" fmla="*/ 1460 h 1548"/>
                  <a:gd name="T12" fmla="*/ 634 w 1738"/>
                  <a:gd name="T13" fmla="*/ 1292 h 1548"/>
                  <a:gd name="T14" fmla="*/ 371 w 1738"/>
                  <a:gd name="T15" fmla="*/ 1239 h 1548"/>
                  <a:gd name="T16" fmla="*/ 521 w 1738"/>
                  <a:gd name="T17" fmla="*/ 979 h 1548"/>
                  <a:gd name="T18" fmla="*/ 519 w 1738"/>
                  <a:gd name="T19" fmla="*/ 969 h 1548"/>
                  <a:gd name="T20" fmla="*/ 517 w 1738"/>
                  <a:gd name="T21" fmla="*/ 966 h 1548"/>
                  <a:gd name="T22" fmla="*/ 609 w 1738"/>
                  <a:gd name="T23" fmla="*/ 701 h 1548"/>
                  <a:gd name="T24" fmla="*/ 382 w 1738"/>
                  <a:gd name="T25" fmla="*/ 595 h 1548"/>
                  <a:gd name="T26" fmla="*/ 826 w 1738"/>
                  <a:gd name="T27" fmla="*/ 376 h 1548"/>
                  <a:gd name="T28" fmla="*/ 724 w 1738"/>
                  <a:gd name="T29" fmla="*/ 623 h 1548"/>
                  <a:gd name="T30" fmla="*/ 992 w 1738"/>
                  <a:gd name="T31" fmla="*/ 610 h 1548"/>
                  <a:gd name="T32" fmla="*/ 1037 w 1738"/>
                  <a:gd name="T33" fmla="*/ 583 h 1548"/>
                  <a:gd name="T34" fmla="*/ 1375 w 1738"/>
                  <a:gd name="T35" fmla="*/ 513 h 1548"/>
                  <a:gd name="T36" fmla="*/ 1155 w 1738"/>
                  <a:gd name="T37" fmla="*/ 675 h 1548"/>
                  <a:gd name="T38" fmla="*/ 1367 w 1738"/>
                  <a:gd name="T39" fmla="*/ 727 h 1548"/>
                  <a:gd name="T40" fmla="*/ 1220 w 1738"/>
                  <a:gd name="T41" fmla="*/ 968 h 1548"/>
                  <a:gd name="T42" fmla="*/ 1217 w 1738"/>
                  <a:gd name="T43" fmla="*/ 980 h 1548"/>
                  <a:gd name="T44" fmla="*/ 1219 w 1738"/>
                  <a:gd name="T45" fmla="*/ 990 h 1548"/>
                  <a:gd name="T46" fmla="*/ 1221 w 1738"/>
                  <a:gd name="T47" fmla="*/ 993 h 1548"/>
                  <a:gd name="T48" fmla="*/ 1105 w 1738"/>
                  <a:gd name="T49" fmla="*/ 1239 h 1548"/>
                  <a:gd name="T50" fmla="*/ 1368 w 1738"/>
                  <a:gd name="T51" fmla="*/ 1292 h 1548"/>
                  <a:gd name="T52" fmla="*/ 1738 w 1738"/>
                  <a:gd name="T53" fmla="*/ 1358 h 1548"/>
                  <a:gd name="T54" fmla="*/ 191 w 1738"/>
                  <a:gd name="T55" fmla="*/ 457 h 1548"/>
                  <a:gd name="T56" fmla="*/ 53 w 1738"/>
                  <a:gd name="T57" fmla="*/ 595 h 1548"/>
                  <a:gd name="T58" fmla="*/ 191 w 1738"/>
                  <a:gd name="T59" fmla="*/ 1220 h 1548"/>
                  <a:gd name="T60" fmla="*/ 310 w 1738"/>
                  <a:gd name="T61" fmla="*/ 1287 h 1548"/>
                  <a:gd name="T62" fmla="*/ 191 w 1738"/>
                  <a:gd name="T63" fmla="*/ 1496 h 1548"/>
                  <a:gd name="T64" fmla="*/ 217 w 1738"/>
                  <a:gd name="T65" fmla="*/ 1169 h 1548"/>
                  <a:gd name="T66" fmla="*/ 464 w 1738"/>
                  <a:gd name="T67" fmla="*/ 980 h 1548"/>
                  <a:gd name="T68" fmla="*/ 869 w 1738"/>
                  <a:gd name="T69" fmla="*/ 328 h 1548"/>
                  <a:gd name="T70" fmla="*/ 869 w 1738"/>
                  <a:gd name="T71" fmla="*/ 53 h 1548"/>
                  <a:gd name="T72" fmla="*/ 989 w 1738"/>
                  <a:gd name="T73" fmla="*/ 260 h 1548"/>
                  <a:gd name="T74" fmla="*/ 873 w 1738"/>
                  <a:gd name="T75" fmla="*/ 329 h 1548"/>
                  <a:gd name="T76" fmla="*/ 1547 w 1738"/>
                  <a:gd name="T77" fmla="*/ 733 h 1548"/>
                  <a:gd name="T78" fmla="*/ 1422 w 1738"/>
                  <a:gd name="T79" fmla="*/ 738 h 1548"/>
                  <a:gd name="T80" fmla="*/ 1417 w 1738"/>
                  <a:gd name="T81" fmla="*/ 1219 h 1548"/>
                  <a:gd name="T82" fmla="*/ 1547 w 1738"/>
                  <a:gd name="T83" fmla="*/ 1496 h 1548"/>
                  <a:gd name="T84" fmla="*/ 1437 w 1738"/>
                  <a:gd name="T85" fmla="*/ 1278 h 1548"/>
                  <a:gd name="T86" fmla="*/ 1685 w 1738"/>
                  <a:gd name="T87" fmla="*/ 1358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38" h="1548">
                    <a:moveTo>
                      <a:pt x="1574" y="1169"/>
                    </a:moveTo>
                    <a:cubicBezTo>
                      <a:pt x="1574" y="784"/>
                      <a:pt x="1574" y="784"/>
                      <a:pt x="1574" y="784"/>
                    </a:cubicBezTo>
                    <a:cubicBezTo>
                      <a:pt x="1667" y="771"/>
                      <a:pt x="1738" y="691"/>
                      <a:pt x="1738" y="595"/>
                    </a:cubicBezTo>
                    <a:cubicBezTo>
                      <a:pt x="1738" y="490"/>
                      <a:pt x="1653" y="404"/>
                      <a:pt x="1547" y="404"/>
                    </a:cubicBezTo>
                    <a:cubicBezTo>
                      <a:pt x="1490" y="404"/>
                      <a:pt x="1439" y="429"/>
                      <a:pt x="1404" y="469"/>
                    </a:cubicBezTo>
                    <a:cubicBezTo>
                      <a:pt x="1046" y="262"/>
                      <a:pt x="1046" y="262"/>
                      <a:pt x="1046" y="262"/>
                    </a:cubicBezTo>
                    <a:cubicBezTo>
                      <a:pt x="1055" y="240"/>
                      <a:pt x="1060" y="215"/>
                      <a:pt x="1060" y="191"/>
                    </a:cubicBezTo>
                    <a:cubicBezTo>
                      <a:pt x="1060" y="86"/>
                      <a:pt x="974" y="0"/>
                      <a:pt x="869" y="0"/>
                    </a:cubicBezTo>
                    <a:cubicBezTo>
                      <a:pt x="764" y="0"/>
                      <a:pt x="678" y="86"/>
                      <a:pt x="678" y="191"/>
                    </a:cubicBezTo>
                    <a:cubicBezTo>
                      <a:pt x="678" y="216"/>
                      <a:pt x="683" y="240"/>
                      <a:pt x="692" y="262"/>
                    </a:cubicBezTo>
                    <a:cubicBezTo>
                      <a:pt x="334" y="469"/>
                      <a:pt x="334" y="469"/>
                      <a:pt x="334" y="469"/>
                    </a:cubicBezTo>
                    <a:cubicBezTo>
                      <a:pt x="299" y="429"/>
                      <a:pt x="248" y="404"/>
                      <a:pt x="191" y="404"/>
                    </a:cubicBezTo>
                    <a:cubicBezTo>
                      <a:pt x="86" y="404"/>
                      <a:pt x="0" y="490"/>
                      <a:pt x="0" y="595"/>
                    </a:cubicBezTo>
                    <a:cubicBezTo>
                      <a:pt x="0" y="691"/>
                      <a:pt x="72" y="771"/>
                      <a:pt x="165" y="784"/>
                    </a:cubicBezTo>
                    <a:cubicBezTo>
                      <a:pt x="165" y="1169"/>
                      <a:pt x="165" y="1169"/>
                      <a:pt x="165" y="1169"/>
                    </a:cubicBezTo>
                    <a:cubicBezTo>
                      <a:pt x="72" y="1182"/>
                      <a:pt x="0" y="1261"/>
                      <a:pt x="0" y="1358"/>
                    </a:cubicBezTo>
                    <a:cubicBezTo>
                      <a:pt x="0" y="1463"/>
                      <a:pt x="86" y="1548"/>
                      <a:pt x="191" y="1548"/>
                    </a:cubicBezTo>
                    <a:cubicBezTo>
                      <a:pt x="256" y="1548"/>
                      <a:pt x="317" y="1515"/>
                      <a:pt x="352" y="1460"/>
                    </a:cubicBezTo>
                    <a:cubicBezTo>
                      <a:pt x="371" y="1429"/>
                      <a:pt x="382" y="1394"/>
                      <a:pt x="382" y="1358"/>
                    </a:cubicBezTo>
                    <a:cubicBezTo>
                      <a:pt x="382" y="1335"/>
                      <a:pt x="378" y="1313"/>
                      <a:pt x="370" y="1292"/>
                    </a:cubicBezTo>
                    <a:cubicBezTo>
                      <a:pt x="634" y="1292"/>
                      <a:pt x="634" y="1292"/>
                      <a:pt x="634" y="1292"/>
                    </a:cubicBezTo>
                    <a:cubicBezTo>
                      <a:pt x="648" y="1292"/>
                      <a:pt x="660" y="1280"/>
                      <a:pt x="660" y="1265"/>
                    </a:cubicBezTo>
                    <a:cubicBezTo>
                      <a:pt x="660" y="1251"/>
                      <a:pt x="648" y="1239"/>
                      <a:pt x="634" y="1239"/>
                    </a:cubicBezTo>
                    <a:cubicBezTo>
                      <a:pt x="371" y="1239"/>
                      <a:pt x="371" y="1239"/>
                      <a:pt x="371" y="1239"/>
                    </a:cubicBezTo>
                    <a:cubicBezTo>
                      <a:pt x="518" y="994"/>
                      <a:pt x="518" y="994"/>
                      <a:pt x="518" y="994"/>
                    </a:cubicBezTo>
                    <a:cubicBezTo>
                      <a:pt x="520" y="989"/>
                      <a:pt x="521" y="984"/>
                      <a:pt x="521" y="980"/>
                    </a:cubicBezTo>
                    <a:cubicBezTo>
                      <a:pt x="521" y="979"/>
                      <a:pt x="521" y="979"/>
                      <a:pt x="521" y="979"/>
                    </a:cubicBezTo>
                    <a:cubicBezTo>
                      <a:pt x="521" y="979"/>
                      <a:pt x="521" y="979"/>
                      <a:pt x="521" y="979"/>
                    </a:cubicBezTo>
                    <a:cubicBezTo>
                      <a:pt x="521" y="975"/>
                      <a:pt x="520" y="972"/>
                      <a:pt x="519" y="969"/>
                    </a:cubicBezTo>
                    <a:cubicBezTo>
                      <a:pt x="519" y="969"/>
                      <a:pt x="519" y="969"/>
                      <a:pt x="519" y="969"/>
                    </a:cubicBezTo>
                    <a:cubicBezTo>
                      <a:pt x="519" y="968"/>
                      <a:pt x="518" y="968"/>
                      <a:pt x="518" y="968"/>
                    </a:cubicBezTo>
                    <a:cubicBezTo>
                      <a:pt x="518" y="967"/>
                      <a:pt x="518" y="967"/>
                      <a:pt x="518" y="967"/>
                    </a:cubicBezTo>
                    <a:cubicBezTo>
                      <a:pt x="518" y="967"/>
                      <a:pt x="518" y="966"/>
                      <a:pt x="517" y="966"/>
                    </a:cubicBezTo>
                    <a:cubicBezTo>
                      <a:pt x="371" y="727"/>
                      <a:pt x="371" y="727"/>
                      <a:pt x="371" y="727"/>
                    </a:cubicBezTo>
                    <a:cubicBezTo>
                      <a:pt x="583" y="727"/>
                      <a:pt x="583" y="727"/>
                      <a:pt x="583" y="727"/>
                    </a:cubicBezTo>
                    <a:cubicBezTo>
                      <a:pt x="598" y="727"/>
                      <a:pt x="609" y="716"/>
                      <a:pt x="609" y="701"/>
                    </a:cubicBezTo>
                    <a:cubicBezTo>
                      <a:pt x="609" y="687"/>
                      <a:pt x="598" y="675"/>
                      <a:pt x="583" y="675"/>
                    </a:cubicBezTo>
                    <a:cubicBezTo>
                      <a:pt x="364" y="675"/>
                      <a:pt x="364" y="675"/>
                      <a:pt x="364" y="675"/>
                    </a:cubicBezTo>
                    <a:cubicBezTo>
                      <a:pt x="375" y="650"/>
                      <a:pt x="382" y="623"/>
                      <a:pt x="382" y="595"/>
                    </a:cubicBezTo>
                    <a:cubicBezTo>
                      <a:pt x="382" y="566"/>
                      <a:pt x="375" y="538"/>
                      <a:pt x="363" y="513"/>
                    </a:cubicBezTo>
                    <a:cubicBezTo>
                      <a:pt x="719" y="308"/>
                      <a:pt x="719" y="308"/>
                      <a:pt x="719" y="308"/>
                    </a:cubicBezTo>
                    <a:cubicBezTo>
                      <a:pt x="745" y="342"/>
                      <a:pt x="783" y="366"/>
                      <a:pt x="826" y="376"/>
                    </a:cubicBezTo>
                    <a:cubicBezTo>
                      <a:pt x="702" y="583"/>
                      <a:pt x="702" y="583"/>
                      <a:pt x="702" y="583"/>
                    </a:cubicBezTo>
                    <a:cubicBezTo>
                      <a:pt x="694" y="596"/>
                      <a:pt x="698" y="612"/>
                      <a:pt x="711" y="620"/>
                    </a:cubicBezTo>
                    <a:cubicBezTo>
                      <a:pt x="715" y="622"/>
                      <a:pt x="720" y="623"/>
                      <a:pt x="724" y="623"/>
                    </a:cubicBezTo>
                    <a:cubicBezTo>
                      <a:pt x="733" y="623"/>
                      <a:pt x="742" y="619"/>
                      <a:pt x="747" y="610"/>
                    </a:cubicBezTo>
                    <a:cubicBezTo>
                      <a:pt x="869" y="406"/>
                      <a:pt x="869" y="406"/>
                      <a:pt x="869" y="406"/>
                    </a:cubicBezTo>
                    <a:cubicBezTo>
                      <a:pt x="992" y="610"/>
                      <a:pt x="992" y="610"/>
                      <a:pt x="992" y="610"/>
                    </a:cubicBezTo>
                    <a:cubicBezTo>
                      <a:pt x="996" y="619"/>
                      <a:pt x="1005" y="623"/>
                      <a:pt x="1014" y="623"/>
                    </a:cubicBezTo>
                    <a:cubicBezTo>
                      <a:pt x="1019" y="623"/>
                      <a:pt x="1023" y="622"/>
                      <a:pt x="1028" y="620"/>
                    </a:cubicBezTo>
                    <a:cubicBezTo>
                      <a:pt x="1040" y="612"/>
                      <a:pt x="1044" y="596"/>
                      <a:pt x="1037" y="583"/>
                    </a:cubicBezTo>
                    <a:cubicBezTo>
                      <a:pt x="913" y="376"/>
                      <a:pt x="913" y="376"/>
                      <a:pt x="913" y="376"/>
                    </a:cubicBezTo>
                    <a:cubicBezTo>
                      <a:pt x="955" y="366"/>
                      <a:pt x="993" y="342"/>
                      <a:pt x="1020" y="308"/>
                    </a:cubicBezTo>
                    <a:cubicBezTo>
                      <a:pt x="1375" y="513"/>
                      <a:pt x="1375" y="513"/>
                      <a:pt x="1375" y="513"/>
                    </a:cubicBezTo>
                    <a:cubicBezTo>
                      <a:pt x="1363" y="538"/>
                      <a:pt x="1357" y="566"/>
                      <a:pt x="1357" y="595"/>
                    </a:cubicBezTo>
                    <a:cubicBezTo>
                      <a:pt x="1357" y="623"/>
                      <a:pt x="1363" y="650"/>
                      <a:pt x="1374" y="675"/>
                    </a:cubicBezTo>
                    <a:cubicBezTo>
                      <a:pt x="1155" y="675"/>
                      <a:pt x="1155" y="675"/>
                      <a:pt x="1155" y="675"/>
                    </a:cubicBezTo>
                    <a:cubicBezTo>
                      <a:pt x="1141" y="675"/>
                      <a:pt x="1129" y="687"/>
                      <a:pt x="1129" y="701"/>
                    </a:cubicBezTo>
                    <a:cubicBezTo>
                      <a:pt x="1129" y="716"/>
                      <a:pt x="1141" y="727"/>
                      <a:pt x="1155" y="727"/>
                    </a:cubicBezTo>
                    <a:cubicBezTo>
                      <a:pt x="1367" y="727"/>
                      <a:pt x="1367" y="727"/>
                      <a:pt x="1367" y="727"/>
                    </a:cubicBezTo>
                    <a:cubicBezTo>
                      <a:pt x="1221" y="966"/>
                      <a:pt x="1221" y="966"/>
                      <a:pt x="1221" y="966"/>
                    </a:cubicBezTo>
                    <a:cubicBezTo>
                      <a:pt x="1221" y="966"/>
                      <a:pt x="1221" y="966"/>
                      <a:pt x="1221" y="967"/>
                    </a:cubicBezTo>
                    <a:cubicBezTo>
                      <a:pt x="1221" y="967"/>
                      <a:pt x="1220" y="968"/>
                      <a:pt x="1220" y="968"/>
                    </a:cubicBezTo>
                    <a:cubicBezTo>
                      <a:pt x="1220" y="968"/>
                      <a:pt x="1220" y="969"/>
                      <a:pt x="1220" y="969"/>
                    </a:cubicBezTo>
                    <a:cubicBezTo>
                      <a:pt x="1219" y="969"/>
                      <a:pt x="1219" y="970"/>
                      <a:pt x="1219" y="970"/>
                    </a:cubicBezTo>
                    <a:cubicBezTo>
                      <a:pt x="1218" y="973"/>
                      <a:pt x="1217" y="977"/>
                      <a:pt x="1217" y="980"/>
                    </a:cubicBezTo>
                    <a:cubicBezTo>
                      <a:pt x="1217" y="981"/>
                      <a:pt x="1217" y="981"/>
                      <a:pt x="1217" y="981"/>
                    </a:cubicBezTo>
                    <a:cubicBezTo>
                      <a:pt x="1217" y="981"/>
                      <a:pt x="1217" y="981"/>
                      <a:pt x="1217" y="981"/>
                    </a:cubicBezTo>
                    <a:cubicBezTo>
                      <a:pt x="1217" y="984"/>
                      <a:pt x="1218" y="987"/>
                      <a:pt x="1219" y="990"/>
                    </a:cubicBezTo>
                    <a:cubicBezTo>
                      <a:pt x="1219" y="991"/>
                      <a:pt x="1219" y="991"/>
                      <a:pt x="1219" y="991"/>
                    </a:cubicBezTo>
                    <a:cubicBezTo>
                      <a:pt x="1220" y="992"/>
                      <a:pt x="1220" y="992"/>
                      <a:pt x="1220" y="992"/>
                    </a:cubicBezTo>
                    <a:cubicBezTo>
                      <a:pt x="1220" y="993"/>
                      <a:pt x="1220" y="993"/>
                      <a:pt x="1221" y="993"/>
                    </a:cubicBezTo>
                    <a:cubicBezTo>
                      <a:pt x="1221" y="994"/>
                      <a:pt x="1221" y="994"/>
                      <a:pt x="1221" y="994"/>
                    </a:cubicBezTo>
                    <a:cubicBezTo>
                      <a:pt x="1368" y="1239"/>
                      <a:pt x="1368" y="1239"/>
                      <a:pt x="1368" y="1239"/>
                    </a:cubicBezTo>
                    <a:cubicBezTo>
                      <a:pt x="1105" y="1239"/>
                      <a:pt x="1105" y="1239"/>
                      <a:pt x="1105" y="1239"/>
                    </a:cubicBezTo>
                    <a:cubicBezTo>
                      <a:pt x="1090" y="1239"/>
                      <a:pt x="1078" y="1251"/>
                      <a:pt x="1078" y="1265"/>
                    </a:cubicBezTo>
                    <a:cubicBezTo>
                      <a:pt x="1078" y="1280"/>
                      <a:pt x="1090" y="1292"/>
                      <a:pt x="1105" y="1292"/>
                    </a:cubicBezTo>
                    <a:cubicBezTo>
                      <a:pt x="1368" y="1292"/>
                      <a:pt x="1368" y="1292"/>
                      <a:pt x="1368" y="1292"/>
                    </a:cubicBezTo>
                    <a:cubicBezTo>
                      <a:pt x="1361" y="1313"/>
                      <a:pt x="1357" y="1335"/>
                      <a:pt x="1357" y="1358"/>
                    </a:cubicBezTo>
                    <a:cubicBezTo>
                      <a:pt x="1357" y="1463"/>
                      <a:pt x="1442" y="1548"/>
                      <a:pt x="1547" y="1548"/>
                    </a:cubicBezTo>
                    <a:cubicBezTo>
                      <a:pt x="1653" y="1548"/>
                      <a:pt x="1738" y="1463"/>
                      <a:pt x="1738" y="1358"/>
                    </a:cubicBezTo>
                    <a:cubicBezTo>
                      <a:pt x="1738" y="1261"/>
                      <a:pt x="1667" y="1182"/>
                      <a:pt x="1574" y="1169"/>
                    </a:cubicBezTo>
                    <a:close/>
                    <a:moveTo>
                      <a:pt x="53" y="595"/>
                    </a:moveTo>
                    <a:cubicBezTo>
                      <a:pt x="53" y="519"/>
                      <a:pt x="115" y="457"/>
                      <a:pt x="191" y="457"/>
                    </a:cubicBezTo>
                    <a:cubicBezTo>
                      <a:pt x="267" y="457"/>
                      <a:pt x="329" y="519"/>
                      <a:pt x="329" y="595"/>
                    </a:cubicBezTo>
                    <a:cubicBezTo>
                      <a:pt x="329" y="671"/>
                      <a:pt x="267" y="733"/>
                      <a:pt x="191" y="733"/>
                    </a:cubicBezTo>
                    <a:cubicBezTo>
                      <a:pt x="115" y="733"/>
                      <a:pt x="53" y="671"/>
                      <a:pt x="53" y="595"/>
                    </a:cubicBezTo>
                    <a:close/>
                    <a:moveTo>
                      <a:pt x="191" y="1496"/>
                    </a:moveTo>
                    <a:cubicBezTo>
                      <a:pt x="115" y="1496"/>
                      <a:pt x="53" y="1434"/>
                      <a:pt x="53" y="1358"/>
                    </a:cubicBezTo>
                    <a:cubicBezTo>
                      <a:pt x="53" y="1281"/>
                      <a:pt x="115" y="1220"/>
                      <a:pt x="191" y="1220"/>
                    </a:cubicBezTo>
                    <a:cubicBezTo>
                      <a:pt x="233" y="1220"/>
                      <a:pt x="273" y="1239"/>
                      <a:pt x="299" y="1271"/>
                    </a:cubicBezTo>
                    <a:cubicBezTo>
                      <a:pt x="299" y="1274"/>
                      <a:pt x="300" y="1276"/>
                      <a:pt x="302" y="1278"/>
                    </a:cubicBezTo>
                    <a:cubicBezTo>
                      <a:pt x="304" y="1282"/>
                      <a:pt x="306" y="1285"/>
                      <a:pt x="310" y="1287"/>
                    </a:cubicBezTo>
                    <a:cubicBezTo>
                      <a:pt x="322" y="1308"/>
                      <a:pt x="329" y="1333"/>
                      <a:pt x="329" y="1358"/>
                    </a:cubicBezTo>
                    <a:cubicBezTo>
                      <a:pt x="329" y="1384"/>
                      <a:pt x="322" y="1409"/>
                      <a:pt x="307" y="1431"/>
                    </a:cubicBezTo>
                    <a:cubicBezTo>
                      <a:pt x="282" y="1472"/>
                      <a:pt x="238" y="1496"/>
                      <a:pt x="191" y="1496"/>
                    </a:cubicBezTo>
                    <a:close/>
                    <a:moveTo>
                      <a:pt x="464" y="980"/>
                    </a:moveTo>
                    <a:cubicBezTo>
                      <a:pt x="322" y="1219"/>
                      <a:pt x="322" y="1219"/>
                      <a:pt x="322" y="1219"/>
                    </a:cubicBezTo>
                    <a:cubicBezTo>
                      <a:pt x="293" y="1192"/>
                      <a:pt x="256" y="1174"/>
                      <a:pt x="217" y="1169"/>
                    </a:cubicBezTo>
                    <a:cubicBezTo>
                      <a:pt x="217" y="784"/>
                      <a:pt x="217" y="784"/>
                      <a:pt x="217" y="784"/>
                    </a:cubicBezTo>
                    <a:cubicBezTo>
                      <a:pt x="255" y="779"/>
                      <a:pt x="289" y="762"/>
                      <a:pt x="316" y="738"/>
                    </a:cubicBezTo>
                    <a:lnTo>
                      <a:pt x="464" y="980"/>
                    </a:lnTo>
                    <a:close/>
                    <a:moveTo>
                      <a:pt x="873" y="329"/>
                    </a:moveTo>
                    <a:cubicBezTo>
                      <a:pt x="872" y="328"/>
                      <a:pt x="870" y="328"/>
                      <a:pt x="869" y="328"/>
                    </a:cubicBezTo>
                    <a:cubicBezTo>
                      <a:pt x="869" y="328"/>
                      <a:pt x="869" y="328"/>
                      <a:pt x="869" y="328"/>
                    </a:cubicBezTo>
                    <a:cubicBezTo>
                      <a:pt x="868" y="328"/>
                      <a:pt x="866" y="329"/>
                      <a:pt x="865" y="329"/>
                    </a:cubicBezTo>
                    <a:cubicBezTo>
                      <a:pt x="791" y="327"/>
                      <a:pt x="731" y="265"/>
                      <a:pt x="731" y="191"/>
                    </a:cubicBezTo>
                    <a:cubicBezTo>
                      <a:pt x="731" y="115"/>
                      <a:pt x="793" y="53"/>
                      <a:pt x="869" y="53"/>
                    </a:cubicBezTo>
                    <a:cubicBezTo>
                      <a:pt x="945" y="53"/>
                      <a:pt x="1007" y="115"/>
                      <a:pt x="1007" y="191"/>
                    </a:cubicBezTo>
                    <a:cubicBezTo>
                      <a:pt x="1007" y="215"/>
                      <a:pt x="1001" y="239"/>
                      <a:pt x="989" y="260"/>
                    </a:cubicBezTo>
                    <a:cubicBezTo>
                      <a:pt x="989" y="260"/>
                      <a:pt x="989" y="260"/>
                      <a:pt x="989" y="260"/>
                    </a:cubicBezTo>
                    <a:cubicBezTo>
                      <a:pt x="989" y="260"/>
                      <a:pt x="989" y="260"/>
                      <a:pt x="989" y="260"/>
                    </a:cubicBezTo>
                    <a:cubicBezTo>
                      <a:pt x="989" y="260"/>
                      <a:pt x="989" y="260"/>
                      <a:pt x="989" y="260"/>
                    </a:cubicBezTo>
                    <a:cubicBezTo>
                      <a:pt x="965" y="301"/>
                      <a:pt x="921" y="327"/>
                      <a:pt x="873" y="329"/>
                    </a:cubicBezTo>
                    <a:close/>
                    <a:moveTo>
                      <a:pt x="1547" y="457"/>
                    </a:moveTo>
                    <a:cubicBezTo>
                      <a:pt x="1624" y="457"/>
                      <a:pt x="1685" y="519"/>
                      <a:pt x="1685" y="595"/>
                    </a:cubicBezTo>
                    <a:cubicBezTo>
                      <a:pt x="1685" y="671"/>
                      <a:pt x="1624" y="733"/>
                      <a:pt x="1547" y="733"/>
                    </a:cubicBezTo>
                    <a:cubicBezTo>
                      <a:pt x="1471" y="733"/>
                      <a:pt x="1409" y="671"/>
                      <a:pt x="1409" y="595"/>
                    </a:cubicBezTo>
                    <a:cubicBezTo>
                      <a:pt x="1409" y="519"/>
                      <a:pt x="1471" y="457"/>
                      <a:pt x="1547" y="457"/>
                    </a:cubicBezTo>
                    <a:close/>
                    <a:moveTo>
                      <a:pt x="1422" y="738"/>
                    </a:moveTo>
                    <a:cubicBezTo>
                      <a:pt x="1449" y="762"/>
                      <a:pt x="1483" y="779"/>
                      <a:pt x="1521" y="784"/>
                    </a:cubicBezTo>
                    <a:cubicBezTo>
                      <a:pt x="1521" y="1169"/>
                      <a:pt x="1521" y="1169"/>
                      <a:pt x="1521" y="1169"/>
                    </a:cubicBezTo>
                    <a:cubicBezTo>
                      <a:pt x="1482" y="1174"/>
                      <a:pt x="1446" y="1192"/>
                      <a:pt x="1417" y="1219"/>
                    </a:cubicBezTo>
                    <a:cubicBezTo>
                      <a:pt x="1274" y="980"/>
                      <a:pt x="1274" y="980"/>
                      <a:pt x="1274" y="980"/>
                    </a:cubicBezTo>
                    <a:lnTo>
                      <a:pt x="1422" y="738"/>
                    </a:lnTo>
                    <a:close/>
                    <a:moveTo>
                      <a:pt x="1547" y="1496"/>
                    </a:moveTo>
                    <a:cubicBezTo>
                      <a:pt x="1471" y="1496"/>
                      <a:pt x="1409" y="1434"/>
                      <a:pt x="1409" y="1358"/>
                    </a:cubicBezTo>
                    <a:cubicBezTo>
                      <a:pt x="1409" y="1333"/>
                      <a:pt x="1416" y="1308"/>
                      <a:pt x="1429" y="1287"/>
                    </a:cubicBezTo>
                    <a:cubicBezTo>
                      <a:pt x="1432" y="1285"/>
                      <a:pt x="1435" y="1282"/>
                      <a:pt x="1437" y="1278"/>
                    </a:cubicBezTo>
                    <a:cubicBezTo>
                      <a:pt x="1438" y="1276"/>
                      <a:pt x="1439" y="1274"/>
                      <a:pt x="1440" y="1271"/>
                    </a:cubicBezTo>
                    <a:cubicBezTo>
                      <a:pt x="1466" y="1239"/>
                      <a:pt x="1505" y="1220"/>
                      <a:pt x="1547" y="1220"/>
                    </a:cubicBezTo>
                    <a:cubicBezTo>
                      <a:pt x="1624" y="1220"/>
                      <a:pt x="1685" y="1281"/>
                      <a:pt x="1685" y="1358"/>
                    </a:cubicBezTo>
                    <a:cubicBezTo>
                      <a:pt x="1685" y="1434"/>
                      <a:pt x="1624" y="1496"/>
                      <a:pt x="1547" y="14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102" name="Freeform 54"/>
              <p:cNvSpPr>
                <a:spLocks noEditPoints="1"/>
              </p:cNvSpPr>
              <p:nvPr userDrawn="1"/>
            </p:nvSpPr>
            <p:spPr bwMode="auto">
              <a:xfrm>
                <a:off x="17778312" y="4517623"/>
                <a:ext cx="527050" cy="581025"/>
              </a:xfrm>
              <a:custGeom>
                <a:avLst/>
                <a:gdLst>
                  <a:gd name="T0" fmla="*/ 664 w 1050"/>
                  <a:gd name="T1" fmla="*/ 618 h 1158"/>
                  <a:gd name="T2" fmla="*/ 797 w 1050"/>
                  <a:gd name="T3" fmla="*/ 332 h 1158"/>
                  <a:gd name="T4" fmla="*/ 525 w 1050"/>
                  <a:gd name="T5" fmla="*/ 0 h 1158"/>
                  <a:gd name="T6" fmla="*/ 253 w 1050"/>
                  <a:gd name="T7" fmla="*/ 332 h 1158"/>
                  <a:gd name="T8" fmla="*/ 387 w 1050"/>
                  <a:gd name="T9" fmla="*/ 618 h 1158"/>
                  <a:gd name="T10" fmla="*/ 81 w 1050"/>
                  <a:gd name="T11" fmla="*/ 795 h 1158"/>
                  <a:gd name="T12" fmla="*/ 1 w 1050"/>
                  <a:gd name="T13" fmla="*/ 1131 h 1158"/>
                  <a:gd name="T14" fmla="*/ 8 w 1050"/>
                  <a:gd name="T15" fmla="*/ 1150 h 1158"/>
                  <a:gd name="T16" fmla="*/ 27 w 1050"/>
                  <a:gd name="T17" fmla="*/ 1158 h 1158"/>
                  <a:gd name="T18" fmla="*/ 1024 w 1050"/>
                  <a:gd name="T19" fmla="*/ 1158 h 1158"/>
                  <a:gd name="T20" fmla="*/ 1043 w 1050"/>
                  <a:gd name="T21" fmla="*/ 1150 h 1158"/>
                  <a:gd name="T22" fmla="*/ 1050 w 1050"/>
                  <a:gd name="T23" fmla="*/ 1131 h 1158"/>
                  <a:gd name="T24" fmla="*/ 970 w 1050"/>
                  <a:gd name="T25" fmla="*/ 795 h 1158"/>
                  <a:gd name="T26" fmla="*/ 664 w 1050"/>
                  <a:gd name="T27" fmla="*/ 618 h 1158"/>
                  <a:gd name="T28" fmla="*/ 306 w 1050"/>
                  <a:gd name="T29" fmla="*/ 332 h 1158"/>
                  <a:gd name="T30" fmla="*/ 525 w 1050"/>
                  <a:gd name="T31" fmla="*/ 52 h 1158"/>
                  <a:gd name="T32" fmla="*/ 716 w 1050"/>
                  <a:gd name="T33" fmla="*/ 129 h 1158"/>
                  <a:gd name="T34" fmla="*/ 744 w 1050"/>
                  <a:gd name="T35" fmla="*/ 332 h 1158"/>
                  <a:gd name="T36" fmla="*/ 525 w 1050"/>
                  <a:gd name="T37" fmla="*/ 612 h 1158"/>
                  <a:gd name="T38" fmla="*/ 306 w 1050"/>
                  <a:gd name="T39" fmla="*/ 332 h 1158"/>
                  <a:gd name="T40" fmla="*/ 525 w 1050"/>
                  <a:gd name="T41" fmla="*/ 665 h 1158"/>
                  <a:gd name="T42" fmla="*/ 625 w 1050"/>
                  <a:gd name="T43" fmla="*/ 641 h 1158"/>
                  <a:gd name="T44" fmla="*/ 525 w 1050"/>
                  <a:gd name="T45" fmla="*/ 786 h 1158"/>
                  <a:gd name="T46" fmla="*/ 425 w 1050"/>
                  <a:gd name="T47" fmla="*/ 641 h 1158"/>
                  <a:gd name="T48" fmla="*/ 525 w 1050"/>
                  <a:gd name="T49" fmla="*/ 665 h 1158"/>
                  <a:gd name="T50" fmla="*/ 55 w 1050"/>
                  <a:gd name="T51" fmla="*/ 1106 h 1158"/>
                  <a:gd name="T52" fmla="*/ 382 w 1050"/>
                  <a:gd name="T53" fmla="*/ 672 h 1158"/>
                  <a:gd name="T54" fmla="*/ 504 w 1050"/>
                  <a:gd name="T55" fmla="*/ 847 h 1158"/>
                  <a:gd name="T56" fmla="*/ 525 w 1050"/>
                  <a:gd name="T57" fmla="*/ 858 h 1158"/>
                  <a:gd name="T58" fmla="*/ 547 w 1050"/>
                  <a:gd name="T59" fmla="*/ 847 h 1158"/>
                  <a:gd name="T60" fmla="*/ 668 w 1050"/>
                  <a:gd name="T61" fmla="*/ 672 h 1158"/>
                  <a:gd name="T62" fmla="*/ 996 w 1050"/>
                  <a:gd name="T63" fmla="*/ 1106 h 1158"/>
                  <a:gd name="T64" fmla="*/ 55 w 1050"/>
                  <a:gd name="T65" fmla="*/ 1106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50" h="1158">
                    <a:moveTo>
                      <a:pt x="664" y="618"/>
                    </a:moveTo>
                    <a:cubicBezTo>
                      <a:pt x="743" y="560"/>
                      <a:pt x="797" y="454"/>
                      <a:pt x="797" y="332"/>
                    </a:cubicBezTo>
                    <a:cubicBezTo>
                      <a:pt x="797" y="169"/>
                      <a:pt x="797" y="0"/>
                      <a:pt x="525" y="0"/>
                    </a:cubicBezTo>
                    <a:cubicBezTo>
                      <a:pt x="253" y="0"/>
                      <a:pt x="253" y="169"/>
                      <a:pt x="253" y="332"/>
                    </a:cubicBezTo>
                    <a:cubicBezTo>
                      <a:pt x="253" y="454"/>
                      <a:pt x="307" y="560"/>
                      <a:pt x="387" y="618"/>
                    </a:cubicBezTo>
                    <a:cubicBezTo>
                      <a:pt x="242" y="639"/>
                      <a:pt x="142" y="697"/>
                      <a:pt x="81" y="795"/>
                    </a:cubicBezTo>
                    <a:cubicBezTo>
                      <a:pt x="18" y="895"/>
                      <a:pt x="5" y="1027"/>
                      <a:pt x="1" y="1131"/>
                    </a:cubicBezTo>
                    <a:cubicBezTo>
                      <a:pt x="0" y="1138"/>
                      <a:pt x="3" y="1145"/>
                      <a:pt x="8" y="1150"/>
                    </a:cubicBezTo>
                    <a:cubicBezTo>
                      <a:pt x="13" y="1155"/>
                      <a:pt x="20" y="1158"/>
                      <a:pt x="27" y="1158"/>
                    </a:cubicBezTo>
                    <a:cubicBezTo>
                      <a:pt x="1024" y="1158"/>
                      <a:pt x="1024" y="1158"/>
                      <a:pt x="1024" y="1158"/>
                    </a:cubicBezTo>
                    <a:cubicBezTo>
                      <a:pt x="1031" y="1158"/>
                      <a:pt x="1038" y="1155"/>
                      <a:pt x="1043" y="1150"/>
                    </a:cubicBezTo>
                    <a:cubicBezTo>
                      <a:pt x="1048" y="1145"/>
                      <a:pt x="1050" y="1138"/>
                      <a:pt x="1050" y="1131"/>
                    </a:cubicBezTo>
                    <a:cubicBezTo>
                      <a:pt x="1045" y="1027"/>
                      <a:pt x="1032" y="895"/>
                      <a:pt x="970" y="795"/>
                    </a:cubicBezTo>
                    <a:cubicBezTo>
                      <a:pt x="908" y="697"/>
                      <a:pt x="808" y="639"/>
                      <a:pt x="664" y="618"/>
                    </a:cubicBezTo>
                    <a:close/>
                    <a:moveTo>
                      <a:pt x="306" y="332"/>
                    </a:moveTo>
                    <a:cubicBezTo>
                      <a:pt x="306" y="153"/>
                      <a:pt x="316" y="52"/>
                      <a:pt x="525" y="52"/>
                    </a:cubicBezTo>
                    <a:cubicBezTo>
                      <a:pt x="658" y="52"/>
                      <a:pt x="697" y="96"/>
                      <a:pt x="716" y="129"/>
                    </a:cubicBezTo>
                    <a:cubicBezTo>
                      <a:pt x="744" y="180"/>
                      <a:pt x="744" y="257"/>
                      <a:pt x="744" y="332"/>
                    </a:cubicBezTo>
                    <a:cubicBezTo>
                      <a:pt x="744" y="486"/>
                      <a:pt x="646" y="612"/>
                      <a:pt x="525" y="612"/>
                    </a:cubicBezTo>
                    <a:cubicBezTo>
                      <a:pt x="404" y="612"/>
                      <a:pt x="306" y="486"/>
                      <a:pt x="306" y="332"/>
                    </a:cubicBezTo>
                    <a:close/>
                    <a:moveTo>
                      <a:pt x="525" y="665"/>
                    </a:moveTo>
                    <a:cubicBezTo>
                      <a:pt x="560" y="665"/>
                      <a:pt x="594" y="656"/>
                      <a:pt x="625" y="641"/>
                    </a:cubicBezTo>
                    <a:cubicBezTo>
                      <a:pt x="525" y="786"/>
                      <a:pt x="525" y="786"/>
                      <a:pt x="525" y="786"/>
                    </a:cubicBezTo>
                    <a:cubicBezTo>
                      <a:pt x="425" y="641"/>
                      <a:pt x="425" y="641"/>
                      <a:pt x="425" y="641"/>
                    </a:cubicBezTo>
                    <a:cubicBezTo>
                      <a:pt x="456" y="656"/>
                      <a:pt x="490" y="665"/>
                      <a:pt x="525" y="665"/>
                    </a:cubicBezTo>
                    <a:close/>
                    <a:moveTo>
                      <a:pt x="55" y="1106"/>
                    </a:moveTo>
                    <a:cubicBezTo>
                      <a:pt x="69" y="868"/>
                      <a:pt x="133" y="713"/>
                      <a:pt x="382" y="672"/>
                    </a:cubicBezTo>
                    <a:cubicBezTo>
                      <a:pt x="504" y="847"/>
                      <a:pt x="504" y="847"/>
                      <a:pt x="504" y="847"/>
                    </a:cubicBezTo>
                    <a:cubicBezTo>
                      <a:pt x="508" y="854"/>
                      <a:pt x="517" y="858"/>
                      <a:pt x="525" y="858"/>
                    </a:cubicBezTo>
                    <a:cubicBezTo>
                      <a:pt x="534" y="858"/>
                      <a:pt x="542" y="854"/>
                      <a:pt x="547" y="847"/>
                    </a:cubicBezTo>
                    <a:cubicBezTo>
                      <a:pt x="668" y="672"/>
                      <a:pt x="668" y="672"/>
                      <a:pt x="668" y="672"/>
                    </a:cubicBezTo>
                    <a:cubicBezTo>
                      <a:pt x="917" y="713"/>
                      <a:pt x="981" y="868"/>
                      <a:pt x="996" y="1106"/>
                    </a:cubicBezTo>
                    <a:lnTo>
                      <a:pt x="55" y="1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grpSp>
          <p:nvGrpSpPr>
            <p:cNvPr id="75" name="Group 74"/>
            <p:cNvGrpSpPr/>
            <p:nvPr userDrawn="1"/>
          </p:nvGrpSpPr>
          <p:grpSpPr>
            <a:xfrm>
              <a:off x="10065395" y="6985929"/>
              <a:ext cx="447290" cy="351237"/>
              <a:chOff x="13123762" y="2736448"/>
              <a:chExt cx="990600" cy="777875"/>
            </a:xfrm>
            <a:solidFill>
              <a:schemeClr val="accent5">
                <a:lumMod val="75000"/>
              </a:schemeClr>
            </a:solidFill>
          </p:grpSpPr>
          <p:sp>
            <p:nvSpPr>
              <p:cNvPr id="97" name="Freeform 71"/>
              <p:cNvSpPr>
                <a:spLocks noEditPoints="1"/>
              </p:cNvSpPr>
              <p:nvPr userDrawn="1"/>
            </p:nvSpPr>
            <p:spPr bwMode="auto">
              <a:xfrm>
                <a:off x="13123762" y="2736448"/>
                <a:ext cx="990600" cy="777875"/>
              </a:xfrm>
              <a:custGeom>
                <a:avLst/>
                <a:gdLst>
                  <a:gd name="T0" fmla="*/ 1883 w 1975"/>
                  <a:gd name="T1" fmla="*/ 883 h 1550"/>
                  <a:gd name="T2" fmla="*/ 1973 w 1975"/>
                  <a:gd name="T3" fmla="*/ 603 h 1550"/>
                  <a:gd name="T4" fmla="*/ 1740 w 1975"/>
                  <a:gd name="T5" fmla="*/ 174 h 1550"/>
                  <a:gd name="T6" fmla="*/ 1185 w 1975"/>
                  <a:gd name="T7" fmla="*/ 0 h 1550"/>
                  <a:gd name="T8" fmla="*/ 630 w 1975"/>
                  <a:gd name="T9" fmla="*/ 174 h 1550"/>
                  <a:gd name="T10" fmla="*/ 396 w 1975"/>
                  <a:gd name="T11" fmla="*/ 603 h 1550"/>
                  <a:gd name="T12" fmla="*/ 400 w 1975"/>
                  <a:gd name="T13" fmla="*/ 666 h 1550"/>
                  <a:gd name="T14" fmla="*/ 2 w 1975"/>
                  <a:gd name="T15" fmla="*/ 1089 h 1550"/>
                  <a:gd name="T16" fmla="*/ 67 w 1975"/>
                  <a:gd name="T17" fmla="*/ 1293 h 1550"/>
                  <a:gd name="T18" fmla="*/ 3 w 1975"/>
                  <a:gd name="T19" fmla="*/ 1517 h 1550"/>
                  <a:gd name="T20" fmla="*/ 12 w 1975"/>
                  <a:gd name="T21" fmla="*/ 1545 h 1550"/>
                  <a:gd name="T22" fmla="*/ 28 w 1975"/>
                  <a:gd name="T23" fmla="*/ 1550 h 1550"/>
                  <a:gd name="T24" fmla="*/ 42 w 1975"/>
                  <a:gd name="T25" fmla="*/ 1546 h 1550"/>
                  <a:gd name="T26" fmla="*/ 218 w 1975"/>
                  <a:gd name="T27" fmla="*/ 1435 h 1550"/>
                  <a:gd name="T28" fmla="*/ 581 w 1975"/>
                  <a:gd name="T29" fmla="*/ 1533 h 1550"/>
                  <a:gd name="T30" fmla="*/ 942 w 1975"/>
                  <a:gd name="T31" fmla="*/ 1437 h 1550"/>
                  <a:gd name="T32" fmla="*/ 1140 w 1975"/>
                  <a:gd name="T33" fmla="*/ 1205 h 1550"/>
                  <a:gd name="T34" fmla="*/ 1185 w 1975"/>
                  <a:gd name="T35" fmla="*/ 1206 h 1550"/>
                  <a:gd name="T36" fmla="*/ 1686 w 1975"/>
                  <a:gd name="T37" fmla="*/ 1069 h 1550"/>
                  <a:gd name="T38" fmla="*/ 1933 w 1975"/>
                  <a:gd name="T39" fmla="*/ 1225 h 1550"/>
                  <a:gd name="T40" fmla="*/ 1947 w 1975"/>
                  <a:gd name="T41" fmla="*/ 1229 h 1550"/>
                  <a:gd name="T42" fmla="*/ 1963 w 1975"/>
                  <a:gd name="T43" fmla="*/ 1224 h 1550"/>
                  <a:gd name="T44" fmla="*/ 1972 w 1975"/>
                  <a:gd name="T45" fmla="*/ 1196 h 1550"/>
                  <a:gd name="T46" fmla="*/ 1883 w 1975"/>
                  <a:gd name="T47" fmla="*/ 883 h 1550"/>
                  <a:gd name="T48" fmla="*/ 581 w 1975"/>
                  <a:gd name="T49" fmla="*/ 1481 h 1550"/>
                  <a:gd name="T50" fmla="*/ 232 w 1975"/>
                  <a:gd name="T51" fmla="*/ 1382 h 1550"/>
                  <a:gd name="T52" fmla="*/ 204 w 1975"/>
                  <a:gd name="T53" fmla="*/ 1382 h 1550"/>
                  <a:gd name="T54" fmla="*/ 72 w 1975"/>
                  <a:gd name="T55" fmla="*/ 1465 h 1550"/>
                  <a:gd name="T56" fmla="*/ 121 w 1975"/>
                  <a:gd name="T57" fmla="*/ 1296 h 1550"/>
                  <a:gd name="T58" fmla="*/ 117 w 1975"/>
                  <a:gd name="T59" fmla="*/ 1273 h 1550"/>
                  <a:gd name="T60" fmla="*/ 54 w 1975"/>
                  <a:gd name="T61" fmla="*/ 1089 h 1550"/>
                  <a:gd name="T62" fmla="*/ 410 w 1975"/>
                  <a:gd name="T63" fmla="*/ 718 h 1550"/>
                  <a:gd name="T64" fmla="*/ 630 w 1975"/>
                  <a:gd name="T65" fmla="*/ 1032 h 1550"/>
                  <a:gd name="T66" fmla="*/ 1086 w 1975"/>
                  <a:gd name="T67" fmla="*/ 1201 h 1550"/>
                  <a:gd name="T68" fmla="*/ 581 w 1975"/>
                  <a:gd name="T69" fmla="*/ 1481 h 1550"/>
                  <a:gd name="T70" fmla="*/ 1700 w 1975"/>
                  <a:gd name="T71" fmla="*/ 1015 h 1550"/>
                  <a:gd name="T72" fmla="*/ 1671 w 1975"/>
                  <a:gd name="T73" fmla="*/ 1016 h 1550"/>
                  <a:gd name="T74" fmla="*/ 1185 w 1975"/>
                  <a:gd name="T75" fmla="*/ 1153 h 1550"/>
                  <a:gd name="T76" fmla="*/ 449 w 1975"/>
                  <a:gd name="T77" fmla="*/ 603 h 1550"/>
                  <a:gd name="T78" fmla="*/ 1185 w 1975"/>
                  <a:gd name="T79" fmla="*/ 53 h 1550"/>
                  <a:gd name="T80" fmla="*/ 1921 w 1975"/>
                  <a:gd name="T81" fmla="*/ 603 h 1550"/>
                  <a:gd name="T82" fmla="*/ 1833 w 1975"/>
                  <a:gd name="T83" fmla="*/ 863 h 1550"/>
                  <a:gd name="T84" fmla="*/ 1829 w 1975"/>
                  <a:gd name="T85" fmla="*/ 886 h 1550"/>
                  <a:gd name="T86" fmla="*/ 1903 w 1975"/>
                  <a:gd name="T87" fmla="*/ 1144 h 1550"/>
                  <a:gd name="T88" fmla="*/ 1700 w 1975"/>
                  <a:gd name="T89" fmla="*/ 1015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75" h="1550">
                    <a:moveTo>
                      <a:pt x="1883" y="883"/>
                    </a:moveTo>
                    <a:cubicBezTo>
                      <a:pt x="1942" y="798"/>
                      <a:pt x="1973" y="701"/>
                      <a:pt x="1973" y="603"/>
                    </a:cubicBezTo>
                    <a:cubicBezTo>
                      <a:pt x="1973" y="441"/>
                      <a:pt x="1890" y="288"/>
                      <a:pt x="1740" y="174"/>
                    </a:cubicBezTo>
                    <a:cubicBezTo>
                      <a:pt x="1591" y="62"/>
                      <a:pt x="1394" y="0"/>
                      <a:pt x="1185" y="0"/>
                    </a:cubicBezTo>
                    <a:cubicBezTo>
                      <a:pt x="976" y="0"/>
                      <a:pt x="778" y="62"/>
                      <a:pt x="630" y="174"/>
                    </a:cubicBezTo>
                    <a:cubicBezTo>
                      <a:pt x="479" y="288"/>
                      <a:pt x="396" y="441"/>
                      <a:pt x="396" y="603"/>
                    </a:cubicBezTo>
                    <a:cubicBezTo>
                      <a:pt x="396" y="624"/>
                      <a:pt x="398" y="645"/>
                      <a:pt x="400" y="666"/>
                    </a:cubicBezTo>
                    <a:cubicBezTo>
                      <a:pt x="164" y="725"/>
                      <a:pt x="2" y="896"/>
                      <a:pt x="2" y="1089"/>
                    </a:cubicBezTo>
                    <a:cubicBezTo>
                      <a:pt x="2" y="1160"/>
                      <a:pt x="24" y="1231"/>
                      <a:pt x="67" y="1293"/>
                    </a:cubicBezTo>
                    <a:cubicBezTo>
                      <a:pt x="3" y="1517"/>
                      <a:pt x="3" y="1517"/>
                      <a:pt x="3" y="1517"/>
                    </a:cubicBezTo>
                    <a:cubicBezTo>
                      <a:pt x="0" y="1527"/>
                      <a:pt x="4" y="1538"/>
                      <a:pt x="12" y="1545"/>
                    </a:cubicBezTo>
                    <a:cubicBezTo>
                      <a:pt x="17" y="1548"/>
                      <a:pt x="23" y="1550"/>
                      <a:pt x="28" y="1550"/>
                    </a:cubicBezTo>
                    <a:cubicBezTo>
                      <a:pt x="33" y="1550"/>
                      <a:pt x="38" y="1549"/>
                      <a:pt x="42" y="1546"/>
                    </a:cubicBezTo>
                    <a:cubicBezTo>
                      <a:pt x="218" y="1435"/>
                      <a:pt x="218" y="1435"/>
                      <a:pt x="218" y="1435"/>
                    </a:cubicBezTo>
                    <a:cubicBezTo>
                      <a:pt x="320" y="1498"/>
                      <a:pt x="449" y="1533"/>
                      <a:pt x="581" y="1533"/>
                    </a:cubicBezTo>
                    <a:cubicBezTo>
                      <a:pt x="714" y="1533"/>
                      <a:pt x="838" y="1500"/>
                      <a:pt x="942" y="1437"/>
                    </a:cubicBezTo>
                    <a:cubicBezTo>
                      <a:pt x="1038" y="1378"/>
                      <a:pt x="1108" y="1296"/>
                      <a:pt x="1140" y="1205"/>
                    </a:cubicBezTo>
                    <a:cubicBezTo>
                      <a:pt x="1155" y="1206"/>
                      <a:pt x="1170" y="1206"/>
                      <a:pt x="1185" y="1206"/>
                    </a:cubicBezTo>
                    <a:cubicBezTo>
                      <a:pt x="1368" y="1206"/>
                      <a:pt x="1545" y="1157"/>
                      <a:pt x="1686" y="1069"/>
                    </a:cubicBezTo>
                    <a:cubicBezTo>
                      <a:pt x="1933" y="1225"/>
                      <a:pt x="1933" y="1225"/>
                      <a:pt x="1933" y="1225"/>
                    </a:cubicBezTo>
                    <a:cubicBezTo>
                      <a:pt x="1937" y="1228"/>
                      <a:pt x="1942" y="1229"/>
                      <a:pt x="1947" y="1229"/>
                    </a:cubicBezTo>
                    <a:cubicBezTo>
                      <a:pt x="1953" y="1229"/>
                      <a:pt x="1958" y="1227"/>
                      <a:pt x="1963" y="1224"/>
                    </a:cubicBezTo>
                    <a:cubicBezTo>
                      <a:pt x="1972" y="1217"/>
                      <a:pt x="1975" y="1206"/>
                      <a:pt x="1972" y="1196"/>
                    </a:cubicBezTo>
                    <a:lnTo>
                      <a:pt x="1883" y="883"/>
                    </a:lnTo>
                    <a:close/>
                    <a:moveTo>
                      <a:pt x="581" y="1481"/>
                    </a:moveTo>
                    <a:cubicBezTo>
                      <a:pt x="452" y="1481"/>
                      <a:pt x="328" y="1446"/>
                      <a:pt x="232" y="1382"/>
                    </a:cubicBezTo>
                    <a:cubicBezTo>
                      <a:pt x="223" y="1376"/>
                      <a:pt x="212" y="1376"/>
                      <a:pt x="204" y="1382"/>
                    </a:cubicBezTo>
                    <a:cubicBezTo>
                      <a:pt x="72" y="1465"/>
                      <a:pt x="72" y="1465"/>
                      <a:pt x="72" y="1465"/>
                    </a:cubicBezTo>
                    <a:cubicBezTo>
                      <a:pt x="121" y="1296"/>
                      <a:pt x="121" y="1296"/>
                      <a:pt x="121" y="1296"/>
                    </a:cubicBezTo>
                    <a:cubicBezTo>
                      <a:pt x="123" y="1288"/>
                      <a:pt x="121" y="1280"/>
                      <a:pt x="117" y="1273"/>
                    </a:cubicBezTo>
                    <a:cubicBezTo>
                      <a:pt x="76" y="1217"/>
                      <a:pt x="54" y="1153"/>
                      <a:pt x="54" y="1089"/>
                    </a:cubicBezTo>
                    <a:cubicBezTo>
                      <a:pt x="54" y="921"/>
                      <a:pt x="200" y="772"/>
                      <a:pt x="410" y="718"/>
                    </a:cubicBezTo>
                    <a:cubicBezTo>
                      <a:pt x="440" y="836"/>
                      <a:pt x="515" y="945"/>
                      <a:pt x="630" y="1032"/>
                    </a:cubicBezTo>
                    <a:cubicBezTo>
                      <a:pt x="755" y="1126"/>
                      <a:pt x="914" y="1185"/>
                      <a:pt x="1086" y="1201"/>
                    </a:cubicBezTo>
                    <a:cubicBezTo>
                      <a:pt x="1019" y="1365"/>
                      <a:pt x="813" y="1481"/>
                      <a:pt x="581" y="1481"/>
                    </a:cubicBezTo>
                    <a:close/>
                    <a:moveTo>
                      <a:pt x="1700" y="1015"/>
                    </a:moveTo>
                    <a:cubicBezTo>
                      <a:pt x="1691" y="1010"/>
                      <a:pt x="1680" y="1010"/>
                      <a:pt x="1671" y="1016"/>
                    </a:cubicBezTo>
                    <a:cubicBezTo>
                      <a:pt x="1537" y="1104"/>
                      <a:pt x="1364" y="1153"/>
                      <a:pt x="1185" y="1153"/>
                    </a:cubicBezTo>
                    <a:cubicBezTo>
                      <a:pt x="779" y="1153"/>
                      <a:pt x="449" y="906"/>
                      <a:pt x="449" y="603"/>
                    </a:cubicBezTo>
                    <a:cubicBezTo>
                      <a:pt x="449" y="300"/>
                      <a:pt x="779" y="53"/>
                      <a:pt x="1185" y="53"/>
                    </a:cubicBezTo>
                    <a:cubicBezTo>
                      <a:pt x="1591" y="53"/>
                      <a:pt x="1921" y="300"/>
                      <a:pt x="1921" y="603"/>
                    </a:cubicBezTo>
                    <a:cubicBezTo>
                      <a:pt x="1921" y="694"/>
                      <a:pt x="1890" y="784"/>
                      <a:pt x="1833" y="863"/>
                    </a:cubicBezTo>
                    <a:cubicBezTo>
                      <a:pt x="1828" y="870"/>
                      <a:pt x="1827" y="878"/>
                      <a:pt x="1829" y="886"/>
                    </a:cubicBezTo>
                    <a:cubicBezTo>
                      <a:pt x="1903" y="1144"/>
                      <a:pt x="1903" y="1144"/>
                      <a:pt x="1903" y="1144"/>
                    </a:cubicBezTo>
                    <a:lnTo>
                      <a:pt x="1700" y="10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98" name="Freeform 72"/>
              <p:cNvSpPr>
                <a:spLocks noEditPoints="1"/>
              </p:cNvSpPr>
              <p:nvPr userDrawn="1"/>
            </p:nvSpPr>
            <p:spPr bwMode="auto">
              <a:xfrm>
                <a:off x="13534925" y="2987273"/>
                <a:ext cx="96838" cy="98425"/>
              </a:xfrm>
              <a:custGeom>
                <a:avLst/>
                <a:gdLst>
                  <a:gd name="T0" fmla="*/ 98 w 195"/>
                  <a:gd name="T1" fmla="*/ 0 h 195"/>
                  <a:gd name="T2" fmla="*/ 0 w 195"/>
                  <a:gd name="T3" fmla="*/ 97 h 195"/>
                  <a:gd name="T4" fmla="*/ 98 w 195"/>
                  <a:gd name="T5" fmla="*/ 195 h 195"/>
                  <a:gd name="T6" fmla="*/ 195 w 195"/>
                  <a:gd name="T7" fmla="*/ 97 h 195"/>
                  <a:gd name="T8" fmla="*/ 98 w 195"/>
                  <a:gd name="T9" fmla="*/ 0 h 195"/>
                  <a:gd name="T10" fmla="*/ 98 w 195"/>
                  <a:gd name="T11" fmla="*/ 142 h 195"/>
                  <a:gd name="T12" fmla="*/ 53 w 195"/>
                  <a:gd name="T13" fmla="*/ 97 h 195"/>
                  <a:gd name="T14" fmla="*/ 98 w 195"/>
                  <a:gd name="T15" fmla="*/ 52 h 195"/>
                  <a:gd name="T16" fmla="*/ 142 w 195"/>
                  <a:gd name="T17" fmla="*/ 97 h 195"/>
                  <a:gd name="T18" fmla="*/ 98 w 195"/>
                  <a:gd name="T19" fmla="*/ 142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5">
                    <a:moveTo>
                      <a:pt x="98" y="0"/>
                    </a:moveTo>
                    <a:cubicBezTo>
                      <a:pt x="44" y="0"/>
                      <a:pt x="0" y="43"/>
                      <a:pt x="0" y="97"/>
                    </a:cubicBezTo>
                    <a:cubicBezTo>
                      <a:pt x="0" y="151"/>
                      <a:pt x="44" y="195"/>
                      <a:pt x="98" y="195"/>
                    </a:cubicBezTo>
                    <a:cubicBezTo>
                      <a:pt x="151" y="195"/>
                      <a:pt x="195" y="151"/>
                      <a:pt x="195" y="97"/>
                    </a:cubicBezTo>
                    <a:cubicBezTo>
                      <a:pt x="195" y="43"/>
                      <a:pt x="151" y="0"/>
                      <a:pt x="98" y="0"/>
                    </a:cubicBezTo>
                    <a:close/>
                    <a:moveTo>
                      <a:pt x="98" y="142"/>
                    </a:moveTo>
                    <a:cubicBezTo>
                      <a:pt x="73" y="142"/>
                      <a:pt x="53" y="122"/>
                      <a:pt x="53" y="97"/>
                    </a:cubicBezTo>
                    <a:cubicBezTo>
                      <a:pt x="53" y="73"/>
                      <a:pt x="73" y="52"/>
                      <a:pt x="98" y="52"/>
                    </a:cubicBezTo>
                    <a:cubicBezTo>
                      <a:pt x="122" y="52"/>
                      <a:pt x="142" y="73"/>
                      <a:pt x="142" y="97"/>
                    </a:cubicBezTo>
                    <a:cubicBezTo>
                      <a:pt x="142" y="122"/>
                      <a:pt x="122" y="142"/>
                      <a:pt x="98"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99" name="Freeform 73"/>
              <p:cNvSpPr>
                <a:spLocks noEditPoints="1"/>
              </p:cNvSpPr>
              <p:nvPr userDrawn="1"/>
            </p:nvSpPr>
            <p:spPr bwMode="auto">
              <a:xfrm>
                <a:off x="13676212" y="2987273"/>
                <a:ext cx="98425" cy="98425"/>
              </a:xfrm>
              <a:custGeom>
                <a:avLst/>
                <a:gdLst>
                  <a:gd name="T0" fmla="*/ 98 w 195"/>
                  <a:gd name="T1" fmla="*/ 0 h 195"/>
                  <a:gd name="T2" fmla="*/ 0 w 195"/>
                  <a:gd name="T3" fmla="*/ 97 h 195"/>
                  <a:gd name="T4" fmla="*/ 98 w 195"/>
                  <a:gd name="T5" fmla="*/ 195 h 195"/>
                  <a:gd name="T6" fmla="*/ 195 w 195"/>
                  <a:gd name="T7" fmla="*/ 97 h 195"/>
                  <a:gd name="T8" fmla="*/ 98 w 195"/>
                  <a:gd name="T9" fmla="*/ 0 h 195"/>
                  <a:gd name="T10" fmla="*/ 98 w 195"/>
                  <a:gd name="T11" fmla="*/ 142 h 195"/>
                  <a:gd name="T12" fmla="*/ 53 w 195"/>
                  <a:gd name="T13" fmla="*/ 97 h 195"/>
                  <a:gd name="T14" fmla="*/ 98 w 195"/>
                  <a:gd name="T15" fmla="*/ 52 h 195"/>
                  <a:gd name="T16" fmla="*/ 142 w 195"/>
                  <a:gd name="T17" fmla="*/ 97 h 195"/>
                  <a:gd name="T18" fmla="*/ 98 w 195"/>
                  <a:gd name="T19" fmla="*/ 142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5">
                    <a:moveTo>
                      <a:pt x="98" y="0"/>
                    </a:moveTo>
                    <a:cubicBezTo>
                      <a:pt x="44" y="0"/>
                      <a:pt x="0" y="43"/>
                      <a:pt x="0" y="97"/>
                    </a:cubicBezTo>
                    <a:cubicBezTo>
                      <a:pt x="0" y="151"/>
                      <a:pt x="44" y="195"/>
                      <a:pt x="98" y="195"/>
                    </a:cubicBezTo>
                    <a:cubicBezTo>
                      <a:pt x="151" y="195"/>
                      <a:pt x="195" y="151"/>
                      <a:pt x="195" y="97"/>
                    </a:cubicBezTo>
                    <a:cubicBezTo>
                      <a:pt x="195" y="43"/>
                      <a:pt x="151" y="0"/>
                      <a:pt x="98" y="0"/>
                    </a:cubicBezTo>
                    <a:close/>
                    <a:moveTo>
                      <a:pt x="98" y="142"/>
                    </a:moveTo>
                    <a:cubicBezTo>
                      <a:pt x="73" y="142"/>
                      <a:pt x="53" y="122"/>
                      <a:pt x="53" y="97"/>
                    </a:cubicBezTo>
                    <a:cubicBezTo>
                      <a:pt x="53" y="73"/>
                      <a:pt x="73" y="52"/>
                      <a:pt x="98" y="52"/>
                    </a:cubicBezTo>
                    <a:cubicBezTo>
                      <a:pt x="122" y="52"/>
                      <a:pt x="142" y="73"/>
                      <a:pt x="142" y="97"/>
                    </a:cubicBezTo>
                    <a:cubicBezTo>
                      <a:pt x="142" y="122"/>
                      <a:pt x="122" y="142"/>
                      <a:pt x="98"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100" name="Freeform 74"/>
              <p:cNvSpPr>
                <a:spLocks noEditPoints="1"/>
              </p:cNvSpPr>
              <p:nvPr userDrawn="1"/>
            </p:nvSpPr>
            <p:spPr bwMode="auto">
              <a:xfrm>
                <a:off x="13817500" y="2987273"/>
                <a:ext cx="98425" cy="98425"/>
              </a:xfrm>
              <a:custGeom>
                <a:avLst/>
                <a:gdLst>
                  <a:gd name="T0" fmla="*/ 98 w 195"/>
                  <a:gd name="T1" fmla="*/ 0 h 195"/>
                  <a:gd name="T2" fmla="*/ 0 w 195"/>
                  <a:gd name="T3" fmla="*/ 97 h 195"/>
                  <a:gd name="T4" fmla="*/ 98 w 195"/>
                  <a:gd name="T5" fmla="*/ 195 h 195"/>
                  <a:gd name="T6" fmla="*/ 195 w 195"/>
                  <a:gd name="T7" fmla="*/ 97 h 195"/>
                  <a:gd name="T8" fmla="*/ 98 w 195"/>
                  <a:gd name="T9" fmla="*/ 0 h 195"/>
                  <a:gd name="T10" fmla="*/ 98 w 195"/>
                  <a:gd name="T11" fmla="*/ 142 h 195"/>
                  <a:gd name="T12" fmla="*/ 53 w 195"/>
                  <a:gd name="T13" fmla="*/ 97 h 195"/>
                  <a:gd name="T14" fmla="*/ 98 w 195"/>
                  <a:gd name="T15" fmla="*/ 52 h 195"/>
                  <a:gd name="T16" fmla="*/ 143 w 195"/>
                  <a:gd name="T17" fmla="*/ 97 h 195"/>
                  <a:gd name="T18" fmla="*/ 98 w 195"/>
                  <a:gd name="T19" fmla="*/ 142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5">
                    <a:moveTo>
                      <a:pt x="98" y="0"/>
                    </a:moveTo>
                    <a:cubicBezTo>
                      <a:pt x="44" y="0"/>
                      <a:pt x="0" y="43"/>
                      <a:pt x="0" y="97"/>
                    </a:cubicBezTo>
                    <a:cubicBezTo>
                      <a:pt x="0" y="151"/>
                      <a:pt x="44" y="195"/>
                      <a:pt x="98" y="195"/>
                    </a:cubicBezTo>
                    <a:cubicBezTo>
                      <a:pt x="152" y="195"/>
                      <a:pt x="195" y="151"/>
                      <a:pt x="195" y="97"/>
                    </a:cubicBezTo>
                    <a:cubicBezTo>
                      <a:pt x="195" y="43"/>
                      <a:pt x="152" y="0"/>
                      <a:pt x="98" y="0"/>
                    </a:cubicBezTo>
                    <a:close/>
                    <a:moveTo>
                      <a:pt x="98" y="142"/>
                    </a:moveTo>
                    <a:cubicBezTo>
                      <a:pt x="73" y="142"/>
                      <a:pt x="53" y="122"/>
                      <a:pt x="53" y="97"/>
                    </a:cubicBezTo>
                    <a:cubicBezTo>
                      <a:pt x="53" y="73"/>
                      <a:pt x="73" y="52"/>
                      <a:pt x="98" y="52"/>
                    </a:cubicBezTo>
                    <a:cubicBezTo>
                      <a:pt x="122" y="52"/>
                      <a:pt x="143" y="73"/>
                      <a:pt x="143" y="97"/>
                    </a:cubicBezTo>
                    <a:cubicBezTo>
                      <a:pt x="143" y="122"/>
                      <a:pt x="122" y="142"/>
                      <a:pt x="98"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grpSp>
          <p:nvGrpSpPr>
            <p:cNvPr id="76" name="Group 75"/>
            <p:cNvGrpSpPr/>
            <p:nvPr userDrawn="1"/>
          </p:nvGrpSpPr>
          <p:grpSpPr>
            <a:xfrm>
              <a:off x="11510812" y="6996124"/>
              <a:ext cx="289818" cy="341042"/>
              <a:chOff x="19234050" y="-1743477"/>
              <a:chExt cx="682625" cy="803275"/>
            </a:xfrm>
            <a:solidFill>
              <a:schemeClr val="accent5">
                <a:lumMod val="75000"/>
              </a:schemeClr>
            </a:solidFill>
          </p:grpSpPr>
          <p:sp>
            <p:nvSpPr>
              <p:cNvPr id="91" name="Freeform 19"/>
              <p:cNvSpPr>
                <a:spLocks noEditPoints="1"/>
              </p:cNvSpPr>
              <p:nvPr userDrawn="1"/>
            </p:nvSpPr>
            <p:spPr bwMode="auto">
              <a:xfrm>
                <a:off x="19234050" y="-1743477"/>
                <a:ext cx="682625" cy="803275"/>
              </a:xfrm>
              <a:custGeom>
                <a:avLst/>
                <a:gdLst>
                  <a:gd name="T0" fmla="*/ 1352 w 1359"/>
                  <a:gd name="T1" fmla="*/ 772 h 1600"/>
                  <a:gd name="T2" fmla="*/ 1166 w 1359"/>
                  <a:gd name="T3" fmla="*/ 623 h 1600"/>
                  <a:gd name="T4" fmla="*/ 1102 w 1359"/>
                  <a:gd name="T5" fmla="*/ 342 h 1600"/>
                  <a:gd name="T6" fmla="*/ 1102 w 1359"/>
                  <a:gd name="T7" fmla="*/ 341 h 1600"/>
                  <a:gd name="T8" fmla="*/ 1101 w 1359"/>
                  <a:gd name="T9" fmla="*/ 333 h 1600"/>
                  <a:gd name="T10" fmla="*/ 1099 w 1359"/>
                  <a:gd name="T11" fmla="*/ 330 h 1600"/>
                  <a:gd name="T12" fmla="*/ 1097 w 1359"/>
                  <a:gd name="T13" fmla="*/ 326 h 1600"/>
                  <a:gd name="T14" fmla="*/ 779 w 1359"/>
                  <a:gd name="T15" fmla="*/ 8 h 1600"/>
                  <a:gd name="T16" fmla="*/ 775 w 1359"/>
                  <a:gd name="T17" fmla="*/ 5 h 1600"/>
                  <a:gd name="T18" fmla="*/ 772 w 1359"/>
                  <a:gd name="T19" fmla="*/ 3 h 1600"/>
                  <a:gd name="T20" fmla="*/ 768 w 1359"/>
                  <a:gd name="T21" fmla="*/ 1 h 1600"/>
                  <a:gd name="T22" fmla="*/ 765 w 1359"/>
                  <a:gd name="T23" fmla="*/ 0 h 1600"/>
                  <a:gd name="T24" fmla="*/ 761 w 1359"/>
                  <a:gd name="T25" fmla="*/ 0 h 1600"/>
                  <a:gd name="T26" fmla="*/ 74 w 1359"/>
                  <a:gd name="T27" fmla="*/ 0 h 1600"/>
                  <a:gd name="T28" fmla="*/ 0 w 1359"/>
                  <a:gd name="T29" fmla="*/ 1526 h 1600"/>
                  <a:gd name="T30" fmla="*/ 1029 w 1359"/>
                  <a:gd name="T31" fmla="*/ 1600 h 1600"/>
                  <a:gd name="T32" fmla="*/ 1102 w 1359"/>
                  <a:gd name="T33" fmla="*/ 1058 h 1600"/>
                  <a:gd name="T34" fmla="*/ 1248 w 1359"/>
                  <a:gd name="T35" fmla="*/ 913 h 1600"/>
                  <a:gd name="T36" fmla="*/ 1352 w 1359"/>
                  <a:gd name="T37" fmla="*/ 809 h 1600"/>
                  <a:gd name="T38" fmla="*/ 847 w 1359"/>
                  <a:gd name="T39" fmla="*/ 1239 h 1600"/>
                  <a:gd name="T40" fmla="*/ 1081 w 1359"/>
                  <a:gd name="T41" fmla="*/ 782 h 1600"/>
                  <a:gd name="T42" fmla="*/ 847 w 1359"/>
                  <a:gd name="T43" fmla="*/ 1239 h 1600"/>
                  <a:gd name="T44" fmla="*/ 793 w 1359"/>
                  <a:gd name="T45" fmla="*/ 1260 h 1600"/>
                  <a:gd name="T46" fmla="*/ 715 w 1359"/>
                  <a:gd name="T47" fmla="*/ 1181 h 1600"/>
                  <a:gd name="T48" fmla="*/ 1012 w 1359"/>
                  <a:gd name="T49" fmla="*/ 316 h 1600"/>
                  <a:gd name="T50" fmla="*/ 786 w 1359"/>
                  <a:gd name="T51" fmla="*/ 295 h 1600"/>
                  <a:gd name="T52" fmla="*/ 1050 w 1359"/>
                  <a:gd name="T53" fmla="*/ 1526 h 1600"/>
                  <a:gd name="T54" fmla="*/ 74 w 1359"/>
                  <a:gd name="T55" fmla="*/ 1547 h 1600"/>
                  <a:gd name="T56" fmla="*/ 53 w 1359"/>
                  <a:gd name="T57" fmla="*/ 73 h 1600"/>
                  <a:gd name="T58" fmla="*/ 734 w 1359"/>
                  <a:gd name="T59" fmla="*/ 53 h 1600"/>
                  <a:gd name="T60" fmla="*/ 807 w 1359"/>
                  <a:gd name="T61" fmla="*/ 368 h 1600"/>
                  <a:gd name="T62" fmla="*/ 1050 w 1359"/>
                  <a:gd name="T63" fmla="*/ 739 h 1600"/>
                  <a:gd name="T64" fmla="*/ 677 w 1359"/>
                  <a:gd name="T65" fmla="*/ 1111 h 1600"/>
                  <a:gd name="T66" fmla="*/ 674 w 1359"/>
                  <a:gd name="T67" fmla="*/ 1118 h 1600"/>
                  <a:gd name="T68" fmla="*/ 672 w 1359"/>
                  <a:gd name="T69" fmla="*/ 1122 h 1600"/>
                  <a:gd name="T70" fmla="*/ 638 w 1359"/>
                  <a:gd name="T71" fmla="*/ 1306 h 1600"/>
                  <a:gd name="T72" fmla="*/ 664 w 1359"/>
                  <a:gd name="T73" fmla="*/ 1337 h 1600"/>
                  <a:gd name="T74" fmla="*/ 852 w 1359"/>
                  <a:gd name="T75" fmla="*/ 1302 h 1600"/>
                  <a:gd name="T76" fmla="*/ 855 w 1359"/>
                  <a:gd name="T77" fmla="*/ 1301 h 1600"/>
                  <a:gd name="T78" fmla="*/ 862 w 1359"/>
                  <a:gd name="T79" fmla="*/ 1298 h 1600"/>
                  <a:gd name="T80" fmla="*/ 866 w 1359"/>
                  <a:gd name="T81" fmla="*/ 1295 h 1600"/>
                  <a:gd name="T82" fmla="*/ 1050 w 1359"/>
                  <a:gd name="T83" fmla="*/ 1526 h 1600"/>
                  <a:gd name="T84" fmla="*/ 1118 w 1359"/>
                  <a:gd name="T85" fmla="*/ 745 h 1600"/>
                  <a:gd name="T86" fmla="*/ 1296 w 1359"/>
                  <a:gd name="T87" fmla="*/ 790 h 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59" h="1600">
                    <a:moveTo>
                      <a:pt x="1359" y="790"/>
                    </a:moveTo>
                    <a:cubicBezTo>
                      <a:pt x="1359" y="783"/>
                      <a:pt x="1357" y="777"/>
                      <a:pt x="1352" y="772"/>
                    </a:cubicBezTo>
                    <a:cubicBezTo>
                      <a:pt x="1203" y="623"/>
                      <a:pt x="1203" y="623"/>
                      <a:pt x="1203" y="623"/>
                    </a:cubicBezTo>
                    <a:cubicBezTo>
                      <a:pt x="1193" y="612"/>
                      <a:pt x="1176" y="612"/>
                      <a:pt x="1166" y="623"/>
                    </a:cubicBezTo>
                    <a:cubicBezTo>
                      <a:pt x="1102" y="686"/>
                      <a:pt x="1102" y="686"/>
                      <a:pt x="1102" y="686"/>
                    </a:cubicBezTo>
                    <a:cubicBezTo>
                      <a:pt x="1102" y="342"/>
                      <a:pt x="1102" y="342"/>
                      <a:pt x="1102" y="342"/>
                    </a:cubicBezTo>
                    <a:cubicBezTo>
                      <a:pt x="1102" y="342"/>
                      <a:pt x="1102" y="341"/>
                      <a:pt x="1102" y="341"/>
                    </a:cubicBezTo>
                    <a:cubicBezTo>
                      <a:pt x="1102" y="341"/>
                      <a:pt x="1102" y="341"/>
                      <a:pt x="1102" y="341"/>
                    </a:cubicBezTo>
                    <a:cubicBezTo>
                      <a:pt x="1102" y="338"/>
                      <a:pt x="1102" y="336"/>
                      <a:pt x="1101" y="334"/>
                    </a:cubicBezTo>
                    <a:cubicBezTo>
                      <a:pt x="1101" y="333"/>
                      <a:pt x="1101" y="333"/>
                      <a:pt x="1101" y="333"/>
                    </a:cubicBezTo>
                    <a:cubicBezTo>
                      <a:pt x="1100" y="332"/>
                      <a:pt x="1100" y="331"/>
                      <a:pt x="1099" y="330"/>
                    </a:cubicBezTo>
                    <a:cubicBezTo>
                      <a:pt x="1099" y="330"/>
                      <a:pt x="1099" y="330"/>
                      <a:pt x="1099" y="330"/>
                    </a:cubicBezTo>
                    <a:cubicBezTo>
                      <a:pt x="1099" y="329"/>
                      <a:pt x="1098" y="328"/>
                      <a:pt x="1097" y="327"/>
                    </a:cubicBezTo>
                    <a:cubicBezTo>
                      <a:pt x="1097" y="327"/>
                      <a:pt x="1097" y="326"/>
                      <a:pt x="1097" y="326"/>
                    </a:cubicBezTo>
                    <a:cubicBezTo>
                      <a:pt x="1096" y="325"/>
                      <a:pt x="1095" y="324"/>
                      <a:pt x="1095" y="324"/>
                    </a:cubicBezTo>
                    <a:cubicBezTo>
                      <a:pt x="779" y="8"/>
                      <a:pt x="779" y="8"/>
                      <a:pt x="779" y="8"/>
                    </a:cubicBezTo>
                    <a:cubicBezTo>
                      <a:pt x="778" y="7"/>
                      <a:pt x="777" y="6"/>
                      <a:pt x="776" y="5"/>
                    </a:cubicBezTo>
                    <a:cubicBezTo>
                      <a:pt x="776" y="5"/>
                      <a:pt x="775" y="5"/>
                      <a:pt x="775" y="5"/>
                    </a:cubicBezTo>
                    <a:cubicBezTo>
                      <a:pt x="774" y="4"/>
                      <a:pt x="773" y="3"/>
                      <a:pt x="772" y="3"/>
                    </a:cubicBezTo>
                    <a:cubicBezTo>
                      <a:pt x="772" y="3"/>
                      <a:pt x="772" y="3"/>
                      <a:pt x="772" y="3"/>
                    </a:cubicBezTo>
                    <a:cubicBezTo>
                      <a:pt x="771" y="2"/>
                      <a:pt x="770" y="2"/>
                      <a:pt x="769" y="2"/>
                    </a:cubicBezTo>
                    <a:cubicBezTo>
                      <a:pt x="769" y="1"/>
                      <a:pt x="769" y="1"/>
                      <a:pt x="768" y="1"/>
                    </a:cubicBezTo>
                    <a:cubicBezTo>
                      <a:pt x="767" y="1"/>
                      <a:pt x="766" y="1"/>
                      <a:pt x="765" y="0"/>
                    </a:cubicBezTo>
                    <a:cubicBezTo>
                      <a:pt x="765" y="0"/>
                      <a:pt x="765" y="0"/>
                      <a:pt x="765" y="0"/>
                    </a:cubicBezTo>
                    <a:cubicBezTo>
                      <a:pt x="764" y="0"/>
                      <a:pt x="763" y="0"/>
                      <a:pt x="762" y="0"/>
                    </a:cubicBezTo>
                    <a:cubicBezTo>
                      <a:pt x="761" y="0"/>
                      <a:pt x="761" y="0"/>
                      <a:pt x="761" y="0"/>
                    </a:cubicBezTo>
                    <a:cubicBezTo>
                      <a:pt x="761" y="0"/>
                      <a:pt x="760" y="0"/>
                      <a:pt x="760" y="0"/>
                    </a:cubicBezTo>
                    <a:cubicBezTo>
                      <a:pt x="74" y="0"/>
                      <a:pt x="74" y="0"/>
                      <a:pt x="74" y="0"/>
                    </a:cubicBezTo>
                    <a:cubicBezTo>
                      <a:pt x="33" y="0"/>
                      <a:pt x="0" y="33"/>
                      <a:pt x="0" y="73"/>
                    </a:cubicBezTo>
                    <a:cubicBezTo>
                      <a:pt x="0" y="1526"/>
                      <a:pt x="0" y="1526"/>
                      <a:pt x="0" y="1526"/>
                    </a:cubicBezTo>
                    <a:cubicBezTo>
                      <a:pt x="0" y="1567"/>
                      <a:pt x="33" y="1600"/>
                      <a:pt x="74" y="1600"/>
                    </a:cubicBezTo>
                    <a:cubicBezTo>
                      <a:pt x="1029" y="1600"/>
                      <a:pt x="1029" y="1600"/>
                      <a:pt x="1029" y="1600"/>
                    </a:cubicBezTo>
                    <a:cubicBezTo>
                      <a:pt x="1069" y="1600"/>
                      <a:pt x="1102" y="1567"/>
                      <a:pt x="1102" y="1526"/>
                    </a:cubicBezTo>
                    <a:cubicBezTo>
                      <a:pt x="1102" y="1058"/>
                      <a:pt x="1102" y="1058"/>
                      <a:pt x="1102" y="1058"/>
                    </a:cubicBezTo>
                    <a:cubicBezTo>
                      <a:pt x="1248" y="913"/>
                      <a:pt x="1248" y="913"/>
                      <a:pt x="1248" y="913"/>
                    </a:cubicBezTo>
                    <a:cubicBezTo>
                      <a:pt x="1248" y="913"/>
                      <a:pt x="1248" y="913"/>
                      <a:pt x="1248" y="913"/>
                    </a:cubicBezTo>
                    <a:cubicBezTo>
                      <a:pt x="1248" y="913"/>
                      <a:pt x="1248" y="913"/>
                      <a:pt x="1248" y="913"/>
                    </a:cubicBezTo>
                    <a:cubicBezTo>
                      <a:pt x="1352" y="809"/>
                      <a:pt x="1352" y="809"/>
                      <a:pt x="1352" y="809"/>
                    </a:cubicBezTo>
                    <a:cubicBezTo>
                      <a:pt x="1357" y="804"/>
                      <a:pt x="1359" y="797"/>
                      <a:pt x="1359" y="790"/>
                    </a:cubicBezTo>
                    <a:close/>
                    <a:moveTo>
                      <a:pt x="847" y="1239"/>
                    </a:moveTo>
                    <a:cubicBezTo>
                      <a:pt x="736" y="1127"/>
                      <a:pt x="736" y="1127"/>
                      <a:pt x="736" y="1127"/>
                    </a:cubicBezTo>
                    <a:cubicBezTo>
                      <a:pt x="1081" y="782"/>
                      <a:pt x="1081" y="782"/>
                      <a:pt x="1081" y="782"/>
                    </a:cubicBezTo>
                    <a:cubicBezTo>
                      <a:pt x="1192" y="894"/>
                      <a:pt x="1192" y="894"/>
                      <a:pt x="1192" y="894"/>
                    </a:cubicBezTo>
                    <a:lnTo>
                      <a:pt x="847" y="1239"/>
                    </a:lnTo>
                    <a:close/>
                    <a:moveTo>
                      <a:pt x="715" y="1181"/>
                    </a:moveTo>
                    <a:cubicBezTo>
                      <a:pt x="793" y="1260"/>
                      <a:pt x="793" y="1260"/>
                      <a:pt x="793" y="1260"/>
                    </a:cubicBezTo>
                    <a:cubicBezTo>
                      <a:pt x="697" y="1277"/>
                      <a:pt x="697" y="1277"/>
                      <a:pt x="697" y="1277"/>
                    </a:cubicBezTo>
                    <a:lnTo>
                      <a:pt x="715" y="1181"/>
                    </a:lnTo>
                    <a:close/>
                    <a:moveTo>
                      <a:pt x="786" y="90"/>
                    </a:moveTo>
                    <a:cubicBezTo>
                      <a:pt x="1012" y="316"/>
                      <a:pt x="1012" y="316"/>
                      <a:pt x="1012" y="316"/>
                    </a:cubicBezTo>
                    <a:cubicBezTo>
                      <a:pt x="807" y="316"/>
                      <a:pt x="807" y="316"/>
                      <a:pt x="807" y="316"/>
                    </a:cubicBezTo>
                    <a:cubicBezTo>
                      <a:pt x="796" y="316"/>
                      <a:pt x="786" y="307"/>
                      <a:pt x="786" y="295"/>
                    </a:cubicBezTo>
                    <a:lnTo>
                      <a:pt x="786" y="90"/>
                    </a:lnTo>
                    <a:close/>
                    <a:moveTo>
                      <a:pt x="1050" y="1526"/>
                    </a:moveTo>
                    <a:cubicBezTo>
                      <a:pt x="1050" y="1538"/>
                      <a:pt x="1040" y="1547"/>
                      <a:pt x="1029" y="1547"/>
                    </a:cubicBezTo>
                    <a:cubicBezTo>
                      <a:pt x="74" y="1547"/>
                      <a:pt x="74" y="1547"/>
                      <a:pt x="74" y="1547"/>
                    </a:cubicBezTo>
                    <a:cubicBezTo>
                      <a:pt x="62" y="1547"/>
                      <a:pt x="53" y="1538"/>
                      <a:pt x="53" y="1526"/>
                    </a:cubicBezTo>
                    <a:cubicBezTo>
                      <a:pt x="53" y="73"/>
                      <a:pt x="53" y="73"/>
                      <a:pt x="53" y="73"/>
                    </a:cubicBezTo>
                    <a:cubicBezTo>
                      <a:pt x="53" y="62"/>
                      <a:pt x="62" y="53"/>
                      <a:pt x="74" y="53"/>
                    </a:cubicBezTo>
                    <a:cubicBezTo>
                      <a:pt x="734" y="53"/>
                      <a:pt x="734" y="53"/>
                      <a:pt x="734" y="53"/>
                    </a:cubicBezTo>
                    <a:cubicBezTo>
                      <a:pt x="734" y="295"/>
                      <a:pt x="734" y="295"/>
                      <a:pt x="734" y="295"/>
                    </a:cubicBezTo>
                    <a:cubicBezTo>
                      <a:pt x="734" y="336"/>
                      <a:pt x="767" y="368"/>
                      <a:pt x="807" y="368"/>
                    </a:cubicBezTo>
                    <a:cubicBezTo>
                      <a:pt x="1050" y="368"/>
                      <a:pt x="1050" y="368"/>
                      <a:pt x="1050" y="368"/>
                    </a:cubicBezTo>
                    <a:cubicBezTo>
                      <a:pt x="1050" y="739"/>
                      <a:pt x="1050" y="739"/>
                      <a:pt x="1050" y="739"/>
                    </a:cubicBezTo>
                    <a:cubicBezTo>
                      <a:pt x="680" y="1109"/>
                      <a:pt x="680" y="1109"/>
                      <a:pt x="680" y="1109"/>
                    </a:cubicBezTo>
                    <a:cubicBezTo>
                      <a:pt x="679" y="1110"/>
                      <a:pt x="678" y="1110"/>
                      <a:pt x="677" y="1111"/>
                    </a:cubicBezTo>
                    <a:cubicBezTo>
                      <a:pt x="677" y="1112"/>
                      <a:pt x="677" y="1112"/>
                      <a:pt x="677" y="1112"/>
                    </a:cubicBezTo>
                    <a:cubicBezTo>
                      <a:pt x="675" y="1114"/>
                      <a:pt x="674" y="1116"/>
                      <a:pt x="674" y="1118"/>
                    </a:cubicBezTo>
                    <a:cubicBezTo>
                      <a:pt x="673" y="1118"/>
                      <a:pt x="673" y="1119"/>
                      <a:pt x="673" y="1119"/>
                    </a:cubicBezTo>
                    <a:cubicBezTo>
                      <a:pt x="673" y="1120"/>
                      <a:pt x="673" y="1121"/>
                      <a:pt x="672" y="1122"/>
                    </a:cubicBezTo>
                    <a:cubicBezTo>
                      <a:pt x="672" y="1122"/>
                      <a:pt x="672" y="1122"/>
                      <a:pt x="672" y="1122"/>
                    </a:cubicBezTo>
                    <a:cubicBezTo>
                      <a:pt x="638" y="1306"/>
                      <a:pt x="638" y="1306"/>
                      <a:pt x="638" y="1306"/>
                    </a:cubicBezTo>
                    <a:cubicBezTo>
                      <a:pt x="637" y="1314"/>
                      <a:pt x="639" y="1323"/>
                      <a:pt x="645" y="1329"/>
                    </a:cubicBezTo>
                    <a:cubicBezTo>
                      <a:pt x="650" y="1334"/>
                      <a:pt x="657" y="1337"/>
                      <a:pt x="664" y="1337"/>
                    </a:cubicBezTo>
                    <a:cubicBezTo>
                      <a:pt x="666" y="1337"/>
                      <a:pt x="667" y="1337"/>
                      <a:pt x="669" y="1336"/>
                    </a:cubicBezTo>
                    <a:cubicBezTo>
                      <a:pt x="852" y="1302"/>
                      <a:pt x="852" y="1302"/>
                      <a:pt x="852" y="1302"/>
                    </a:cubicBezTo>
                    <a:cubicBezTo>
                      <a:pt x="852" y="1302"/>
                      <a:pt x="852" y="1302"/>
                      <a:pt x="852" y="1302"/>
                    </a:cubicBezTo>
                    <a:cubicBezTo>
                      <a:pt x="853" y="1302"/>
                      <a:pt x="854" y="1302"/>
                      <a:pt x="855" y="1301"/>
                    </a:cubicBezTo>
                    <a:cubicBezTo>
                      <a:pt x="856" y="1301"/>
                      <a:pt x="856" y="1301"/>
                      <a:pt x="856" y="1301"/>
                    </a:cubicBezTo>
                    <a:cubicBezTo>
                      <a:pt x="858" y="1300"/>
                      <a:pt x="861" y="1299"/>
                      <a:pt x="862" y="1298"/>
                    </a:cubicBezTo>
                    <a:cubicBezTo>
                      <a:pt x="863" y="1297"/>
                      <a:pt x="863" y="1297"/>
                      <a:pt x="863" y="1297"/>
                    </a:cubicBezTo>
                    <a:cubicBezTo>
                      <a:pt x="864" y="1296"/>
                      <a:pt x="865" y="1296"/>
                      <a:pt x="866" y="1295"/>
                    </a:cubicBezTo>
                    <a:cubicBezTo>
                      <a:pt x="1050" y="1111"/>
                      <a:pt x="1050" y="1111"/>
                      <a:pt x="1050" y="1111"/>
                    </a:cubicBezTo>
                    <a:lnTo>
                      <a:pt x="1050" y="1526"/>
                    </a:lnTo>
                    <a:close/>
                    <a:moveTo>
                      <a:pt x="1230" y="857"/>
                    </a:moveTo>
                    <a:cubicBezTo>
                      <a:pt x="1118" y="745"/>
                      <a:pt x="1118" y="745"/>
                      <a:pt x="1118" y="745"/>
                    </a:cubicBezTo>
                    <a:cubicBezTo>
                      <a:pt x="1184" y="679"/>
                      <a:pt x="1184" y="679"/>
                      <a:pt x="1184" y="679"/>
                    </a:cubicBezTo>
                    <a:cubicBezTo>
                      <a:pt x="1296" y="790"/>
                      <a:pt x="1296" y="790"/>
                      <a:pt x="1296" y="790"/>
                    </a:cubicBezTo>
                    <a:lnTo>
                      <a:pt x="1230" y="8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92" name="Freeform 20"/>
              <p:cNvSpPr>
                <a:spLocks/>
              </p:cNvSpPr>
              <p:nvPr userDrawn="1"/>
            </p:nvSpPr>
            <p:spPr bwMode="auto">
              <a:xfrm>
                <a:off x="19318187" y="-1610127"/>
                <a:ext cx="192088" cy="25400"/>
              </a:xfrm>
              <a:custGeom>
                <a:avLst/>
                <a:gdLst>
                  <a:gd name="T0" fmla="*/ 26 w 384"/>
                  <a:gd name="T1" fmla="*/ 52 h 52"/>
                  <a:gd name="T2" fmla="*/ 358 w 384"/>
                  <a:gd name="T3" fmla="*/ 52 h 52"/>
                  <a:gd name="T4" fmla="*/ 384 w 384"/>
                  <a:gd name="T5" fmla="*/ 26 h 52"/>
                  <a:gd name="T6" fmla="*/ 358 w 384"/>
                  <a:gd name="T7" fmla="*/ 0 h 52"/>
                  <a:gd name="T8" fmla="*/ 26 w 384"/>
                  <a:gd name="T9" fmla="*/ 0 h 52"/>
                  <a:gd name="T10" fmla="*/ 0 w 384"/>
                  <a:gd name="T11" fmla="*/ 26 h 52"/>
                  <a:gd name="T12" fmla="*/ 26 w 384"/>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84" h="52">
                    <a:moveTo>
                      <a:pt x="26" y="52"/>
                    </a:moveTo>
                    <a:cubicBezTo>
                      <a:pt x="358" y="52"/>
                      <a:pt x="358" y="52"/>
                      <a:pt x="358" y="52"/>
                    </a:cubicBezTo>
                    <a:cubicBezTo>
                      <a:pt x="372" y="52"/>
                      <a:pt x="384" y="41"/>
                      <a:pt x="384" y="26"/>
                    </a:cubicBezTo>
                    <a:cubicBezTo>
                      <a:pt x="384" y="11"/>
                      <a:pt x="372" y="0"/>
                      <a:pt x="358" y="0"/>
                    </a:cubicBezTo>
                    <a:cubicBezTo>
                      <a:pt x="26" y="0"/>
                      <a:pt x="26" y="0"/>
                      <a:pt x="26" y="0"/>
                    </a:cubicBezTo>
                    <a:cubicBezTo>
                      <a:pt x="12" y="0"/>
                      <a:pt x="0" y="11"/>
                      <a:pt x="0" y="26"/>
                    </a:cubicBezTo>
                    <a:cubicBezTo>
                      <a:pt x="0" y="41"/>
                      <a:pt x="12" y="52"/>
                      <a:pt x="2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93" name="Freeform 21"/>
              <p:cNvSpPr>
                <a:spLocks/>
              </p:cNvSpPr>
              <p:nvPr userDrawn="1"/>
            </p:nvSpPr>
            <p:spPr bwMode="auto">
              <a:xfrm>
                <a:off x="19318187" y="-1532339"/>
                <a:ext cx="271463" cy="26988"/>
              </a:xfrm>
              <a:custGeom>
                <a:avLst/>
                <a:gdLst>
                  <a:gd name="T0" fmla="*/ 26 w 542"/>
                  <a:gd name="T1" fmla="*/ 52 h 52"/>
                  <a:gd name="T2" fmla="*/ 516 w 542"/>
                  <a:gd name="T3" fmla="*/ 52 h 52"/>
                  <a:gd name="T4" fmla="*/ 542 w 542"/>
                  <a:gd name="T5" fmla="*/ 26 h 52"/>
                  <a:gd name="T6" fmla="*/ 516 w 542"/>
                  <a:gd name="T7" fmla="*/ 0 h 52"/>
                  <a:gd name="T8" fmla="*/ 26 w 542"/>
                  <a:gd name="T9" fmla="*/ 0 h 52"/>
                  <a:gd name="T10" fmla="*/ 0 w 542"/>
                  <a:gd name="T11" fmla="*/ 26 h 52"/>
                  <a:gd name="T12" fmla="*/ 26 w 54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542" h="52">
                    <a:moveTo>
                      <a:pt x="26" y="52"/>
                    </a:moveTo>
                    <a:cubicBezTo>
                      <a:pt x="516" y="52"/>
                      <a:pt x="516" y="52"/>
                      <a:pt x="516" y="52"/>
                    </a:cubicBezTo>
                    <a:cubicBezTo>
                      <a:pt x="530" y="52"/>
                      <a:pt x="542" y="41"/>
                      <a:pt x="542" y="26"/>
                    </a:cubicBezTo>
                    <a:cubicBezTo>
                      <a:pt x="542" y="11"/>
                      <a:pt x="530" y="0"/>
                      <a:pt x="516" y="0"/>
                    </a:cubicBezTo>
                    <a:cubicBezTo>
                      <a:pt x="26" y="0"/>
                      <a:pt x="26" y="0"/>
                      <a:pt x="26" y="0"/>
                    </a:cubicBezTo>
                    <a:cubicBezTo>
                      <a:pt x="12" y="0"/>
                      <a:pt x="0" y="11"/>
                      <a:pt x="0" y="26"/>
                    </a:cubicBezTo>
                    <a:cubicBezTo>
                      <a:pt x="0" y="41"/>
                      <a:pt x="12" y="52"/>
                      <a:pt x="2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94" name="Freeform 22"/>
              <p:cNvSpPr>
                <a:spLocks/>
              </p:cNvSpPr>
              <p:nvPr userDrawn="1"/>
            </p:nvSpPr>
            <p:spPr bwMode="auto">
              <a:xfrm>
                <a:off x="19318187" y="-1452964"/>
                <a:ext cx="192088" cy="26988"/>
              </a:xfrm>
              <a:custGeom>
                <a:avLst/>
                <a:gdLst>
                  <a:gd name="T0" fmla="*/ 26 w 384"/>
                  <a:gd name="T1" fmla="*/ 52 h 52"/>
                  <a:gd name="T2" fmla="*/ 358 w 384"/>
                  <a:gd name="T3" fmla="*/ 52 h 52"/>
                  <a:gd name="T4" fmla="*/ 384 w 384"/>
                  <a:gd name="T5" fmla="*/ 26 h 52"/>
                  <a:gd name="T6" fmla="*/ 358 w 384"/>
                  <a:gd name="T7" fmla="*/ 0 h 52"/>
                  <a:gd name="T8" fmla="*/ 26 w 384"/>
                  <a:gd name="T9" fmla="*/ 0 h 52"/>
                  <a:gd name="T10" fmla="*/ 0 w 384"/>
                  <a:gd name="T11" fmla="*/ 26 h 52"/>
                  <a:gd name="T12" fmla="*/ 26 w 384"/>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84" h="52">
                    <a:moveTo>
                      <a:pt x="26" y="52"/>
                    </a:moveTo>
                    <a:cubicBezTo>
                      <a:pt x="358" y="52"/>
                      <a:pt x="358" y="52"/>
                      <a:pt x="358" y="52"/>
                    </a:cubicBezTo>
                    <a:cubicBezTo>
                      <a:pt x="372" y="52"/>
                      <a:pt x="384" y="40"/>
                      <a:pt x="384" y="26"/>
                    </a:cubicBezTo>
                    <a:cubicBezTo>
                      <a:pt x="384" y="11"/>
                      <a:pt x="372" y="0"/>
                      <a:pt x="358" y="0"/>
                    </a:cubicBezTo>
                    <a:cubicBezTo>
                      <a:pt x="26" y="0"/>
                      <a:pt x="26" y="0"/>
                      <a:pt x="26" y="0"/>
                    </a:cubicBezTo>
                    <a:cubicBezTo>
                      <a:pt x="12" y="0"/>
                      <a:pt x="0" y="11"/>
                      <a:pt x="0" y="26"/>
                    </a:cubicBezTo>
                    <a:cubicBezTo>
                      <a:pt x="0" y="40"/>
                      <a:pt x="12" y="52"/>
                      <a:pt x="2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95" name="Freeform 23"/>
              <p:cNvSpPr>
                <a:spLocks/>
              </p:cNvSpPr>
              <p:nvPr userDrawn="1"/>
            </p:nvSpPr>
            <p:spPr bwMode="auto">
              <a:xfrm>
                <a:off x="19318187" y="-1373589"/>
                <a:ext cx="231775" cy="26988"/>
              </a:xfrm>
              <a:custGeom>
                <a:avLst/>
                <a:gdLst>
                  <a:gd name="T0" fmla="*/ 437 w 463"/>
                  <a:gd name="T1" fmla="*/ 0 h 52"/>
                  <a:gd name="T2" fmla="*/ 26 w 463"/>
                  <a:gd name="T3" fmla="*/ 0 h 52"/>
                  <a:gd name="T4" fmla="*/ 0 w 463"/>
                  <a:gd name="T5" fmla="*/ 26 h 52"/>
                  <a:gd name="T6" fmla="*/ 26 w 463"/>
                  <a:gd name="T7" fmla="*/ 52 h 52"/>
                  <a:gd name="T8" fmla="*/ 437 w 463"/>
                  <a:gd name="T9" fmla="*/ 52 h 52"/>
                  <a:gd name="T10" fmla="*/ 463 w 463"/>
                  <a:gd name="T11" fmla="*/ 26 h 52"/>
                  <a:gd name="T12" fmla="*/ 437 w 463"/>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463" h="52">
                    <a:moveTo>
                      <a:pt x="437" y="0"/>
                    </a:moveTo>
                    <a:cubicBezTo>
                      <a:pt x="26" y="0"/>
                      <a:pt x="26" y="0"/>
                      <a:pt x="26" y="0"/>
                    </a:cubicBezTo>
                    <a:cubicBezTo>
                      <a:pt x="12" y="0"/>
                      <a:pt x="0" y="11"/>
                      <a:pt x="0" y="26"/>
                    </a:cubicBezTo>
                    <a:cubicBezTo>
                      <a:pt x="0" y="40"/>
                      <a:pt x="12" y="52"/>
                      <a:pt x="26" y="52"/>
                    </a:cubicBezTo>
                    <a:cubicBezTo>
                      <a:pt x="437" y="52"/>
                      <a:pt x="437" y="52"/>
                      <a:pt x="437" y="52"/>
                    </a:cubicBezTo>
                    <a:cubicBezTo>
                      <a:pt x="451" y="52"/>
                      <a:pt x="463" y="40"/>
                      <a:pt x="463" y="26"/>
                    </a:cubicBezTo>
                    <a:cubicBezTo>
                      <a:pt x="463" y="11"/>
                      <a:pt x="451" y="0"/>
                      <a:pt x="4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96" name="Freeform 24"/>
              <p:cNvSpPr>
                <a:spLocks noEditPoints="1"/>
              </p:cNvSpPr>
              <p:nvPr userDrawn="1"/>
            </p:nvSpPr>
            <p:spPr bwMode="auto">
              <a:xfrm>
                <a:off x="19329300" y="-1229127"/>
                <a:ext cx="176213" cy="219075"/>
              </a:xfrm>
              <a:custGeom>
                <a:avLst/>
                <a:gdLst>
                  <a:gd name="T0" fmla="*/ 342 w 349"/>
                  <a:gd name="T1" fmla="*/ 186 h 438"/>
                  <a:gd name="T2" fmla="*/ 324 w 349"/>
                  <a:gd name="T3" fmla="*/ 188 h 438"/>
                  <a:gd name="T4" fmla="*/ 223 w 349"/>
                  <a:gd name="T5" fmla="*/ 233 h 438"/>
                  <a:gd name="T6" fmla="*/ 209 w 349"/>
                  <a:gd name="T7" fmla="*/ 237 h 438"/>
                  <a:gd name="T8" fmla="*/ 156 w 349"/>
                  <a:gd name="T9" fmla="*/ 266 h 438"/>
                  <a:gd name="T10" fmla="*/ 155 w 349"/>
                  <a:gd name="T11" fmla="*/ 265 h 438"/>
                  <a:gd name="T12" fmla="*/ 142 w 349"/>
                  <a:gd name="T13" fmla="*/ 16 h 438"/>
                  <a:gd name="T14" fmla="*/ 109 w 349"/>
                  <a:gd name="T15" fmla="*/ 0 h 438"/>
                  <a:gd name="T16" fmla="*/ 109 w 349"/>
                  <a:gd name="T17" fmla="*/ 0 h 438"/>
                  <a:gd name="T18" fmla="*/ 105 w 349"/>
                  <a:gd name="T19" fmla="*/ 0 h 438"/>
                  <a:gd name="T20" fmla="*/ 47 w 349"/>
                  <a:gd name="T21" fmla="*/ 28 h 438"/>
                  <a:gd name="T22" fmla="*/ 103 w 349"/>
                  <a:gd name="T23" fmla="*/ 229 h 438"/>
                  <a:gd name="T24" fmla="*/ 104 w 349"/>
                  <a:gd name="T25" fmla="*/ 231 h 438"/>
                  <a:gd name="T26" fmla="*/ 116 w 349"/>
                  <a:gd name="T27" fmla="*/ 251 h 438"/>
                  <a:gd name="T28" fmla="*/ 119 w 349"/>
                  <a:gd name="T29" fmla="*/ 255 h 438"/>
                  <a:gd name="T30" fmla="*/ 115 w 349"/>
                  <a:gd name="T31" fmla="*/ 253 h 438"/>
                  <a:gd name="T32" fmla="*/ 30 w 349"/>
                  <a:gd name="T33" fmla="*/ 251 h 438"/>
                  <a:gd name="T34" fmla="*/ 7 w 349"/>
                  <a:gd name="T35" fmla="*/ 311 h 438"/>
                  <a:gd name="T36" fmla="*/ 81 w 349"/>
                  <a:gd name="T37" fmla="*/ 383 h 438"/>
                  <a:gd name="T38" fmla="*/ 74 w 349"/>
                  <a:gd name="T39" fmla="*/ 393 h 438"/>
                  <a:gd name="T40" fmla="*/ 74 w 349"/>
                  <a:gd name="T41" fmla="*/ 430 h 438"/>
                  <a:gd name="T42" fmla="*/ 93 w 349"/>
                  <a:gd name="T43" fmla="*/ 438 h 438"/>
                  <a:gd name="T44" fmla="*/ 112 w 349"/>
                  <a:gd name="T45" fmla="*/ 430 h 438"/>
                  <a:gd name="T46" fmla="*/ 137 w 349"/>
                  <a:gd name="T47" fmla="*/ 387 h 438"/>
                  <a:gd name="T48" fmla="*/ 155 w 349"/>
                  <a:gd name="T49" fmla="*/ 378 h 438"/>
                  <a:gd name="T50" fmla="*/ 169 w 349"/>
                  <a:gd name="T51" fmla="*/ 292 h 438"/>
                  <a:gd name="T52" fmla="*/ 223 w 349"/>
                  <a:gd name="T53" fmla="*/ 260 h 438"/>
                  <a:gd name="T54" fmla="*/ 344 w 349"/>
                  <a:gd name="T55" fmla="*/ 205 h 438"/>
                  <a:gd name="T56" fmla="*/ 342 w 349"/>
                  <a:gd name="T57" fmla="*/ 186 h 438"/>
                  <a:gd name="T58" fmla="*/ 70 w 349"/>
                  <a:gd name="T59" fmla="*/ 41 h 438"/>
                  <a:gd name="T60" fmla="*/ 105 w 349"/>
                  <a:gd name="T61" fmla="*/ 26 h 438"/>
                  <a:gd name="T62" fmla="*/ 109 w 349"/>
                  <a:gd name="T63" fmla="*/ 27 h 438"/>
                  <a:gd name="T64" fmla="*/ 122 w 349"/>
                  <a:gd name="T65" fmla="*/ 33 h 438"/>
                  <a:gd name="T66" fmla="*/ 134 w 349"/>
                  <a:gd name="T67" fmla="*/ 230 h 438"/>
                  <a:gd name="T68" fmla="*/ 127 w 349"/>
                  <a:gd name="T69" fmla="*/ 218 h 438"/>
                  <a:gd name="T70" fmla="*/ 126 w 349"/>
                  <a:gd name="T71" fmla="*/ 216 h 438"/>
                  <a:gd name="T72" fmla="*/ 70 w 349"/>
                  <a:gd name="T73" fmla="*/ 41 h 438"/>
                  <a:gd name="T74" fmla="*/ 33 w 349"/>
                  <a:gd name="T75" fmla="*/ 304 h 438"/>
                  <a:gd name="T76" fmla="*/ 45 w 349"/>
                  <a:gd name="T77" fmla="*/ 272 h 438"/>
                  <a:gd name="T78" fmla="*/ 104 w 349"/>
                  <a:gd name="T79" fmla="*/ 277 h 438"/>
                  <a:gd name="T80" fmla="*/ 125 w 349"/>
                  <a:gd name="T81" fmla="*/ 286 h 438"/>
                  <a:gd name="T82" fmla="*/ 108 w 349"/>
                  <a:gd name="T83" fmla="*/ 351 h 438"/>
                  <a:gd name="T84" fmla="*/ 93 w 349"/>
                  <a:gd name="T85" fmla="*/ 359 h 438"/>
                  <a:gd name="T86" fmla="*/ 33 w 349"/>
                  <a:gd name="T87" fmla="*/ 304 h 438"/>
                  <a:gd name="T88" fmla="*/ 139 w 349"/>
                  <a:gd name="T89" fmla="*/ 357 h 438"/>
                  <a:gd name="T90" fmla="*/ 133 w 349"/>
                  <a:gd name="T91" fmla="*/ 361 h 438"/>
                  <a:gd name="T92" fmla="*/ 133 w 349"/>
                  <a:gd name="T93" fmla="*/ 360 h 438"/>
                  <a:gd name="T94" fmla="*/ 147 w 349"/>
                  <a:gd name="T95" fmla="*/ 309 h 438"/>
                  <a:gd name="T96" fmla="*/ 139 w 349"/>
                  <a:gd name="T97" fmla="*/ 357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9" h="438">
                    <a:moveTo>
                      <a:pt x="342" y="186"/>
                    </a:moveTo>
                    <a:cubicBezTo>
                      <a:pt x="337" y="182"/>
                      <a:pt x="328" y="183"/>
                      <a:pt x="324" y="188"/>
                    </a:cubicBezTo>
                    <a:cubicBezTo>
                      <a:pt x="309" y="207"/>
                      <a:pt x="269" y="249"/>
                      <a:pt x="223" y="233"/>
                    </a:cubicBezTo>
                    <a:cubicBezTo>
                      <a:pt x="218" y="231"/>
                      <a:pt x="212" y="233"/>
                      <a:pt x="209" y="237"/>
                    </a:cubicBezTo>
                    <a:cubicBezTo>
                      <a:pt x="187" y="263"/>
                      <a:pt x="169" y="267"/>
                      <a:pt x="156" y="266"/>
                    </a:cubicBezTo>
                    <a:cubicBezTo>
                      <a:pt x="156" y="266"/>
                      <a:pt x="155" y="266"/>
                      <a:pt x="155" y="265"/>
                    </a:cubicBezTo>
                    <a:cubicBezTo>
                      <a:pt x="171" y="175"/>
                      <a:pt x="176" y="57"/>
                      <a:pt x="142" y="16"/>
                    </a:cubicBezTo>
                    <a:cubicBezTo>
                      <a:pt x="133" y="6"/>
                      <a:pt x="122" y="0"/>
                      <a:pt x="109" y="0"/>
                    </a:cubicBezTo>
                    <a:cubicBezTo>
                      <a:pt x="109" y="0"/>
                      <a:pt x="109" y="0"/>
                      <a:pt x="109" y="0"/>
                    </a:cubicBezTo>
                    <a:cubicBezTo>
                      <a:pt x="108" y="0"/>
                      <a:pt x="107" y="0"/>
                      <a:pt x="105" y="0"/>
                    </a:cubicBezTo>
                    <a:cubicBezTo>
                      <a:pt x="77" y="0"/>
                      <a:pt x="58" y="10"/>
                      <a:pt x="47" y="28"/>
                    </a:cubicBezTo>
                    <a:cubicBezTo>
                      <a:pt x="27" y="64"/>
                      <a:pt x="46" y="132"/>
                      <a:pt x="103" y="229"/>
                    </a:cubicBezTo>
                    <a:cubicBezTo>
                      <a:pt x="104" y="231"/>
                      <a:pt x="104" y="231"/>
                      <a:pt x="104" y="231"/>
                    </a:cubicBezTo>
                    <a:cubicBezTo>
                      <a:pt x="108" y="237"/>
                      <a:pt x="112" y="244"/>
                      <a:pt x="116" y="251"/>
                    </a:cubicBezTo>
                    <a:cubicBezTo>
                      <a:pt x="117" y="252"/>
                      <a:pt x="118" y="253"/>
                      <a:pt x="119" y="255"/>
                    </a:cubicBezTo>
                    <a:cubicBezTo>
                      <a:pt x="117" y="254"/>
                      <a:pt x="116" y="254"/>
                      <a:pt x="115" y="253"/>
                    </a:cubicBezTo>
                    <a:cubicBezTo>
                      <a:pt x="89" y="241"/>
                      <a:pt x="60" y="228"/>
                      <a:pt x="30" y="251"/>
                    </a:cubicBezTo>
                    <a:cubicBezTo>
                      <a:pt x="8" y="266"/>
                      <a:pt x="0" y="287"/>
                      <a:pt x="7" y="311"/>
                    </a:cubicBezTo>
                    <a:cubicBezTo>
                      <a:pt x="16" y="341"/>
                      <a:pt x="47" y="370"/>
                      <a:pt x="81" y="383"/>
                    </a:cubicBezTo>
                    <a:cubicBezTo>
                      <a:pt x="77" y="390"/>
                      <a:pt x="75" y="392"/>
                      <a:pt x="74" y="393"/>
                    </a:cubicBezTo>
                    <a:cubicBezTo>
                      <a:pt x="64" y="403"/>
                      <a:pt x="64" y="420"/>
                      <a:pt x="74" y="430"/>
                    </a:cubicBezTo>
                    <a:cubicBezTo>
                      <a:pt x="80" y="435"/>
                      <a:pt x="86" y="438"/>
                      <a:pt x="93" y="438"/>
                    </a:cubicBezTo>
                    <a:cubicBezTo>
                      <a:pt x="100" y="438"/>
                      <a:pt x="107" y="435"/>
                      <a:pt x="112" y="430"/>
                    </a:cubicBezTo>
                    <a:cubicBezTo>
                      <a:pt x="121" y="421"/>
                      <a:pt x="129" y="407"/>
                      <a:pt x="137" y="387"/>
                    </a:cubicBezTo>
                    <a:cubicBezTo>
                      <a:pt x="144" y="385"/>
                      <a:pt x="150" y="382"/>
                      <a:pt x="155" y="378"/>
                    </a:cubicBezTo>
                    <a:cubicBezTo>
                      <a:pt x="188" y="354"/>
                      <a:pt x="179" y="317"/>
                      <a:pt x="169" y="292"/>
                    </a:cubicBezTo>
                    <a:cubicBezTo>
                      <a:pt x="188" y="289"/>
                      <a:pt x="206" y="279"/>
                      <a:pt x="223" y="260"/>
                    </a:cubicBezTo>
                    <a:cubicBezTo>
                      <a:pt x="264" y="270"/>
                      <a:pt x="308" y="250"/>
                      <a:pt x="344" y="205"/>
                    </a:cubicBezTo>
                    <a:cubicBezTo>
                      <a:pt x="349" y="199"/>
                      <a:pt x="348" y="191"/>
                      <a:pt x="342" y="186"/>
                    </a:cubicBezTo>
                    <a:close/>
                    <a:moveTo>
                      <a:pt x="70" y="41"/>
                    </a:moveTo>
                    <a:cubicBezTo>
                      <a:pt x="72" y="37"/>
                      <a:pt x="79" y="26"/>
                      <a:pt x="105" y="26"/>
                    </a:cubicBezTo>
                    <a:cubicBezTo>
                      <a:pt x="106" y="26"/>
                      <a:pt x="107" y="27"/>
                      <a:pt x="109" y="27"/>
                    </a:cubicBezTo>
                    <a:cubicBezTo>
                      <a:pt x="112" y="27"/>
                      <a:pt x="117" y="27"/>
                      <a:pt x="122" y="33"/>
                    </a:cubicBezTo>
                    <a:cubicBezTo>
                      <a:pt x="142" y="58"/>
                      <a:pt x="147" y="137"/>
                      <a:pt x="134" y="230"/>
                    </a:cubicBezTo>
                    <a:cubicBezTo>
                      <a:pt x="132" y="226"/>
                      <a:pt x="129" y="222"/>
                      <a:pt x="127" y="218"/>
                    </a:cubicBezTo>
                    <a:cubicBezTo>
                      <a:pt x="126" y="216"/>
                      <a:pt x="126" y="216"/>
                      <a:pt x="126" y="216"/>
                    </a:cubicBezTo>
                    <a:cubicBezTo>
                      <a:pt x="55" y="95"/>
                      <a:pt x="63" y="53"/>
                      <a:pt x="70" y="41"/>
                    </a:cubicBezTo>
                    <a:close/>
                    <a:moveTo>
                      <a:pt x="33" y="304"/>
                    </a:moveTo>
                    <a:cubicBezTo>
                      <a:pt x="29" y="291"/>
                      <a:pt x="33" y="281"/>
                      <a:pt x="45" y="272"/>
                    </a:cubicBezTo>
                    <a:cubicBezTo>
                      <a:pt x="63" y="259"/>
                      <a:pt x="78" y="265"/>
                      <a:pt x="104" y="277"/>
                    </a:cubicBezTo>
                    <a:cubicBezTo>
                      <a:pt x="110" y="280"/>
                      <a:pt x="117" y="283"/>
                      <a:pt x="125" y="286"/>
                    </a:cubicBezTo>
                    <a:cubicBezTo>
                      <a:pt x="120" y="310"/>
                      <a:pt x="114" y="332"/>
                      <a:pt x="108" y="351"/>
                    </a:cubicBezTo>
                    <a:cubicBezTo>
                      <a:pt x="102" y="352"/>
                      <a:pt x="97" y="355"/>
                      <a:pt x="93" y="359"/>
                    </a:cubicBezTo>
                    <a:cubicBezTo>
                      <a:pt x="66" y="350"/>
                      <a:pt x="39" y="327"/>
                      <a:pt x="33" y="304"/>
                    </a:cubicBezTo>
                    <a:close/>
                    <a:moveTo>
                      <a:pt x="139" y="357"/>
                    </a:moveTo>
                    <a:cubicBezTo>
                      <a:pt x="138" y="359"/>
                      <a:pt x="135" y="360"/>
                      <a:pt x="133" y="361"/>
                    </a:cubicBezTo>
                    <a:cubicBezTo>
                      <a:pt x="133" y="360"/>
                      <a:pt x="133" y="360"/>
                      <a:pt x="133" y="360"/>
                    </a:cubicBezTo>
                    <a:cubicBezTo>
                      <a:pt x="138" y="345"/>
                      <a:pt x="142" y="327"/>
                      <a:pt x="147" y="309"/>
                    </a:cubicBezTo>
                    <a:cubicBezTo>
                      <a:pt x="157" y="338"/>
                      <a:pt x="149" y="350"/>
                      <a:pt x="139" y="3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grpSp>
          <p:nvGrpSpPr>
            <p:cNvPr id="77" name="Group 76"/>
            <p:cNvGrpSpPr/>
            <p:nvPr userDrawn="1"/>
          </p:nvGrpSpPr>
          <p:grpSpPr>
            <a:xfrm>
              <a:off x="11149540" y="7001204"/>
              <a:ext cx="231675" cy="335962"/>
              <a:chOff x="14846200" y="1255311"/>
              <a:chExt cx="525463" cy="762000"/>
            </a:xfrm>
            <a:solidFill>
              <a:schemeClr val="accent5">
                <a:lumMod val="75000"/>
              </a:schemeClr>
            </a:solidFill>
          </p:grpSpPr>
          <p:sp>
            <p:nvSpPr>
              <p:cNvPr id="87" name="Freeform 57"/>
              <p:cNvSpPr>
                <a:spLocks noEditPoints="1"/>
              </p:cNvSpPr>
              <p:nvPr userDrawn="1"/>
            </p:nvSpPr>
            <p:spPr bwMode="auto">
              <a:xfrm>
                <a:off x="14846200" y="1255311"/>
                <a:ext cx="525463" cy="762000"/>
              </a:xfrm>
              <a:custGeom>
                <a:avLst/>
                <a:gdLst>
                  <a:gd name="T0" fmla="*/ 857 w 1047"/>
                  <a:gd name="T1" fmla="*/ 396 h 1518"/>
                  <a:gd name="T2" fmla="*/ 822 w 1047"/>
                  <a:gd name="T3" fmla="*/ 383 h 1518"/>
                  <a:gd name="T4" fmla="*/ 749 w 1047"/>
                  <a:gd name="T5" fmla="*/ 0 h 1518"/>
                  <a:gd name="T6" fmla="*/ 0 w 1047"/>
                  <a:gd name="T7" fmla="*/ 72 h 1518"/>
                  <a:gd name="T8" fmla="*/ 73 w 1047"/>
                  <a:gd name="T9" fmla="*/ 1518 h 1518"/>
                  <a:gd name="T10" fmla="*/ 822 w 1047"/>
                  <a:gd name="T11" fmla="*/ 1446 h 1518"/>
                  <a:gd name="T12" fmla="*/ 960 w 1047"/>
                  <a:gd name="T13" fmla="*/ 842 h 1518"/>
                  <a:gd name="T14" fmla="*/ 1040 w 1047"/>
                  <a:gd name="T15" fmla="*/ 833 h 1518"/>
                  <a:gd name="T16" fmla="*/ 73 w 1047"/>
                  <a:gd name="T17" fmla="*/ 52 h 1518"/>
                  <a:gd name="T18" fmla="*/ 769 w 1047"/>
                  <a:gd name="T19" fmla="*/ 72 h 1518"/>
                  <a:gd name="T20" fmla="*/ 53 w 1047"/>
                  <a:gd name="T21" fmla="*/ 180 h 1518"/>
                  <a:gd name="T22" fmla="*/ 73 w 1047"/>
                  <a:gd name="T23" fmla="*/ 52 h 1518"/>
                  <a:gd name="T24" fmla="*/ 73 w 1047"/>
                  <a:gd name="T25" fmla="*/ 1466 h 1518"/>
                  <a:gd name="T26" fmla="*/ 53 w 1047"/>
                  <a:gd name="T27" fmla="*/ 1338 h 1518"/>
                  <a:gd name="T28" fmla="*/ 411 w 1047"/>
                  <a:gd name="T29" fmla="*/ 1383 h 1518"/>
                  <a:gd name="T30" fmla="*/ 769 w 1047"/>
                  <a:gd name="T31" fmla="*/ 1338 h 1518"/>
                  <a:gd name="T32" fmla="*/ 749 w 1047"/>
                  <a:gd name="T33" fmla="*/ 1466 h 1518"/>
                  <a:gd name="T34" fmla="*/ 53 w 1047"/>
                  <a:gd name="T35" fmla="*/ 1286 h 1518"/>
                  <a:gd name="T36" fmla="*/ 769 w 1047"/>
                  <a:gd name="T37" fmla="*/ 232 h 1518"/>
                  <a:gd name="T38" fmla="*/ 535 w 1047"/>
                  <a:gd name="T39" fmla="*/ 631 h 1518"/>
                  <a:gd name="T40" fmla="*/ 376 w 1047"/>
                  <a:gd name="T41" fmla="*/ 695 h 1518"/>
                  <a:gd name="T42" fmla="*/ 363 w 1047"/>
                  <a:gd name="T43" fmla="*/ 730 h 1518"/>
                  <a:gd name="T44" fmla="*/ 480 w 1047"/>
                  <a:gd name="T45" fmla="*/ 971 h 1518"/>
                  <a:gd name="T46" fmla="*/ 500 w 1047"/>
                  <a:gd name="T47" fmla="*/ 970 h 1518"/>
                  <a:gd name="T48" fmla="*/ 526 w 1047"/>
                  <a:gd name="T49" fmla="*/ 1112 h 1518"/>
                  <a:gd name="T50" fmla="*/ 592 w 1047"/>
                  <a:gd name="T51" fmla="*/ 1180 h 1518"/>
                  <a:gd name="T52" fmla="*/ 707 w 1047"/>
                  <a:gd name="T53" fmla="*/ 1078 h 1518"/>
                  <a:gd name="T54" fmla="*/ 769 w 1047"/>
                  <a:gd name="T55" fmla="*/ 863 h 1518"/>
                  <a:gd name="T56" fmla="*/ 556 w 1047"/>
                  <a:gd name="T57" fmla="*/ 945 h 1518"/>
                  <a:gd name="T58" fmla="*/ 659 w 1047"/>
                  <a:gd name="T59" fmla="*/ 1099 h 1518"/>
                  <a:gd name="T60" fmla="*/ 578 w 1047"/>
                  <a:gd name="T61" fmla="*/ 1125 h 1518"/>
                  <a:gd name="T62" fmla="*/ 556 w 1047"/>
                  <a:gd name="T63" fmla="*/ 945 h 1518"/>
                  <a:gd name="T64" fmla="*/ 503 w 1047"/>
                  <a:gd name="T65" fmla="*/ 912 h 1518"/>
                  <a:gd name="T66" fmla="*/ 513 w 1047"/>
                  <a:gd name="T67" fmla="*/ 691 h 1518"/>
                  <a:gd name="T68" fmla="*/ 594 w 1047"/>
                  <a:gd name="T69" fmla="*/ 870 h 1518"/>
                  <a:gd name="T70" fmla="*/ 640 w 1047"/>
                  <a:gd name="T71" fmla="*/ 843 h 1518"/>
                  <a:gd name="T72" fmla="*/ 564 w 1047"/>
                  <a:gd name="T73" fmla="*/ 675 h 1518"/>
                  <a:gd name="T74" fmla="*/ 977 w 1047"/>
                  <a:gd name="T75" fmla="*/ 789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7" h="1518">
                    <a:moveTo>
                      <a:pt x="1043" y="807"/>
                    </a:moveTo>
                    <a:cubicBezTo>
                      <a:pt x="857" y="396"/>
                      <a:pt x="857" y="396"/>
                      <a:pt x="857" y="396"/>
                    </a:cubicBezTo>
                    <a:cubicBezTo>
                      <a:pt x="853" y="387"/>
                      <a:pt x="845" y="382"/>
                      <a:pt x="836" y="381"/>
                    </a:cubicBezTo>
                    <a:cubicBezTo>
                      <a:pt x="831" y="380"/>
                      <a:pt x="826" y="381"/>
                      <a:pt x="822" y="383"/>
                    </a:cubicBezTo>
                    <a:cubicBezTo>
                      <a:pt x="822" y="72"/>
                      <a:pt x="822" y="72"/>
                      <a:pt x="822" y="72"/>
                    </a:cubicBezTo>
                    <a:cubicBezTo>
                      <a:pt x="822" y="32"/>
                      <a:pt x="789" y="0"/>
                      <a:pt x="749" y="0"/>
                    </a:cubicBezTo>
                    <a:cubicBezTo>
                      <a:pt x="73" y="0"/>
                      <a:pt x="73" y="0"/>
                      <a:pt x="73" y="0"/>
                    </a:cubicBezTo>
                    <a:cubicBezTo>
                      <a:pt x="33" y="0"/>
                      <a:pt x="0" y="32"/>
                      <a:pt x="0" y="72"/>
                    </a:cubicBezTo>
                    <a:cubicBezTo>
                      <a:pt x="0" y="1446"/>
                      <a:pt x="0" y="1446"/>
                      <a:pt x="0" y="1446"/>
                    </a:cubicBezTo>
                    <a:cubicBezTo>
                      <a:pt x="0" y="1486"/>
                      <a:pt x="33" y="1518"/>
                      <a:pt x="73" y="1518"/>
                    </a:cubicBezTo>
                    <a:cubicBezTo>
                      <a:pt x="749" y="1518"/>
                      <a:pt x="749" y="1518"/>
                      <a:pt x="749" y="1518"/>
                    </a:cubicBezTo>
                    <a:cubicBezTo>
                      <a:pt x="789" y="1518"/>
                      <a:pt x="822" y="1486"/>
                      <a:pt x="822" y="1446"/>
                    </a:cubicBezTo>
                    <a:cubicBezTo>
                      <a:pt x="822" y="854"/>
                      <a:pt x="822" y="854"/>
                      <a:pt x="822" y="854"/>
                    </a:cubicBezTo>
                    <a:cubicBezTo>
                      <a:pt x="865" y="847"/>
                      <a:pt x="913" y="842"/>
                      <a:pt x="960" y="842"/>
                    </a:cubicBezTo>
                    <a:cubicBezTo>
                      <a:pt x="980" y="842"/>
                      <a:pt x="999" y="842"/>
                      <a:pt x="1016" y="844"/>
                    </a:cubicBezTo>
                    <a:cubicBezTo>
                      <a:pt x="1026" y="845"/>
                      <a:pt x="1035" y="841"/>
                      <a:pt x="1040" y="833"/>
                    </a:cubicBezTo>
                    <a:cubicBezTo>
                      <a:pt x="1046" y="825"/>
                      <a:pt x="1047" y="816"/>
                      <a:pt x="1043" y="807"/>
                    </a:cubicBezTo>
                    <a:close/>
                    <a:moveTo>
                      <a:pt x="73" y="52"/>
                    </a:moveTo>
                    <a:cubicBezTo>
                      <a:pt x="749" y="52"/>
                      <a:pt x="749" y="52"/>
                      <a:pt x="749" y="52"/>
                    </a:cubicBezTo>
                    <a:cubicBezTo>
                      <a:pt x="760" y="52"/>
                      <a:pt x="769" y="61"/>
                      <a:pt x="769" y="72"/>
                    </a:cubicBezTo>
                    <a:cubicBezTo>
                      <a:pt x="769" y="180"/>
                      <a:pt x="769" y="180"/>
                      <a:pt x="769" y="180"/>
                    </a:cubicBezTo>
                    <a:cubicBezTo>
                      <a:pt x="53" y="180"/>
                      <a:pt x="53" y="180"/>
                      <a:pt x="53" y="180"/>
                    </a:cubicBezTo>
                    <a:cubicBezTo>
                      <a:pt x="53" y="72"/>
                      <a:pt x="53" y="72"/>
                      <a:pt x="53" y="72"/>
                    </a:cubicBezTo>
                    <a:cubicBezTo>
                      <a:pt x="53" y="61"/>
                      <a:pt x="62" y="52"/>
                      <a:pt x="73" y="52"/>
                    </a:cubicBezTo>
                    <a:close/>
                    <a:moveTo>
                      <a:pt x="749" y="1466"/>
                    </a:moveTo>
                    <a:cubicBezTo>
                      <a:pt x="73" y="1466"/>
                      <a:pt x="73" y="1466"/>
                      <a:pt x="73" y="1466"/>
                    </a:cubicBezTo>
                    <a:cubicBezTo>
                      <a:pt x="62" y="1466"/>
                      <a:pt x="53" y="1457"/>
                      <a:pt x="53" y="1446"/>
                    </a:cubicBezTo>
                    <a:cubicBezTo>
                      <a:pt x="53" y="1338"/>
                      <a:pt x="53" y="1338"/>
                      <a:pt x="53" y="1338"/>
                    </a:cubicBezTo>
                    <a:cubicBezTo>
                      <a:pt x="362" y="1338"/>
                      <a:pt x="362" y="1338"/>
                      <a:pt x="362" y="1338"/>
                    </a:cubicBezTo>
                    <a:cubicBezTo>
                      <a:pt x="365" y="1363"/>
                      <a:pt x="385" y="1383"/>
                      <a:pt x="411" y="1383"/>
                    </a:cubicBezTo>
                    <a:cubicBezTo>
                      <a:pt x="437" y="1383"/>
                      <a:pt x="458" y="1363"/>
                      <a:pt x="460" y="1338"/>
                    </a:cubicBezTo>
                    <a:cubicBezTo>
                      <a:pt x="769" y="1338"/>
                      <a:pt x="769" y="1338"/>
                      <a:pt x="769" y="1338"/>
                    </a:cubicBezTo>
                    <a:cubicBezTo>
                      <a:pt x="769" y="1446"/>
                      <a:pt x="769" y="1446"/>
                      <a:pt x="769" y="1446"/>
                    </a:cubicBezTo>
                    <a:cubicBezTo>
                      <a:pt x="769" y="1457"/>
                      <a:pt x="760" y="1466"/>
                      <a:pt x="749" y="1466"/>
                    </a:cubicBezTo>
                    <a:close/>
                    <a:moveTo>
                      <a:pt x="769" y="1286"/>
                    </a:moveTo>
                    <a:cubicBezTo>
                      <a:pt x="53" y="1286"/>
                      <a:pt x="53" y="1286"/>
                      <a:pt x="53" y="1286"/>
                    </a:cubicBezTo>
                    <a:cubicBezTo>
                      <a:pt x="53" y="232"/>
                      <a:pt x="53" y="232"/>
                      <a:pt x="53" y="232"/>
                    </a:cubicBezTo>
                    <a:cubicBezTo>
                      <a:pt x="769" y="232"/>
                      <a:pt x="769" y="232"/>
                      <a:pt x="769" y="232"/>
                    </a:cubicBezTo>
                    <a:cubicBezTo>
                      <a:pt x="769" y="443"/>
                      <a:pt x="769" y="443"/>
                      <a:pt x="769" y="443"/>
                    </a:cubicBezTo>
                    <a:cubicBezTo>
                      <a:pt x="684" y="537"/>
                      <a:pt x="576" y="606"/>
                      <a:pt x="535" y="631"/>
                    </a:cubicBezTo>
                    <a:cubicBezTo>
                      <a:pt x="528" y="629"/>
                      <a:pt x="522" y="629"/>
                      <a:pt x="516" y="632"/>
                    </a:cubicBezTo>
                    <a:cubicBezTo>
                      <a:pt x="376" y="695"/>
                      <a:pt x="376" y="695"/>
                      <a:pt x="376" y="695"/>
                    </a:cubicBezTo>
                    <a:cubicBezTo>
                      <a:pt x="370" y="698"/>
                      <a:pt x="365" y="703"/>
                      <a:pt x="362" y="710"/>
                    </a:cubicBezTo>
                    <a:cubicBezTo>
                      <a:pt x="360" y="716"/>
                      <a:pt x="360" y="724"/>
                      <a:pt x="363" y="730"/>
                    </a:cubicBezTo>
                    <a:cubicBezTo>
                      <a:pt x="466" y="957"/>
                      <a:pt x="466" y="957"/>
                      <a:pt x="466" y="957"/>
                    </a:cubicBezTo>
                    <a:cubicBezTo>
                      <a:pt x="469" y="964"/>
                      <a:pt x="474" y="969"/>
                      <a:pt x="480" y="971"/>
                    </a:cubicBezTo>
                    <a:cubicBezTo>
                      <a:pt x="483" y="972"/>
                      <a:pt x="486" y="973"/>
                      <a:pt x="490" y="973"/>
                    </a:cubicBezTo>
                    <a:cubicBezTo>
                      <a:pt x="493" y="973"/>
                      <a:pt x="497" y="972"/>
                      <a:pt x="500" y="970"/>
                    </a:cubicBezTo>
                    <a:cubicBezTo>
                      <a:pt x="508" y="967"/>
                      <a:pt x="508" y="967"/>
                      <a:pt x="508" y="967"/>
                    </a:cubicBezTo>
                    <a:cubicBezTo>
                      <a:pt x="518" y="1003"/>
                      <a:pt x="534" y="1067"/>
                      <a:pt x="526" y="1112"/>
                    </a:cubicBezTo>
                    <a:cubicBezTo>
                      <a:pt x="522" y="1135"/>
                      <a:pt x="530" y="1150"/>
                      <a:pt x="537" y="1159"/>
                    </a:cubicBezTo>
                    <a:cubicBezTo>
                      <a:pt x="545" y="1168"/>
                      <a:pt x="561" y="1180"/>
                      <a:pt x="592" y="1180"/>
                    </a:cubicBezTo>
                    <a:cubicBezTo>
                      <a:pt x="630" y="1180"/>
                      <a:pt x="682" y="1160"/>
                      <a:pt x="703" y="1128"/>
                    </a:cubicBezTo>
                    <a:cubicBezTo>
                      <a:pt x="713" y="1112"/>
                      <a:pt x="715" y="1094"/>
                      <a:pt x="707" y="1078"/>
                    </a:cubicBezTo>
                    <a:cubicBezTo>
                      <a:pt x="686" y="1032"/>
                      <a:pt x="665" y="929"/>
                      <a:pt x="658" y="892"/>
                    </a:cubicBezTo>
                    <a:cubicBezTo>
                      <a:pt x="681" y="885"/>
                      <a:pt x="721" y="874"/>
                      <a:pt x="769" y="863"/>
                    </a:cubicBezTo>
                    <a:lnTo>
                      <a:pt x="769" y="1286"/>
                    </a:lnTo>
                    <a:close/>
                    <a:moveTo>
                      <a:pt x="556" y="945"/>
                    </a:moveTo>
                    <a:cubicBezTo>
                      <a:pt x="610" y="921"/>
                      <a:pt x="610" y="921"/>
                      <a:pt x="610" y="921"/>
                    </a:cubicBezTo>
                    <a:cubicBezTo>
                      <a:pt x="619" y="968"/>
                      <a:pt x="638" y="1054"/>
                      <a:pt x="659" y="1099"/>
                    </a:cubicBezTo>
                    <a:cubicBezTo>
                      <a:pt x="654" y="1109"/>
                      <a:pt x="622" y="1127"/>
                      <a:pt x="592" y="1127"/>
                    </a:cubicBezTo>
                    <a:cubicBezTo>
                      <a:pt x="583" y="1127"/>
                      <a:pt x="579" y="1126"/>
                      <a:pt x="578" y="1125"/>
                    </a:cubicBezTo>
                    <a:cubicBezTo>
                      <a:pt x="577" y="1124"/>
                      <a:pt x="577" y="1123"/>
                      <a:pt x="578" y="1121"/>
                    </a:cubicBezTo>
                    <a:cubicBezTo>
                      <a:pt x="588" y="1062"/>
                      <a:pt x="568" y="984"/>
                      <a:pt x="556" y="945"/>
                    </a:cubicBezTo>
                    <a:close/>
                    <a:moveTo>
                      <a:pt x="594" y="870"/>
                    </a:moveTo>
                    <a:cubicBezTo>
                      <a:pt x="503" y="912"/>
                      <a:pt x="503" y="912"/>
                      <a:pt x="503" y="912"/>
                    </a:cubicBezTo>
                    <a:cubicBezTo>
                      <a:pt x="422" y="732"/>
                      <a:pt x="422" y="732"/>
                      <a:pt x="422" y="732"/>
                    </a:cubicBezTo>
                    <a:cubicBezTo>
                      <a:pt x="513" y="691"/>
                      <a:pt x="513" y="691"/>
                      <a:pt x="513" y="691"/>
                    </a:cubicBezTo>
                    <a:cubicBezTo>
                      <a:pt x="544" y="759"/>
                      <a:pt x="544" y="759"/>
                      <a:pt x="544" y="759"/>
                    </a:cubicBezTo>
                    <a:lnTo>
                      <a:pt x="594" y="870"/>
                    </a:lnTo>
                    <a:close/>
                    <a:moveTo>
                      <a:pt x="960" y="789"/>
                    </a:moveTo>
                    <a:cubicBezTo>
                      <a:pt x="824" y="789"/>
                      <a:pt x="692" y="826"/>
                      <a:pt x="640" y="843"/>
                    </a:cubicBezTo>
                    <a:cubicBezTo>
                      <a:pt x="568" y="684"/>
                      <a:pt x="568" y="684"/>
                      <a:pt x="568" y="684"/>
                    </a:cubicBezTo>
                    <a:cubicBezTo>
                      <a:pt x="564" y="675"/>
                      <a:pt x="564" y="675"/>
                      <a:pt x="564" y="675"/>
                    </a:cubicBezTo>
                    <a:cubicBezTo>
                      <a:pt x="613" y="646"/>
                      <a:pt x="735" y="566"/>
                      <a:pt x="827" y="457"/>
                    </a:cubicBezTo>
                    <a:cubicBezTo>
                      <a:pt x="977" y="789"/>
                      <a:pt x="977" y="789"/>
                      <a:pt x="977" y="789"/>
                    </a:cubicBezTo>
                    <a:cubicBezTo>
                      <a:pt x="971" y="789"/>
                      <a:pt x="966" y="789"/>
                      <a:pt x="960" y="7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nvGrpSpPr>
              <p:cNvPr id="88" name="Group 87"/>
              <p:cNvGrpSpPr/>
              <p:nvPr userDrawn="1"/>
            </p:nvGrpSpPr>
            <p:grpSpPr>
              <a:xfrm>
                <a:off x="14921447" y="1427713"/>
                <a:ext cx="153453" cy="154372"/>
                <a:chOff x="14868107" y="1392153"/>
                <a:chExt cx="265113" cy="266700"/>
              </a:xfrm>
              <a:grpFill/>
            </p:grpSpPr>
            <p:sp>
              <p:nvSpPr>
                <p:cNvPr id="89" name="Freeform 83"/>
                <p:cNvSpPr>
                  <a:spLocks noEditPoints="1"/>
                </p:cNvSpPr>
                <p:nvPr userDrawn="1"/>
              </p:nvSpPr>
              <p:spPr bwMode="auto">
                <a:xfrm>
                  <a:off x="14868107" y="1392153"/>
                  <a:ext cx="265113" cy="266700"/>
                </a:xfrm>
                <a:custGeom>
                  <a:avLst/>
                  <a:gdLst>
                    <a:gd name="T0" fmla="*/ 265 w 531"/>
                    <a:gd name="T1" fmla="*/ 0 h 531"/>
                    <a:gd name="T2" fmla="*/ 0 w 531"/>
                    <a:gd name="T3" fmla="*/ 266 h 531"/>
                    <a:gd name="T4" fmla="*/ 265 w 531"/>
                    <a:gd name="T5" fmla="*/ 531 h 531"/>
                    <a:gd name="T6" fmla="*/ 531 w 531"/>
                    <a:gd name="T7" fmla="*/ 266 h 531"/>
                    <a:gd name="T8" fmla="*/ 265 w 531"/>
                    <a:gd name="T9" fmla="*/ 0 h 531"/>
                    <a:gd name="T10" fmla="*/ 265 w 531"/>
                    <a:gd name="T11" fmla="*/ 479 h 531"/>
                    <a:gd name="T12" fmla="*/ 52 w 531"/>
                    <a:gd name="T13" fmla="*/ 266 h 531"/>
                    <a:gd name="T14" fmla="*/ 265 w 531"/>
                    <a:gd name="T15" fmla="*/ 53 h 531"/>
                    <a:gd name="T16" fmla="*/ 478 w 531"/>
                    <a:gd name="T17" fmla="*/ 266 h 531"/>
                    <a:gd name="T18" fmla="*/ 265 w 531"/>
                    <a:gd name="T19" fmla="*/ 479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1" h="531">
                      <a:moveTo>
                        <a:pt x="265" y="0"/>
                      </a:moveTo>
                      <a:cubicBezTo>
                        <a:pt x="119" y="0"/>
                        <a:pt x="0" y="119"/>
                        <a:pt x="0" y="266"/>
                      </a:cubicBezTo>
                      <a:cubicBezTo>
                        <a:pt x="0" y="412"/>
                        <a:pt x="119" y="531"/>
                        <a:pt x="265" y="531"/>
                      </a:cubicBezTo>
                      <a:cubicBezTo>
                        <a:pt x="412" y="531"/>
                        <a:pt x="531" y="412"/>
                        <a:pt x="531" y="266"/>
                      </a:cubicBezTo>
                      <a:cubicBezTo>
                        <a:pt x="531" y="119"/>
                        <a:pt x="412" y="0"/>
                        <a:pt x="265" y="0"/>
                      </a:cubicBezTo>
                      <a:close/>
                      <a:moveTo>
                        <a:pt x="265" y="479"/>
                      </a:moveTo>
                      <a:cubicBezTo>
                        <a:pt x="148" y="479"/>
                        <a:pt x="52" y="383"/>
                        <a:pt x="52" y="266"/>
                      </a:cubicBezTo>
                      <a:cubicBezTo>
                        <a:pt x="52" y="148"/>
                        <a:pt x="148" y="53"/>
                        <a:pt x="265" y="53"/>
                      </a:cubicBezTo>
                      <a:cubicBezTo>
                        <a:pt x="383" y="53"/>
                        <a:pt x="478" y="148"/>
                        <a:pt x="478" y="266"/>
                      </a:cubicBezTo>
                      <a:cubicBezTo>
                        <a:pt x="478" y="383"/>
                        <a:pt x="383" y="479"/>
                        <a:pt x="265" y="4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90" name="Freeform 84"/>
                <p:cNvSpPr>
                  <a:spLocks/>
                </p:cNvSpPr>
                <p:nvPr userDrawn="1"/>
              </p:nvSpPr>
              <p:spPr bwMode="auto">
                <a:xfrm>
                  <a:off x="14947482" y="1430253"/>
                  <a:ext cx="106363" cy="190500"/>
                </a:xfrm>
                <a:custGeom>
                  <a:avLst/>
                  <a:gdLst>
                    <a:gd name="T0" fmla="*/ 121 w 212"/>
                    <a:gd name="T1" fmla="*/ 160 h 381"/>
                    <a:gd name="T2" fmla="*/ 70 w 212"/>
                    <a:gd name="T3" fmla="*/ 124 h 381"/>
                    <a:gd name="T4" fmla="*/ 114 w 212"/>
                    <a:gd name="T5" fmla="*/ 102 h 381"/>
                    <a:gd name="T6" fmla="*/ 160 w 212"/>
                    <a:gd name="T7" fmla="*/ 113 h 381"/>
                    <a:gd name="T8" fmla="*/ 196 w 212"/>
                    <a:gd name="T9" fmla="*/ 104 h 381"/>
                    <a:gd name="T10" fmla="*/ 187 w 212"/>
                    <a:gd name="T11" fmla="*/ 68 h 381"/>
                    <a:gd name="T12" fmla="*/ 133 w 212"/>
                    <a:gd name="T13" fmla="*/ 51 h 381"/>
                    <a:gd name="T14" fmla="*/ 133 w 212"/>
                    <a:gd name="T15" fmla="*/ 26 h 381"/>
                    <a:gd name="T16" fmla="*/ 107 w 212"/>
                    <a:gd name="T17" fmla="*/ 0 h 381"/>
                    <a:gd name="T18" fmla="*/ 81 w 212"/>
                    <a:gd name="T19" fmla="*/ 26 h 381"/>
                    <a:gd name="T20" fmla="*/ 81 w 212"/>
                    <a:gd name="T21" fmla="*/ 53 h 381"/>
                    <a:gd name="T22" fmla="*/ 17 w 212"/>
                    <a:gd name="T23" fmla="*/ 124 h 381"/>
                    <a:gd name="T24" fmla="*/ 106 w 212"/>
                    <a:gd name="T25" fmla="*/ 210 h 381"/>
                    <a:gd name="T26" fmla="*/ 159 w 212"/>
                    <a:gd name="T27" fmla="*/ 250 h 381"/>
                    <a:gd name="T28" fmla="*/ 107 w 212"/>
                    <a:gd name="T29" fmla="*/ 279 h 381"/>
                    <a:gd name="T30" fmla="*/ 48 w 212"/>
                    <a:gd name="T31" fmla="*/ 256 h 381"/>
                    <a:gd name="T32" fmla="*/ 10 w 212"/>
                    <a:gd name="T33" fmla="*/ 257 h 381"/>
                    <a:gd name="T34" fmla="*/ 11 w 212"/>
                    <a:gd name="T35" fmla="*/ 294 h 381"/>
                    <a:gd name="T36" fmla="*/ 81 w 212"/>
                    <a:gd name="T37" fmla="*/ 329 h 381"/>
                    <a:gd name="T38" fmla="*/ 81 w 212"/>
                    <a:gd name="T39" fmla="*/ 355 h 381"/>
                    <a:gd name="T40" fmla="*/ 107 w 212"/>
                    <a:gd name="T41" fmla="*/ 381 h 381"/>
                    <a:gd name="T42" fmla="*/ 133 w 212"/>
                    <a:gd name="T43" fmla="*/ 355 h 381"/>
                    <a:gd name="T44" fmla="*/ 133 w 212"/>
                    <a:gd name="T45" fmla="*/ 330 h 381"/>
                    <a:gd name="T46" fmla="*/ 211 w 212"/>
                    <a:gd name="T47" fmla="*/ 251 h 381"/>
                    <a:gd name="T48" fmla="*/ 121 w 212"/>
                    <a:gd name="T49" fmla="*/ 16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2" h="381">
                      <a:moveTo>
                        <a:pt x="121" y="160"/>
                      </a:moveTo>
                      <a:cubicBezTo>
                        <a:pt x="82" y="148"/>
                        <a:pt x="70" y="142"/>
                        <a:pt x="70" y="124"/>
                      </a:cubicBezTo>
                      <a:cubicBezTo>
                        <a:pt x="70" y="109"/>
                        <a:pt x="92" y="102"/>
                        <a:pt x="114" y="102"/>
                      </a:cubicBezTo>
                      <a:cubicBezTo>
                        <a:pt x="130" y="102"/>
                        <a:pt x="148" y="106"/>
                        <a:pt x="160" y="113"/>
                      </a:cubicBezTo>
                      <a:cubicBezTo>
                        <a:pt x="172" y="121"/>
                        <a:pt x="188" y="117"/>
                        <a:pt x="196" y="104"/>
                      </a:cubicBezTo>
                      <a:cubicBezTo>
                        <a:pt x="203" y="92"/>
                        <a:pt x="199" y="75"/>
                        <a:pt x="187" y="68"/>
                      </a:cubicBezTo>
                      <a:cubicBezTo>
                        <a:pt x="172" y="59"/>
                        <a:pt x="153" y="53"/>
                        <a:pt x="133" y="51"/>
                      </a:cubicBezTo>
                      <a:cubicBezTo>
                        <a:pt x="133" y="26"/>
                        <a:pt x="133" y="26"/>
                        <a:pt x="133" y="26"/>
                      </a:cubicBezTo>
                      <a:cubicBezTo>
                        <a:pt x="133" y="12"/>
                        <a:pt x="122" y="0"/>
                        <a:pt x="107" y="0"/>
                      </a:cubicBezTo>
                      <a:cubicBezTo>
                        <a:pt x="93" y="0"/>
                        <a:pt x="81" y="12"/>
                        <a:pt x="81" y="26"/>
                      </a:cubicBezTo>
                      <a:cubicBezTo>
                        <a:pt x="81" y="53"/>
                        <a:pt x="81" y="53"/>
                        <a:pt x="81" y="53"/>
                      </a:cubicBezTo>
                      <a:cubicBezTo>
                        <a:pt x="37" y="63"/>
                        <a:pt x="17" y="94"/>
                        <a:pt x="17" y="124"/>
                      </a:cubicBezTo>
                      <a:cubicBezTo>
                        <a:pt x="17" y="184"/>
                        <a:pt x="70" y="200"/>
                        <a:pt x="106" y="210"/>
                      </a:cubicBezTo>
                      <a:cubicBezTo>
                        <a:pt x="147" y="223"/>
                        <a:pt x="159" y="229"/>
                        <a:pt x="159" y="250"/>
                      </a:cubicBezTo>
                      <a:cubicBezTo>
                        <a:pt x="159" y="278"/>
                        <a:pt x="116" y="279"/>
                        <a:pt x="107" y="279"/>
                      </a:cubicBezTo>
                      <a:cubicBezTo>
                        <a:pt x="86" y="279"/>
                        <a:pt x="62" y="270"/>
                        <a:pt x="48" y="256"/>
                      </a:cubicBezTo>
                      <a:cubicBezTo>
                        <a:pt x="37" y="246"/>
                        <a:pt x="20" y="246"/>
                        <a:pt x="10" y="257"/>
                      </a:cubicBezTo>
                      <a:cubicBezTo>
                        <a:pt x="0" y="267"/>
                        <a:pt x="1" y="284"/>
                        <a:pt x="11" y="294"/>
                      </a:cubicBezTo>
                      <a:cubicBezTo>
                        <a:pt x="29" y="311"/>
                        <a:pt x="55" y="324"/>
                        <a:pt x="81" y="329"/>
                      </a:cubicBezTo>
                      <a:cubicBezTo>
                        <a:pt x="81" y="355"/>
                        <a:pt x="81" y="355"/>
                        <a:pt x="81" y="355"/>
                      </a:cubicBezTo>
                      <a:cubicBezTo>
                        <a:pt x="81" y="370"/>
                        <a:pt x="93" y="381"/>
                        <a:pt x="107" y="381"/>
                      </a:cubicBezTo>
                      <a:cubicBezTo>
                        <a:pt x="122" y="381"/>
                        <a:pt x="133" y="370"/>
                        <a:pt x="133" y="355"/>
                      </a:cubicBezTo>
                      <a:cubicBezTo>
                        <a:pt x="133" y="330"/>
                        <a:pt x="133" y="330"/>
                        <a:pt x="133" y="330"/>
                      </a:cubicBezTo>
                      <a:cubicBezTo>
                        <a:pt x="181" y="322"/>
                        <a:pt x="211" y="292"/>
                        <a:pt x="211" y="251"/>
                      </a:cubicBezTo>
                      <a:cubicBezTo>
                        <a:pt x="212" y="187"/>
                        <a:pt x="159" y="172"/>
                        <a:pt x="121"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grpSp>
        <p:grpSp>
          <p:nvGrpSpPr>
            <p:cNvPr id="78" name="Group 77"/>
            <p:cNvGrpSpPr/>
            <p:nvPr userDrawn="1"/>
          </p:nvGrpSpPr>
          <p:grpSpPr>
            <a:xfrm>
              <a:off x="10649900" y="7001962"/>
              <a:ext cx="400525" cy="335204"/>
              <a:chOff x="13249175" y="1326748"/>
              <a:chExt cx="739775" cy="619125"/>
            </a:xfrm>
            <a:solidFill>
              <a:schemeClr val="accent5">
                <a:lumMod val="75000"/>
              </a:schemeClr>
            </a:solidFill>
          </p:grpSpPr>
          <p:sp>
            <p:nvSpPr>
              <p:cNvPr id="85" name="Freeform 55"/>
              <p:cNvSpPr>
                <a:spLocks noEditPoints="1"/>
              </p:cNvSpPr>
              <p:nvPr userDrawn="1"/>
            </p:nvSpPr>
            <p:spPr bwMode="auto">
              <a:xfrm>
                <a:off x="13249175" y="1326748"/>
                <a:ext cx="739775" cy="619125"/>
              </a:xfrm>
              <a:custGeom>
                <a:avLst/>
                <a:gdLst>
                  <a:gd name="T0" fmla="*/ 1410 w 1475"/>
                  <a:gd name="T1" fmla="*/ 0 h 1232"/>
                  <a:gd name="T2" fmla="*/ 65 w 1475"/>
                  <a:gd name="T3" fmla="*/ 0 h 1232"/>
                  <a:gd name="T4" fmla="*/ 0 w 1475"/>
                  <a:gd name="T5" fmla="*/ 65 h 1232"/>
                  <a:gd name="T6" fmla="*/ 0 w 1475"/>
                  <a:gd name="T7" fmla="*/ 929 h 1232"/>
                  <a:gd name="T8" fmla="*/ 65 w 1475"/>
                  <a:gd name="T9" fmla="*/ 994 h 1232"/>
                  <a:gd name="T10" fmla="*/ 545 w 1475"/>
                  <a:gd name="T11" fmla="*/ 994 h 1232"/>
                  <a:gd name="T12" fmla="*/ 464 w 1475"/>
                  <a:gd name="T13" fmla="*/ 1187 h 1232"/>
                  <a:gd name="T14" fmla="*/ 459 w 1475"/>
                  <a:gd name="T15" fmla="*/ 1216 h 1232"/>
                  <a:gd name="T16" fmla="*/ 483 w 1475"/>
                  <a:gd name="T17" fmla="*/ 1232 h 1232"/>
                  <a:gd name="T18" fmla="*/ 992 w 1475"/>
                  <a:gd name="T19" fmla="*/ 1232 h 1232"/>
                  <a:gd name="T20" fmla="*/ 1016 w 1475"/>
                  <a:gd name="T21" fmla="*/ 1216 h 1232"/>
                  <a:gd name="T22" fmla="*/ 1011 w 1475"/>
                  <a:gd name="T23" fmla="*/ 1187 h 1232"/>
                  <a:gd name="T24" fmla="*/ 931 w 1475"/>
                  <a:gd name="T25" fmla="*/ 994 h 1232"/>
                  <a:gd name="T26" fmla="*/ 1410 w 1475"/>
                  <a:gd name="T27" fmla="*/ 994 h 1232"/>
                  <a:gd name="T28" fmla="*/ 1475 w 1475"/>
                  <a:gd name="T29" fmla="*/ 929 h 1232"/>
                  <a:gd name="T30" fmla="*/ 1475 w 1475"/>
                  <a:gd name="T31" fmla="*/ 65 h 1232"/>
                  <a:gd name="T32" fmla="*/ 1410 w 1475"/>
                  <a:gd name="T33" fmla="*/ 0 h 1232"/>
                  <a:gd name="T34" fmla="*/ 65 w 1475"/>
                  <a:gd name="T35" fmla="*/ 52 h 1232"/>
                  <a:gd name="T36" fmla="*/ 1410 w 1475"/>
                  <a:gd name="T37" fmla="*/ 52 h 1232"/>
                  <a:gd name="T38" fmla="*/ 1422 w 1475"/>
                  <a:gd name="T39" fmla="*/ 65 h 1232"/>
                  <a:gd name="T40" fmla="*/ 1422 w 1475"/>
                  <a:gd name="T41" fmla="*/ 792 h 1232"/>
                  <a:gd name="T42" fmla="*/ 53 w 1475"/>
                  <a:gd name="T43" fmla="*/ 792 h 1232"/>
                  <a:gd name="T44" fmla="*/ 53 w 1475"/>
                  <a:gd name="T45" fmla="*/ 65 h 1232"/>
                  <a:gd name="T46" fmla="*/ 65 w 1475"/>
                  <a:gd name="T47" fmla="*/ 52 h 1232"/>
                  <a:gd name="T48" fmla="*/ 939 w 1475"/>
                  <a:gd name="T49" fmla="*/ 1180 h 1232"/>
                  <a:gd name="T50" fmla="*/ 536 w 1475"/>
                  <a:gd name="T51" fmla="*/ 1180 h 1232"/>
                  <a:gd name="T52" fmla="*/ 598 w 1475"/>
                  <a:gd name="T53" fmla="*/ 994 h 1232"/>
                  <a:gd name="T54" fmla="*/ 877 w 1475"/>
                  <a:gd name="T55" fmla="*/ 994 h 1232"/>
                  <a:gd name="T56" fmla="*/ 939 w 1475"/>
                  <a:gd name="T57" fmla="*/ 1180 h 1232"/>
                  <a:gd name="T58" fmla="*/ 1410 w 1475"/>
                  <a:gd name="T59" fmla="*/ 942 h 1232"/>
                  <a:gd name="T60" fmla="*/ 1280 w 1475"/>
                  <a:gd name="T61" fmla="*/ 942 h 1232"/>
                  <a:gd name="T62" fmla="*/ 1280 w 1475"/>
                  <a:gd name="T63" fmla="*/ 920 h 1232"/>
                  <a:gd name="T64" fmla="*/ 1254 w 1475"/>
                  <a:gd name="T65" fmla="*/ 894 h 1232"/>
                  <a:gd name="T66" fmla="*/ 1227 w 1475"/>
                  <a:gd name="T67" fmla="*/ 920 h 1232"/>
                  <a:gd name="T68" fmla="*/ 1227 w 1475"/>
                  <a:gd name="T69" fmla="*/ 942 h 1232"/>
                  <a:gd name="T70" fmla="*/ 1122 w 1475"/>
                  <a:gd name="T71" fmla="*/ 942 h 1232"/>
                  <a:gd name="T72" fmla="*/ 1122 w 1475"/>
                  <a:gd name="T73" fmla="*/ 920 h 1232"/>
                  <a:gd name="T74" fmla="*/ 1096 w 1475"/>
                  <a:gd name="T75" fmla="*/ 894 h 1232"/>
                  <a:gd name="T76" fmla="*/ 1069 w 1475"/>
                  <a:gd name="T77" fmla="*/ 920 h 1232"/>
                  <a:gd name="T78" fmla="*/ 1069 w 1475"/>
                  <a:gd name="T79" fmla="*/ 942 h 1232"/>
                  <a:gd name="T80" fmla="*/ 900 w 1475"/>
                  <a:gd name="T81" fmla="*/ 942 h 1232"/>
                  <a:gd name="T82" fmla="*/ 575 w 1475"/>
                  <a:gd name="T83" fmla="*/ 942 h 1232"/>
                  <a:gd name="T84" fmla="*/ 65 w 1475"/>
                  <a:gd name="T85" fmla="*/ 942 h 1232"/>
                  <a:gd name="T86" fmla="*/ 53 w 1475"/>
                  <a:gd name="T87" fmla="*/ 929 h 1232"/>
                  <a:gd name="T88" fmla="*/ 53 w 1475"/>
                  <a:gd name="T89" fmla="*/ 844 h 1232"/>
                  <a:gd name="T90" fmla="*/ 1422 w 1475"/>
                  <a:gd name="T91" fmla="*/ 844 h 1232"/>
                  <a:gd name="T92" fmla="*/ 1422 w 1475"/>
                  <a:gd name="T93" fmla="*/ 929 h 1232"/>
                  <a:gd name="T94" fmla="*/ 1410 w 1475"/>
                  <a:gd name="T95" fmla="*/ 942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75" h="1232">
                    <a:moveTo>
                      <a:pt x="1410" y="0"/>
                    </a:moveTo>
                    <a:cubicBezTo>
                      <a:pt x="65" y="0"/>
                      <a:pt x="65" y="0"/>
                      <a:pt x="65" y="0"/>
                    </a:cubicBezTo>
                    <a:cubicBezTo>
                      <a:pt x="30" y="0"/>
                      <a:pt x="0" y="29"/>
                      <a:pt x="0" y="65"/>
                    </a:cubicBezTo>
                    <a:cubicBezTo>
                      <a:pt x="0" y="929"/>
                      <a:pt x="0" y="929"/>
                      <a:pt x="0" y="929"/>
                    </a:cubicBezTo>
                    <a:cubicBezTo>
                      <a:pt x="0" y="965"/>
                      <a:pt x="30" y="994"/>
                      <a:pt x="65" y="994"/>
                    </a:cubicBezTo>
                    <a:cubicBezTo>
                      <a:pt x="545" y="994"/>
                      <a:pt x="545" y="994"/>
                      <a:pt x="545" y="994"/>
                    </a:cubicBezTo>
                    <a:cubicBezTo>
                      <a:pt x="537" y="1042"/>
                      <a:pt x="515" y="1137"/>
                      <a:pt x="464" y="1187"/>
                    </a:cubicBezTo>
                    <a:cubicBezTo>
                      <a:pt x="457" y="1195"/>
                      <a:pt x="455" y="1206"/>
                      <a:pt x="459" y="1216"/>
                    </a:cubicBezTo>
                    <a:cubicBezTo>
                      <a:pt x="463" y="1226"/>
                      <a:pt x="472" y="1232"/>
                      <a:pt x="483" y="1232"/>
                    </a:cubicBezTo>
                    <a:cubicBezTo>
                      <a:pt x="992" y="1232"/>
                      <a:pt x="992" y="1232"/>
                      <a:pt x="992" y="1232"/>
                    </a:cubicBezTo>
                    <a:cubicBezTo>
                      <a:pt x="1003" y="1232"/>
                      <a:pt x="1012" y="1226"/>
                      <a:pt x="1016" y="1216"/>
                    </a:cubicBezTo>
                    <a:cubicBezTo>
                      <a:pt x="1021" y="1206"/>
                      <a:pt x="1018" y="1195"/>
                      <a:pt x="1011" y="1187"/>
                    </a:cubicBezTo>
                    <a:cubicBezTo>
                      <a:pt x="960" y="1137"/>
                      <a:pt x="938" y="1042"/>
                      <a:pt x="931" y="994"/>
                    </a:cubicBezTo>
                    <a:cubicBezTo>
                      <a:pt x="1410" y="994"/>
                      <a:pt x="1410" y="994"/>
                      <a:pt x="1410" y="994"/>
                    </a:cubicBezTo>
                    <a:cubicBezTo>
                      <a:pt x="1446" y="994"/>
                      <a:pt x="1475" y="965"/>
                      <a:pt x="1475" y="929"/>
                    </a:cubicBezTo>
                    <a:cubicBezTo>
                      <a:pt x="1475" y="65"/>
                      <a:pt x="1475" y="65"/>
                      <a:pt x="1475" y="65"/>
                    </a:cubicBezTo>
                    <a:cubicBezTo>
                      <a:pt x="1475" y="29"/>
                      <a:pt x="1446" y="0"/>
                      <a:pt x="1410" y="0"/>
                    </a:cubicBezTo>
                    <a:close/>
                    <a:moveTo>
                      <a:pt x="65" y="52"/>
                    </a:moveTo>
                    <a:cubicBezTo>
                      <a:pt x="1410" y="52"/>
                      <a:pt x="1410" y="52"/>
                      <a:pt x="1410" y="52"/>
                    </a:cubicBezTo>
                    <a:cubicBezTo>
                      <a:pt x="1417" y="52"/>
                      <a:pt x="1422" y="58"/>
                      <a:pt x="1422" y="65"/>
                    </a:cubicBezTo>
                    <a:cubicBezTo>
                      <a:pt x="1422" y="792"/>
                      <a:pt x="1422" y="792"/>
                      <a:pt x="1422" y="792"/>
                    </a:cubicBezTo>
                    <a:cubicBezTo>
                      <a:pt x="53" y="792"/>
                      <a:pt x="53" y="792"/>
                      <a:pt x="53" y="792"/>
                    </a:cubicBezTo>
                    <a:cubicBezTo>
                      <a:pt x="53" y="65"/>
                      <a:pt x="53" y="65"/>
                      <a:pt x="53" y="65"/>
                    </a:cubicBezTo>
                    <a:cubicBezTo>
                      <a:pt x="53" y="58"/>
                      <a:pt x="59" y="52"/>
                      <a:pt x="65" y="52"/>
                    </a:cubicBezTo>
                    <a:close/>
                    <a:moveTo>
                      <a:pt x="939" y="1180"/>
                    </a:moveTo>
                    <a:cubicBezTo>
                      <a:pt x="536" y="1180"/>
                      <a:pt x="536" y="1180"/>
                      <a:pt x="536" y="1180"/>
                    </a:cubicBezTo>
                    <a:cubicBezTo>
                      <a:pt x="576" y="1115"/>
                      <a:pt x="592" y="1034"/>
                      <a:pt x="598" y="994"/>
                    </a:cubicBezTo>
                    <a:cubicBezTo>
                      <a:pt x="877" y="994"/>
                      <a:pt x="877" y="994"/>
                      <a:pt x="877" y="994"/>
                    </a:cubicBezTo>
                    <a:cubicBezTo>
                      <a:pt x="883" y="1034"/>
                      <a:pt x="899" y="1115"/>
                      <a:pt x="939" y="1180"/>
                    </a:cubicBezTo>
                    <a:close/>
                    <a:moveTo>
                      <a:pt x="1410" y="942"/>
                    </a:moveTo>
                    <a:cubicBezTo>
                      <a:pt x="1280" y="942"/>
                      <a:pt x="1280" y="942"/>
                      <a:pt x="1280" y="942"/>
                    </a:cubicBezTo>
                    <a:cubicBezTo>
                      <a:pt x="1280" y="920"/>
                      <a:pt x="1280" y="920"/>
                      <a:pt x="1280" y="920"/>
                    </a:cubicBezTo>
                    <a:cubicBezTo>
                      <a:pt x="1280" y="906"/>
                      <a:pt x="1268" y="894"/>
                      <a:pt x="1254" y="894"/>
                    </a:cubicBezTo>
                    <a:cubicBezTo>
                      <a:pt x="1239" y="894"/>
                      <a:pt x="1227" y="906"/>
                      <a:pt x="1227" y="920"/>
                    </a:cubicBezTo>
                    <a:cubicBezTo>
                      <a:pt x="1227" y="942"/>
                      <a:pt x="1227" y="942"/>
                      <a:pt x="1227" y="942"/>
                    </a:cubicBezTo>
                    <a:cubicBezTo>
                      <a:pt x="1122" y="942"/>
                      <a:pt x="1122" y="942"/>
                      <a:pt x="1122" y="942"/>
                    </a:cubicBezTo>
                    <a:cubicBezTo>
                      <a:pt x="1122" y="920"/>
                      <a:pt x="1122" y="920"/>
                      <a:pt x="1122" y="920"/>
                    </a:cubicBezTo>
                    <a:cubicBezTo>
                      <a:pt x="1122" y="906"/>
                      <a:pt x="1110" y="894"/>
                      <a:pt x="1096" y="894"/>
                    </a:cubicBezTo>
                    <a:cubicBezTo>
                      <a:pt x="1081" y="894"/>
                      <a:pt x="1069" y="906"/>
                      <a:pt x="1069" y="920"/>
                    </a:cubicBezTo>
                    <a:cubicBezTo>
                      <a:pt x="1069" y="942"/>
                      <a:pt x="1069" y="942"/>
                      <a:pt x="1069" y="942"/>
                    </a:cubicBezTo>
                    <a:cubicBezTo>
                      <a:pt x="900" y="942"/>
                      <a:pt x="900" y="942"/>
                      <a:pt x="900" y="942"/>
                    </a:cubicBezTo>
                    <a:cubicBezTo>
                      <a:pt x="575" y="942"/>
                      <a:pt x="575" y="942"/>
                      <a:pt x="575" y="942"/>
                    </a:cubicBezTo>
                    <a:cubicBezTo>
                      <a:pt x="65" y="942"/>
                      <a:pt x="65" y="942"/>
                      <a:pt x="65" y="942"/>
                    </a:cubicBezTo>
                    <a:cubicBezTo>
                      <a:pt x="59" y="942"/>
                      <a:pt x="53" y="936"/>
                      <a:pt x="53" y="929"/>
                    </a:cubicBezTo>
                    <a:cubicBezTo>
                      <a:pt x="53" y="844"/>
                      <a:pt x="53" y="844"/>
                      <a:pt x="53" y="844"/>
                    </a:cubicBezTo>
                    <a:cubicBezTo>
                      <a:pt x="1422" y="844"/>
                      <a:pt x="1422" y="844"/>
                      <a:pt x="1422" y="844"/>
                    </a:cubicBezTo>
                    <a:cubicBezTo>
                      <a:pt x="1422" y="929"/>
                      <a:pt x="1422" y="929"/>
                      <a:pt x="1422" y="929"/>
                    </a:cubicBezTo>
                    <a:cubicBezTo>
                      <a:pt x="1422" y="936"/>
                      <a:pt x="1417" y="942"/>
                      <a:pt x="1410" y="9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sp>
            <p:nvSpPr>
              <p:cNvPr id="86" name="Freeform 56"/>
              <p:cNvSpPr>
                <a:spLocks noEditPoints="1"/>
              </p:cNvSpPr>
              <p:nvPr userDrawn="1"/>
            </p:nvSpPr>
            <p:spPr bwMode="auto">
              <a:xfrm>
                <a:off x="13323787" y="1410886"/>
                <a:ext cx="590550" cy="217488"/>
              </a:xfrm>
              <a:custGeom>
                <a:avLst/>
                <a:gdLst>
                  <a:gd name="T0" fmla="*/ 78 w 1175"/>
                  <a:gd name="T1" fmla="*/ 300 h 435"/>
                  <a:gd name="T2" fmla="*/ 144 w 1175"/>
                  <a:gd name="T3" fmla="*/ 263 h 435"/>
                  <a:gd name="T4" fmla="*/ 511 w 1175"/>
                  <a:gd name="T5" fmla="*/ 369 h 435"/>
                  <a:gd name="T6" fmla="*/ 588 w 1175"/>
                  <a:gd name="T7" fmla="*/ 435 h 435"/>
                  <a:gd name="T8" fmla="*/ 665 w 1175"/>
                  <a:gd name="T9" fmla="*/ 357 h 435"/>
                  <a:gd name="T10" fmla="*/ 665 w 1175"/>
                  <a:gd name="T11" fmla="*/ 348 h 435"/>
                  <a:gd name="T12" fmla="*/ 1043 w 1175"/>
                  <a:gd name="T13" fmla="*/ 133 h 435"/>
                  <a:gd name="T14" fmla="*/ 1097 w 1175"/>
                  <a:gd name="T15" fmla="*/ 155 h 435"/>
                  <a:gd name="T16" fmla="*/ 1175 w 1175"/>
                  <a:gd name="T17" fmla="*/ 78 h 435"/>
                  <a:gd name="T18" fmla="*/ 1097 w 1175"/>
                  <a:gd name="T19" fmla="*/ 0 h 435"/>
                  <a:gd name="T20" fmla="*/ 1019 w 1175"/>
                  <a:gd name="T21" fmla="*/ 78 h 435"/>
                  <a:gd name="T22" fmla="*/ 1020 w 1175"/>
                  <a:gd name="T23" fmla="*/ 85 h 435"/>
                  <a:gd name="T24" fmla="*/ 641 w 1175"/>
                  <a:gd name="T25" fmla="*/ 300 h 435"/>
                  <a:gd name="T26" fmla="*/ 588 w 1175"/>
                  <a:gd name="T27" fmla="*/ 279 h 435"/>
                  <a:gd name="T28" fmla="*/ 521 w 1175"/>
                  <a:gd name="T29" fmla="*/ 317 h 435"/>
                  <a:gd name="T30" fmla="*/ 155 w 1175"/>
                  <a:gd name="T31" fmla="*/ 211 h 435"/>
                  <a:gd name="T32" fmla="*/ 78 w 1175"/>
                  <a:gd name="T33" fmla="*/ 145 h 435"/>
                  <a:gd name="T34" fmla="*/ 0 w 1175"/>
                  <a:gd name="T35" fmla="*/ 223 h 435"/>
                  <a:gd name="T36" fmla="*/ 78 w 1175"/>
                  <a:gd name="T37" fmla="*/ 300 h 435"/>
                  <a:gd name="T38" fmla="*/ 1097 w 1175"/>
                  <a:gd name="T39" fmla="*/ 53 h 435"/>
                  <a:gd name="T40" fmla="*/ 1122 w 1175"/>
                  <a:gd name="T41" fmla="*/ 78 h 435"/>
                  <a:gd name="T42" fmla="*/ 1097 w 1175"/>
                  <a:gd name="T43" fmla="*/ 103 h 435"/>
                  <a:gd name="T44" fmla="*/ 1074 w 1175"/>
                  <a:gd name="T45" fmla="*/ 88 h 435"/>
                  <a:gd name="T46" fmla="*/ 1074 w 1175"/>
                  <a:gd name="T47" fmla="*/ 87 h 435"/>
                  <a:gd name="T48" fmla="*/ 1072 w 1175"/>
                  <a:gd name="T49" fmla="*/ 78 h 435"/>
                  <a:gd name="T50" fmla="*/ 1097 w 1175"/>
                  <a:gd name="T51" fmla="*/ 53 h 435"/>
                  <a:gd name="T52" fmla="*/ 588 w 1175"/>
                  <a:gd name="T53" fmla="*/ 332 h 435"/>
                  <a:gd name="T54" fmla="*/ 613 w 1175"/>
                  <a:gd name="T55" fmla="*/ 357 h 435"/>
                  <a:gd name="T56" fmla="*/ 588 w 1175"/>
                  <a:gd name="T57" fmla="*/ 382 h 435"/>
                  <a:gd name="T58" fmla="*/ 563 w 1175"/>
                  <a:gd name="T59" fmla="*/ 357 h 435"/>
                  <a:gd name="T60" fmla="*/ 563 w 1175"/>
                  <a:gd name="T61" fmla="*/ 354 h 435"/>
                  <a:gd name="T62" fmla="*/ 563 w 1175"/>
                  <a:gd name="T63" fmla="*/ 353 h 435"/>
                  <a:gd name="T64" fmla="*/ 588 w 1175"/>
                  <a:gd name="T65" fmla="*/ 332 h 435"/>
                  <a:gd name="T66" fmla="*/ 78 w 1175"/>
                  <a:gd name="T67" fmla="*/ 198 h 435"/>
                  <a:gd name="T68" fmla="*/ 103 w 1175"/>
                  <a:gd name="T69" fmla="*/ 223 h 435"/>
                  <a:gd name="T70" fmla="*/ 78 w 1175"/>
                  <a:gd name="T71" fmla="*/ 248 h 435"/>
                  <a:gd name="T72" fmla="*/ 53 w 1175"/>
                  <a:gd name="T73" fmla="*/ 223 h 435"/>
                  <a:gd name="T74" fmla="*/ 78 w 1175"/>
                  <a:gd name="T75" fmla="*/ 198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75" h="435">
                    <a:moveTo>
                      <a:pt x="78" y="300"/>
                    </a:moveTo>
                    <a:cubicBezTo>
                      <a:pt x="106" y="300"/>
                      <a:pt x="131" y="285"/>
                      <a:pt x="144" y="263"/>
                    </a:cubicBezTo>
                    <a:cubicBezTo>
                      <a:pt x="511" y="369"/>
                      <a:pt x="511" y="369"/>
                      <a:pt x="511" y="369"/>
                    </a:cubicBezTo>
                    <a:cubicBezTo>
                      <a:pt x="517" y="406"/>
                      <a:pt x="549" y="435"/>
                      <a:pt x="588" y="435"/>
                    </a:cubicBezTo>
                    <a:cubicBezTo>
                      <a:pt x="630" y="435"/>
                      <a:pt x="665" y="400"/>
                      <a:pt x="665" y="357"/>
                    </a:cubicBezTo>
                    <a:cubicBezTo>
                      <a:pt x="665" y="354"/>
                      <a:pt x="665" y="351"/>
                      <a:pt x="665" y="348"/>
                    </a:cubicBezTo>
                    <a:cubicBezTo>
                      <a:pt x="1043" y="133"/>
                      <a:pt x="1043" y="133"/>
                      <a:pt x="1043" y="133"/>
                    </a:cubicBezTo>
                    <a:cubicBezTo>
                      <a:pt x="1057" y="147"/>
                      <a:pt x="1076" y="155"/>
                      <a:pt x="1097" y="155"/>
                    </a:cubicBezTo>
                    <a:cubicBezTo>
                      <a:pt x="1140" y="155"/>
                      <a:pt x="1175" y="121"/>
                      <a:pt x="1175" y="78"/>
                    </a:cubicBezTo>
                    <a:cubicBezTo>
                      <a:pt x="1175" y="35"/>
                      <a:pt x="1140" y="0"/>
                      <a:pt x="1097" y="0"/>
                    </a:cubicBezTo>
                    <a:cubicBezTo>
                      <a:pt x="1054" y="0"/>
                      <a:pt x="1019" y="35"/>
                      <a:pt x="1019" y="78"/>
                    </a:cubicBezTo>
                    <a:cubicBezTo>
                      <a:pt x="1019" y="80"/>
                      <a:pt x="1020" y="83"/>
                      <a:pt x="1020" y="85"/>
                    </a:cubicBezTo>
                    <a:cubicBezTo>
                      <a:pt x="641" y="300"/>
                      <a:pt x="641" y="300"/>
                      <a:pt x="641" y="300"/>
                    </a:cubicBezTo>
                    <a:cubicBezTo>
                      <a:pt x="627" y="287"/>
                      <a:pt x="608" y="279"/>
                      <a:pt x="588" y="279"/>
                    </a:cubicBezTo>
                    <a:cubicBezTo>
                      <a:pt x="559" y="279"/>
                      <a:pt x="534" y="295"/>
                      <a:pt x="521" y="317"/>
                    </a:cubicBezTo>
                    <a:cubicBezTo>
                      <a:pt x="155" y="211"/>
                      <a:pt x="155" y="211"/>
                      <a:pt x="155" y="211"/>
                    </a:cubicBezTo>
                    <a:cubicBezTo>
                      <a:pt x="149" y="174"/>
                      <a:pt x="117" y="145"/>
                      <a:pt x="78" y="145"/>
                    </a:cubicBezTo>
                    <a:cubicBezTo>
                      <a:pt x="35" y="145"/>
                      <a:pt x="0" y="180"/>
                      <a:pt x="0" y="223"/>
                    </a:cubicBezTo>
                    <a:cubicBezTo>
                      <a:pt x="0" y="265"/>
                      <a:pt x="35" y="300"/>
                      <a:pt x="78" y="300"/>
                    </a:cubicBezTo>
                    <a:close/>
                    <a:moveTo>
                      <a:pt x="1097" y="53"/>
                    </a:moveTo>
                    <a:cubicBezTo>
                      <a:pt x="1111" y="53"/>
                      <a:pt x="1122" y="64"/>
                      <a:pt x="1122" y="78"/>
                    </a:cubicBezTo>
                    <a:cubicBezTo>
                      <a:pt x="1122" y="92"/>
                      <a:pt x="1111" y="103"/>
                      <a:pt x="1097" y="103"/>
                    </a:cubicBezTo>
                    <a:cubicBezTo>
                      <a:pt x="1087" y="103"/>
                      <a:pt x="1078" y="97"/>
                      <a:pt x="1074" y="88"/>
                    </a:cubicBezTo>
                    <a:cubicBezTo>
                      <a:pt x="1074" y="88"/>
                      <a:pt x="1074" y="88"/>
                      <a:pt x="1074" y="87"/>
                    </a:cubicBezTo>
                    <a:cubicBezTo>
                      <a:pt x="1073" y="84"/>
                      <a:pt x="1072" y="81"/>
                      <a:pt x="1072" y="78"/>
                    </a:cubicBezTo>
                    <a:cubicBezTo>
                      <a:pt x="1072" y="64"/>
                      <a:pt x="1083" y="53"/>
                      <a:pt x="1097" y="53"/>
                    </a:cubicBezTo>
                    <a:close/>
                    <a:moveTo>
                      <a:pt x="588" y="332"/>
                    </a:moveTo>
                    <a:cubicBezTo>
                      <a:pt x="601" y="332"/>
                      <a:pt x="613" y="343"/>
                      <a:pt x="613" y="357"/>
                    </a:cubicBezTo>
                    <a:cubicBezTo>
                      <a:pt x="613" y="371"/>
                      <a:pt x="601" y="382"/>
                      <a:pt x="588" y="382"/>
                    </a:cubicBezTo>
                    <a:cubicBezTo>
                      <a:pt x="574" y="382"/>
                      <a:pt x="563" y="371"/>
                      <a:pt x="563" y="357"/>
                    </a:cubicBezTo>
                    <a:cubicBezTo>
                      <a:pt x="563" y="356"/>
                      <a:pt x="563" y="355"/>
                      <a:pt x="563" y="354"/>
                    </a:cubicBezTo>
                    <a:cubicBezTo>
                      <a:pt x="563" y="354"/>
                      <a:pt x="563" y="353"/>
                      <a:pt x="563" y="353"/>
                    </a:cubicBezTo>
                    <a:cubicBezTo>
                      <a:pt x="565" y="341"/>
                      <a:pt x="575" y="332"/>
                      <a:pt x="588" y="332"/>
                    </a:cubicBezTo>
                    <a:close/>
                    <a:moveTo>
                      <a:pt x="78" y="198"/>
                    </a:moveTo>
                    <a:cubicBezTo>
                      <a:pt x="92" y="198"/>
                      <a:pt x="103" y="209"/>
                      <a:pt x="103" y="223"/>
                    </a:cubicBezTo>
                    <a:cubicBezTo>
                      <a:pt x="103" y="236"/>
                      <a:pt x="92" y="248"/>
                      <a:pt x="78" y="248"/>
                    </a:cubicBezTo>
                    <a:cubicBezTo>
                      <a:pt x="64" y="248"/>
                      <a:pt x="53" y="236"/>
                      <a:pt x="53" y="223"/>
                    </a:cubicBezTo>
                    <a:cubicBezTo>
                      <a:pt x="53" y="209"/>
                      <a:pt x="64" y="198"/>
                      <a:pt x="78"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63"/>
                <a:endParaRPr lang="en-US" sz="1800" dirty="0">
                  <a:solidFill>
                    <a:srgbClr val="263147"/>
                  </a:solidFill>
                </a:endParaRPr>
              </a:p>
            </p:txBody>
          </p:sp>
        </p:grpSp>
        <p:cxnSp>
          <p:nvCxnSpPr>
            <p:cNvPr id="79" name="Straight Connector 78"/>
            <p:cNvCxnSpPr/>
            <p:nvPr userDrawn="1"/>
          </p:nvCxnSpPr>
          <p:spPr bwMode="auto">
            <a:xfrm flipH="1">
              <a:off x="9437370" y="7331404"/>
              <a:ext cx="273050" cy="0"/>
            </a:xfrm>
            <a:prstGeom prst="line">
              <a:avLst/>
            </a:prstGeom>
            <a:solidFill>
              <a:schemeClr val="accent5">
                <a:lumMod val="75000"/>
              </a:schemeClr>
            </a:solidFill>
            <a:ln w="9525" cap="flat" cmpd="sng" algn="ctr">
              <a:solidFill>
                <a:schemeClr val="accent5">
                  <a:lumMod val="75000"/>
                </a:schemeClr>
              </a:solidFill>
              <a:prstDash val="solid"/>
              <a:round/>
              <a:headEnd type="none" w="med" len="med"/>
              <a:tailEnd type="none" w="med" len="med"/>
            </a:ln>
            <a:effectLst/>
          </p:spPr>
        </p:cxnSp>
        <p:cxnSp>
          <p:nvCxnSpPr>
            <p:cNvPr id="80" name="Straight Connector 79"/>
            <p:cNvCxnSpPr/>
            <p:nvPr userDrawn="1"/>
          </p:nvCxnSpPr>
          <p:spPr bwMode="auto">
            <a:xfrm flipH="1">
              <a:off x="9799320" y="7331404"/>
              <a:ext cx="273050" cy="0"/>
            </a:xfrm>
            <a:prstGeom prst="line">
              <a:avLst/>
            </a:prstGeom>
            <a:solidFill>
              <a:schemeClr val="accent5">
                <a:lumMod val="75000"/>
              </a:schemeClr>
            </a:solidFill>
            <a:ln w="9525" cap="flat" cmpd="sng" algn="ctr">
              <a:solidFill>
                <a:schemeClr val="accent5">
                  <a:lumMod val="75000"/>
                </a:schemeClr>
              </a:solidFill>
              <a:prstDash val="solid"/>
              <a:round/>
              <a:headEnd type="none" w="med" len="med"/>
              <a:tailEnd type="none" w="med" len="med"/>
            </a:ln>
            <a:effectLst/>
          </p:spPr>
        </p:cxnSp>
        <p:cxnSp>
          <p:nvCxnSpPr>
            <p:cNvPr id="81" name="Straight Connector 80"/>
            <p:cNvCxnSpPr/>
            <p:nvPr userDrawn="1"/>
          </p:nvCxnSpPr>
          <p:spPr bwMode="auto">
            <a:xfrm flipH="1">
              <a:off x="10517505" y="7331404"/>
              <a:ext cx="273050" cy="0"/>
            </a:xfrm>
            <a:prstGeom prst="line">
              <a:avLst/>
            </a:prstGeom>
            <a:solidFill>
              <a:schemeClr val="accent5">
                <a:lumMod val="75000"/>
              </a:schemeClr>
            </a:solidFill>
            <a:ln w="9525" cap="flat" cmpd="sng" algn="ctr">
              <a:solidFill>
                <a:schemeClr val="accent5">
                  <a:lumMod val="75000"/>
                </a:schemeClr>
              </a:solidFill>
              <a:prstDash val="solid"/>
              <a:round/>
              <a:headEnd type="none" w="med" len="med"/>
              <a:tailEnd type="none" w="med" len="med"/>
            </a:ln>
            <a:effectLst/>
          </p:spPr>
        </p:cxnSp>
        <p:cxnSp>
          <p:nvCxnSpPr>
            <p:cNvPr id="82" name="Straight Connector 81"/>
            <p:cNvCxnSpPr>
              <a:endCxn id="97" idx="20"/>
            </p:cNvCxnSpPr>
            <p:nvPr userDrawn="1"/>
          </p:nvCxnSpPr>
          <p:spPr bwMode="auto">
            <a:xfrm flipH="1" flipV="1">
              <a:off x="10506344" y="7264426"/>
              <a:ext cx="20686" cy="74645"/>
            </a:xfrm>
            <a:prstGeom prst="line">
              <a:avLst/>
            </a:prstGeom>
            <a:solidFill>
              <a:schemeClr val="accent5">
                <a:lumMod val="75000"/>
              </a:schemeClr>
            </a:solidFill>
            <a:ln w="12700" cap="flat" cmpd="sng" algn="ctr">
              <a:solidFill>
                <a:schemeClr val="accent5">
                  <a:lumMod val="75000"/>
                </a:schemeClr>
              </a:solidFill>
              <a:prstDash val="solid"/>
              <a:round/>
              <a:headEnd type="none" w="med" len="med"/>
              <a:tailEnd type="none" w="med" len="med"/>
            </a:ln>
            <a:effectLst/>
          </p:spPr>
        </p:cxnSp>
        <p:cxnSp>
          <p:nvCxnSpPr>
            <p:cNvPr id="83" name="Straight Connector 82"/>
            <p:cNvCxnSpPr/>
            <p:nvPr userDrawn="1"/>
          </p:nvCxnSpPr>
          <p:spPr bwMode="auto">
            <a:xfrm flipH="1">
              <a:off x="10911840" y="7331404"/>
              <a:ext cx="273050" cy="0"/>
            </a:xfrm>
            <a:prstGeom prst="line">
              <a:avLst/>
            </a:prstGeom>
            <a:solidFill>
              <a:schemeClr val="accent5">
                <a:lumMod val="75000"/>
              </a:schemeClr>
            </a:solidFill>
            <a:ln w="9525" cap="flat" cmpd="sng" algn="ctr">
              <a:solidFill>
                <a:schemeClr val="accent5">
                  <a:lumMod val="75000"/>
                </a:schemeClr>
              </a:solidFill>
              <a:prstDash val="solid"/>
              <a:round/>
              <a:headEnd type="none" w="med" len="med"/>
              <a:tailEnd type="none" w="med" len="med"/>
            </a:ln>
            <a:effectLst/>
          </p:spPr>
        </p:cxnSp>
        <p:cxnSp>
          <p:nvCxnSpPr>
            <p:cNvPr id="84" name="Straight Connector 83"/>
            <p:cNvCxnSpPr/>
            <p:nvPr userDrawn="1"/>
          </p:nvCxnSpPr>
          <p:spPr bwMode="auto">
            <a:xfrm flipH="1">
              <a:off x="11298555" y="7331404"/>
              <a:ext cx="273050" cy="0"/>
            </a:xfrm>
            <a:prstGeom prst="line">
              <a:avLst/>
            </a:prstGeom>
            <a:solidFill>
              <a:schemeClr val="accent5">
                <a:lumMod val="75000"/>
              </a:schemeClr>
            </a:solidFill>
            <a:ln w="9525" cap="flat" cmpd="sng" algn="ctr">
              <a:solidFill>
                <a:schemeClr val="accent5">
                  <a:lumMod val="75000"/>
                </a:schemeClr>
              </a:solidFill>
              <a:prstDash val="solid"/>
              <a:round/>
              <a:headEnd type="none" w="med" len="med"/>
              <a:tailEnd type="none" w="med" len="med"/>
            </a:ln>
            <a:effectLst/>
          </p:spPr>
        </p:cxnSp>
      </p:grpSp>
    </p:spTree>
    <p:extLst>
      <p:ext uri="{BB962C8B-B14F-4D97-AF65-F5344CB8AC3E}">
        <p14:creationId xmlns:p14="http://schemas.microsoft.com/office/powerpoint/2010/main" val="82127138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531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cSld>
  <p:clrMapOvr>
    <a:masterClrMapping/>
  </p:clrMapOvr>
  <p:extLst mod="1">
    <p:ext uri="{DCECCB84-F9BA-43D5-87BE-67443E8EF086}">
      <p15:sldGuideLst xmlns:p15="http://schemas.microsoft.com/office/powerpoint/2012/main">
        <p15:guide id="1" orient="horz" pos="333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633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smtClean="0"/>
              <a:t>Click to insert title</a:t>
            </a:r>
            <a:endParaRPr lang="en-US" dirty="0"/>
          </a:p>
        </p:txBody>
      </p:sp>
    </p:spTree>
    <p:extLst/>
  </p:cSld>
  <p:clrMapOvr>
    <a:masterClrMapping/>
  </p:clrMapOvr>
  <p:extLst mod="1">
    <p:ext uri="{DCECCB84-F9BA-43D5-87BE-67443E8EF086}">
      <p15:sldGuideLst xmlns:p15="http://schemas.microsoft.com/office/powerpoint/2012/main">
        <p15:guide id="1" orient="horz" pos="3339">
          <p15:clr>
            <a:srgbClr val="FBAE40"/>
          </p15:clr>
        </p15:guide>
      </p15:sldGuideLst>
    </p:ext>
  </p:extLst>
</p:sldLayout>
</file>

<file path=ppt/slideMasters/_rels/slideMaster1.xml.rels><?xml version="1.0" encoding="UTF-8" standalone="yes"?>
<Relationships xmlns="http://schemas.openxmlformats.org/package/2006/relationships"><Relationship Id="rId9" Type="http://schemas.openxmlformats.org/officeDocument/2006/relationships/vmlDrawing" Target="../drawings/vmlDrawing1.vml"/><Relationship Id="rId20" Type="http://schemas.openxmlformats.org/officeDocument/2006/relationships/image" Target="../media/image2.png"/><Relationship Id="rId10" Type="http://schemas.openxmlformats.org/officeDocument/2006/relationships/tags" Target="../tags/tag1.xml"/><Relationship Id="rId11" Type="http://schemas.openxmlformats.org/officeDocument/2006/relationships/tags" Target="../tags/tag2.xml"/><Relationship Id="rId12" Type="http://schemas.openxmlformats.org/officeDocument/2006/relationships/tags" Target="../tags/tag3.xml"/><Relationship Id="rId13" Type="http://schemas.openxmlformats.org/officeDocument/2006/relationships/tags" Target="../tags/tag4.xml"/><Relationship Id="rId14" Type="http://schemas.openxmlformats.org/officeDocument/2006/relationships/tags" Target="../tags/tag5.xml"/><Relationship Id="rId15" Type="http://schemas.openxmlformats.org/officeDocument/2006/relationships/tags" Target="../tags/tag6.xml"/><Relationship Id="rId16" Type="http://schemas.openxmlformats.org/officeDocument/2006/relationships/tags" Target="../tags/tag7.xml"/><Relationship Id="rId17" Type="http://schemas.openxmlformats.org/officeDocument/2006/relationships/tags" Target="../tags/tag8.xml"/><Relationship Id="rId18" Type="http://schemas.openxmlformats.org/officeDocument/2006/relationships/oleObject" Target="../embeddings/oleObject1.bin"/><Relationship Id="rId19"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16.xml"/><Relationship Id="rId20" Type="http://schemas.openxmlformats.org/officeDocument/2006/relationships/tags" Target="../tags/tag19.xml"/><Relationship Id="rId21" Type="http://schemas.openxmlformats.org/officeDocument/2006/relationships/oleObject" Target="../embeddings/oleObject6.bin"/><Relationship Id="rId22" Type="http://schemas.openxmlformats.org/officeDocument/2006/relationships/image" Target="../media/image7.emf"/><Relationship Id="rId10" Type="http://schemas.openxmlformats.org/officeDocument/2006/relationships/slideLayout" Target="../slideLayouts/slideLayout17.xml"/><Relationship Id="rId11" Type="http://schemas.openxmlformats.org/officeDocument/2006/relationships/slideLayout" Target="../slideLayouts/slideLayout18.xml"/><Relationship Id="rId12" Type="http://schemas.openxmlformats.org/officeDocument/2006/relationships/slideLayout" Target="../slideLayouts/slideLayout19.xml"/><Relationship Id="rId13" Type="http://schemas.openxmlformats.org/officeDocument/2006/relationships/slideLayout" Target="../slideLayouts/slideLayout20.xml"/><Relationship Id="rId14" Type="http://schemas.openxmlformats.org/officeDocument/2006/relationships/slideLayout" Target="../slideLayouts/slideLayout21.xml"/><Relationship Id="rId15" Type="http://schemas.openxmlformats.org/officeDocument/2006/relationships/slideLayout" Target="../slideLayouts/slideLayout22.xml"/><Relationship Id="rId16" Type="http://schemas.openxmlformats.org/officeDocument/2006/relationships/slideLayout" Target="../slideLayouts/slideLayout23.xml"/><Relationship Id="rId17" Type="http://schemas.openxmlformats.org/officeDocument/2006/relationships/slideLayout" Target="../slideLayouts/slideLayout24.xml"/><Relationship Id="rId18" Type="http://schemas.openxmlformats.org/officeDocument/2006/relationships/theme" Target="../theme/theme2.xml"/><Relationship Id="rId19" Type="http://schemas.openxmlformats.org/officeDocument/2006/relationships/vmlDrawing" Target="../drawings/vmlDrawing6.vml"/><Relationship Id="rId1" Type="http://schemas.openxmlformats.org/officeDocument/2006/relationships/slideLayout" Target="../slideLayouts/slideLayout8.xml"/><Relationship Id="rId2" Type="http://schemas.openxmlformats.org/officeDocument/2006/relationships/slideLayout" Target="../slideLayouts/slideLayout9.xml"/><Relationship Id="rId3" Type="http://schemas.openxmlformats.org/officeDocument/2006/relationships/slideLayout" Target="../slideLayouts/slideLayout10.xml"/><Relationship Id="rId4" Type="http://schemas.openxmlformats.org/officeDocument/2006/relationships/slideLayout" Target="../slideLayouts/slideLayout11.xml"/><Relationship Id="rId5" Type="http://schemas.openxmlformats.org/officeDocument/2006/relationships/slideLayout" Target="../slideLayouts/slideLayout12.xml"/><Relationship Id="rId6" Type="http://schemas.openxmlformats.org/officeDocument/2006/relationships/slideLayout" Target="../slideLayouts/slideLayout13.xml"/><Relationship Id="rId7" Type="http://schemas.openxmlformats.org/officeDocument/2006/relationships/slideLayout" Target="../slideLayouts/slideLayout14.xml"/><Relationship Id="rId8"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4" Type="http://schemas.openxmlformats.org/officeDocument/2006/relationships/vmlDrawing" Target="../drawings/vmlDrawing22.vml"/><Relationship Id="rId5" Type="http://schemas.openxmlformats.org/officeDocument/2006/relationships/tags" Target="../tags/tag46.xml"/><Relationship Id="rId6" Type="http://schemas.openxmlformats.org/officeDocument/2006/relationships/oleObject" Target="../embeddings/oleObject22.bin"/><Relationship Id="rId7" Type="http://schemas.openxmlformats.org/officeDocument/2006/relationships/image" Target="../media/image7.emf"/><Relationship Id="rId1" Type="http://schemas.openxmlformats.org/officeDocument/2006/relationships/slideLayout" Target="../slideLayouts/slideLayout25.xml"/><Relationship Id="rId2"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20" Type="http://schemas.openxmlformats.org/officeDocument/2006/relationships/slideLayout" Target="../slideLayouts/slideLayout46.xml"/><Relationship Id="rId21" Type="http://schemas.openxmlformats.org/officeDocument/2006/relationships/slideLayout" Target="../slideLayouts/slideLayout47.xml"/><Relationship Id="rId22" Type="http://schemas.openxmlformats.org/officeDocument/2006/relationships/slideLayout" Target="../slideLayouts/slideLayout48.xml"/><Relationship Id="rId23" Type="http://schemas.openxmlformats.org/officeDocument/2006/relationships/slideLayout" Target="../slideLayouts/slideLayout49.xml"/><Relationship Id="rId24" Type="http://schemas.openxmlformats.org/officeDocument/2006/relationships/slideLayout" Target="../slideLayouts/slideLayout50.xml"/><Relationship Id="rId25" Type="http://schemas.openxmlformats.org/officeDocument/2006/relationships/slideLayout" Target="../slideLayouts/slideLayout51.xml"/><Relationship Id="rId26" Type="http://schemas.openxmlformats.org/officeDocument/2006/relationships/slideLayout" Target="../slideLayouts/slideLayout52.xml"/><Relationship Id="rId27" Type="http://schemas.openxmlformats.org/officeDocument/2006/relationships/theme" Target="../theme/theme4.xml"/><Relationship Id="rId28" Type="http://schemas.openxmlformats.org/officeDocument/2006/relationships/vmlDrawing" Target="../drawings/vmlDrawing23.vml"/><Relationship Id="rId29" Type="http://schemas.openxmlformats.org/officeDocument/2006/relationships/tags" Target="../tags/tag51.xml"/><Relationship Id="rId1" Type="http://schemas.openxmlformats.org/officeDocument/2006/relationships/slideLayout" Target="../slideLayouts/slideLayout27.xml"/><Relationship Id="rId2" Type="http://schemas.openxmlformats.org/officeDocument/2006/relationships/slideLayout" Target="../slideLayouts/slideLayout28.xml"/><Relationship Id="rId3" Type="http://schemas.openxmlformats.org/officeDocument/2006/relationships/slideLayout" Target="../slideLayouts/slideLayout29.xml"/><Relationship Id="rId4" Type="http://schemas.openxmlformats.org/officeDocument/2006/relationships/slideLayout" Target="../slideLayouts/slideLayout30.xml"/><Relationship Id="rId5" Type="http://schemas.openxmlformats.org/officeDocument/2006/relationships/slideLayout" Target="../slideLayouts/slideLayout31.xml"/><Relationship Id="rId30" Type="http://schemas.openxmlformats.org/officeDocument/2006/relationships/tags" Target="../tags/tag52.xml"/><Relationship Id="rId31" Type="http://schemas.openxmlformats.org/officeDocument/2006/relationships/tags" Target="../tags/tag53.xml"/><Relationship Id="rId32" Type="http://schemas.openxmlformats.org/officeDocument/2006/relationships/tags" Target="../tags/tag54.xml"/><Relationship Id="rId9" Type="http://schemas.openxmlformats.org/officeDocument/2006/relationships/slideLayout" Target="../slideLayouts/slideLayout35.xml"/><Relationship Id="rId6" Type="http://schemas.openxmlformats.org/officeDocument/2006/relationships/slideLayout" Target="../slideLayouts/slideLayout32.xml"/><Relationship Id="rId7" Type="http://schemas.openxmlformats.org/officeDocument/2006/relationships/slideLayout" Target="../slideLayouts/slideLayout33.xml"/><Relationship Id="rId8" Type="http://schemas.openxmlformats.org/officeDocument/2006/relationships/slideLayout" Target="../slideLayouts/slideLayout34.xml"/><Relationship Id="rId33" Type="http://schemas.openxmlformats.org/officeDocument/2006/relationships/tags" Target="../tags/tag55.xml"/><Relationship Id="rId34" Type="http://schemas.openxmlformats.org/officeDocument/2006/relationships/oleObject" Target="../embeddings/oleObject23.bin"/><Relationship Id="rId35" Type="http://schemas.openxmlformats.org/officeDocument/2006/relationships/image" Target="../media/image7.emf"/><Relationship Id="rId36" Type="http://schemas.openxmlformats.org/officeDocument/2006/relationships/image" Target="../media/image2.png"/><Relationship Id="rId10" Type="http://schemas.openxmlformats.org/officeDocument/2006/relationships/slideLayout" Target="../slideLayouts/slideLayout36.xml"/><Relationship Id="rId11" Type="http://schemas.openxmlformats.org/officeDocument/2006/relationships/slideLayout" Target="../slideLayouts/slideLayout37.xml"/><Relationship Id="rId12" Type="http://schemas.openxmlformats.org/officeDocument/2006/relationships/slideLayout" Target="../slideLayouts/slideLayout38.xml"/><Relationship Id="rId13" Type="http://schemas.openxmlformats.org/officeDocument/2006/relationships/slideLayout" Target="../slideLayouts/slideLayout39.xml"/><Relationship Id="rId14" Type="http://schemas.openxmlformats.org/officeDocument/2006/relationships/slideLayout" Target="../slideLayouts/slideLayout40.xml"/><Relationship Id="rId15" Type="http://schemas.openxmlformats.org/officeDocument/2006/relationships/slideLayout" Target="../slideLayouts/slideLayout41.xml"/><Relationship Id="rId16" Type="http://schemas.openxmlformats.org/officeDocument/2006/relationships/slideLayout" Target="../slideLayouts/slideLayout42.xml"/><Relationship Id="rId17" Type="http://schemas.openxmlformats.org/officeDocument/2006/relationships/slideLayout" Target="../slideLayouts/slideLayout43.xml"/><Relationship Id="rId18" Type="http://schemas.openxmlformats.org/officeDocument/2006/relationships/slideLayout" Target="../slideLayouts/slideLayout44.xml"/><Relationship Id="rId19"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extLst/>
          </p:nvPr>
        </p:nvGraphicFramePr>
        <p:xfrm>
          <a:off x="1" y="0"/>
          <a:ext cx="195387" cy="158750"/>
        </p:xfrm>
        <a:graphic>
          <a:graphicData uri="http://schemas.openxmlformats.org/presentationml/2006/ole">
            <mc:AlternateContent xmlns:mc="http://schemas.openxmlformats.org/markup-compatibility/2006">
              <mc:Choice xmlns:v="urn:schemas-microsoft-com:vml" Requires="v">
                <p:oleObj spid="_x0000_s1694" name="think-cell Slide" r:id="rId18" imgW="360" imgH="360" progId="TCLayout.ActiveDocument.1">
                  <p:embed/>
                </p:oleObj>
              </mc:Choice>
              <mc:Fallback>
                <p:oleObj name="think-cell Slide" r:id="rId18" imgW="360" imgH="360" progId="TCLayout.ActiveDocument.1">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 y="0"/>
                        <a:ext cx="19538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custDataLst>
              <p:tags r:id="rId11"/>
            </p:custDataLst>
          </p:nvPr>
        </p:nvSpPr>
        <p:spPr>
          <a:xfrm>
            <a:off x="444322" y="1179627"/>
            <a:ext cx="11536431" cy="4636540"/>
          </a:xfrm>
          <a:prstGeom prst="rect">
            <a:avLst/>
          </a:prstGeom>
        </p:spPr>
        <p:txBody>
          <a:bodyPr vert="horz" lIns="0" tIns="31552" rIns="31552" bIns="31552"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4" name="Picture 103"/>
          <p:cNvPicPr>
            <a:picLocks noChangeAspect="1" noChangeArrowheads="1"/>
          </p:cNvPicPr>
          <p:nvPr userDrawn="1">
            <p:custDataLst>
              <p:tags r:id="rId12"/>
            </p:custDataLst>
          </p:nvPr>
        </p:nvPicPr>
        <p:blipFill>
          <a:blip r:embed="rId20" cstate="screen">
            <a:extLst>
              <a:ext uri="{28A0092B-C50C-407E-A947-70E740481C1C}">
                <a14:useLocalDpi xmlns:a14="http://schemas.microsoft.com/office/drawing/2010/main"/>
              </a:ext>
            </a:extLst>
          </a:blip>
          <a:stretch>
            <a:fillRect/>
          </a:stretch>
        </p:blipFill>
        <p:spPr bwMode="auto">
          <a:xfrm>
            <a:off x="460445" y="6490365"/>
            <a:ext cx="1047533" cy="240933"/>
          </a:xfrm>
          <a:prstGeom prst="rect">
            <a:avLst/>
          </a:prstGeom>
          <a:noFill/>
        </p:spPr>
      </p:pic>
      <p:cxnSp>
        <p:nvCxnSpPr>
          <p:cNvPr id="15" name="Straight Connector 5"/>
          <p:cNvCxnSpPr/>
          <p:nvPr>
            <p:custDataLst>
              <p:tags r:id="rId13"/>
            </p:custDataLst>
          </p:nvPr>
        </p:nvCxnSpPr>
        <p:spPr>
          <a:xfrm flipH="1">
            <a:off x="6" y="6362700"/>
            <a:ext cx="12191999"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custDataLst>
              <p:tags r:id="rId14"/>
            </p:custDataLst>
          </p:nvPr>
        </p:nvSpPr>
        <p:spPr>
          <a:xfrm>
            <a:off x="444322" y="101604"/>
            <a:ext cx="10844164" cy="754299"/>
          </a:xfrm>
          <a:prstGeom prst="rect">
            <a:avLst/>
          </a:prstGeom>
        </p:spPr>
        <p:txBody>
          <a:bodyPr vert="horz" lIns="283968" tIns="31552" rIns="157760" bIns="31552" rtlCol="0" anchor="ctr">
            <a:noAutofit/>
          </a:bodyPr>
          <a:lstStyle/>
          <a:p>
            <a:r>
              <a:rPr lang="pl-PL" noProof="0" dirty="0"/>
              <a:t>Click to edit Master title style</a:t>
            </a:r>
            <a:endParaRPr lang="en-US" noProof="0" dirty="0"/>
          </a:p>
        </p:txBody>
      </p:sp>
      <p:grpSp>
        <p:nvGrpSpPr>
          <p:cNvPr id="38" name="Group 10"/>
          <p:cNvGrpSpPr/>
          <p:nvPr userDrawn="1"/>
        </p:nvGrpSpPr>
        <p:grpSpPr>
          <a:xfrm>
            <a:off x="7571874" y="6483359"/>
            <a:ext cx="4316313" cy="253173"/>
            <a:chOff x="6152147" y="6480941"/>
            <a:chExt cx="3507004" cy="253173"/>
          </a:xfrm>
        </p:grpSpPr>
        <p:sp>
          <p:nvSpPr>
            <p:cNvPr id="39" name="TextBox 10"/>
            <p:cNvSpPr txBox="1"/>
            <p:nvPr userDrawn="1">
              <p:custDataLst>
                <p:tags r:id="rId15"/>
              </p:custDataLst>
            </p:nvPr>
          </p:nvSpPr>
          <p:spPr>
            <a:xfrm>
              <a:off x="9659098" y="6634728"/>
              <a:ext cx="53" cy="99386"/>
            </a:xfrm>
            <a:prstGeom prst="rect">
              <a:avLst/>
            </a:prstGeom>
            <a:noFill/>
          </p:spPr>
          <p:txBody>
            <a:bodyPr wrap="none" lIns="0" tIns="0" rIns="0" bIns="0" rtlCol="0" anchor="ctr">
              <a:spAutoFit/>
            </a:bodyPr>
            <a:lstStyle/>
            <a:p>
              <a:pPr algn="ctr" defTabSz="884105"/>
              <a:endParaRPr lang="en-US" sz="646" dirty="0">
                <a:solidFill>
                  <a:srgbClr val="1C1C1C">
                    <a:lumMod val="75000"/>
                    <a:lumOff val="25000"/>
                  </a:srgbClr>
                </a:solidFill>
              </a:endParaRPr>
            </a:p>
          </p:txBody>
        </p:sp>
        <p:sp>
          <p:nvSpPr>
            <p:cNvPr id="40" name="Rectangle 39"/>
            <p:cNvSpPr>
              <a:spLocks noChangeArrowheads="1"/>
            </p:cNvSpPr>
            <p:nvPr userDrawn="1">
              <p:custDataLst>
                <p:tags r:id="rId16"/>
              </p:custDataLst>
            </p:nvPr>
          </p:nvSpPr>
          <p:spPr bwMode="auto">
            <a:xfrm>
              <a:off x="6152147" y="6634728"/>
              <a:ext cx="3342760" cy="99386"/>
            </a:xfrm>
            <a:prstGeom prst="rect">
              <a:avLst/>
            </a:prstGeom>
            <a:noFill/>
            <a:ln w="19050">
              <a:noFill/>
              <a:miter lim="800000"/>
              <a:headEnd/>
              <a:tailEnd/>
            </a:ln>
            <a:effectLst/>
          </p:spPr>
          <p:txBody>
            <a:bodyPr wrap="square" lIns="0" tIns="0" rIns="0" bIns="0" anchor="ctr" anchorCtr="0">
              <a:spAutoFit/>
            </a:bodyPr>
            <a:lstStyle/>
            <a:p>
              <a:pPr algn="r" defTabSz="918895" eaLnBrk="0" hangingPunct="0">
                <a:defRPr/>
              </a:pPr>
              <a:r>
                <a:rPr lang="en-US" altLang="en-US" sz="646" dirty="0">
                  <a:solidFill>
                    <a:srgbClr val="1C1C1C">
                      <a:lumMod val="75000"/>
                      <a:lumOff val="25000"/>
                    </a:srgbClr>
                  </a:solidFill>
                  <a:cs typeface="Arial" pitchFamily="34" charset="0"/>
                </a:rPr>
                <a:t>Copyright © Capgemini </a:t>
              </a:r>
              <a:r>
                <a:rPr lang="en-US" altLang="en-US" sz="646" dirty="0" smtClean="0">
                  <a:solidFill>
                    <a:srgbClr val="1C1C1C">
                      <a:lumMod val="75000"/>
                      <a:lumOff val="25000"/>
                    </a:srgbClr>
                  </a:solidFill>
                  <a:cs typeface="Arial" pitchFamily="34" charset="0"/>
                </a:rPr>
                <a:t>2017. </a:t>
              </a:r>
              <a:r>
                <a:rPr lang="en-US" altLang="en-US" sz="646" dirty="0">
                  <a:solidFill>
                    <a:srgbClr val="1C1C1C">
                      <a:lumMod val="75000"/>
                      <a:lumOff val="25000"/>
                    </a:srgbClr>
                  </a:solidFill>
                  <a:cs typeface="Arial" pitchFamily="34" charset="0"/>
                </a:rPr>
                <a:t>All Rights Reserved</a:t>
              </a:r>
            </a:p>
          </p:txBody>
        </p:sp>
        <p:sp>
          <p:nvSpPr>
            <p:cNvPr id="41" name="Rectangle 40"/>
            <p:cNvSpPr/>
            <p:nvPr userDrawn="1">
              <p:custDataLst>
                <p:tags r:id="rId17"/>
              </p:custDataLst>
            </p:nvPr>
          </p:nvSpPr>
          <p:spPr>
            <a:xfrm>
              <a:off x="8006218" y="6480941"/>
              <a:ext cx="1488689" cy="99386"/>
            </a:xfrm>
            <a:prstGeom prst="rect">
              <a:avLst/>
            </a:prstGeom>
          </p:spPr>
          <p:txBody>
            <a:bodyPr wrap="none" lIns="0" tIns="0" rIns="0" bIns="0" anchor="ctr" anchorCtr="0">
              <a:spAutoFit/>
            </a:bodyPr>
            <a:lstStyle/>
            <a:p>
              <a:pPr algn="r" defTabSz="884105">
                <a:defRPr/>
              </a:pPr>
              <a:r>
                <a:rPr lang="en-US" sz="646" dirty="0">
                  <a:solidFill>
                    <a:srgbClr val="00234B"/>
                  </a:solidFill>
                </a:rPr>
                <a:t>Digital Customer Experience | Introduction to DCX</a:t>
              </a:r>
            </a:p>
          </p:txBody>
        </p:sp>
      </p:grpSp>
      <p:grpSp>
        <p:nvGrpSpPr>
          <p:cNvPr id="13" name="Groupe 1"/>
          <p:cNvGrpSpPr/>
          <p:nvPr userDrawn="1"/>
        </p:nvGrpSpPr>
        <p:grpSpPr>
          <a:xfrm>
            <a:off x="11501103" y="171573"/>
            <a:ext cx="419436" cy="388988"/>
            <a:chOff x="11501102" y="171573"/>
            <a:chExt cx="419436" cy="388988"/>
          </a:xfrm>
        </p:grpSpPr>
        <p:sp>
          <p:nvSpPr>
            <p:cNvPr id="17"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8"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grpSp>
    </p:spTree>
    <p:extLst>
      <p:ext uri="{BB962C8B-B14F-4D97-AF65-F5344CB8AC3E}">
        <p14:creationId xmlns:p14="http://schemas.microsoft.com/office/powerpoint/2010/main" val="179278290"/>
      </p:ext>
    </p:extLst>
  </p:cSld>
  <p:clrMap bg1="lt1" tx1="dk1" bg2="lt2" tx2="dk2" accent1="accent1" accent2="accent2" accent3="accent3" accent4="accent4" accent5="accent5" accent6="accent6" hlink="hlink" folHlink="folHlink"/>
  <p:sldLayoutIdLst>
    <p:sldLayoutId id="2147483706" r:id="rId1"/>
    <p:sldLayoutId id="2147483692" r:id="rId2"/>
    <p:sldLayoutId id="2147483740" r:id="rId3"/>
    <p:sldLayoutId id="2147483741" r:id="rId4"/>
    <p:sldLayoutId id="2147483742" r:id="rId5"/>
    <p:sldLayoutId id="2147483745" r:id="rId6"/>
    <p:sldLayoutId id="2147483746" r:id="rId7"/>
  </p:sldLayoutIdLst>
  <p:timing>
    <p:tnLst>
      <p:par>
        <p:cTn id="1" dur="indefinite" restart="never" nodeType="tmRoot"/>
      </p:par>
    </p:tnLst>
  </p:timing>
  <p:hf sldNum="0"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dirty="0">
          <a:ln>
            <a:noFill/>
          </a:ln>
          <a:solidFill>
            <a:srgbClr val="0070C0"/>
          </a:solidFill>
          <a:effectLst/>
          <a:uLnTx/>
          <a:uFillTx/>
          <a:latin typeface="+mj-lt"/>
          <a:ea typeface="+mj-ea"/>
          <a:cs typeface="+mj-cs"/>
        </a:defRPr>
      </a:lvl1pPr>
    </p:titleStyle>
    <p:bodyStyle>
      <a:lvl1pPr marL="118961" indent="-118961" algn="l" defTabSz="654500" rtl="0" eaLnBrk="1" latinLnBrk="0" hangingPunct="1">
        <a:lnSpc>
          <a:spcPct val="150000"/>
        </a:lnSpc>
        <a:spcBef>
          <a:spcPts val="0"/>
        </a:spcBef>
        <a:buClr>
          <a:schemeClr val="accent5"/>
        </a:buClr>
        <a:buFont typeface="Wingdings" pitchFamily="2" charset="2"/>
        <a:buChar char="§"/>
        <a:defRPr sz="1800" b="0" kern="1200">
          <a:solidFill>
            <a:schemeClr val="bg2">
              <a:lumMod val="50000"/>
            </a:schemeClr>
          </a:solidFill>
          <a:latin typeface="Arial"/>
          <a:ea typeface="+mn-ea"/>
          <a:cs typeface="Arial"/>
        </a:defRPr>
      </a:lvl1pPr>
      <a:lvl2pPr marL="254544" indent="-129545" algn="l" defTabSz="654500" rtl="0" eaLnBrk="1" latinLnBrk="0" hangingPunct="1">
        <a:lnSpc>
          <a:spcPct val="150000"/>
        </a:lnSpc>
        <a:spcBef>
          <a:spcPts val="0"/>
        </a:spcBef>
        <a:buClr>
          <a:schemeClr val="accent3"/>
        </a:buClr>
        <a:buFont typeface="Wingdings" pitchFamily="2" charset="2"/>
        <a:buChar char="§"/>
        <a:defRPr sz="1400" kern="1200">
          <a:solidFill>
            <a:schemeClr val="bg2">
              <a:lumMod val="50000"/>
            </a:schemeClr>
          </a:solidFill>
          <a:latin typeface="Arial"/>
          <a:ea typeface="+mn-ea"/>
          <a:cs typeface="Arial"/>
        </a:defRPr>
      </a:lvl2pPr>
      <a:lvl3pPr marL="384089" indent="-118181" algn="l" defTabSz="654500" rtl="0" eaLnBrk="1" latinLnBrk="0" hangingPunct="1">
        <a:lnSpc>
          <a:spcPct val="150000"/>
        </a:lnSpc>
        <a:spcBef>
          <a:spcPts val="0"/>
        </a:spcBef>
        <a:buClr>
          <a:schemeClr val="accent2"/>
        </a:buClr>
        <a:buFont typeface="Arial" pitchFamily="34" charset="0"/>
        <a:buChar char="•"/>
        <a:defRPr sz="1100" kern="1200">
          <a:solidFill>
            <a:schemeClr val="bg2">
              <a:lumMod val="50000"/>
            </a:schemeClr>
          </a:solidFill>
          <a:latin typeface="Arial"/>
          <a:ea typeface="+mn-ea"/>
          <a:cs typeface="Arial"/>
        </a:defRPr>
      </a:lvl3pPr>
      <a:lvl4pPr marL="509088" indent="-118181" algn="l" defTabSz="654500" rtl="0" eaLnBrk="1" latinLnBrk="0" hangingPunct="1">
        <a:lnSpc>
          <a:spcPct val="150000"/>
        </a:lnSpc>
        <a:spcBef>
          <a:spcPts val="0"/>
        </a:spcBef>
        <a:buClr>
          <a:schemeClr val="bg2"/>
        </a:buClr>
        <a:buFont typeface="Arial" pitchFamily="34" charset="0"/>
        <a:buChar char="–"/>
        <a:defRPr sz="1050" kern="1200">
          <a:solidFill>
            <a:schemeClr val="bg2">
              <a:lumMod val="50000"/>
            </a:schemeClr>
          </a:solidFill>
          <a:latin typeface="Arial"/>
          <a:ea typeface="+mn-ea"/>
          <a:cs typeface="Arial"/>
        </a:defRPr>
      </a:lvl4pPr>
      <a:lvl5pPr marL="1152194" indent="-138627" algn="l" defTabSz="654500" rtl="0" eaLnBrk="1" latinLnBrk="0" hangingPunct="1">
        <a:spcBef>
          <a:spcPts val="0"/>
        </a:spcBef>
        <a:buClr>
          <a:srgbClr val="B1B1B1"/>
        </a:buClr>
        <a:buFont typeface="Arial" pitchFamily="34" charset="0"/>
        <a:buChar char="–"/>
        <a:defRPr sz="1275" kern="1200">
          <a:solidFill>
            <a:srgbClr val="494949"/>
          </a:solidFill>
          <a:latin typeface="+mn-lt"/>
          <a:ea typeface="+mn-ea"/>
          <a:cs typeface="+mn-cs"/>
        </a:defRPr>
      </a:lvl5pPr>
      <a:lvl6pPr marL="1799876" indent="-163625" algn="l" defTabSz="654500" rtl="0" eaLnBrk="1" latinLnBrk="0" hangingPunct="1">
        <a:spcBef>
          <a:spcPct val="20000"/>
        </a:spcBef>
        <a:buFont typeface="Arial" pitchFamily="34" charset="0"/>
        <a:buChar char="•"/>
        <a:defRPr sz="1425" kern="1200">
          <a:solidFill>
            <a:schemeClr val="tx1"/>
          </a:solidFill>
          <a:latin typeface="+mn-lt"/>
          <a:ea typeface="+mn-ea"/>
          <a:cs typeface="+mn-cs"/>
        </a:defRPr>
      </a:lvl6pPr>
      <a:lvl7pPr marL="2127126" indent="-163625" algn="l" defTabSz="654500" rtl="0" eaLnBrk="1" latinLnBrk="0" hangingPunct="1">
        <a:spcBef>
          <a:spcPct val="20000"/>
        </a:spcBef>
        <a:buFont typeface="Arial" pitchFamily="34" charset="0"/>
        <a:buChar char="•"/>
        <a:defRPr sz="1425" kern="1200">
          <a:solidFill>
            <a:schemeClr val="tx1"/>
          </a:solidFill>
          <a:latin typeface="+mn-lt"/>
          <a:ea typeface="+mn-ea"/>
          <a:cs typeface="+mn-cs"/>
        </a:defRPr>
      </a:lvl7pPr>
      <a:lvl8pPr marL="2454377" indent="-163625" algn="l" defTabSz="654500" rtl="0" eaLnBrk="1" latinLnBrk="0" hangingPunct="1">
        <a:spcBef>
          <a:spcPct val="20000"/>
        </a:spcBef>
        <a:buFont typeface="Arial" pitchFamily="34" charset="0"/>
        <a:buChar char="•"/>
        <a:defRPr sz="1425" kern="1200">
          <a:solidFill>
            <a:schemeClr val="tx1"/>
          </a:solidFill>
          <a:latin typeface="+mn-lt"/>
          <a:ea typeface="+mn-ea"/>
          <a:cs typeface="+mn-cs"/>
        </a:defRPr>
      </a:lvl8pPr>
      <a:lvl9pPr marL="2781626" indent="-163625" algn="l" defTabSz="654500" rtl="0" eaLnBrk="1" latinLnBrk="0" hangingPunct="1">
        <a:spcBef>
          <a:spcPct val="20000"/>
        </a:spcBef>
        <a:buFont typeface="Arial" pitchFamily="34" charset="0"/>
        <a:buChar char="•"/>
        <a:defRPr sz="1425" kern="1200">
          <a:solidFill>
            <a:schemeClr val="tx1"/>
          </a:solidFill>
          <a:latin typeface="+mn-lt"/>
          <a:ea typeface="+mn-ea"/>
          <a:cs typeface="+mn-cs"/>
        </a:defRPr>
      </a:lvl9pPr>
    </p:bodyStyle>
    <p:otherStyle>
      <a:defPPr>
        <a:defRPr lang="fr-FR"/>
      </a:defPPr>
      <a:lvl1pPr marL="0" algn="l" defTabSz="654500" rtl="0" eaLnBrk="1" latinLnBrk="0" hangingPunct="1">
        <a:defRPr sz="1350" kern="1200">
          <a:solidFill>
            <a:schemeClr val="tx1"/>
          </a:solidFill>
          <a:latin typeface="+mn-lt"/>
          <a:ea typeface="+mn-ea"/>
          <a:cs typeface="+mn-cs"/>
        </a:defRPr>
      </a:lvl1pPr>
      <a:lvl2pPr marL="327251" algn="l" defTabSz="654500" rtl="0" eaLnBrk="1" latinLnBrk="0" hangingPunct="1">
        <a:defRPr sz="1350" kern="1200">
          <a:solidFill>
            <a:schemeClr val="tx1"/>
          </a:solidFill>
          <a:latin typeface="+mn-lt"/>
          <a:ea typeface="+mn-ea"/>
          <a:cs typeface="+mn-cs"/>
        </a:defRPr>
      </a:lvl2pPr>
      <a:lvl3pPr marL="654500" algn="l" defTabSz="654500" rtl="0" eaLnBrk="1" latinLnBrk="0" hangingPunct="1">
        <a:defRPr sz="1350" kern="1200">
          <a:solidFill>
            <a:schemeClr val="tx1"/>
          </a:solidFill>
          <a:latin typeface="+mn-lt"/>
          <a:ea typeface="+mn-ea"/>
          <a:cs typeface="+mn-cs"/>
        </a:defRPr>
      </a:lvl3pPr>
      <a:lvl4pPr marL="981751" algn="l" defTabSz="654500" rtl="0" eaLnBrk="1" latinLnBrk="0" hangingPunct="1">
        <a:defRPr sz="1350" kern="1200">
          <a:solidFill>
            <a:schemeClr val="tx1"/>
          </a:solidFill>
          <a:latin typeface="+mn-lt"/>
          <a:ea typeface="+mn-ea"/>
          <a:cs typeface="+mn-cs"/>
        </a:defRPr>
      </a:lvl4pPr>
      <a:lvl5pPr marL="1309001" algn="l" defTabSz="654500" rtl="0" eaLnBrk="1" latinLnBrk="0" hangingPunct="1">
        <a:defRPr sz="1350" kern="1200">
          <a:solidFill>
            <a:schemeClr val="tx1"/>
          </a:solidFill>
          <a:latin typeface="+mn-lt"/>
          <a:ea typeface="+mn-ea"/>
          <a:cs typeface="+mn-cs"/>
        </a:defRPr>
      </a:lvl5pPr>
      <a:lvl6pPr marL="1636251" algn="l" defTabSz="654500" rtl="0" eaLnBrk="1" latinLnBrk="0" hangingPunct="1">
        <a:defRPr sz="1350" kern="1200">
          <a:solidFill>
            <a:schemeClr val="tx1"/>
          </a:solidFill>
          <a:latin typeface="+mn-lt"/>
          <a:ea typeface="+mn-ea"/>
          <a:cs typeface="+mn-cs"/>
        </a:defRPr>
      </a:lvl6pPr>
      <a:lvl7pPr marL="1963501" algn="l" defTabSz="654500" rtl="0" eaLnBrk="1" latinLnBrk="0" hangingPunct="1">
        <a:defRPr sz="1350" kern="1200">
          <a:solidFill>
            <a:schemeClr val="tx1"/>
          </a:solidFill>
          <a:latin typeface="+mn-lt"/>
          <a:ea typeface="+mn-ea"/>
          <a:cs typeface="+mn-cs"/>
        </a:defRPr>
      </a:lvl7pPr>
      <a:lvl8pPr marL="2290752" algn="l" defTabSz="654500" rtl="0" eaLnBrk="1" latinLnBrk="0" hangingPunct="1">
        <a:defRPr sz="1350" kern="1200">
          <a:solidFill>
            <a:schemeClr val="tx1"/>
          </a:solidFill>
          <a:latin typeface="+mn-lt"/>
          <a:ea typeface="+mn-ea"/>
          <a:cs typeface="+mn-cs"/>
        </a:defRPr>
      </a:lvl8pPr>
      <a:lvl9pPr marL="2618002" algn="l" defTabSz="6545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287" name="think-cell Slide" r:id="rId21" imgW="270" imgH="270" progId="TCLayout.ActiveDocument.1">
                  <p:embed/>
                </p:oleObj>
              </mc:Choice>
              <mc:Fallback>
                <p:oleObj name="think-cell Slide" r:id="rId21" imgW="270" imgH="27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4425658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83" r:id="rId7"/>
    <p:sldLayoutId id="2147483784" r:id="rId8"/>
    <p:sldLayoutId id="2147483785" r:id="rId9"/>
    <p:sldLayoutId id="2147483786" r:id="rId10"/>
    <p:sldLayoutId id="2147483787" r:id="rId11"/>
    <p:sldLayoutId id="2147483788" r:id="rId12"/>
    <p:sldLayoutId id="2147483790" r:id="rId13"/>
    <p:sldLayoutId id="2147483791" r:id="rId14"/>
    <p:sldLayoutId id="2147483794" r:id="rId15"/>
    <p:sldLayoutId id="2147483795" r:id="rId16"/>
    <p:sldLayoutId id="2147483796" r:id="rId17"/>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guide id="3" pos="25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6573"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6792485"/>
      </p:ext>
    </p:extLst>
  </p:cSld>
  <p:clrMap bg1="lt1" tx1="dk1" bg2="lt2" tx2="dk2" accent1="accent1" accent2="accent2" accent3="accent3" accent4="accent4" accent5="accent5" accent6="accent6" hlink="hlink" folHlink="folHlink"/>
  <p:sldLayoutIdLst>
    <p:sldLayoutId id="2147483755" r:id="rId1"/>
    <p:sldLayoutId id="2147483756"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9"/>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6025" name="think-cell Slide" r:id="rId34" imgW="270" imgH="270" progId="TCLayout.ActiveDocument.1">
                  <p:embed/>
                </p:oleObj>
              </mc:Choice>
              <mc:Fallback>
                <p:oleObj name="think-cell Slide" r:id="rId34" imgW="270" imgH="270" progId="TCLayout.ActiveDocument.1">
                  <p:embed/>
                  <p:pic>
                    <p:nvPicPr>
                      <p:cNvPr id="0" name=""/>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smtClean="0"/>
              <a:t>Click to insert </a:t>
            </a:r>
            <a:r>
              <a:rPr lang="fr-FR" dirty="0" err="1" smtClean="0"/>
              <a:t>title</a:t>
            </a:r>
            <a:endParaRPr lang="en-US" dirty="0"/>
          </a:p>
        </p:txBody>
      </p:sp>
      <p:pic>
        <p:nvPicPr>
          <p:cNvPr id="11" name="Picture 103"/>
          <p:cNvPicPr>
            <a:picLocks noChangeAspect="1" noChangeArrowheads="1"/>
          </p:cNvPicPr>
          <p:nvPr userDrawn="1">
            <p:custDataLst>
              <p:tags r:id="rId30"/>
            </p:custDataLst>
          </p:nvPr>
        </p:nvPicPr>
        <p:blipFill>
          <a:blip r:embed="rId36" cstate="screen">
            <a:extLst>
              <a:ext uri="{28A0092B-C50C-407E-A947-70E740481C1C}">
                <a14:useLocalDpi xmlns:a14="http://schemas.microsoft.com/office/drawing/2010/main"/>
              </a:ext>
            </a:extLst>
          </a:blip>
          <a:stretch>
            <a:fillRect/>
          </a:stretch>
        </p:blipFill>
        <p:spPr bwMode="auto">
          <a:xfrm>
            <a:off x="460445" y="6490365"/>
            <a:ext cx="1047533" cy="240933"/>
          </a:xfrm>
          <a:prstGeom prst="rect">
            <a:avLst/>
          </a:prstGeom>
          <a:noFill/>
        </p:spPr>
      </p:pic>
      <p:grpSp>
        <p:nvGrpSpPr>
          <p:cNvPr id="16" name="Group 10"/>
          <p:cNvGrpSpPr/>
          <p:nvPr userDrawn="1"/>
        </p:nvGrpSpPr>
        <p:grpSpPr>
          <a:xfrm>
            <a:off x="7571874" y="6483359"/>
            <a:ext cx="4316313" cy="253173"/>
            <a:chOff x="6152147" y="6480941"/>
            <a:chExt cx="3507004" cy="253173"/>
          </a:xfrm>
        </p:grpSpPr>
        <p:sp>
          <p:nvSpPr>
            <p:cNvPr id="17" name="TextBox 10"/>
            <p:cNvSpPr txBox="1"/>
            <p:nvPr userDrawn="1">
              <p:custDataLst>
                <p:tags r:id="rId31"/>
              </p:custDataLst>
            </p:nvPr>
          </p:nvSpPr>
          <p:spPr>
            <a:xfrm>
              <a:off x="9659098" y="6634728"/>
              <a:ext cx="53" cy="99386"/>
            </a:xfrm>
            <a:prstGeom prst="rect">
              <a:avLst/>
            </a:prstGeom>
            <a:noFill/>
          </p:spPr>
          <p:txBody>
            <a:bodyPr wrap="none" lIns="0" tIns="0" rIns="0" bIns="0" rtlCol="0" anchor="ctr">
              <a:spAutoFit/>
            </a:bodyPr>
            <a:lstStyle/>
            <a:p>
              <a:pPr algn="ctr" defTabSz="884105"/>
              <a:endParaRPr lang="en-US" sz="646" dirty="0">
                <a:solidFill>
                  <a:srgbClr val="1C1C1C">
                    <a:lumMod val="75000"/>
                    <a:lumOff val="25000"/>
                  </a:srgbClr>
                </a:solidFill>
                <a:latin typeface="Arial"/>
              </a:endParaRPr>
            </a:p>
          </p:txBody>
        </p:sp>
        <p:sp>
          <p:nvSpPr>
            <p:cNvPr id="18" name="Rectangle 17"/>
            <p:cNvSpPr>
              <a:spLocks noChangeArrowheads="1"/>
            </p:cNvSpPr>
            <p:nvPr userDrawn="1">
              <p:custDataLst>
                <p:tags r:id="rId32"/>
              </p:custDataLst>
            </p:nvPr>
          </p:nvSpPr>
          <p:spPr bwMode="auto">
            <a:xfrm>
              <a:off x="6152147" y="6634728"/>
              <a:ext cx="3342760" cy="99386"/>
            </a:xfrm>
            <a:prstGeom prst="rect">
              <a:avLst/>
            </a:prstGeom>
            <a:noFill/>
            <a:ln w="19050">
              <a:noFill/>
              <a:miter lim="800000"/>
              <a:headEnd/>
              <a:tailEnd/>
            </a:ln>
            <a:effectLst/>
          </p:spPr>
          <p:txBody>
            <a:bodyPr wrap="square" lIns="0" tIns="0" rIns="0" bIns="0" anchor="ctr" anchorCtr="0">
              <a:spAutoFit/>
            </a:bodyPr>
            <a:lstStyle/>
            <a:p>
              <a:pPr algn="r" defTabSz="918895" eaLnBrk="0" hangingPunct="0">
                <a:defRPr/>
              </a:pPr>
              <a:r>
                <a:rPr lang="en-US" altLang="en-US" sz="646" dirty="0">
                  <a:solidFill>
                    <a:srgbClr val="1C1C1C">
                      <a:lumMod val="75000"/>
                      <a:lumOff val="25000"/>
                    </a:srgbClr>
                  </a:solidFill>
                  <a:latin typeface="Arial"/>
                  <a:cs typeface="Arial" pitchFamily="34" charset="0"/>
                </a:rPr>
                <a:t>Copyright © Capgemini </a:t>
              </a:r>
              <a:r>
                <a:rPr lang="en-US" altLang="en-US" sz="646" dirty="0" smtClean="0">
                  <a:solidFill>
                    <a:srgbClr val="1C1C1C">
                      <a:lumMod val="75000"/>
                      <a:lumOff val="25000"/>
                    </a:srgbClr>
                  </a:solidFill>
                  <a:latin typeface="Arial"/>
                  <a:cs typeface="Arial" pitchFamily="34" charset="0"/>
                </a:rPr>
                <a:t>2017. </a:t>
              </a:r>
              <a:r>
                <a:rPr lang="en-US" altLang="en-US" sz="646" dirty="0">
                  <a:solidFill>
                    <a:srgbClr val="1C1C1C">
                      <a:lumMod val="75000"/>
                      <a:lumOff val="25000"/>
                    </a:srgbClr>
                  </a:solidFill>
                  <a:latin typeface="Arial"/>
                  <a:cs typeface="Arial" pitchFamily="34" charset="0"/>
                </a:rPr>
                <a:t>All Rights Reserved</a:t>
              </a:r>
            </a:p>
          </p:txBody>
        </p:sp>
        <p:sp>
          <p:nvSpPr>
            <p:cNvPr id="19" name="Rectangle 18"/>
            <p:cNvSpPr/>
            <p:nvPr userDrawn="1">
              <p:custDataLst>
                <p:tags r:id="rId33"/>
              </p:custDataLst>
            </p:nvPr>
          </p:nvSpPr>
          <p:spPr>
            <a:xfrm>
              <a:off x="8006218" y="6480941"/>
              <a:ext cx="1488689" cy="99386"/>
            </a:xfrm>
            <a:prstGeom prst="rect">
              <a:avLst/>
            </a:prstGeom>
          </p:spPr>
          <p:txBody>
            <a:bodyPr wrap="none" lIns="0" tIns="0" rIns="0" bIns="0" anchor="ctr" anchorCtr="0">
              <a:spAutoFit/>
            </a:bodyPr>
            <a:lstStyle/>
            <a:p>
              <a:pPr algn="r" defTabSz="884105">
                <a:defRPr/>
              </a:pPr>
              <a:r>
                <a:rPr lang="en-US" sz="646" dirty="0">
                  <a:solidFill>
                    <a:srgbClr val="00234B"/>
                  </a:solidFill>
                  <a:latin typeface="Arial"/>
                </a:rPr>
                <a:t>Digital Customer Experience | Introduction to DCX</a:t>
              </a:r>
            </a:p>
          </p:txBody>
        </p:sp>
      </p:grpSp>
    </p:spTree>
    <p:extLst>
      <p:ext uri="{BB962C8B-B14F-4D97-AF65-F5344CB8AC3E}">
        <p14:creationId xmlns:p14="http://schemas.microsoft.com/office/powerpoint/2010/main" val="1155027178"/>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97" r:id="rId26"/>
  </p:sldLayoutIdLst>
  <p:timing>
    <p:tnLst>
      <p:par>
        <p:cTn id="1" dur="indefinite" restart="never" nodeType="tmRoot"/>
      </p:par>
    </p:tnLst>
  </p:timing>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9" Type="http://schemas.openxmlformats.org/officeDocument/2006/relationships/image" Target="../media/image99.jpeg"/><Relationship Id="rId20" Type="http://schemas.openxmlformats.org/officeDocument/2006/relationships/image" Target="../media/image110.png"/><Relationship Id="rId10" Type="http://schemas.openxmlformats.org/officeDocument/2006/relationships/image" Target="../media/image100.png"/><Relationship Id="rId11" Type="http://schemas.openxmlformats.org/officeDocument/2006/relationships/image" Target="../media/image101.jpeg"/><Relationship Id="rId12" Type="http://schemas.openxmlformats.org/officeDocument/2006/relationships/image" Target="../media/image102.jpeg"/><Relationship Id="rId13" Type="http://schemas.openxmlformats.org/officeDocument/2006/relationships/image" Target="../media/image103.png"/><Relationship Id="rId14" Type="http://schemas.openxmlformats.org/officeDocument/2006/relationships/image" Target="../media/image104.png"/><Relationship Id="rId15" Type="http://schemas.openxmlformats.org/officeDocument/2006/relationships/image" Target="../media/image105.jpeg"/><Relationship Id="rId16" Type="http://schemas.openxmlformats.org/officeDocument/2006/relationships/image" Target="../media/image106.png"/><Relationship Id="rId17" Type="http://schemas.openxmlformats.org/officeDocument/2006/relationships/image" Target="../media/image107.png"/><Relationship Id="rId18" Type="http://schemas.openxmlformats.org/officeDocument/2006/relationships/image" Target="../media/image108.png"/><Relationship Id="rId19" Type="http://schemas.openxmlformats.org/officeDocument/2006/relationships/image" Target="../media/image109.png"/><Relationship Id="rId1" Type="http://schemas.openxmlformats.org/officeDocument/2006/relationships/slideLayout" Target="../slideLayouts/slideLayout40.xml"/><Relationship Id="rId2" Type="http://schemas.openxmlformats.org/officeDocument/2006/relationships/notesSlide" Target="../notesSlides/notesSlide5.xml"/><Relationship Id="rId3" Type="http://schemas.openxmlformats.org/officeDocument/2006/relationships/image" Target="../media/image93.jpeg"/><Relationship Id="rId4" Type="http://schemas.openxmlformats.org/officeDocument/2006/relationships/image" Target="../media/image94.png"/><Relationship Id="rId5" Type="http://schemas.openxmlformats.org/officeDocument/2006/relationships/image" Target="../media/image95.png"/><Relationship Id="rId6" Type="http://schemas.openxmlformats.org/officeDocument/2006/relationships/image" Target="../media/image96.png"/><Relationship Id="rId7" Type="http://schemas.openxmlformats.org/officeDocument/2006/relationships/image" Target="../media/image97.png"/><Relationship Id="rId8" Type="http://schemas.openxmlformats.org/officeDocument/2006/relationships/image" Target="../media/image98.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2.xml"/><Relationship Id="rId4" Type="http://schemas.openxmlformats.org/officeDocument/2006/relationships/notesSlide" Target="../notesSlides/notesSlide6.xml"/><Relationship Id="rId5" Type="http://schemas.openxmlformats.org/officeDocument/2006/relationships/oleObject" Target="../embeddings/oleObject42.bin"/><Relationship Id="rId6" Type="http://schemas.openxmlformats.org/officeDocument/2006/relationships/image" Target="../media/image4.emf"/><Relationship Id="rId1" Type="http://schemas.openxmlformats.org/officeDocument/2006/relationships/vmlDrawing" Target="../drawings/vmlDrawing42.vml"/><Relationship Id="rId2" Type="http://schemas.openxmlformats.org/officeDocument/2006/relationships/tags" Target="../tags/tag98.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2.xml"/><Relationship Id="rId4" Type="http://schemas.openxmlformats.org/officeDocument/2006/relationships/notesSlide" Target="../notesSlides/notesSlide7.xml"/><Relationship Id="rId5" Type="http://schemas.openxmlformats.org/officeDocument/2006/relationships/oleObject" Target="../embeddings/oleObject43.bin"/><Relationship Id="rId6" Type="http://schemas.openxmlformats.org/officeDocument/2006/relationships/image" Target="../media/image4.emf"/><Relationship Id="rId1" Type="http://schemas.openxmlformats.org/officeDocument/2006/relationships/vmlDrawing" Target="../drawings/vmlDrawing43.vml"/><Relationship Id="rId2" Type="http://schemas.openxmlformats.org/officeDocument/2006/relationships/tags" Target="../tags/tag99.xml"/></Relationships>
</file>

<file path=ppt/slides/_rels/slide14.xml.rels><?xml version="1.0" encoding="UTF-8" standalone="yes"?>
<Relationships xmlns="http://schemas.openxmlformats.org/package/2006/relationships"><Relationship Id="rId3" Type="http://schemas.openxmlformats.org/officeDocument/2006/relationships/image" Target="../media/image112.jpeg"/><Relationship Id="rId4" Type="http://schemas.openxmlformats.org/officeDocument/2006/relationships/image" Target="../media/image113.jpeg"/><Relationship Id="rId5" Type="http://schemas.openxmlformats.org/officeDocument/2006/relationships/image" Target="../media/image114.png"/><Relationship Id="rId1" Type="http://schemas.openxmlformats.org/officeDocument/2006/relationships/slideLayout" Target="../slideLayouts/slideLayout51.xml"/><Relationship Id="rId2" Type="http://schemas.openxmlformats.org/officeDocument/2006/relationships/image" Target="../media/image111.png"/></Relationships>
</file>

<file path=ppt/slides/_rels/slide15.xml.rels><?xml version="1.0" encoding="UTF-8" standalone="yes"?>
<Relationships xmlns="http://schemas.openxmlformats.org/package/2006/relationships"><Relationship Id="rId3" Type="http://schemas.openxmlformats.org/officeDocument/2006/relationships/image" Target="../media/image116.png"/><Relationship Id="rId4" Type="http://schemas.openxmlformats.org/officeDocument/2006/relationships/image" Target="../media/image117.png"/><Relationship Id="rId5" Type="http://schemas.openxmlformats.org/officeDocument/2006/relationships/image" Target="../media/image118.emf"/><Relationship Id="rId6" Type="http://schemas.openxmlformats.org/officeDocument/2006/relationships/image" Target="../media/image119.png"/><Relationship Id="rId1" Type="http://schemas.openxmlformats.org/officeDocument/2006/relationships/slideLayout" Target="../slideLayouts/slideLayout32.xml"/><Relationship Id="rId2" Type="http://schemas.openxmlformats.org/officeDocument/2006/relationships/image" Target="../media/image115.jpeg"/></Relationships>
</file>

<file path=ppt/slides/_rels/slide16.xml.rels><?xml version="1.0" encoding="UTF-8" standalone="yes"?>
<Relationships xmlns="http://schemas.openxmlformats.org/package/2006/relationships"><Relationship Id="rId3" Type="http://schemas.openxmlformats.org/officeDocument/2006/relationships/image" Target="../media/image120.jpeg"/><Relationship Id="rId4" Type="http://schemas.openxmlformats.org/officeDocument/2006/relationships/image" Target="../media/image121.png"/><Relationship Id="rId1" Type="http://schemas.openxmlformats.org/officeDocument/2006/relationships/slideLayout" Target="../slideLayouts/slideLayout45.xml"/><Relationship Id="rId2" Type="http://schemas.openxmlformats.org/officeDocument/2006/relationships/notesSlide" Target="../notesSlides/notesSlide8.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1.xml"/><Relationship Id="rId4" Type="http://schemas.openxmlformats.org/officeDocument/2006/relationships/notesSlide" Target="../notesSlides/notesSlide9.xml"/><Relationship Id="rId5" Type="http://schemas.openxmlformats.org/officeDocument/2006/relationships/oleObject" Target="../embeddings/oleObject44.bin"/><Relationship Id="rId6" Type="http://schemas.openxmlformats.org/officeDocument/2006/relationships/image" Target="../media/image122.emf"/><Relationship Id="rId1" Type="http://schemas.openxmlformats.org/officeDocument/2006/relationships/vmlDrawing" Target="../drawings/vmlDrawing44.vml"/><Relationship Id="rId2" Type="http://schemas.openxmlformats.org/officeDocument/2006/relationships/tags" Target="../tags/tag100.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1.xml"/><Relationship Id="rId4" Type="http://schemas.openxmlformats.org/officeDocument/2006/relationships/notesSlide" Target="../notesSlides/notesSlide10.xml"/><Relationship Id="rId5" Type="http://schemas.openxmlformats.org/officeDocument/2006/relationships/oleObject" Target="../embeddings/oleObject45.bin"/><Relationship Id="rId6" Type="http://schemas.openxmlformats.org/officeDocument/2006/relationships/image" Target="../media/image4.emf"/><Relationship Id="rId1" Type="http://schemas.openxmlformats.org/officeDocument/2006/relationships/vmlDrawing" Target="../drawings/vmlDrawing45.vml"/><Relationship Id="rId2" Type="http://schemas.openxmlformats.org/officeDocument/2006/relationships/tags" Target="../tags/tag10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0.xml"/><Relationship Id="rId2" Type="http://schemas.openxmlformats.org/officeDocument/2006/relationships/notesSlide" Target="../notesSlides/notesSlide11.xml"/><Relationship Id="rId3" Type="http://schemas.openxmlformats.org/officeDocument/2006/relationships/image" Target="../media/image123.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11" Type="http://schemas.openxmlformats.org/officeDocument/2006/relationships/image" Target="../media/image127.jpeg"/><Relationship Id="rId12" Type="http://schemas.openxmlformats.org/officeDocument/2006/relationships/image" Target="../media/image128.png"/><Relationship Id="rId13" Type="http://schemas.openxmlformats.org/officeDocument/2006/relationships/image" Target="../media/image129.png"/><Relationship Id="rId14" Type="http://schemas.openxmlformats.org/officeDocument/2006/relationships/image" Target="../media/image130.png"/><Relationship Id="rId15" Type="http://schemas.openxmlformats.org/officeDocument/2006/relationships/chart" Target="../charts/chart2.xml"/><Relationship Id="rId1" Type="http://schemas.openxmlformats.org/officeDocument/2006/relationships/vmlDrawing" Target="../drawings/vmlDrawing46.vml"/><Relationship Id="rId2" Type="http://schemas.openxmlformats.org/officeDocument/2006/relationships/tags" Target="../tags/tag102.xml"/><Relationship Id="rId3" Type="http://schemas.openxmlformats.org/officeDocument/2006/relationships/slideLayout" Target="../slideLayouts/slideLayout40.xml"/><Relationship Id="rId4" Type="http://schemas.openxmlformats.org/officeDocument/2006/relationships/notesSlide" Target="../notesSlides/notesSlide12.xml"/><Relationship Id="rId5" Type="http://schemas.openxmlformats.org/officeDocument/2006/relationships/oleObject" Target="../embeddings/oleObject46.bin"/><Relationship Id="rId6" Type="http://schemas.openxmlformats.org/officeDocument/2006/relationships/image" Target="../media/image4.emf"/><Relationship Id="rId7" Type="http://schemas.openxmlformats.org/officeDocument/2006/relationships/chart" Target="../charts/chart1.xml"/><Relationship Id="rId8" Type="http://schemas.openxmlformats.org/officeDocument/2006/relationships/image" Target="../media/image124.jpeg"/><Relationship Id="rId9" Type="http://schemas.openxmlformats.org/officeDocument/2006/relationships/image" Target="../media/image125.png"/><Relationship Id="rId10" Type="http://schemas.openxmlformats.org/officeDocument/2006/relationships/image" Target="../media/image126.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4.xml"/><Relationship Id="rId2" Type="http://schemas.openxmlformats.org/officeDocument/2006/relationships/notesSlide" Target="../notesSlides/notesSlide13.xml"/></Relationships>
</file>

<file path=ppt/slides/_rels/slide22.xml.rels><?xml version="1.0" encoding="UTF-8" standalone="yes"?>
<Relationships xmlns="http://schemas.openxmlformats.org/package/2006/relationships"><Relationship Id="rId3" Type="http://schemas.openxmlformats.org/officeDocument/2006/relationships/image" Target="../media/image132.png"/><Relationship Id="rId4" Type="http://schemas.openxmlformats.org/officeDocument/2006/relationships/image" Target="../media/image133.png"/><Relationship Id="rId5" Type="http://schemas.openxmlformats.org/officeDocument/2006/relationships/image" Target="../media/image134.png"/><Relationship Id="rId6" Type="http://schemas.openxmlformats.org/officeDocument/2006/relationships/image" Target="../media/image135.png"/><Relationship Id="rId1" Type="http://schemas.openxmlformats.org/officeDocument/2006/relationships/slideLayout" Target="../slideLayouts/slideLayout51.xml"/><Relationship Id="rId2" Type="http://schemas.openxmlformats.org/officeDocument/2006/relationships/image" Target="../media/image131.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1.xml"/><Relationship Id="rId2" Type="http://schemas.openxmlformats.org/officeDocument/2006/relationships/notesSlide" Target="../notesSlides/notesSlide14.xml"/></Relationships>
</file>

<file path=ppt/slides/_rels/slide24.xml.rels><?xml version="1.0" encoding="UTF-8" standalone="yes"?>
<Relationships xmlns="http://schemas.openxmlformats.org/package/2006/relationships"><Relationship Id="rId9" Type="http://schemas.openxmlformats.org/officeDocument/2006/relationships/image" Target="../media/image143.png"/><Relationship Id="rId20" Type="http://schemas.openxmlformats.org/officeDocument/2006/relationships/image" Target="../media/image154.png"/><Relationship Id="rId21" Type="http://schemas.openxmlformats.org/officeDocument/2006/relationships/image" Target="../media/image155.png"/><Relationship Id="rId10" Type="http://schemas.openxmlformats.org/officeDocument/2006/relationships/image" Target="../media/image144.png"/><Relationship Id="rId11" Type="http://schemas.openxmlformats.org/officeDocument/2006/relationships/image" Target="../media/image145.png"/><Relationship Id="rId12" Type="http://schemas.openxmlformats.org/officeDocument/2006/relationships/image" Target="../media/image146.jpeg"/><Relationship Id="rId13" Type="http://schemas.openxmlformats.org/officeDocument/2006/relationships/image" Target="../media/image147.png"/><Relationship Id="rId14" Type="http://schemas.openxmlformats.org/officeDocument/2006/relationships/image" Target="../media/image148.png"/><Relationship Id="rId15" Type="http://schemas.openxmlformats.org/officeDocument/2006/relationships/image" Target="../media/image149.png"/><Relationship Id="rId16" Type="http://schemas.openxmlformats.org/officeDocument/2006/relationships/image" Target="../media/image150.jpeg"/><Relationship Id="rId17" Type="http://schemas.openxmlformats.org/officeDocument/2006/relationships/image" Target="../media/image151.jpeg"/><Relationship Id="rId18" Type="http://schemas.openxmlformats.org/officeDocument/2006/relationships/image" Target="../media/image152.png"/><Relationship Id="rId19" Type="http://schemas.openxmlformats.org/officeDocument/2006/relationships/image" Target="../media/image153.png"/><Relationship Id="rId1" Type="http://schemas.openxmlformats.org/officeDocument/2006/relationships/slideLayout" Target="../slideLayouts/slideLayout40.xml"/><Relationship Id="rId2" Type="http://schemas.openxmlformats.org/officeDocument/2006/relationships/image" Target="../media/image136.jpeg"/><Relationship Id="rId3" Type="http://schemas.openxmlformats.org/officeDocument/2006/relationships/image" Target="../media/image137.jpeg"/><Relationship Id="rId4" Type="http://schemas.openxmlformats.org/officeDocument/2006/relationships/image" Target="../media/image138.jpeg"/><Relationship Id="rId5" Type="http://schemas.openxmlformats.org/officeDocument/2006/relationships/image" Target="../media/image139.png"/><Relationship Id="rId6" Type="http://schemas.openxmlformats.org/officeDocument/2006/relationships/image" Target="../media/image140.png"/><Relationship Id="rId7" Type="http://schemas.openxmlformats.org/officeDocument/2006/relationships/image" Target="../media/image141.png"/><Relationship Id="rId8" Type="http://schemas.openxmlformats.org/officeDocument/2006/relationships/image" Target="../media/image142.jpeg"/></Relationships>
</file>

<file path=ppt/slides/_rels/slide25.xml.rels><?xml version="1.0" encoding="UTF-8" standalone="yes"?>
<Relationships xmlns="http://schemas.openxmlformats.org/package/2006/relationships"><Relationship Id="rId3" Type="http://schemas.openxmlformats.org/officeDocument/2006/relationships/image" Target="../media/image147.png"/><Relationship Id="rId4" Type="http://schemas.openxmlformats.org/officeDocument/2006/relationships/image" Target="../media/image157.png"/><Relationship Id="rId5" Type="http://schemas.openxmlformats.org/officeDocument/2006/relationships/image" Target="../media/image158.png"/><Relationship Id="rId6" Type="http://schemas.openxmlformats.org/officeDocument/2006/relationships/image" Target="../media/image159.jpeg"/><Relationship Id="rId7" Type="http://schemas.openxmlformats.org/officeDocument/2006/relationships/image" Target="../media/image160.jpeg"/><Relationship Id="rId8" Type="http://schemas.openxmlformats.org/officeDocument/2006/relationships/image" Target="../media/image161.png"/><Relationship Id="rId1" Type="http://schemas.openxmlformats.org/officeDocument/2006/relationships/slideLayout" Target="../slideLayouts/slideLayout50.xml"/><Relationship Id="rId2" Type="http://schemas.openxmlformats.org/officeDocument/2006/relationships/image" Target="../media/image156.jpe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7.xml.rels><?xml version="1.0" encoding="UTF-8" standalone="yes"?>
<Relationships xmlns="http://schemas.openxmlformats.org/package/2006/relationships"><Relationship Id="rId9" Type="http://schemas.openxmlformats.org/officeDocument/2006/relationships/image" Target="../media/image162.tiff"/><Relationship Id="rId20" Type="http://schemas.openxmlformats.org/officeDocument/2006/relationships/image" Target="../media/image173.png"/><Relationship Id="rId21" Type="http://schemas.openxmlformats.org/officeDocument/2006/relationships/image" Target="../media/image174.jpeg"/><Relationship Id="rId22" Type="http://schemas.openxmlformats.org/officeDocument/2006/relationships/image" Target="../media/image175.png"/><Relationship Id="rId23" Type="http://schemas.openxmlformats.org/officeDocument/2006/relationships/image" Target="../media/image176.png"/><Relationship Id="rId24" Type="http://schemas.openxmlformats.org/officeDocument/2006/relationships/image" Target="../media/image177.png"/><Relationship Id="rId25" Type="http://schemas.openxmlformats.org/officeDocument/2006/relationships/image" Target="../media/image178.png"/><Relationship Id="rId26" Type="http://schemas.openxmlformats.org/officeDocument/2006/relationships/image" Target="../media/image179.png"/><Relationship Id="rId27" Type="http://schemas.openxmlformats.org/officeDocument/2006/relationships/image" Target="../media/image180.jpeg"/><Relationship Id="rId28" Type="http://schemas.openxmlformats.org/officeDocument/2006/relationships/image" Target="../media/image181.jpeg"/><Relationship Id="rId10" Type="http://schemas.openxmlformats.org/officeDocument/2006/relationships/image" Target="../media/image163.png"/><Relationship Id="rId11" Type="http://schemas.openxmlformats.org/officeDocument/2006/relationships/image" Target="../media/image164.png"/><Relationship Id="rId12" Type="http://schemas.openxmlformats.org/officeDocument/2006/relationships/image" Target="../media/image165.png"/><Relationship Id="rId13" Type="http://schemas.openxmlformats.org/officeDocument/2006/relationships/image" Target="../media/image166.png"/><Relationship Id="rId14" Type="http://schemas.openxmlformats.org/officeDocument/2006/relationships/image" Target="../media/image167.png"/><Relationship Id="rId15" Type="http://schemas.openxmlformats.org/officeDocument/2006/relationships/image" Target="../media/image168.png"/><Relationship Id="rId16" Type="http://schemas.openxmlformats.org/officeDocument/2006/relationships/image" Target="../media/image169.png"/><Relationship Id="rId17" Type="http://schemas.openxmlformats.org/officeDocument/2006/relationships/image" Target="../media/image170.png"/><Relationship Id="rId18" Type="http://schemas.openxmlformats.org/officeDocument/2006/relationships/image" Target="../media/image171.tiff"/><Relationship Id="rId19" Type="http://schemas.openxmlformats.org/officeDocument/2006/relationships/image" Target="../media/image172.jpeg"/><Relationship Id="rId1" Type="http://schemas.openxmlformats.org/officeDocument/2006/relationships/tags" Target="../tags/tag103.xml"/><Relationship Id="rId2" Type="http://schemas.openxmlformats.org/officeDocument/2006/relationships/tags" Target="../tags/tag104.xml"/><Relationship Id="rId3" Type="http://schemas.openxmlformats.org/officeDocument/2006/relationships/tags" Target="../tags/tag105.xml"/><Relationship Id="rId4" Type="http://schemas.openxmlformats.org/officeDocument/2006/relationships/tags" Target="../tags/tag106.xml"/><Relationship Id="rId5" Type="http://schemas.openxmlformats.org/officeDocument/2006/relationships/tags" Target="../tags/tag107.xml"/><Relationship Id="rId6" Type="http://schemas.openxmlformats.org/officeDocument/2006/relationships/tags" Target="../tags/tag108.xml"/><Relationship Id="rId7" Type="http://schemas.openxmlformats.org/officeDocument/2006/relationships/slideLayout" Target="../slideLayouts/slideLayout32.xml"/><Relationship Id="rId8" Type="http://schemas.openxmlformats.org/officeDocument/2006/relationships/notesSlide" Target="../notesSlides/notesSlide1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notesSlide" Target="../notesSlides/notesSlide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3" Type="http://schemas.openxmlformats.org/officeDocument/2006/relationships/image" Target="../media/image25.jpeg"/><Relationship Id="rId4" Type="http://schemas.openxmlformats.org/officeDocument/2006/relationships/image" Target="../media/image26.jpeg"/><Relationship Id="rId5" Type="http://schemas.openxmlformats.org/officeDocument/2006/relationships/image" Target="../media/image27.png"/><Relationship Id="rId6" Type="http://schemas.openxmlformats.org/officeDocument/2006/relationships/image" Target="../media/image28.jpeg"/><Relationship Id="rId7" Type="http://schemas.openxmlformats.org/officeDocument/2006/relationships/image" Target="../media/image29.png"/><Relationship Id="rId1" Type="http://schemas.openxmlformats.org/officeDocument/2006/relationships/slideLayout" Target="../slideLayouts/slideLayout32.xml"/><Relationship Id="rId2" Type="http://schemas.openxmlformats.org/officeDocument/2006/relationships/notesSlide" Target="../notesSlides/notesSlide3.xml"/></Relationships>
</file>

<file path=ppt/slides/_rels/slide9.xml.rels><?xml version="1.0" encoding="UTF-8" standalone="yes"?>
<Relationships xmlns="http://schemas.openxmlformats.org/package/2006/relationships"><Relationship Id="rId1" Type="http://schemas.openxmlformats.org/officeDocument/2006/relationships/vmlDrawing" Target="../drawings/vmlDrawing41.vml"/><Relationship Id="rId2" Type="http://schemas.openxmlformats.org/officeDocument/2006/relationships/tags" Target="../tags/tag96.xml"/><Relationship Id="rId3" Type="http://schemas.openxmlformats.org/officeDocument/2006/relationships/slideLayout" Target="../slideLayouts/slideLayout32.xml"/><Relationship Id="rId4" Type="http://schemas.openxmlformats.org/officeDocument/2006/relationships/notesSlide" Target="../notesSlides/notesSlide4.xml"/><Relationship Id="rId5" Type="http://schemas.openxmlformats.org/officeDocument/2006/relationships/oleObject" Target="../embeddings/oleObject41.bin"/><Relationship Id="rId6" Type="http://schemas.openxmlformats.org/officeDocument/2006/relationships/image" Target="../media/image30.emf"/><Relationship Id="rId7" Type="http://schemas.openxmlformats.org/officeDocument/2006/relationships/image" Target="../media/image31.gif"/><Relationship Id="rId8" Type="http://schemas.openxmlformats.org/officeDocument/2006/relationships/image" Target="../media/image32.jpeg"/><Relationship Id="rId9" Type="http://schemas.openxmlformats.org/officeDocument/2006/relationships/image" Target="../media/image33.png"/><Relationship Id="rId10" Type="http://schemas.openxmlformats.org/officeDocument/2006/relationships/image" Target="../media/image34.png"/><Relationship Id="rId11" Type="http://schemas.openxmlformats.org/officeDocument/2006/relationships/image" Target="../media/image35.jpeg"/><Relationship Id="rId12" Type="http://schemas.openxmlformats.org/officeDocument/2006/relationships/image" Target="../media/image36.jpeg"/><Relationship Id="rId13" Type="http://schemas.openxmlformats.org/officeDocument/2006/relationships/image" Target="../media/image37.jpeg"/><Relationship Id="rId14" Type="http://schemas.openxmlformats.org/officeDocument/2006/relationships/image" Target="../media/image38.png"/><Relationship Id="rId15" Type="http://schemas.openxmlformats.org/officeDocument/2006/relationships/image" Target="../media/image39.png"/><Relationship Id="rId16" Type="http://schemas.openxmlformats.org/officeDocument/2006/relationships/image" Target="../media/image40.jpeg"/><Relationship Id="rId17" Type="http://schemas.openxmlformats.org/officeDocument/2006/relationships/image" Target="../media/image41.png"/><Relationship Id="rId18" Type="http://schemas.openxmlformats.org/officeDocument/2006/relationships/hyperlink" Target="http://www.bing.com/images/search?q=ING+Groep+N.V.+logos&amp;view=detailv2&amp;&amp;&amp;id=154C072DBC344461A8DEA8B6ED3A411086FC30B2&amp;selectedIndex=1&amp;ccid=ojQWAhoZ&amp;simid=608002911133764135&amp;thid=JN.0vYwcOI8I0gCf1s5sQckD" TargetMode="External"/><Relationship Id="rId19" Type="http://schemas.openxmlformats.org/officeDocument/2006/relationships/image" Target="../media/image42.jpeg"/><Relationship Id="rId30" Type="http://schemas.openxmlformats.org/officeDocument/2006/relationships/image" Target="../media/image51.png"/><Relationship Id="rId31" Type="http://schemas.openxmlformats.org/officeDocument/2006/relationships/hyperlink" Target="http://www.bing.com/images/search?q=volkswagen+ag+logo&amp;id=57A8715722BBF7D86417729EF5340EE59CB00B14&amp;FORM=IQFRB" TargetMode="External"/><Relationship Id="rId32" Type="http://schemas.openxmlformats.org/officeDocument/2006/relationships/image" Target="../media/image52.jpeg"/><Relationship Id="rId33" Type="http://schemas.openxmlformats.org/officeDocument/2006/relationships/image" Target="../media/image53.jpeg"/><Relationship Id="rId34" Type="http://schemas.openxmlformats.org/officeDocument/2006/relationships/hyperlink" Target="http://www.bing.com/images/search?q=china+huaneng+group+logo&amp;view=detailv2&amp;&amp;qpvt=china+huaneng+group+logo&amp;id=D6701F86B3C04C0F48A6B5A39DDEA95B04590EBC&amp;selectedIndex=1&amp;ccid=ITkAqk/E&amp;simid=607995777194330764&amp;thid=JN.Ao/8H0GR35SnL/LZJDlGy" TargetMode="External"/><Relationship Id="rId35" Type="http://schemas.openxmlformats.org/officeDocument/2006/relationships/image" Target="../media/image54.jpeg"/><Relationship Id="rId36" Type="http://schemas.openxmlformats.org/officeDocument/2006/relationships/hyperlink" Target="http://www.bing.com/images/search?q=General+Motors+Corporation+logo&amp;view=detailv2&amp;&amp;&amp;id=A0EE16690F602A43613FCE614488577F26AE0C13&amp;selectedIndex=2&amp;ccid=9ipkVKsr&amp;simid=608045366886270598&amp;thid=JN.omDbFz+V0+UbGoIM+LYb7" TargetMode="External"/><Relationship Id="rId37" Type="http://schemas.openxmlformats.org/officeDocument/2006/relationships/image" Target="../media/image55.jpeg"/><Relationship Id="rId38" Type="http://schemas.openxmlformats.org/officeDocument/2006/relationships/hyperlink" Target="http://www.renault.com/" TargetMode="External"/><Relationship Id="rId39" Type="http://schemas.openxmlformats.org/officeDocument/2006/relationships/image" Target="../media/image56.jpeg"/><Relationship Id="rId50" Type="http://schemas.openxmlformats.org/officeDocument/2006/relationships/hyperlink" Target="http://www.bing.com/images/search?q=unicredit+spa+logo&amp;id=FAE0348C56BE6FCFA8FD1C9BD90A80B1448BF210&amp;FORM=IQFRB" TargetMode="External"/><Relationship Id="rId51" Type="http://schemas.openxmlformats.org/officeDocument/2006/relationships/image" Target="../media/image62.jpeg"/><Relationship Id="rId52" Type="http://schemas.openxmlformats.org/officeDocument/2006/relationships/hyperlink" Target="http://www.bing.com/images/search?q=Vodafone+Group+Plc+logo&amp;view=detailv2&amp;&amp;&amp;id=398D8BD3E88407DFB730F1A7114BB12D8AD5B2E9&amp;selectedIndex=0&amp;ccid=8e/lwsfx&amp;simid=607996855229484394&amp;thid=JN.tJ4gtGnsuCTNOikkhzDyL" TargetMode="External"/><Relationship Id="rId53" Type="http://schemas.openxmlformats.org/officeDocument/2006/relationships/image" Target="../media/image63.jpeg"/><Relationship Id="rId54" Type="http://schemas.openxmlformats.org/officeDocument/2006/relationships/hyperlink" Target="http://www.bing.com/images/search?q=Confindustria+-+Confederazione+Generale+Dellindustria+Italiana&amp;view=detailv2&amp;&amp;&amp;id=8039301145783F8AE9EB67457619AC42164E4F33&amp;selectedIndex=1&amp;ccid=YoNbCwK8&amp;simid=608056125778955101&amp;thid=JN.N/0nRqTLiyjiD77rdJ0a1" TargetMode="External"/><Relationship Id="rId55" Type="http://schemas.openxmlformats.org/officeDocument/2006/relationships/image" Target="../media/image64.jpeg"/><Relationship Id="rId56" Type="http://schemas.openxmlformats.org/officeDocument/2006/relationships/hyperlink" Target="http://www.bing.com/images/search?q=Ferrero+International+Sa+logo&amp;view=detailv2&amp;&amp;&amp;id=D299592B49C439BA3A3CE0D4BF0AF4C7E88C3E59&amp;selectedIndex=0&amp;ccid=wXxv5Yxb&amp;simid=608024282885654121&amp;thid=JN.3i22kRRfNIC4QhRRngHD8" TargetMode="External"/><Relationship Id="rId57" Type="http://schemas.openxmlformats.org/officeDocument/2006/relationships/image" Target="../media/image65.jpeg"/><Relationship Id="rId58" Type="http://schemas.openxmlformats.org/officeDocument/2006/relationships/hyperlink" Target="http://www.bing.com/images/search?q=ALBO+PROMOTORI+FINANZIARI+logo&amp;view=detailv2&amp;&amp;&amp;id=D4751D2954E5769AA4C91B2DA3D9F1AA74E2A744&amp;selectedIndex=0&amp;ccid=cPLjZkoz&amp;simid=608019743110137079&amp;thid=JN.wevl3IiSqmlJY2ObVonve" TargetMode="External"/><Relationship Id="rId59" Type="http://schemas.openxmlformats.org/officeDocument/2006/relationships/image" Target="../media/image66.jpeg"/><Relationship Id="rId70" Type="http://schemas.openxmlformats.org/officeDocument/2006/relationships/image" Target="../media/image73.jpeg"/><Relationship Id="rId71" Type="http://schemas.openxmlformats.org/officeDocument/2006/relationships/hyperlink" Target="http://www.bing.com/images/search?q=SKF+AB+logo&amp;id=AF73787DA4BD89AF065D1C9B2C547F4EF9E9186A&amp;FORM=IQFRB" TargetMode="External"/><Relationship Id="rId72" Type="http://schemas.openxmlformats.org/officeDocument/2006/relationships/image" Target="../media/image74.jpeg"/><Relationship Id="rId73" Type="http://schemas.openxmlformats.org/officeDocument/2006/relationships/image" Target="../media/image75.png"/><Relationship Id="rId74" Type="http://schemas.openxmlformats.org/officeDocument/2006/relationships/image" Target="../media/image76.png"/><Relationship Id="rId75" Type="http://schemas.openxmlformats.org/officeDocument/2006/relationships/image" Target="../media/image77.gif"/><Relationship Id="rId76" Type="http://schemas.openxmlformats.org/officeDocument/2006/relationships/hyperlink" Target="http://www.bing.com/images/search?q=woolworths+limited+logo&amp;id=0313B6D17DD7E88DF6C3882335F1EB2F303B1860&amp;FORM=IQFRB" TargetMode="External"/><Relationship Id="rId77" Type="http://schemas.openxmlformats.org/officeDocument/2006/relationships/image" Target="../media/image78.jpeg"/><Relationship Id="rId78" Type="http://schemas.openxmlformats.org/officeDocument/2006/relationships/hyperlink" Target="http://www.bing.com/images/search?q=department+of+human+services+logo&amp;id=9A36C08FC44250362AE2A84EA78D0BC6CD555C0D&amp;FORM=IQFRB" TargetMode="External"/><Relationship Id="rId79" Type="http://schemas.openxmlformats.org/officeDocument/2006/relationships/image" Target="../media/image79.jpeg"/><Relationship Id="rId90" Type="http://schemas.openxmlformats.org/officeDocument/2006/relationships/image" Target="../media/image88.png"/><Relationship Id="rId91" Type="http://schemas.openxmlformats.org/officeDocument/2006/relationships/image" Target="../media/image89.jpeg"/><Relationship Id="rId92" Type="http://schemas.openxmlformats.org/officeDocument/2006/relationships/image" Target="../media/image90.png"/><Relationship Id="rId93" Type="http://schemas.openxmlformats.org/officeDocument/2006/relationships/image" Target="../media/image91.png"/><Relationship Id="rId94" Type="http://schemas.openxmlformats.org/officeDocument/2006/relationships/image" Target="../media/image92.jpeg"/><Relationship Id="rId20" Type="http://schemas.openxmlformats.org/officeDocument/2006/relationships/hyperlink" Target="http://www.bing.com/images/search?q=ministerie+van+veiligheid+&amp;+justitie+kerndepartement+logo&amp;id=01B96A2F55DEA994D743DD92B588EA36E431EEB3&amp;FORM=IQFRB" TargetMode="External"/><Relationship Id="rId21" Type="http://schemas.openxmlformats.org/officeDocument/2006/relationships/image" Target="../media/image43.jpeg"/><Relationship Id="rId22" Type="http://schemas.openxmlformats.org/officeDocument/2006/relationships/hyperlink" Target="http://www.bing.com/images/search?q=lokale+overheid&amp;id=1C116CD2869A2076C8ABD7F605DC849F0DD5F000&amp;FORM=IQFRB" TargetMode="External"/><Relationship Id="rId23" Type="http://schemas.openxmlformats.org/officeDocument/2006/relationships/image" Target="../media/image44.jpeg"/><Relationship Id="rId24" Type="http://schemas.openxmlformats.org/officeDocument/2006/relationships/image" Target="../media/image45.jpeg"/><Relationship Id="rId25" Type="http://schemas.openxmlformats.org/officeDocument/2006/relationships/image" Target="../media/image46.png"/><Relationship Id="rId26" Type="http://schemas.openxmlformats.org/officeDocument/2006/relationships/image" Target="../media/image47.png"/><Relationship Id="rId27" Type="http://schemas.openxmlformats.org/officeDocument/2006/relationships/image" Target="../media/image48.png"/><Relationship Id="rId28" Type="http://schemas.openxmlformats.org/officeDocument/2006/relationships/image" Target="../media/image49.jpeg"/><Relationship Id="rId29" Type="http://schemas.openxmlformats.org/officeDocument/2006/relationships/image" Target="../media/image50.gif"/><Relationship Id="rId40" Type="http://schemas.openxmlformats.org/officeDocument/2006/relationships/hyperlink" Target="http://www.pingan.com/" TargetMode="External"/><Relationship Id="rId41" Type="http://schemas.openxmlformats.org/officeDocument/2006/relationships/image" Target="../media/image57.jpeg"/><Relationship Id="rId42" Type="http://schemas.openxmlformats.org/officeDocument/2006/relationships/hyperlink" Target="http://www.bing.com/images/search?q=GAS+NATURAL+SDG,+S.A.+logos&amp;view=detailv2&amp;&amp;&amp;id=C082AA8283AD523B9DD46705BB7A14D2F0988917&amp;selectedIndex=0&amp;ccid=nIsfx2pT&amp;simid=608026748200616562&amp;thid=JN.sVHOa55rKSBxo8Ar936cJ" TargetMode="External"/><Relationship Id="rId43" Type="http://schemas.openxmlformats.org/officeDocument/2006/relationships/image" Target="../media/image58.jpeg"/><Relationship Id="rId44" Type="http://schemas.openxmlformats.org/officeDocument/2006/relationships/hyperlink" Target="http://www.bing.com/images/search?q=ministerio+de+justicia+logos&amp;id=2D8AB185A104D4CD22A19B0CC2C7E534F90A0419&amp;FORM=IQFRB" TargetMode="External"/><Relationship Id="rId45" Type="http://schemas.openxmlformats.org/officeDocument/2006/relationships/image" Target="../media/image59.jpeg"/><Relationship Id="rId46" Type="http://schemas.openxmlformats.org/officeDocument/2006/relationships/hyperlink" Target="http://www.bing.com/images/search?q=Santa+Lucia+Sa+Compania+De+Seguros+logo&amp;view=detailv2&amp;&amp;&amp;id=B648DD206DB846CEDEEE10EECC0171FEE4E75933&amp;selectedIndex=1&amp;ccid=mpjPbkdp&amp;simid=608042399063803140&amp;thid=JN.djWHStJ13akK0zTgtUfxU" TargetMode="External"/><Relationship Id="rId47" Type="http://schemas.openxmlformats.org/officeDocument/2006/relationships/image" Target="../media/image60.jpeg"/><Relationship Id="rId48" Type="http://schemas.openxmlformats.org/officeDocument/2006/relationships/hyperlink" Target="http://www.bing.com/images/search?q=Mercadona+Sa+logos&amp;view=detailv2&amp;&amp;&amp;id=7295B04DFACCF39AA342D8B15CEE85F3EE2CCF21&amp;selectedIndex=1&amp;ccid=vwahHjb/&amp;simid=608027684506110122&amp;thid=JN.U1/uZAs0Bj9+BSnsVViOA" TargetMode="External"/><Relationship Id="rId49" Type="http://schemas.openxmlformats.org/officeDocument/2006/relationships/image" Target="../media/image61.jpeg"/><Relationship Id="rId60" Type="http://schemas.openxmlformats.org/officeDocument/2006/relationships/hyperlink" Target="http://www.bing.com/images/search?q=daimler+ag+logo&amp;id=D61AE9377ECE37A04ED5DE4603FBEFAEEC5E3032&amp;FORM=IQFRB" TargetMode="External"/><Relationship Id="rId61" Type="http://schemas.openxmlformats.org/officeDocument/2006/relationships/image" Target="../media/image67.jpeg"/><Relationship Id="rId62" Type="http://schemas.openxmlformats.org/officeDocument/2006/relationships/hyperlink" Target="http://www.bing.com/images/search?q=bayer+ag+logo&amp;id=7569A7D833374E0532D2DD284911B63F735B493B&amp;FORM=IQFRB" TargetMode="External"/><Relationship Id="rId63" Type="http://schemas.openxmlformats.org/officeDocument/2006/relationships/image" Target="../media/image68.jpeg"/><Relationship Id="rId64" Type="http://schemas.openxmlformats.org/officeDocument/2006/relationships/hyperlink" Target="http://www.bing.com/images/search?q=commerzbank+ag+logo&amp;id=5C8772134CB512CEC36C11D799A6D3BB5223C68E&amp;FORM=IQFRB" TargetMode="External"/><Relationship Id="rId65" Type="http://schemas.openxmlformats.org/officeDocument/2006/relationships/image" Target="../media/image69.jpeg"/><Relationship Id="rId66" Type="http://schemas.openxmlformats.org/officeDocument/2006/relationships/image" Target="../media/image70.jpeg"/><Relationship Id="rId67" Type="http://schemas.openxmlformats.org/officeDocument/2006/relationships/image" Target="../media/image71.jpeg"/><Relationship Id="rId68" Type="http://schemas.openxmlformats.org/officeDocument/2006/relationships/hyperlink" Target="http://www.bing.com/images/search?q=ikea+logos&amp;view=detailv2&amp;&amp;&amp;id=BBA0F952576AB4E64F377BD2AC4EBA2A6F5552D7&amp;selectedIndex=0&amp;ccid=rhyhyWIn&amp;simid=608005165989235776&amp;thid=JN.qBf9UuuxZZsdGhoF9+teS" TargetMode="External"/><Relationship Id="rId69" Type="http://schemas.openxmlformats.org/officeDocument/2006/relationships/image" Target="../media/image72.jpeg"/><Relationship Id="rId80" Type="http://schemas.openxmlformats.org/officeDocument/2006/relationships/image" Target="../media/image80.png"/><Relationship Id="rId81" Type="http://schemas.openxmlformats.org/officeDocument/2006/relationships/hyperlink" Target="http://www.bing.com/images/search?q=enel+spa+logo&amp;id=E9164D7898390FB2E5F9CDEE1287B9093F629143&amp;FORM=IQFRB" TargetMode="External"/><Relationship Id="rId82" Type="http://schemas.openxmlformats.org/officeDocument/2006/relationships/image" Target="../media/image81.jpeg"/><Relationship Id="rId83" Type="http://schemas.openxmlformats.org/officeDocument/2006/relationships/image" Target="../media/image82.png"/><Relationship Id="rId84" Type="http://schemas.openxmlformats.org/officeDocument/2006/relationships/hyperlink" Target="http://www.bing.com/images/search?q=sabmiller+plc+logo&amp;id=4DA1ADEBBDD47BAD5348D44E805F078A446D5C40&amp;FORM=IQFRB" TargetMode="External"/><Relationship Id="rId85" Type="http://schemas.openxmlformats.org/officeDocument/2006/relationships/image" Target="../media/image83.jpeg"/><Relationship Id="rId86" Type="http://schemas.openxmlformats.org/officeDocument/2006/relationships/image" Target="../media/image84.gif"/><Relationship Id="rId87" Type="http://schemas.openxmlformats.org/officeDocument/2006/relationships/image" Target="../media/image85.jpeg"/><Relationship Id="rId88" Type="http://schemas.openxmlformats.org/officeDocument/2006/relationships/image" Target="../media/image86.png"/><Relationship Id="rId89" Type="http://schemas.openxmlformats.org/officeDocument/2006/relationships/image" Target="../media/image8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US" dirty="0" smtClean="0"/>
              <a:t>Digital Customer Experience (DCX) at Capgemini</a:t>
            </a:r>
            <a:endParaRPr lang="en-US" dirty="0"/>
          </a:p>
        </p:txBody>
      </p:sp>
      <p:sp>
        <p:nvSpPr>
          <p:cNvPr id="5" name="Subtitle 4"/>
          <p:cNvSpPr>
            <a:spLocks noGrp="1"/>
          </p:cNvSpPr>
          <p:nvPr>
            <p:ph type="subTitle" idx="1"/>
          </p:nvPr>
        </p:nvSpPr>
        <p:spPr/>
        <p:txBody>
          <a:bodyPr/>
          <a:lstStyle/>
          <a:p>
            <a:r>
              <a:rPr lang="en-US" dirty="0" smtClean="0"/>
              <a:t>IIT Bombay, Tech Fest 2017</a:t>
            </a:r>
          </a:p>
          <a:p>
            <a:r>
              <a:rPr lang="en-US" dirty="0" smtClean="0"/>
              <a:t>30</a:t>
            </a:r>
            <a:r>
              <a:rPr lang="en-US" baseline="30000" dirty="0" smtClean="0"/>
              <a:t>th</a:t>
            </a:r>
            <a:r>
              <a:rPr lang="en-US" dirty="0" smtClean="0"/>
              <a:t> Dec 2017</a:t>
            </a:r>
          </a:p>
          <a:p>
            <a:endParaRPr lang="en-GB" dirty="0"/>
          </a:p>
        </p:txBody>
      </p:sp>
    </p:spTree>
    <p:extLst>
      <p:ext uri="{BB962C8B-B14F-4D97-AF65-F5344CB8AC3E}">
        <p14:creationId xmlns:p14="http://schemas.microsoft.com/office/powerpoint/2010/main" val="40790953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16" name="Straight Connector 152"/>
          <p:cNvCxnSpPr>
            <a:cxnSpLocks noChangeShapeType="1"/>
          </p:cNvCxnSpPr>
          <p:nvPr/>
        </p:nvCxnSpPr>
        <p:spPr bwMode="auto">
          <a:xfrm flipH="1">
            <a:off x="6923156" y="4225231"/>
            <a:ext cx="3542050" cy="0"/>
          </a:xfrm>
          <a:prstGeom prst="line">
            <a:avLst/>
          </a:prstGeom>
          <a:noFill/>
          <a:ln w="12700" cap="rnd" algn="ctr">
            <a:gradFill flip="none" rotWithShape="1">
              <a:gsLst>
                <a:gs pos="0">
                  <a:srgbClr val="898E10"/>
                </a:gs>
                <a:gs pos="50000">
                  <a:srgbClr val="898E10"/>
                </a:gs>
                <a:gs pos="100000">
                  <a:srgbClr val="B1B3B4"/>
                </a:gs>
              </a:gsLst>
              <a:lin ang="0" scaled="1"/>
              <a:tileRect/>
            </a:gradFill>
            <a:round/>
            <a:headEnd type="oval" w="med" len="med"/>
            <a:tailEnd type="oval" w="med" len="med"/>
          </a:ln>
        </p:spPr>
      </p:cxnSp>
      <p:sp>
        <p:nvSpPr>
          <p:cNvPr id="2" name="Title 1"/>
          <p:cNvSpPr>
            <a:spLocks noGrp="1"/>
          </p:cNvSpPr>
          <p:nvPr>
            <p:ph type="title"/>
          </p:nvPr>
        </p:nvSpPr>
        <p:spPr/>
        <p:txBody>
          <a:bodyPr/>
          <a:lstStyle/>
          <a:p>
            <a:r>
              <a:rPr lang="en-GB" dirty="0"/>
              <a:t>Capgemini DCX orchestrates five Capabilities with their underpinning Solutions</a:t>
            </a:r>
            <a:endParaRPr lang="fr-FR" dirty="0"/>
          </a:p>
        </p:txBody>
      </p:sp>
      <p:sp>
        <p:nvSpPr>
          <p:cNvPr id="60" name="Rectangle 59"/>
          <p:cNvSpPr/>
          <p:nvPr/>
        </p:nvSpPr>
        <p:spPr>
          <a:xfrm>
            <a:off x="1728183" y="2058420"/>
            <a:ext cx="2624116" cy="1048457"/>
          </a:xfrm>
          <a:prstGeom prst="rect">
            <a:avLst/>
          </a:prstGeom>
          <a:noFill/>
          <a:ln w="6350" cap="flat" cmpd="sng" algn="ctr">
            <a:noFill/>
            <a:prstDash val="sysDash"/>
          </a:ln>
          <a:effectLst/>
        </p:spPr>
        <p:txBody>
          <a:bodyPr lIns="45688" tIns="27412" rIns="45688" bIns="27412" rtlCol="0" anchor="t" anchorCtr="0"/>
          <a:lstStyle/>
          <a:p>
            <a:pPr marL="171331" indent="-171331" defTabSz="843509">
              <a:buClr>
                <a:srgbClr val="2384A1"/>
              </a:buClr>
              <a:buFont typeface="Wingdings" pitchFamily="2" charset="2"/>
              <a:buChar char="§"/>
            </a:pPr>
            <a:r>
              <a:rPr lang="en-US" sz="1100" kern="0" dirty="0">
                <a:solidFill>
                  <a:srgbClr val="2384A1"/>
                </a:solidFill>
                <a:latin typeface="Calibri" panose="020F0502020204030204" pitchFamily="34" charset="0"/>
                <a:cs typeface="Arial" pitchFamily="34" charset="0"/>
              </a:rPr>
              <a:t>Qualitative &amp; Quantitative Research</a:t>
            </a:r>
          </a:p>
          <a:p>
            <a:pPr marL="171331" indent="-171331" defTabSz="843509">
              <a:buClr>
                <a:srgbClr val="2384A1"/>
              </a:buClr>
              <a:buFont typeface="Wingdings" pitchFamily="2" charset="2"/>
              <a:buChar char="§"/>
            </a:pPr>
            <a:r>
              <a:rPr lang="en-US" sz="1100" kern="0" dirty="0">
                <a:solidFill>
                  <a:srgbClr val="2384A1"/>
                </a:solidFill>
                <a:latin typeface="Calibri" panose="020F0502020204030204" pitchFamily="34" charset="0"/>
                <a:cs typeface="Arial" pitchFamily="34" charset="0"/>
              </a:rPr>
              <a:t>Ethnography</a:t>
            </a:r>
          </a:p>
          <a:p>
            <a:pPr marL="171331" indent="-171331" defTabSz="843509">
              <a:buClr>
                <a:srgbClr val="2384A1"/>
              </a:buClr>
              <a:buFont typeface="Wingdings" pitchFamily="2" charset="2"/>
              <a:buChar char="§"/>
            </a:pPr>
            <a:r>
              <a:rPr lang="en-US" sz="1100" kern="0" dirty="0">
                <a:solidFill>
                  <a:srgbClr val="2384A1"/>
                </a:solidFill>
                <a:latin typeface="Calibri" panose="020F0502020204030204" pitchFamily="34" charset="0"/>
                <a:cs typeface="Arial" pitchFamily="34" charset="0"/>
              </a:rPr>
              <a:t>Journey Mapping </a:t>
            </a:r>
          </a:p>
          <a:p>
            <a:pPr marL="171331" indent="-171331" defTabSz="843509">
              <a:buClr>
                <a:srgbClr val="2384A1"/>
              </a:buClr>
              <a:buFont typeface="Wingdings" pitchFamily="2" charset="2"/>
              <a:buChar char="§"/>
            </a:pPr>
            <a:r>
              <a:rPr lang="en-US" sz="1100" kern="0" dirty="0">
                <a:solidFill>
                  <a:srgbClr val="2384A1"/>
                </a:solidFill>
                <a:latin typeface="Calibri" panose="020F0502020204030204" pitchFamily="34" charset="0"/>
                <a:cs typeface="Arial" pitchFamily="34" charset="0"/>
              </a:rPr>
              <a:t>Persona Development</a:t>
            </a:r>
          </a:p>
          <a:p>
            <a:pPr marL="171331" indent="-171331" defTabSz="843509">
              <a:buClr>
                <a:srgbClr val="2384A1"/>
              </a:buClr>
              <a:buFont typeface="Wingdings" pitchFamily="2" charset="2"/>
              <a:buChar char="§"/>
            </a:pPr>
            <a:r>
              <a:rPr lang="en-US" sz="1100" kern="0" dirty="0">
                <a:solidFill>
                  <a:srgbClr val="2384A1"/>
                </a:solidFill>
                <a:latin typeface="Calibri" panose="020F0502020204030204" pitchFamily="34" charset="0"/>
                <a:cs typeface="Arial" pitchFamily="34" charset="0"/>
              </a:rPr>
              <a:t>Social media and sentiment Analysis</a:t>
            </a:r>
          </a:p>
          <a:p>
            <a:pPr marL="171331" indent="-171331" defTabSz="843509">
              <a:buClr>
                <a:srgbClr val="2384A1"/>
              </a:buClr>
              <a:buFont typeface="Wingdings" pitchFamily="2" charset="2"/>
              <a:buChar char="§"/>
            </a:pPr>
            <a:r>
              <a:rPr lang="en-US" sz="1100" kern="0" dirty="0">
                <a:solidFill>
                  <a:srgbClr val="2384A1"/>
                </a:solidFill>
                <a:latin typeface="Calibri" panose="020F0502020204030204" pitchFamily="34" charset="0"/>
                <a:cs typeface="Arial" pitchFamily="34" charset="0"/>
              </a:rPr>
              <a:t>Segmentation – personalization</a:t>
            </a:r>
          </a:p>
        </p:txBody>
      </p:sp>
      <p:sp>
        <p:nvSpPr>
          <p:cNvPr id="61" name="Rectangle 60"/>
          <p:cNvSpPr/>
          <p:nvPr/>
        </p:nvSpPr>
        <p:spPr>
          <a:xfrm>
            <a:off x="8066390" y="2039191"/>
            <a:ext cx="2690391" cy="1564223"/>
          </a:xfrm>
          <a:prstGeom prst="rect">
            <a:avLst/>
          </a:prstGeom>
          <a:noFill/>
          <a:ln w="6350" cap="flat" cmpd="sng" algn="ctr">
            <a:noFill/>
            <a:prstDash val="sysDash"/>
          </a:ln>
          <a:effectLst/>
        </p:spPr>
        <p:txBody>
          <a:bodyPr lIns="45688" tIns="27412" rIns="45688" bIns="27412" rtlCol="0" anchor="t" anchorCtr="0"/>
          <a:lstStyle/>
          <a:p>
            <a:pPr marL="171331" indent="-171331" defTabSz="843509">
              <a:buClr>
                <a:srgbClr val="E79645"/>
              </a:buClr>
              <a:buFont typeface="Wingdings" pitchFamily="2" charset="2"/>
              <a:buChar char="§"/>
            </a:pPr>
            <a:r>
              <a:rPr lang="en-US" sz="1100" kern="0" dirty="0">
                <a:solidFill>
                  <a:srgbClr val="E79645"/>
                </a:solidFill>
                <a:latin typeface="Calibri" panose="020F0502020204030204" pitchFamily="34" charset="0"/>
                <a:cs typeface="Arial" pitchFamily="34" charset="0"/>
              </a:rPr>
              <a:t>Omni-Channel Experience Strategy</a:t>
            </a:r>
          </a:p>
          <a:p>
            <a:pPr marL="171331" indent="-171331" defTabSz="843509">
              <a:buClr>
                <a:srgbClr val="E79645"/>
              </a:buClr>
              <a:buFont typeface="Wingdings" pitchFamily="2" charset="2"/>
              <a:buChar char="§"/>
            </a:pPr>
            <a:r>
              <a:rPr lang="en-US" sz="1100" kern="0" dirty="0">
                <a:solidFill>
                  <a:srgbClr val="E79645"/>
                </a:solidFill>
                <a:latin typeface="Calibri" panose="020F0502020204030204" pitchFamily="34" charset="0"/>
                <a:cs typeface="Arial" pitchFamily="34" charset="0"/>
              </a:rPr>
              <a:t>Omni-Channel Customer Interaction Design</a:t>
            </a:r>
          </a:p>
          <a:p>
            <a:pPr marL="171331" indent="-171331" defTabSz="843509">
              <a:buClr>
                <a:srgbClr val="E79645"/>
              </a:buClr>
              <a:buFont typeface="Wingdings" pitchFamily="2" charset="2"/>
              <a:buChar char="§"/>
            </a:pPr>
            <a:r>
              <a:rPr lang="en-US" sz="1100" kern="0" dirty="0">
                <a:solidFill>
                  <a:srgbClr val="E79645"/>
                </a:solidFill>
                <a:latin typeface="Calibri" panose="020F0502020204030204" pitchFamily="34" charset="0"/>
                <a:cs typeface="Arial" pitchFamily="34" charset="0"/>
              </a:rPr>
              <a:t>On and Offline User Experience Design</a:t>
            </a:r>
          </a:p>
          <a:p>
            <a:pPr marL="171331" indent="-171331" defTabSz="843509">
              <a:buClr>
                <a:srgbClr val="E79645"/>
              </a:buClr>
              <a:buFont typeface="Wingdings" pitchFamily="2" charset="2"/>
              <a:buChar char="§"/>
            </a:pPr>
            <a:r>
              <a:rPr lang="en-US" sz="1100" kern="0" dirty="0">
                <a:solidFill>
                  <a:srgbClr val="E79645"/>
                </a:solidFill>
                <a:latin typeface="Calibri" panose="020F0502020204030204" pitchFamily="34" charset="0"/>
                <a:cs typeface="Arial" pitchFamily="34" charset="0"/>
              </a:rPr>
              <a:t>Digital Content Strategy</a:t>
            </a:r>
          </a:p>
          <a:p>
            <a:pPr marL="171331" indent="-171331" defTabSz="843509">
              <a:buClr>
                <a:srgbClr val="E79645"/>
              </a:buClr>
              <a:buFont typeface="Wingdings" pitchFamily="2" charset="2"/>
              <a:buChar char="§"/>
            </a:pPr>
            <a:r>
              <a:rPr lang="en-US" sz="1100" kern="0" dirty="0">
                <a:solidFill>
                  <a:srgbClr val="E79645"/>
                </a:solidFill>
                <a:latin typeface="Calibri" panose="020F0502020204030204" pitchFamily="34" charset="0"/>
                <a:cs typeface="Arial" pitchFamily="34" charset="0"/>
              </a:rPr>
              <a:t>Digital Content Development</a:t>
            </a:r>
          </a:p>
          <a:p>
            <a:pPr marL="171331" indent="-171331" defTabSz="843509">
              <a:buClr>
                <a:srgbClr val="E79645"/>
              </a:buClr>
              <a:buFont typeface="Wingdings" pitchFamily="2" charset="2"/>
              <a:buChar char="§"/>
            </a:pPr>
            <a:r>
              <a:rPr lang="en-US" sz="1100" kern="0" dirty="0">
                <a:solidFill>
                  <a:srgbClr val="E79645"/>
                </a:solidFill>
                <a:latin typeface="Calibri" panose="020F0502020204030204" pitchFamily="34" charset="0"/>
                <a:cs typeface="Arial" pitchFamily="34" charset="0"/>
              </a:rPr>
              <a:t>Campaign Design</a:t>
            </a:r>
          </a:p>
        </p:txBody>
      </p:sp>
      <p:sp>
        <p:nvSpPr>
          <p:cNvPr id="62" name="Rectangle 61"/>
          <p:cNvSpPr/>
          <p:nvPr/>
        </p:nvSpPr>
        <p:spPr>
          <a:xfrm>
            <a:off x="1728183" y="3815862"/>
            <a:ext cx="2665768" cy="622387"/>
          </a:xfrm>
          <a:prstGeom prst="rect">
            <a:avLst/>
          </a:prstGeom>
          <a:noFill/>
          <a:ln w="6350" cap="flat" cmpd="sng" algn="ctr">
            <a:noFill/>
            <a:prstDash val="sysDash"/>
          </a:ln>
          <a:effectLst/>
        </p:spPr>
        <p:txBody>
          <a:bodyPr lIns="45688" tIns="27412" rIns="45688" bIns="27412" rtlCol="0" anchor="t" anchorCtr="0"/>
          <a:lstStyle/>
          <a:p>
            <a:pPr marL="171331" indent="-171331" defTabSz="843509">
              <a:buClr>
                <a:srgbClr val="CD1B31"/>
              </a:buClr>
              <a:buFont typeface="Wingdings" pitchFamily="2" charset="2"/>
              <a:buChar char="§"/>
            </a:pPr>
            <a:r>
              <a:rPr lang="en-US" sz="1100" kern="0" dirty="0">
                <a:solidFill>
                  <a:srgbClr val="CD1B31"/>
                </a:solidFill>
                <a:latin typeface="Calibri" panose="020F0502020204030204" pitchFamily="34" charset="0"/>
                <a:cs typeface="Arial" pitchFamily="34" charset="0"/>
              </a:rPr>
              <a:t>Cross Channel Attribution</a:t>
            </a:r>
          </a:p>
          <a:p>
            <a:pPr marL="171331" indent="-171331" defTabSz="843509">
              <a:buClr>
                <a:srgbClr val="CD1B31"/>
              </a:buClr>
              <a:buFont typeface="Wingdings" pitchFamily="2" charset="2"/>
              <a:buChar char="§"/>
            </a:pPr>
            <a:r>
              <a:rPr lang="en-US" sz="1100" kern="0" dirty="0">
                <a:solidFill>
                  <a:srgbClr val="CD1B31"/>
                </a:solidFill>
                <a:latin typeface="Calibri" panose="020F0502020204030204" pitchFamily="34" charset="0"/>
                <a:cs typeface="Arial" pitchFamily="34" charset="0"/>
              </a:rPr>
              <a:t>KPI development</a:t>
            </a:r>
          </a:p>
          <a:p>
            <a:pPr marL="171331" indent="-171331" defTabSz="843509">
              <a:buClr>
                <a:srgbClr val="CD1B31"/>
              </a:buClr>
              <a:buFont typeface="Wingdings" pitchFamily="2" charset="2"/>
              <a:buChar char="§"/>
            </a:pPr>
            <a:r>
              <a:rPr lang="en-US" sz="1100" kern="0" dirty="0">
                <a:solidFill>
                  <a:srgbClr val="CD1B31"/>
                </a:solidFill>
                <a:latin typeface="Calibri" panose="020F0502020204030204" pitchFamily="34" charset="0"/>
                <a:cs typeface="Arial" pitchFamily="34" charset="0"/>
              </a:rPr>
              <a:t>AB/Multivariate Testing</a:t>
            </a:r>
          </a:p>
          <a:p>
            <a:pPr marL="171331" indent="-171331" defTabSz="843509">
              <a:buClr>
                <a:srgbClr val="CD1B31"/>
              </a:buClr>
              <a:buFont typeface="Wingdings" pitchFamily="2" charset="2"/>
              <a:buChar char="§"/>
            </a:pPr>
            <a:r>
              <a:rPr lang="en-US" sz="1100" kern="0" dirty="0">
                <a:solidFill>
                  <a:srgbClr val="CD1B31"/>
                </a:solidFill>
                <a:latin typeface="Calibri" panose="020F0502020204030204" pitchFamily="34" charset="0"/>
                <a:cs typeface="Arial" pitchFamily="34" charset="0"/>
              </a:rPr>
              <a:t>Smart Processes Monitoring &amp; Optimization</a:t>
            </a:r>
          </a:p>
        </p:txBody>
      </p:sp>
      <p:sp>
        <p:nvSpPr>
          <p:cNvPr id="63" name="Rectangle 62"/>
          <p:cNvSpPr/>
          <p:nvPr/>
        </p:nvSpPr>
        <p:spPr>
          <a:xfrm>
            <a:off x="8066390" y="4285077"/>
            <a:ext cx="2690391" cy="1344736"/>
          </a:xfrm>
          <a:prstGeom prst="rect">
            <a:avLst/>
          </a:prstGeom>
          <a:noFill/>
          <a:ln w="6350" cap="flat" cmpd="sng" algn="ctr">
            <a:noFill/>
            <a:prstDash val="sysDash"/>
          </a:ln>
          <a:effectLst/>
        </p:spPr>
        <p:txBody>
          <a:bodyPr lIns="45688" tIns="27412" rIns="45688" bIns="27412" rtlCol="0" anchor="t" anchorCtr="0"/>
          <a:lstStyle/>
          <a:p>
            <a:pPr marL="171331" indent="-171331" defTabSz="843509">
              <a:buClr>
                <a:srgbClr val="598E20"/>
              </a:buClr>
              <a:buFont typeface="Wingdings" pitchFamily="2" charset="2"/>
              <a:buChar char="§"/>
            </a:pPr>
            <a:r>
              <a:rPr lang="en-US" sz="1100" kern="0" dirty="0">
                <a:solidFill>
                  <a:srgbClr val="598E20"/>
                </a:solidFill>
                <a:latin typeface="Calibri" panose="020F0502020204030204" pitchFamily="34" charset="0"/>
                <a:cs typeface="Arial" pitchFamily="34" charset="0"/>
              </a:rPr>
              <a:t>Customer Interactions Management </a:t>
            </a:r>
          </a:p>
          <a:p>
            <a:pPr marL="171331" indent="-171331" defTabSz="843509">
              <a:buClr>
                <a:srgbClr val="598E20"/>
              </a:buClr>
              <a:buFont typeface="Wingdings" pitchFamily="2" charset="2"/>
              <a:buChar char="§"/>
            </a:pPr>
            <a:r>
              <a:rPr lang="en-US" sz="1100" kern="0" dirty="0">
                <a:solidFill>
                  <a:srgbClr val="598E20"/>
                </a:solidFill>
                <a:latin typeface="Calibri" panose="020F0502020204030204" pitchFamily="34" charset="0"/>
                <a:cs typeface="Arial" pitchFamily="34" charset="0"/>
              </a:rPr>
              <a:t>Content &amp; Knowledge Management</a:t>
            </a:r>
          </a:p>
          <a:p>
            <a:pPr marL="171331" indent="-171331" defTabSz="843509">
              <a:buClr>
                <a:srgbClr val="598E20"/>
              </a:buClr>
              <a:buFont typeface="Wingdings" pitchFamily="2" charset="2"/>
              <a:buChar char="§"/>
            </a:pPr>
            <a:r>
              <a:rPr lang="en-US" sz="1100" kern="0" dirty="0">
                <a:solidFill>
                  <a:srgbClr val="598E20"/>
                </a:solidFill>
                <a:latin typeface="Calibri" panose="020F0502020204030204" pitchFamily="34" charset="0"/>
                <a:cs typeface="Arial" pitchFamily="34" charset="0"/>
              </a:rPr>
              <a:t>Customer Management - Customer and Operations Monitoring</a:t>
            </a:r>
          </a:p>
          <a:p>
            <a:pPr marL="171331" indent="-171331" defTabSz="843509">
              <a:buClr>
                <a:srgbClr val="598E20"/>
              </a:buClr>
              <a:buFont typeface="Wingdings" pitchFamily="2" charset="2"/>
              <a:buChar char="§"/>
            </a:pPr>
            <a:r>
              <a:rPr lang="en-US" sz="1100" kern="0" dirty="0">
                <a:solidFill>
                  <a:srgbClr val="598E20"/>
                </a:solidFill>
                <a:latin typeface="Calibri" panose="020F0502020204030204" pitchFamily="34" charset="0"/>
                <a:cs typeface="Arial" pitchFamily="34" charset="0"/>
              </a:rPr>
              <a:t>Customer Process Management</a:t>
            </a:r>
          </a:p>
          <a:p>
            <a:pPr marL="171331" indent="-171331" defTabSz="843509">
              <a:buClr>
                <a:srgbClr val="598E20"/>
              </a:buClr>
              <a:buFont typeface="Wingdings" pitchFamily="2" charset="2"/>
              <a:buChar char="§"/>
            </a:pPr>
            <a:r>
              <a:rPr lang="en-US" sz="1100" kern="0" dirty="0">
                <a:solidFill>
                  <a:srgbClr val="598E20"/>
                </a:solidFill>
                <a:latin typeface="Calibri" panose="020F0502020204030204" pitchFamily="34" charset="0"/>
                <a:cs typeface="Arial" pitchFamily="34" charset="0"/>
              </a:rPr>
              <a:t>Digital commerce</a:t>
            </a:r>
          </a:p>
          <a:p>
            <a:pPr marL="171331" indent="-171331" defTabSz="843509">
              <a:buClr>
                <a:srgbClr val="598E20"/>
              </a:buClr>
              <a:buFont typeface="Wingdings" pitchFamily="2" charset="2"/>
              <a:buChar char="§"/>
            </a:pPr>
            <a:r>
              <a:rPr lang="en-US" sz="1100" kern="0" dirty="0">
                <a:solidFill>
                  <a:srgbClr val="598E20"/>
                </a:solidFill>
                <a:latin typeface="Calibri" panose="020F0502020204030204" pitchFamily="34" charset="0"/>
                <a:cs typeface="Arial" pitchFamily="34" charset="0"/>
              </a:rPr>
              <a:t>IT Digital Platform</a:t>
            </a:r>
          </a:p>
        </p:txBody>
      </p:sp>
      <p:sp>
        <p:nvSpPr>
          <p:cNvPr id="64" name="Rectangle 63"/>
          <p:cNvSpPr/>
          <p:nvPr/>
        </p:nvSpPr>
        <p:spPr>
          <a:xfrm>
            <a:off x="3636343" y="5406107"/>
            <a:ext cx="2822806" cy="786946"/>
          </a:xfrm>
          <a:prstGeom prst="rect">
            <a:avLst/>
          </a:prstGeom>
          <a:noFill/>
          <a:ln w="6350" cap="flat" cmpd="sng" algn="ctr">
            <a:noFill/>
            <a:prstDash val="sysDash"/>
          </a:ln>
          <a:effectLst/>
        </p:spPr>
        <p:txBody>
          <a:bodyPr lIns="45688" tIns="27412" rIns="45688" bIns="27412" rtlCol="0" anchor="t" anchorCtr="0"/>
          <a:lstStyle/>
          <a:p>
            <a:pPr marL="171331" indent="-171331" defTabSz="843509">
              <a:buFont typeface="Wingdings" pitchFamily="2" charset="2"/>
              <a:buChar char="§"/>
            </a:pPr>
            <a:r>
              <a:rPr lang="en-US" sz="1100" kern="0" dirty="0">
                <a:solidFill>
                  <a:srgbClr val="636669"/>
                </a:solidFill>
                <a:latin typeface="Calibri" panose="020F0502020204030204" pitchFamily="34" charset="0"/>
                <a:cs typeface="Arial" pitchFamily="34" charset="0"/>
              </a:rPr>
              <a:t>Organizational Change Management</a:t>
            </a:r>
          </a:p>
          <a:p>
            <a:pPr marL="171331" indent="-171331" defTabSz="843509">
              <a:buFont typeface="Wingdings" pitchFamily="2" charset="2"/>
              <a:buChar char="§"/>
            </a:pPr>
            <a:r>
              <a:rPr lang="en-US" sz="1100" kern="0" dirty="0">
                <a:solidFill>
                  <a:srgbClr val="636669"/>
                </a:solidFill>
                <a:latin typeface="Calibri" panose="020F0502020204030204" pitchFamily="34" charset="0"/>
                <a:cs typeface="Arial" pitchFamily="34" charset="0"/>
              </a:rPr>
              <a:t>Digital Operating Model</a:t>
            </a:r>
          </a:p>
          <a:p>
            <a:pPr marL="171331" indent="-171331" defTabSz="843509">
              <a:buFont typeface="Wingdings" pitchFamily="2" charset="2"/>
              <a:buChar char="§"/>
            </a:pPr>
            <a:r>
              <a:rPr lang="en-US" sz="1100" kern="0" dirty="0">
                <a:solidFill>
                  <a:srgbClr val="636669"/>
                </a:solidFill>
                <a:latin typeface="Calibri" panose="020F0502020204030204" pitchFamily="34" charset="0"/>
                <a:cs typeface="Arial" pitchFamily="34" charset="0"/>
              </a:rPr>
              <a:t>Digitization Strategy</a:t>
            </a:r>
          </a:p>
          <a:p>
            <a:pPr marL="171331" indent="-171331" defTabSz="843509">
              <a:buFont typeface="Wingdings" pitchFamily="2" charset="2"/>
              <a:buChar char="§"/>
            </a:pPr>
            <a:r>
              <a:rPr lang="en-US" sz="1100" kern="0" dirty="0">
                <a:solidFill>
                  <a:srgbClr val="636669"/>
                </a:solidFill>
                <a:latin typeface="Calibri" panose="020F0502020204030204" pitchFamily="34" charset="0"/>
                <a:cs typeface="Arial" pitchFamily="34" charset="0"/>
              </a:rPr>
              <a:t>Process Re-imagination</a:t>
            </a:r>
          </a:p>
          <a:p>
            <a:pPr marL="171331" indent="-171331" defTabSz="843509">
              <a:buFont typeface="Wingdings" pitchFamily="2" charset="2"/>
              <a:buChar char="§"/>
            </a:pPr>
            <a:r>
              <a:rPr lang="en-US" sz="1100" kern="0" dirty="0">
                <a:solidFill>
                  <a:srgbClr val="636669"/>
                </a:solidFill>
                <a:latin typeface="Calibri" panose="020F0502020204030204" pitchFamily="34" charset="0"/>
                <a:cs typeface="Arial" pitchFamily="34" charset="0"/>
              </a:rPr>
              <a:t>Maturity Assessments</a:t>
            </a:r>
          </a:p>
        </p:txBody>
      </p:sp>
      <p:grpSp>
        <p:nvGrpSpPr>
          <p:cNvPr id="66" name="Groupe 589"/>
          <p:cNvGrpSpPr/>
          <p:nvPr/>
        </p:nvGrpSpPr>
        <p:grpSpPr>
          <a:xfrm>
            <a:off x="2635065" y="5356677"/>
            <a:ext cx="828521" cy="764785"/>
            <a:chOff x="331789" y="3817938"/>
            <a:chExt cx="433388" cy="400051"/>
          </a:xfrm>
        </p:grpSpPr>
        <p:sp>
          <p:nvSpPr>
            <p:cNvPr id="108" name="Line 321"/>
            <p:cNvSpPr>
              <a:spLocks noChangeShapeType="1"/>
            </p:cNvSpPr>
            <p:nvPr/>
          </p:nvSpPr>
          <p:spPr bwMode="auto">
            <a:xfrm flipH="1">
              <a:off x="341314" y="4216401"/>
              <a:ext cx="423863" cy="1588"/>
            </a:xfrm>
            <a:prstGeom prst="line">
              <a:avLst/>
            </a:prstGeom>
            <a:noFill/>
            <a:ln w="19050" cap="rnd">
              <a:solidFill>
                <a:srgbClr val="1C1C1C">
                  <a:lumMod val="75000"/>
                  <a:lumOff val="25000"/>
                </a:srgbClr>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sz="700" kern="0" dirty="0">
                <a:solidFill>
                  <a:sysClr val="windowText" lastClr="000000"/>
                </a:solidFill>
                <a:latin typeface="Calibri" panose="020F0502020204030204" pitchFamily="34" charset="0"/>
                <a:cs typeface="Arial" pitchFamily="34" charset="0"/>
              </a:endParaRPr>
            </a:p>
          </p:txBody>
        </p:sp>
        <p:sp>
          <p:nvSpPr>
            <p:cNvPr id="109" name="Oval 322"/>
            <p:cNvSpPr>
              <a:spLocks noChangeArrowheads="1"/>
            </p:cNvSpPr>
            <p:nvPr/>
          </p:nvSpPr>
          <p:spPr bwMode="auto">
            <a:xfrm>
              <a:off x="501651" y="3871913"/>
              <a:ext cx="50800" cy="53975"/>
            </a:xfrm>
            <a:prstGeom prst="ellipse">
              <a:avLst/>
            </a:prstGeom>
            <a:noFill/>
            <a:ln w="19050" cap="rnd">
              <a:solidFill>
                <a:srgbClr val="1C1C1C">
                  <a:lumMod val="75000"/>
                  <a:lumOff val="25000"/>
                </a:srgbClr>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sz="700" kern="0" dirty="0">
                <a:solidFill>
                  <a:sysClr val="windowText" lastClr="000000"/>
                </a:solidFill>
                <a:latin typeface="Calibri" panose="020F0502020204030204" pitchFamily="34" charset="0"/>
                <a:cs typeface="Arial" pitchFamily="34" charset="0"/>
              </a:endParaRPr>
            </a:p>
          </p:txBody>
        </p:sp>
        <p:sp>
          <p:nvSpPr>
            <p:cNvPr id="110"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9050" cap="rnd">
              <a:solidFill>
                <a:srgbClr val="1C1C1C">
                  <a:lumMod val="75000"/>
                  <a:lumOff val="25000"/>
                </a:srgbClr>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sz="700" kern="0" dirty="0">
                <a:solidFill>
                  <a:sysClr val="windowText" lastClr="000000"/>
                </a:solidFill>
                <a:latin typeface="Calibri" panose="020F0502020204030204" pitchFamily="34" charset="0"/>
                <a:cs typeface="Arial" pitchFamily="34" charset="0"/>
              </a:endParaRPr>
            </a:p>
          </p:txBody>
        </p:sp>
        <p:sp>
          <p:nvSpPr>
            <p:cNvPr id="111"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9050" cap="rnd">
              <a:solidFill>
                <a:srgbClr val="1C1C1C">
                  <a:lumMod val="75000"/>
                  <a:lumOff val="25000"/>
                </a:srgbClr>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sz="700" kern="0" dirty="0">
                <a:solidFill>
                  <a:sysClr val="windowText" lastClr="000000"/>
                </a:solidFill>
                <a:latin typeface="Calibri" panose="020F0502020204030204" pitchFamily="34" charset="0"/>
                <a:cs typeface="Arial" pitchFamily="34" charset="0"/>
              </a:endParaRPr>
            </a:p>
          </p:txBody>
        </p:sp>
        <p:sp>
          <p:nvSpPr>
            <p:cNvPr id="112"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9050" cap="rnd">
              <a:solidFill>
                <a:srgbClr val="1C1C1C">
                  <a:lumMod val="75000"/>
                  <a:lumOff val="25000"/>
                </a:srgbClr>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sz="700" kern="0" dirty="0">
                <a:solidFill>
                  <a:sysClr val="windowText" lastClr="000000"/>
                </a:solidFill>
                <a:latin typeface="Calibri" panose="020F0502020204030204" pitchFamily="34" charset="0"/>
                <a:cs typeface="Arial" pitchFamily="34" charset="0"/>
              </a:endParaRPr>
            </a:p>
          </p:txBody>
        </p:sp>
        <p:sp>
          <p:nvSpPr>
            <p:cNvPr id="113"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9050" cap="rnd">
              <a:solidFill>
                <a:srgbClr val="1C1C1C">
                  <a:lumMod val="75000"/>
                  <a:lumOff val="25000"/>
                </a:srgbClr>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sz="700" kern="0" dirty="0">
                <a:solidFill>
                  <a:sysClr val="windowText" lastClr="000000"/>
                </a:solidFill>
                <a:latin typeface="Calibri" panose="020F0502020204030204" pitchFamily="34" charset="0"/>
                <a:cs typeface="Arial" pitchFamily="34" charset="0"/>
              </a:endParaRPr>
            </a:p>
          </p:txBody>
        </p:sp>
        <p:sp>
          <p:nvSpPr>
            <p:cNvPr id="114"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9050" cap="rnd">
              <a:solidFill>
                <a:srgbClr val="1C1C1C">
                  <a:lumMod val="75000"/>
                  <a:lumOff val="25000"/>
                </a:srgbClr>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sz="700" kern="0" dirty="0">
                <a:solidFill>
                  <a:sysClr val="windowText" lastClr="000000"/>
                </a:solidFill>
                <a:latin typeface="Calibri" panose="020F0502020204030204" pitchFamily="34" charset="0"/>
                <a:cs typeface="Arial" pitchFamily="34" charset="0"/>
              </a:endParaRPr>
            </a:p>
          </p:txBody>
        </p:sp>
      </p:grpSp>
      <p:sp>
        <p:nvSpPr>
          <p:cNvPr id="67" name="Espace réservé du contenu 2"/>
          <p:cNvSpPr txBox="1">
            <a:spLocks/>
          </p:cNvSpPr>
          <p:nvPr/>
        </p:nvSpPr>
        <p:spPr bwMode="auto">
          <a:xfrm>
            <a:off x="7977609" y="1549831"/>
            <a:ext cx="2646704" cy="369332"/>
          </a:xfrm>
          <a:prstGeom prst="rect">
            <a:avLst/>
          </a:prstGeom>
        </p:spPr>
        <p:txBody>
          <a:bodyPr wrap="square" lIns="0" tIns="0" rIns="0" bIns="0">
            <a:spAutoFit/>
          </a:bodyPr>
          <a:lstStyle/>
          <a:p>
            <a:pPr defTabSz="913718">
              <a:spcAft>
                <a:spcPts val="300"/>
              </a:spcAft>
              <a:buClr>
                <a:srgbClr val="B70132">
                  <a:lumMod val="75000"/>
                </a:srgbClr>
              </a:buClr>
              <a:defRPr/>
            </a:pPr>
            <a:r>
              <a:rPr lang="en-US" sz="1200" b="1" kern="0" dirty="0">
                <a:solidFill>
                  <a:srgbClr val="E47E1A"/>
                </a:solidFill>
                <a:latin typeface="Calibri" panose="020F0502020204030204" pitchFamily="34" charset="0"/>
                <a:cs typeface="Arial" pitchFamily="34" charset="0"/>
              </a:rPr>
              <a:t>DESIGN AND EXECUTE COMPELLING, ENGAGING EXPERIENCES</a:t>
            </a:r>
          </a:p>
        </p:txBody>
      </p:sp>
      <p:sp>
        <p:nvSpPr>
          <p:cNvPr id="68" name="Espace réservé du contenu 2"/>
          <p:cNvSpPr txBox="1">
            <a:spLocks/>
          </p:cNvSpPr>
          <p:nvPr/>
        </p:nvSpPr>
        <p:spPr bwMode="auto">
          <a:xfrm>
            <a:off x="1728184" y="1549826"/>
            <a:ext cx="3215691" cy="369332"/>
          </a:xfrm>
          <a:prstGeom prst="rect">
            <a:avLst/>
          </a:prstGeom>
        </p:spPr>
        <p:txBody>
          <a:bodyPr wrap="square" lIns="0" tIns="0" rIns="0" bIns="0">
            <a:spAutoFit/>
          </a:bodyPr>
          <a:lstStyle/>
          <a:p>
            <a:pPr defTabSz="913718">
              <a:spcAft>
                <a:spcPts val="300"/>
              </a:spcAft>
              <a:buClr>
                <a:srgbClr val="B70132">
                  <a:lumMod val="75000"/>
                </a:srgbClr>
              </a:buClr>
              <a:defRPr/>
            </a:pPr>
            <a:r>
              <a:rPr lang="en-US" sz="1200" b="1" kern="0" dirty="0">
                <a:solidFill>
                  <a:srgbClr val="007295"/>
                </a:solidFill>
                <a:latin typeface="Calibri" panose="020F0502020204030204" pitchFamily="34" charset="0"/>
                <a:cs typeface="Arial" pitchFamily="34" charset="0"/>
              </a:rPr>
              <a:t>CREATE A CONTEXTUAL VIEW OF THE CONSUMER AND ITS JOURNEYS WITH THE BRAND</a:t>
            </a:r>
            <a:endParaRPr lang="en-US" sz="1400" b="1" kern="0" dirty="0">
              <a:solidFill>
                <a:srgbClr val="007295"/>
              </a:solidFill>
              <a:latin typeface="Calibri" panose="020F0502020204030204" pitchFamily="34" charset="0"/>
              <a:cs typeface="Arial" pitchFamily="34" charset="0"/>
            </a:endParaRPr>
          </a:p>
        </p:txBody>
      </p:sp>
      <p:sp>
        <p:nvSpPr>
          <p:cNvPr id="69" name="Espace réservé du contenu 2"/>
          <p:cNvSpPr txBox="1">
            <a:spLocks/>
          </p:cNvSpPr>
          <p:nvPr/>
        </p:nvSpPr>
        <p:spPr bwMode="auto">
          <a:xfrm>
            <a:off x="2750236" y="4953932"/>
            <a:ext cx="3185247" cy="369332"/>
          </a:xfrm>
          <a:prstGeom prst="rect">
            <a:avLst/>
          </a:prstGeom>
        </p:spPr>
        <p:txBody>
          <a:bodyPr wrap="square" lIns="0" tIns="0" rIns="0" bIns="0">
            <a:spAutoFit/>
          </a:bodyPr>
          <a:lstStyle/>
          <a:p>
            <a:pPr algn="r" defTabSz="913718">
              <a:spcAft>
                <a:spcPts val="300"/>
              </a:spcAft>
              <a:buClr>
                <a:srgbClr val="B70132">
                  <a:lumMod val="75000"/>
                </a:srgbClr>
              </a:buClr>
              <a:defRPr/>
            </a:pPr>
            <a:r>
              <a:rPr lang="en-US" sz="1200" b="1" kern="0" dirty="0">
                <a:solidFill>
                  <a:srgbClr val="58585A"/>
                </a:solidFill>
                <a:latin typeface="Calibri" panose="020F0502020204030204" pitchFamily="34" charset="0"/>
                <a:cs typeface="Arial" pitchFamily="34" charset="0"/>
              </a:rPr>
              <a:t>ACTIVATE AND TRANSFORM PEOPLE, GOVERNANCE &amp; ORGANIZATIONS</a:t>
            </a:r>
          </a:p>
        </p:txBody>
      </p:sp>
      <p:sp>
        <p:nvSpPr>
          <p:cNvPr id="70" name="Freeform 13"/>
          <p:cNvSpPr/>
          <p:nvPr/>
        </p:nvSpPr>
        <p:spPr>
          <a:xfrm>
            <a:off x="3684827" y="4870540"/>
            <a:ext cx="2362201" cy="486136"/>
          </a:xfrm>
          <a:custGeom>
            <a:avLst/>
            <a:gdLst>
              <a:gd name="connsiteX0" fmla="*/ 1843314 w 1843314"/>
              <a:gd name="connsiteY0" fmla="*/ 0 h 609600"/>
              <a:gd name="connsiteX1" fmla="*/ 1843314 w 1843314"/>
              <a:gd name="connsiteY1" fmla="*/ 609600 h 609600"/>
              <a:gd name="connsiteX2" fmla="*/ 0 w 1843314"/>
              <a:gd name="connsiteY2" fmla="*/ 609600 h 609600"/>
            </a:gdLst>
            <a:ahLst/>
            <a:cxnLst>
              <a:cxn ang="0">
                <a:pos x="connsiteX0" y="connsiteY0"/>
              </a:cxn>
              <a:cxn ang="0">
                <a:pos x="connsiteX1" y="connsiteY1"/>
              </a:cxn>
              <a:cxn ang="0">
                <a:pos x="connsiteX2" y="connsiteY2"/>
              </a:cxn>
            </a:cxnLst>
            <a:rect l="l" t="t" r="r" b="b"/>
            <a:pathLst>
              <a:path w="1843314" h="609600">
                <a:moveTo>
                  <a:pt x="1843314" y="0"/>
                </a:moveTo>
                <a:lnTo>
                  <a:pt x="1843314" y="609600"/>
                </a:lnTo>
                <a:lnTo>
                  <a:pt x="0" y="609600"/>
                </a:lnTo>
              </a:path>
            </a:pathLst>
          </a:custGeom>
          <a:noFill/>
          <a:ln w="12700" cap="rnd" algn="ctr">
            <a:solidFill>
              <a:srgbClr val="B1B3B4">
                <a:lumMod val="50000"/>
              </a:srgbClr>
            </a:solidFill>
            <a:round/>
            <a:headEnd type="none" w="med" len="med"/>
            <a:tailEnd type="oval"/>
          </a:ln>
        </p:spPr>
        <p:txBody>
          <a:bodyPr rtlCol="0" anchor="ctr"/>
          <a:lstStyle/>
          <a:p>
            <a:pPr algn="ctr" defTabSz="913777">
              <a:defRPr/>
            </a:pPr>
            <a:endParaRPr lang="en-US" kern="0" dirty="0">
              <a:solidFill>
                <a:srgbClr val="00234B"/>
              </a:solidFill>
              <a:latin typeface="Calibri" panose="020F0502020204030204" pitchFamily="34" charset="0"/>
              <a:cs typeface="Arial" pitchFamily="34" charset="0"/>
            </a:endParaRPr>
          </a:p>
        </p:txBody>
      </p:sp>
      <p:cxnSp>
        <p:nvCxnSpPr>
          <p:cNvPr id="71" name="Straight Connector 152"/>
          <p:cNvCxnSpPr>
            <a:cxnSpLocks noChangeShapeType="1"/>
          </p:cNvCxnSpPr>
          <p:nvPr/>
        </p:nvCxnSpPr>
        <p:spPr bwMode="auto">
          <a:xfrm>
            <a:off x="6673574" y="1984544"/>
            <a:ext cx="3791633" cy="0"/>
          </a:xfrm>
          <a:prstGeom prst="line">
            <a:avLst/>
          </a:prstGeom>
          <a:noFill/>
          <a:ln w="12700" cap="rnd" algn="ctr">
            <a:gradFill flip="none" rotWithShape="1">
              <a:gsLst>
                <a:gs pos="0">
                  <a:srgbClr val="E47E1A"/>
                </a:gs>
                <a:gs pos="50000">
                  <a:srgbClr val="E47E1A"/>
                </a:gs>
                <a:gs pos="100000">
                  <a:sysClr val="window" lastClr="FFFFFF"/>
                </a:gs>
              </a:gsLst>
              <a:lin ang="10800000" scaled="1"/>
              <a:tileRect/>
            </a:gradFill>
            <a:round/>
            <a:headEnd type="oval" w="med" len="med"/>
            <a:tailEnd type="oval"/>
          </a:ln>
        </p:spPr>
      </p:cxnSp>
      <p:sp>
        <p:nvSpPr>
          <p:cNvPr id="72" name="Espace réservé du contenu 2"/>
          <p:cNvSpPr txBox="1">
            <a:spLocks/>
          </p:cNvSpPr>
          <p:nvPr/>
        </p:nvSpPr>
        <p:spPr bwMode="auto">
          <a:xfrm>
            <a:off x="1728184" y="3476264"/>
            <a:ext cx="2671677" cy="184666"/>
          </a:xfrm>
          <a:prstGeom prst="rect">
            <a:avLst/>
          </a:prstGeom>
        </p:spPr>
        <p:txBody>
          <a:bodyPr wrap="square" lIns="0" tIns="0" rIns="0" bIns="0">
            <a:spAutoFit/>
          </a:bodyPr>
          <a:lstStyle/>
          <a:p>
            <a:pPr defTabSz="913718">
              <a:spcAft>
                <a:spcPts val="300"/>
              </a:spcAft>
              <a:buClr>
                <a:srgbClr val="B70132">
                  <a:lumMod val="75000"/>
                </a:srgbClr>
              </a:buClr>
              <a:defRPr/>
            </a:pPr>
            <a:r>
              <a:rPr lang="en-US" sz="1200" b="1" kern="0" dirty="0">
                <a:solidFill>
                  <a:srgbClr val="AC2B37"/>
                </a:solidFill>
                <a:latin typeface="Calibri" panose="020F0502020204030204" pitchFamily="34" charset="0"/>
                <a:cs typeface="Arial" pitchFamily="34" charset="0"/>
              </a:rPr>
              <a:t>MEASURE, REFINE AND OPTIMIZE</a:t>
            </a:r>
          </a:p>
        </p:txBody>
      </p:sp>
      <p:cxnSp>
        <p:nvCxnSpPr>
          <p:cNvPr id="73" name="Straight Connector 152"/>
          <p:cNvCxnSpPr>
            <a:cxnSpLocks noChangeShapeType="1"/>
          </p:cNvCxnSpPr>
          <p:nvPr/>
        </p:nvCxnSpPr>
        <p:spPr bwMode="auto">
          <a:xfrm flipH="1">
            <a:off x="1728193" y="3719137"/>
            <a:ext cx="3758837" cy="0"/>
          </a:xfrm>
          <a:prstGeom prst="line">
            <a:avLst/>
          </a:prstGeom>
          <a:noFill/>
          <a:ln w="12700" cap="rnd" algn="ctr">
            <a:gradFill flip="none" rotWithShape="1">
              <a:gsLst>
                <a:gs pos="0">
                  <a:srgbClr val="AC2B37"/>
                </a:gs>
                <a:gs pos="50000">
                  <a:srgbClr val="AC2B37"/>
                </a:gs>
                <a:gs pos="100000">
                  <a:srgbClr val="B1B3B4"/>
                </a:gs>
              </a:gsLst>
              <a:lin ang="10800000" scaled="1"/>
              <a:tileRect/>
            </a:gradFill>
            <a:round/>
            <a:headEnd type="oval" w="med" len="med"/>
            <a:tailEnd type="oval" w="med" len="med"/>
          </a:ln>
        </p:spPr>
      </p:cxnSp>
      <p:cxnSp>
        <p:nvCxnSpPr>
          <p:cNvPr id="74" name="Straight Connector 152"/>
          <p:cNvCxnSpPr>
            <a:cxnSpLocks noChangeShapeType="1"/>
          </p:cNvCxnSpPr>
          <p:nvPr/>
        </p:nvCxnSpPr>
        <p:spPr bwMode="auto">
          <a:xfrm>
            <a:off x="1728184" y="1984544"/>
            <a:ext cx="3816713" cy="0"/>
          </a:xfrm>
          <a:prstGeom prst="line">
            <a:avLst/>
          </a:prstGeom>
          <a:noFill/>
          <a:ln w="12700" cap="rnd" algn="ctr">
            <a:gradFill flip="none" rotWithShape="1">
              <a:gsLst>
                <a:gs pos="0">
                  <a:srgbClr val="007295"/>
                </a:gs>
                <a:gs pos="50000">
                  <a:srgbClr val="007295"/>
                </a:gs>
                <a:gs pos="100000">
                  <a:sysClr val="window" lastClr="FFFFFF"/>
                </a:gs>
              </a:gsLst>
              <a:lin ang="0" scaled="1"/>
              <a:tileRect/>
            </a:gradFill>
            <a:round/>
            <a:headEnd type="oval" w="med" len="med"/>
            <a:tailEnd type="oval" w="med" len="med"/>
          </a:ln>
        </p:spPr>
      </p:cxnSp>
      <p:grpSp>
        <p:nvGrpSpPr>
          <p:cNvPr id="75" name="Group 19"/>
          <p:cNvGrpSpPr/>
          <p:nvPr/>
        </p:nvGrpSpPr>
        <p:grpSpPr>
          <a:xfrm>
            <a:off x="4322813" y="1240566"/>
            <a:ext cx="3768386" cy="3771152"/>
            <a:chOff x="3187980" y="1249441"/>
            <a:chExt cx="3768386" cy="3771152"/>
          </a:xfrm>
        </p:grpSpPr>
        <p:sp>
          <p:nvSpPr>
            <p:cNvPr id="76" name="Freeform 20"/>
            <p:cNvSpPr/>
            <p:nvPr/>
          </p:nvSpPr>
          <p:spPr>
            <a:xfrm rot="18188781">
              <a:off x="3442045" y="1351312"/>
              <a:ext cx="2099432" cy="1895689"/>
            </a:xfrm>
            <a:custGeom>
              <a:avLst/>
              <a:gdLst>
                <a:gd name="connsiteX0" fmla="*/ 0 w 2257425"/>
                <a:gd name="connsiteY0" fmla="*/ 0 h 1543050"/>
                <a:gd name="connsiteX1" fmla="*/ 1514475 w 2257425"/>
                <a:gd name="connsiteY1" fmla="*/ 1543050 h 1543050"/>
                <a:gd name="connsiteX2" fmla="*/ 2257425 w 2257425"/>
                <a:gd name="connsiteY2" fmla="*/ 828675 h 1543050"/>
                <a:gd name="connsiteX3" fmla="*/ 0 w 2257425"/>
                <a:gd name="connsiteY3" fmla="*/ 0 h 1543050"/>
                <a:gd name="connsiteX0" fmla="*/ 0 w 2257425"/>
                <a:gd name="connsiteY0" fmla="*/ 495300 h 2038350"/>
                <a:gd name="connsiteX1" fmla="*/ 1514475 w 2257425"/>
                <a:gd name="connsiteY1" fmla="*/ 2038350 h 2038350"/>
                <a:gd name="connsiteX2" fmla="*/ 2257425 w 2257425"/>
                <a:gd name="connsiteY2" fmla="*/ 1323975 h 2038350"/>
                <a:gd name="connsiteX3" fmla="*/ 0 w 2257425"/>
                <a:gd name="connsiteY3" fmla="*/ 495300 h 2038350"/>
                <a:gd name="connsiteX0" fmla="*/ 0 w 2257425"/>
                <a:gd name="connsiteY0" fmla="*/ 495300 h 2038350"/>
                <a:gd name="connsiteX1" fmla="*/ 1514475 w 2257425"/>
                <a:gd name="connsiteY1" fmla="*/ 2038350 h 2038350"/>
                <a:gd name="connsiteX2" fmla="*/ 2257425 w 2257425"/>
                <a:gd name="connsiteY2" fmla="*/ 1323975 h 2038350"/>
                <a:gd name="connsiteX3" fmla="*/ 0 w 2257425"/>
                <a:gd name="connsiteY3" fmla="*/ 495300 h 2038350"/>
              </a:gdLst>
              <a:ahLst/>
              <a:cxnLst>
                <a:cxn ang="0">
                  <a:pos x="connsiteX0" y="connsiteY0"/>
                </a:cxn>
                <a:cxn ang="0">
                  <a:pos x="connsiteX1" y="connsiteY1"/>
                </a:cxn>
                <a:cxn ang="0">
                  <a:pos x="connsiteX2" y="connsiteY2"/>
                </a:cxn>
                <a:cxn ang="0">
                  <a:pos x="connsiteX3" y="connsiteY3"/>
                </a:cxn>
              </a:cxnLst>
              <a:rect l="l" t="t" r="r" b="b"/>
              <a:pathLst>
                <a:path w="2257425" h="2038350">
                  <a:moveTo>
                    <a:pt x="0" y="495300"/>
                  </a:moveTo>
                  <a:lnTo>
                    <a:pt x="1514475" y="2038350"/>
                  </a:lnTo>
                  <a:lnTo>
                    <a:pt x="2257425" y="1323975"/>
                  </a:lnTo>
                  <a:cubicBezTo>
                    <a:pt x="2019300" y="714375"/>
                    <a:pt x="1000125" y="0"/>
                    <a:pt x="0" y="495300"/>
                  </a:cubicBezTo>
                  <a:close/>
                </a:path>
              </a:pathLst>
            </a:custGeom>
            <a:solidFill>
              <a:srgbClr val="0098CC">
                <a:lumMod val="75000"/>
              </a:srgbClr>
            </a:solidFill>
            <a:ln w="28575">
              <a:solidFill>
                <a:sysClr val="window" lastClr="FFFFFF"/>
              </a:solidFill>
              <a:round/>
              <a:headEnd/>
              <a:tailEnd/>
            </a:ln>
          </p:spPr>
          <p:txBody>
            <a:bodyPr vert="horz" wrap="square" lIns="91440" tIns="45720" rIns="91440" bIns="45720" numCol="1" anchor="t" anchorCtr="0" compatLnSpc="1">
              <a:prstTxWarp prst="textNoShape">
                <a:avLst/>
              </a:prstTxWarp>
            </a:bodyPr>
            <a:lstStyle/>
            <a:p>
              <a:pPr defTabSz="913777">
                <a:defRPr/>
              </a:pPr>
              <a:endParaRPr lang="en-US" sz="1100" kern="0" dirty="0">
                <a:solidFill>
                  <a:sysClr val="windowText" lastClr="000000"/>
                </a:solidFill>
                <a:latin typeface="Calibri" panose="020F0502020204030204" pitchFamily="34" charset="0"/>
                <a:cs typeface="Arial" pitchFamily="34" charset="0"/>
              </a:endParaRPr>
            </a:p>
          </p:txBody>
        </p:sp>
        <p:sp>
          <p:nvSpPr>
            <p:cNvPr id="77" name="Freeform 21"/>
            <p:cNvSpPr/>
            <p:nvPr/>
          </p:nvSpPr>
          <p:spPr>
            <a:xfrm rot="1988781">
              <a:off x="4856935" y="1606640"/>
              <a:ext cx="2099431" cy="1895689"/>
            </a:xfrm>
            <a:custGeom>
              <a:avLst/>
              <a:gdLst>
                <a:gd name="connsiteX0" fmla="*/ 0 w 2257425"/>
                <a:gd name="connsiteY0" fmla="*/ 0 h 1543050"/>
                <a:gd name="connsiteX1" fmla="*/ 1514475 w 2257425"/>
                <a:gd name="connsiteY1" fmla="*/ 1543050 h 1543050"/>
                <a:gd name="connsiteX2" fmla="*/ 2257425 w 2257425"/>
                <a:gd name="connsiteY2" fmla="*/ 828675 h 1543050"/>
                <a:gd name="connsiteX3" fmla="*/ 0 w 2257425"/>
                <a:gd name="connsiteY3" fmla="*/ 0 h 1543050"/>
                <a:gd name="connsiteX0" fmla="*/ 0 w 2257425"/>
                <a:gd name="connsiteY0" fmla="*/ 495300 h 2038350"/>
                <a:gd name="connsiteX1" fmla="*/ 1514475 w 2257425"/>
                <a:gd name="connsiteY1" fmla="*/ 2038350 h 2038350"/>
                <a:gd name="connsiteX2" fmla="*/ 2257425 w 2257425"/>
                <a:gd name="connsiteY2" fmla="*/ 1323975 h 2038350"/>
                <a:gd name="connsiteX3" fmla="*/ 0 w 2257425"/>
                <a:gd name="connsiteY3" fmla="*/ 495300 h 2038350"/>
                <a:gd name="connsiteX0" fmla="*/ 0 w 2257425"/>
                <a:gd name="connsiteY0" fmla="*/ 495300 h 2038350"/>
                <a:gd name="connsiteX1" fmla="*/ 1514475 w 2257425"/>
                <a:gd name="connsiteY1" fmla="*/ 2038350 h 2038350"/>
                <a:gd name="connsiteX2" fmla="*/ 2257425 w 2257425"/>
                <a:gd name="connsiteY2" fmla="*/ 1323975 h 2038350"/>
                <a:gd name="connsiteX3" fmla="*/ 0 w 2257425"/>
                <a:gd name="connsiteY3" fmla="*/ 495300 h 2038350"/>
              </a:gdLst>
              <a:ahLst/>
              <a:cxnLst>
                <a:cxn ang="0">
                  <a:pos x="connsiteX0" y="connsiteY0"/>
                </a:cxn>
                <a:cxn ang="0">
                  <a:pos x="connsiteX1" y="connsiteY1"/>
                </a:cxn>
                <a:cxn ang="0">
                  <a:pos x="connsiteX2" y="connsiteY2"/>
                </a:cxn>
                <a:cxn ang="0">
                  <a:pos x="connsiteX3" y="connsiteY3"/>
                </a:cxn>
              </a:cxnLst>
              <a:rect l="l" t="t" r="r" b="b"/>
              <a:pathLst>
                <a:path w="2257425" h="2038350">
                  <a:moveTo>
                    <a:pt x="0" y="495300"/>
                  </a:moveTo>
                  <a:lnTo>
                    <a:pt x="1514475" y="2038350"/>
                  </a:lnTo>
                  <a:lnTo>
                    <a:pt x="2257425" y="1323975"/>
                  </a:lnTo>
                  <a:cubicBezTo>
                    <a:pt x="2019300" y="714375"/>
                    <a:pt x="1000125" y="0"/>
                    <a:pt x="0" y="495300"/>
                  </a:cubicBezTo>
                  <a:close/>
                </a:path>
              </a:pathLst>
            </a:custGeom>
            <a:solidFill>
              <a:srgbClr val="ED771A"/>
            </a:solidFill>
            <a:ln w="28575">
              <a:solidFill>
                <a:sysClr val="window" lastClr="FFFFFF"/>
              </a:solidFill>
              <a:round/>
              <a:headEnd/>
              <a:tailEnd/>
            </a:ln>
          </p:spPr>
          <p:txBody>
            <a:bodyPr vert="horz" wrap="square" lIns="91440" tIns="45720" rIns="91440" bIns="45720" numCol="1" anchor="t" anchorCtr="0" compatLnSpc="1">
              <a:prstTxWarp prst="textNoShape">
                <a:avLst/>
              </a:prstTxWarp>
            </a:bodyPr>
            <a:lstStyle/>
            <a:p>
              <a:pPr defTabSz="913777">
                <a:defRPr/>
              </a:pPr>
              <a:endParaRPr lang="en-US" sz="1100" kern="0" dirty="0">
                <a:solidFill>
                  <a:sysClr val="windowText" lastClr="000000"/>
                </a:solidFill>
                <a:latin typeface="Calibri" panose="020F0502020204030204" pitchFamily="34" charset="0"/>
                <a:cs typeface="Arial" pitchFamily="34" charset="0"/>
              </a:endParaRPr>
            </a:p>
          </p:txBody>
        </p:sp>
        <p:sp>
          <p:nvSpPr>
            <p:cNvPr id="78" name="Freeform 22"/>
            <p:cNvSpPr/>
            <p:nvPr/>
          </p:nvSpPr>
          <p:spPr>
            <a:xfrm rot="7388781">
              <a:off x="4603790" y="3023032"/>
              <a:ext cx="2099432" cy="1895689"/>
            </a:xfrm>
            <a:custGeom>
              <a:avLst/>
              <a:gdLst>
                <a:gd name="connsiteX0" fmla="*/ 0 w 2257425"/>
                <a:gd name="connsiteY0" fmla="*/ 0 h 1543050"/>
                <a:gd name="connsiteX1" fmla="*/ 1514475 w 2257425"/>
                <a:gd name="connsiteY1" fmla="*/ 1543050 h 1543050"/>
                <a:gd name="connsiteX2" fmla="*/ 2257425 w 2257425"/>
                <a:gd name="connsiteY2" fmla="*/ 828675 h 1543050"/>
                <a:gd name="connsiteX3" fmla="*/ 0 w 2257425"/>
                <a:gd name="connsiteY3" fmla="*/ 0 h 1543050"/>
                <a:gd name="connsiteX0" fmla="*/ 0 w 2257425"/>
                <a:gd name="connsiteY0" fmla="*/ 495300 h 2038350"/>
                <a:gd name="connsiteX1" fmla="*/ 1514475 w 2257425"/>
                <a:gd name="connsiteY1" fmla="*/ 2038350 h 2038350"/>
                <a:gd name="connsiteX2" fmla="*/ 2257425 w 2257425"/>
                <a:gd name="connsiteY2" fmla="*/ 1323975 h 2038350"/>
                <a:gd name="connsiteX3" fmla="*/ 0 w 2257425"/>
                <a:gd name="connsiteY3" fmla="*/ 495300 h 2038350"/>
                <a:gd name="connsiteX0" fmla="*/ 0 w 2257425"/>
                <a:gd name="connsiteY0" fmla="*/ 495300 h 2038350"/>
                <a:gd name="connsiteX1" fmla="*/ 1514475 w 2257425"/>
                <a:gd name="connsiteY1" fmla="*/ 2038350 h 2038350"/>
                <a:gd name="connsiteX2" fmla="*/ 2257425 w 2257425"/>
                <a:gd name="connsiteY2" fmla="*/ 1323975 h 2038350"/>
                <a:gd name="connsiteX3" fmla="*/ 0 w 2257425"/>
                <a:gd name="connsiteY3" fmla="*/ 495300 h 2038350"/>
              </a:gdLst>
              <a:ahLst/>
              <a:cxnLst>
                <a:cxn ang="0">
                  <a:pos x="connsiteX0" y="connsiteY0"/>
                </a:cxn>
                <a:cxn ang="0">
                  <a:pos x="connsiteX1" y="connsiteY1"/>
                </a:cxn>
                <a:cxn ang="0">
                  <a:pos x="connsiteX2" y="connsiteY2"/>
                </a:cxn>
                <a:cxn ang="0">
                  <a:pos x="connsiteX3" y="connsiteY3"/>
                </a:cxn>
              </a:cxnLst>
              <a:rect l="l" t="t" r="r" b="b"/>
              <a:pathLst>
                <a:path w="2257425" h="2038350">
                  <a:moveTo>
                    <a:pt x="0" y="495300"/>
                  </a:moveTo>
                  <a:lnTo>
                    <a:pt x="1514475" y="2038350"/>
                  </a:lnTo>
                  <a:lnTo>
                    <a:pt x="2257425" y="1323975"/>
                  </a:lnTo>
                  <a:cubicBezTo>
                    <a:pt x="2019300" y="714375"/>
                    <a:pt x="1000125" y="0"/>
                    <a:pt x="0" y="495300"/>
                  </a:cubicBezTo>
                  <a:close/>
                </a:path>
              </a:pathLst>
            </a:custGeom>
            <a:solidFill>
              <a:srgbClr val="598E20"/>
            </a:solidFill>
            <a:ln w="28575">
              <a:solidFill>
                <a:sysClr val="window" lastClr="FFFFFF"/>
              </a:solidFill>
              <a:round/>
              <a:headEnd/>
              <a:tailEnd/>
            </a:ln>
          </p:spPr>
          <p:txBody>
            <a:bodyPr vert="horz" wrap="square" lIns="91440" tIns="45720" rIns="91440" bIns="45720" numCol="1" anchor="t" anchorCtr="0" compatLnSpc="1">
              <a:prstTxWarp prst="textNoShape">
                <a:avLst/>
              </a:prstTxWarp>
            </a:bodyPr>
            <a:lstStyle/>
            <a:p>
              <a:pPr defTabSz="913777">
                <a:defRPr/>
              </a:pPr>
              <a:endParaRPr lang="en-US" sz="1100" kern="0" dirty="0">
                <a:solidFill>
                  <a:sysClr val="windowText" lastClr="000000"/>
                </a:solidFill>
                <a:latin typeface="Calibri" panose="020F0502020204030204" pitchFamily="34" charset="0"/>
                <a:cs typeface="Arial" pitchFamily="34" charset="0"/>
              </a:endParaRPr>
            </a:p>
          </p:txBody>
        </p:sp>
        <p:sp>
          <p:nvSpPr>
            <p:cNvPr id="79" name="Freeform 23"/>
            <p:cNvSpPr/>
            <p:nvPr/>
          </p:nvSpPr>
          <p:spPr>
            <a:xfrm rot="12788781">
              <a:off x="3187980" y="2770622"/>
              <a:ext cx="2099431" cy="1895689"/>
            </a:xfrm>
            <a:custGeom>
              <a:avLst/>
              <a:gdLst>
                <a:gd name="connsiteX0" fmla="*/ 0 w 2257425"/>
                <a:gd name="connsiteY0" fmla="*/ 0 h 1543050"/>
                <a:gd name="connsiteX1" fmla="*/ 1514475 w 2257425"/>
                <a:gd name="connsiteY1" fmla="*/ 1543050 h 1543050"/>
                <a:gd name="connsiteX2" fmla="*/ 2257425 w 2257425"/>
                <a:gd name="connsiteY2" fmla="*/ 828675 h 1543050"/>
                <a:gd name="connsiteX3" fmla="*/ 0 w 2257425"/>
                <a:gd name="connsiteY3" fmla="*/ 0 h 1543050"/>
                <a:gd name="connsiteX0" fmla="*/ 0 w 2257425"/>
                <a:gd name="connsiteY0" fmla="*/ 495300 h 2038350"/>
                <a:gd name="connsiteX1" fmla="*/ 1514475 w 2257425"/>
                <a:gd name="connsiteY1" fmla="*/ 2038350 h 2038350"/>
                <a:gd name="connsiteX2" fmla="*/ 2257425 w 2257425"/>
                <a:gd name="connsiteY2" fmla="*/ 1323975 h 2038350"/>
                <a:gd name="connsiteX3" fmla="*/ 0 w 2257425"/>
                <a:gd name="connsiteY3" fmla="*/ 495300 h 2038350"/>
                <a:gd name="connsiteX0" fmla="*/ 0 w 2257425"/>
                <a:gd name="connsiteY0" fmla="*/ 495300 h 2038350"/>
                <a:gd name="connsiteX1" fmla="*/ 1514475 w 2257425"/>
                <a:gd name="connsiteY1" fmla="*/ 2038350 h 2038350"/>
                <a:gd name="connsiteX2" fmla="*/ 2257425 w 2257425"/>
                <a:gd name="connsiteY2" fmla="*/ 1323975 h 2038350"/>
                <a:gd name="connsiteX3" fmla="*/ 0 w 2257425"/>
                <a:gd name="connsiteY3" fmla="*/ 495300 h 2038350"/>
              </a:gdLst>
              <a:ahLst/>
              <a:cxnLst>
                <a:cxn ang="0">
                  <a:pos x="connsiteX0" y="connsiteY0"/>
                </a:cxn>
                <a:cxn ang="0">
                  <a:pos x="connsiteX1" y="connsiteY1"/>
                </a:cxn>
                <a:cxn ang="0">
                  <a:pos x="connsiteX2" y="connsiteY2"/>
                </a:cxn>
                <a:cxn ang="0">
                  <a:pos x="connsiteX3" y="connsiteY3"/>
                </a:cxn>
              </a:cxnLst>
              <a:rect l="l" t="t" r="r" b="b"/>
              <a:pathLst>
                <a:path w="2257425" h="2038350">
                  <a:moveTo>
                    <a:pt x="0" y="495300"/>
                  </a:moveTo>
                  <a:lnTo>
                    <a:pt x="1514475" y="2038350"/>
                  </a:lnTo>
                  <a:lnTo>
                    <a:pt x="2257425" y="1323975"/>
                  </a:lnTo>
                  <a:cubicBezTo>
                    <a:pt x="2019300" y="714375"/>
                    <a:pt x="1000125" y="0"/>
                    <a:pt x="0" y="495300"/>
                  </a:cubicBezTo>
                  <a:close/>
                </a:path>
              </a:pathLst>
            </a:custGeom>
            <a:solidFill>
              <a:srgbClr val="CD1B31"/>
            </a:solidFill>
            <a:ln w="28575">
              <a:solidFill>
                <a:sysClr val="window" lastClr="FFFFFF"/>
              </a:solidFill>
              <a:round/>
              <a:headEnd/>
              <a:tailEnd/>
            </a:ln>
          </p:spPr>
          <p:txBody>
            <a:bodyPr vert="horz" wrap="square" lIns="91440" tIns="45720" rIns="91440" bIns="45720" numCol="1" anchor="t" anchorCtr="0" compatLnSpc="1">
              <a:prstTxWarp prst="textNoShape">
                <a:avLst/>
              </a:prstTxWarp>
            </a:bodyPr>
            <a:lstStyle/>
            <a:p>
              <a:pPr defTabSz="913777">
                <a:defRPr/>
              </a:pPr>
              <a:endParaRPr lang="en-US" sz="1100" kern="0" dirty="0">
                <a:solidFill>
                  <a:sysClr val="windowText" lastClr="000000"/>
                </a:solidFill>
                <a:latin typeface="Calibri" panose="020F0502020204030204" pitchFamily="34" charset="0"/>
                <a:cs typeface="Arial" pitchFamily="34" charset="0"/>
              </a:endParaRPr>
            </a:p>
          </p:txBody>
        </p:sp>
        <p:sp>
          <p:nvSpPr>
            <p:cNvPr id="80" name="Freeform 826"/>
            <p:cNvSpPr>
              <a:spLocks noEditPoints="1"/>
            </p:cNvSpPr>
            <p:nvPr/>
          </p:nvSpPr>
          <p:spPr bwMode="auto">
            <a:xfrm>
              <a:off x="5581159" y="2227893"/>
              <a:ext cx="603509" cy="634860"/>
            </a:xfrm>
            <a:custGeom>
              <a:avLst/>
              <a:gdLst/>
              <a:ahLst/>
              <a:cxnLst>
                <a:cxn ang="0">
                  <a:pos x="55" y="98"/>
                </a:cxn>
                <a:cxn ang="0">
                  <a:pos x="29" y="115"/>
                </a:cxn>
                <a:cxn ang="0">
                  <a:pos x="35" y="89"/>
                </a:cxn>
                <a:cxn ang="0">
                  <a:pos x="21" y="84"/>
                </a:cxn>
                <a:cxn ang="0">
                  <a:pos x="0" y="45"/>
                </a:cxn>
                <a:cxn ang="0">
                  <a:pos x="45" y="0"/>
                </a:cxn>
                <a:cxn ang="0">
                  <a:pos x="89" y="36"/>
                </a:cxn>
                <a:cxn ang="0">
                  <a:pos x="97" y="140"/>
                </a:cxn>
                <a:cxn ang="0">
                  <a:pos x="90" y="170"/>
                </a:cxn>
                <a:cxn ang="0">
                  <a:pos x="143" y="132"/>
                </a:cxn>
                <a:cxn ang="0">
                  <a:pos x="162" y="87"/>
                </a:cxn>
                <a:cxn ang="0">
                  <a:pos x="109" y="34"/>
                </a:cxn>
                <a:cxn ang="0">
                  <a:pos x="55" y="87"/>
                </a:cxn>
                <a:cxn ang="0">
                  <a:pos x="80" y="133"/>
                </a:cxn>
              </a:cxnLst>
              <a:rect l="0" t="0" r="r" b="b"/>
              <a:pathLst>
                <a:path w="162" h="170">
                  <a:moveTo>
                    <a:pt x="55" y="98"/>
                  </a:moveTo>
                  <a:cubicBezTo>
                    <a:pt x="43" y="107"/>
                    <a:pt x="29" y="115"/>
                    <a:pt x="29" y="115"/>
                  </a:cubicBezTo>
                  <a:cubicBezTo>
                    <a:pt x="35" y="89"/>
                    <a:pt x="35" y="89"/>
                    <a:pt x="35" y="89"/>
                  </a:cubicBezTo>
                  <a:moveTo>
                    <a:pt x="21" y="84"/>
                  </a:moveTo>
                  <a:cubicBezTo>
                    <a:pt x="9" y="76"/>
                    <a:pt x="0" y="61"/>
                    <a:pt x="0" y="45"/>
                  </a:cubicBezTo>
                  <a:cubicBezTo>
                    <a:pt x="0" y="20"/>
                    <a:pt x="20" y="0"/>
                    <a:pt x="45" y="0"/>
                  </a:cubicBezTo>
                  <a:cubicBezTo>
                    <a:pt x="67" y="0"/>
                    <a:pt x="85" y="16"/>
                    <a:pt x="89" y="36"/>
                  </a:cubicBezTo>
                  <a:moveTo>
                    <a:pt x="97" y="140"/>
                  </a:moveTo>
                  <a:cubicBezTo>
                    <a:pt x="90" y="170"/>
                    <a:pt x="90" y="170"/>
                    <a:pt x="90" y="170"/>
                  </a:cubicBezTo>
                  <a:cubicBezTo>
                    <a:pt x="90" y="170"/>
                    <a:pt x="131" y="144"/>
                    <a:pt x="143" y="132"/>
                  </a:cubicBezTo>
                  <a:cubicBezTo>
                    <a:pt x="152" y="123"/>
                    <a:pt x="162" y="111"/>
                    <a:pt x="162" y="87"/>
                  </a:cubicBezTo>
                  <a:cubicBezTo>
                    <a:pt x="162" y="58"/>
                    <a:pt x="138" y="34"/>
                    <a:pt x="109" y="34"/>
                  </a:cubicBezTo>
                  <a:cubicBezTo>
                    <a:pt x="79" y="34"/>
                    <a:pt x="55" y="58"/>
                    <a:pt x="55" y="87"/>
                  </a:cubicBezTo>
                  <a:cubicBezTo>
                    <a:pt x="55" y="106"/>
                    <a:pt x="65" y="123"/>
                    <a:pt x="80" y="133"/>
                  </a:cubicBezTo>
                </a:path>
              </a:pathLst>
            </a:custGeom>
            <a:noFill/>
            <a:ln w="952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sz="1600" kern="0" dirty="0">
                <a:solidFill>
                  <a:sysClr val="windowText" lastClr="000000"/>
                </a:solidFill>
                <a:latin typeface="Calibri" panose="020F0502020204030204" pitchFamily="34" charset="0"/>
                <a:cs typeface="Arial" pitchFamily="34" charset="0"/>
              </a:endParaRPr>
            </a:p>
          </p:txBody>
        </p:sp>
        <p:grpSp>
          <p:nvGrpSpPr>
            <p:cNvPr id="81" name="Groupe 663"/>
            <p:cNvGrpSpPr/>
            <p:nvPr/>
          </p:nvGrpSpPr>
          <p:grpSpPr>
            <a:xfrm>
              <a:off x="4137283" y="1920734"/>
              <a:ext cx="723415" cy="564061"/>
              <a:chOff x="4452938" y="2754312"/>
              <a:chExt cx="454026" cy="354013"/>
            </a:xfrm>
          </p:grpSpPr>
          <p:sp>
            <p:nvSpPr>
              <p:cNvPr id="97" name="Oval 591"/>
              <p:cNvSpPr>
                <a:spLocks noChangeArrowheads="1"/>
              </p:cNvSpPr>
              <p:nvPr/>
            </p:nvSpPr>
            <p:spPr bwMode="auto">
              <a:xfrm>
                <a:off x="4735513" y="2754312"/>
                <a:ext cx="133350" cy="136525"/>
              </a:xfrm>
              <a:prstGeom prst="ellipse">
                <a:avLst/>
              </a:prstGeom>
              <a:noFill/>
              <a:ln w="952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sz="600" kern="0" dirty="0">
                  <a:solidFill>
                    <a:sysClr val="windowText" lastClr="000000"/>
                  </a:solidFill>
                  <a:latin typeface="Calibri" panose="020F0502020204030204" pitchFamily="34" charset="0"/>
                  <a:cs typeface="Arial" pitchFamily="34" charset="0"/>
                </a:endParaRPr>
              </a:p>
            </p:txBody>
          </p:sp>
          <p:sp>
            <p:nvSpPr>
              <p:cNvPr id="98" name="Oval 592"/>
              <p:cNvSpPr>
                <a:spLocks noChangeArrowheads="1"/>
              </p:cNvSpPr>
              <p:nvPr/>
            </p:nvSpPr>
            <p:spPr bwMode="auto">
              <a:xfrm>
                <a:off x="4783138" y="2773362"/>
                <a:ext cx="39688" cy="47625"/>
              </a:xfrm>
              <a:prstGeom prst="ellipse">
                <a:avLst/>
              </a:prstGeom>
              <a:noFill/>
              <a:ln w="952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sz="600" kern="0" dirty="0">
                  <a:solidFill>
                    <a:sysClr val="windowText" lastClr="000000"/>
                  </a:solidFill>
                  <a:latin typeface="Calibri" panose="020F0502020204030204" pitchFamily="34" charset="0"/>
                  <a:cs typeface="Arial" pitchFamily="34" charset="0"/>
                </a:endParaRPr>
              </a:p>
            </p:txBody>
          </p:sp>
          <p:sp>
            <p:nvSpPr>
              <p:cNvPr id="99" name="Freeform 593"/>
              <p:cNvSpPr>
                <a:spLocks/>
              </p:cNvSpPr>
              <p:nvPr/>
            </p:nvSpPr>
            <p:spPr bwMode="auto">
              <a:xfrm>
                <a:off x="4759326" y="2820987"/>
                <a:ext cx="87313" cy="31750"/>
              </a:xfrm>
              <a:custGeom>
                <a:avLst/>
                <a:gdLst/>
                <a:ahLst/>
                <a:cxnLst>
                  <a:cxn ang="0">
                    <a:pos x="0" y="17"/>
                  </a:cxn>
                  <a:cxn ang="0">
                    <a:pos x="22" y="0"/>
                  </a:cxn>
                  <a:cxn ang="0">
                    <a:pos x="45" y="16"/>
                  </a:cxn>
                </a:cxnLst>
                <a:rect l="0" t="0" r="r" b="b"/>
                <a:pathLst>
                  <a:path w="45" h="17">
                    <a:moveTo>
                      <a:pt x="0" y="17"/>
                    </a:moveTo>
                    <a:cubicBezTo>
                      <a:pt x="3" y="7"/>
                      <a:pt x="9" y="0"/>
                      <a:pt x="22" y="0"/>
                    </a:cubicBezTo>
                    <a:cubicBezTo>
                      <a:pt x="35" y="0"/>
                      <a:pt x="42" y="7"/>
                      <a:pt x="45" y="16"/>
                    </a:cubicBezTo>
                  </a:path>
                </a:pathLst>
              </a:custGeom>
              <a:noFill/>
              <a:ln w="952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sz="600" kern="0" dirty="0">
                  <a:solidFill>
                    <a:sysClr val="windowText" lastClr="000000"/>
                  </a:solidFill>
                  <a:latin typeface="Calibri" panose="020F0502020204030204" pitchFamily="34" charset="0"/>
                  <a:cs typeface="Arial" pitchFamily="34" charset="0"/>
                </a:endParaRPr>
              </a:p>
            </p:txBody>
          </p:sp>
          <p:sp>
            <p:nvSpPr>
              <p:cNvPr id="100" name="Oval 594"/>
              <p:cNvSpPr>
                <a:spLocks noChangeArrowheads="1"/>
              </p:cNvSpPr>
              <p:nvPr/>
            </p:nvSpPr>
            <p:spPr bwMode="auto">
              <a:xfrm>
                <a:off x="4737101" y="2940050"/>
                <a:ext cx="169863" cy="168275"/>
              </a:xfrm>
              <a:prstGeom prst="ellipse">
                <a:avLst/>
              </a:prstGeom>
              <a:noFill/>
              <a:ln w="952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sz="600" kern="0" dirty="0">
                  <a:solidFill>
                    <a:sysClr val="windowText" lastClr="000000"/>
                  </a:solidFill>
                  <a:latin typeface="Calibri" panose="020F0502020204030204" pitchFamily="34" charset="0"/>
                  <a:cs typeface="Arial" pitchFamily="34" charset="0"/>
                </a:endParaRPr>
              </a:p>
            </p:txBody>
          </p:sp>
          <p:sp>
            <p:nvSpPr>
              <p:cNvPr id="101" name="Oval 595"/>
              <p:cNvSpPr>
                <a:spLocks noChangeArrowheads="1"/>
              </p:cNvSpPr>
              <p:nvPr/>
            </p:nvSpPr>
            <p:spPr bwMode="auto">
              <a:xfrm>
                <a:off x="4795838" y="2965450"/>
                <a:ext cx="50800" cy="57150"/>
              </a:xfrm>
              <a:prstGeom prst="ellipse">
                <a:avLst/>
              </a:prstGeom>
              <a:noFill/>
              <a:ln w="952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sz="600" kern="0" dirty="0">
                  <a:solidFill>
                    <a:sysClr val="windowText" lastClr="000000"/>
                  </a:solidFill>
                  <a:latin typeface="Calibri" panose="020F0502020204030204" pitchFamily="34" charset="0"/>
                  <a:cs typeface="Arial" pitchFamily="34" charset="0"/>
                </a:endParaRPr>
              </a:p>
            </p:txBody>
          </p:sp>
          <p:sp>
            <p:nvSpPr>
              <p:cNvPr id="102" name="Freeform 596"/>
              <p:cNvSpPr>
                <a:spLocks/>
              </p:cNvSpPr>
              <p:nvPr/>
            </p:nvSpPr>
            <p:spPr bwMode="auto">
              <a:xfrm>
                <a:off x="4767263" y="3022600"/>
                <a:ext cx="107950" cy="41275"/>
              </a:xfrm>
              <a:custGeom>
                <a:avLst/>
                <a:gdLst/>
                <a:ahLst/>
                <a:cxnLst>
                  <a:cxn ang="0">
                    <a:pos x="0" y="22"/>
                  </a:cxn>
                  <a:cxn ang="0">
                    <a:pos x="28" y="0"/>
                  </a:cxn>
                  <a:cxn ang="0">
                    <a:pos x="56" y="21"/>
                  </a:cxn>
                </a:cxnLst>
                <a:rect l="0" t="0" r="r" b="b"/>
                <a:pathLst>
                  <a:path w="56" h="22">
                    <a:moveTo>
                      <a:pt x="0" y="22"/>
                    </a:moveTo>
                    <a:cubicBezTo>
                      <a:pt x="3" y="10"/>
                      <a:pt x="12" y="0"/>
                      <a:pt x="28" y="0"/>
                    </a:cubicBezTo>
                    <a:cubicBezTo>
                      <a:pt x="43" y="0"/>
                      <a:pt x="52" y="9"/>
                      <a:pt x="56" y="21"/>
                    </a:cubicBezTo>
                  </a:path>
                </a:pathLst>
              </a:custGeom>
              <a:noFill/>
              <a:ln w="952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sz="600" kern="0" dirty="0">
                  <a:solidFill>
                    <a:sysClr val="windowText" lastClr="000000"/>
                  </a:solidFill>
                  <a:latin typeface="Calibri" panose="020F0502020204030204" pitchFamily="34" charset="0"/>
                  <a:cs typeface="Arial" pitchFamily="34" charset="0"/>
                </a:endParaRPr>
              </a:p>
            </p:txBody>
          </p:sp>
          <p:sp>
            <p:nvSpPr>
              <p:cNvPr id="103" name="Oval 597"/>
              <p:cNvSpPr>
                <a:spLocks noChangeArrowheads="1"/>
              </p:cNvSpPr>
              <p:nvPr/>
            </p:nvSpPr>
            <p:spPr bwMode="auto">
              <a:xfrm>
                <a:off x="4452938" y="2828925"/>
                <a:ext cx="190500" cy="188913"/>
              </a:xfrm>
              <a:prstGeom prst="ellipse">
                <a:avLst/>
              </a:prstGeom>
              <a:noFill/>
              <a:ln w="952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sz="600" kern="0" dirty="0">
                  <a:solidFill>
                    <a:sysClr val="windowText" lastClr="000000"/>
                  </a:solidFill>
                  <a:latin typeface="Calibri" panose="020F0502020204030204" pitchFamily="34" charset="0"/>
                  <a:cs typeface="Arial" pitchFamily="34" charset="0"/>
                </a:endParaRPr>
              </a:p>
            </p:txBody>
          </p:sp>
          <p:sp>
            <p:nvSpPr>
              <p:cNvPr id="104" name="Oval 598"/>
              <p:cNvSpPr>
                <a:spLocks noChangeArrowheads="1"/>
              </p:cNvSpPr>
              <p:nvPr/>
            </p:nvSpPr>
            <p:spPr bwMode="auto">
              <a:xfrm>
                <a:off x="4519613" y="2855912"/>
                <a:ext cx="58738" cy="66675"/>
              </a:xfrm>
              <a:prstGeom prst="ellipse">
                <a:avLst/>
              </a:prstGeom>
              <a:noFill/>
              <a:ln w="952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sz="600" kern="0" dirty="0">
                  <a:solidFill>
                    <a:sysClr val="windowText" lastClr="000000"/>
                  </a:solidFill>
                  <a:latin typeface="Calibri" panose="020F0502020204030204" pitchFamily="34" charset="0"/>
                  <a:cs typeface="Arial" pitchFamily="34" charset="0"/>
                </a:endParaRPr>
              </a:p>
            </p:txBody>
          </p:sp>
          <p:sp>
            <p:nvSpPr>
              <p:cNvPr id="105" name="Freeform 599"/>
              <p:cNvSpPr>
                <a:spLocks/>
              </p:cNvSpPr>
              <p:nvPr/>
            </p:nvSpPr>
            <p:spPr bwMode="auto">
              <a:xfrm>
                <a:off x="4484688" y="2922587"/>
                <a:ext cx="127000" cy="50800"/>
              </a:xfrm>
              <a:custGeom>
                <a:avLst/>
                <a:gdLst/>
                <a:ahLst/>
                <a:cxnLst>
                  <a:cxn ang="0">
                    <a:pos x="0" y="26"/>
                  </a:cxn>
                  <a:cxn ang="0">
                    <a:pos x="33" y="0"/>
                  </a:cxn>
                  <a:cxn ang="0">
                    <a:pos x="66" y="24"/>
                  </a:cxn>
                </a:cxnLst>
                <a:rect l="0" t="0" r="r" b="b"/>
                <a:pathLst>
                  <a:path w="66" h="26">
                    <a:moveTo>
                      <a:pt x="0" y="26"/>
                    </a:moveTo>
                    <a:cubicBezTo>
                      <a:pt x="4" y="11"/>
                      <a:pt x="14" y="0"/>
                      <a:pt x="33" y="0"/>
                    </a:cubicBezTo>
                    <a:cubicBezTo>
                      <a:pt x="52" y="0"/>
                      <a:pt x="62" y="10"/>
                      <a:pt x="66" y="24"/>
                    </a:cubicBezTo>
                  </a:path>
                </a:pathLst>
              </a:custGeom>
              <a:noFill/>
              <a:ln w="952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sz="600" kern="0" dirty="0">
                  <a:solidFill>
                    <a:sysClr val="windowText" lastClr="000000"/>
                  </a:solidFill>
                  <a:latin typeface="Calibri" panose="020F0502020204030204" pitchFamily="34" charset="0"/>
                  <a:cs typeface="Arial" pitchFamily="34" charset="0"/>
                </a:endParaRPr>
              </a:p>
            </p:txBody>
          </p:sp>
          <p:sp>
            <p:nvSpPr>
              <p:cNvPr id="106" name="Line 600"/>
              <p:cNvSpPr>
                <a:spLocks noChangeShapeType="1"/>
              </p:cNvSpPr>
              <p:nvPr/>
            </p:nvSpPr>
            <p:spPr bwMode="auto">
              <a:xfrm flipH="1" flipV="1">
                <a:off x="4638676" y="2962275"/>
                <a:ext cx="95250" cy="39688"/>
              </a:xfrm>
              <a:prstGeom prst="line">
                <a:avLst/>
              </a:prstGeom>
              <a:noFill/>
              <a:ln w="952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sz="600" kern="0" dirty="0">
                  <a:solidFill>
                    <a:sysClr val="windowText" lastClr="000000"/>
                  </a:solidFill>
                  <a:latin typeface="Calibri" panose="020F0502020204030204" pitchFamily="34" charset="0"/>
                  <a:cs typeface="Arial" pitchFamily="34" charset="0"/>
                </a:endParaRPr>
              </a:p>
            </p:txBody>
          </p:sp>
          <p:sp>
            <p:nvSpPr>
              <p:cNvPr id="107" name="Line 601"/>
              <p:cNvSpPr>
                <a:spLocks noChangeShapeType="1"/>
              </p:cNvSpPr>
              <p:nvPr/>
            </p:nvSpPr>
            <p:spPr bwMode="auto">
              <a:xfrm flipH="1">
                <a:off x="4640263" y="2841625"/>
                <a:ext cx="96838" cy="42863"/>
              </a:xfrm>
              <a:prstGeom prst="line">
                <a:avLst/>
              </a:prstGeom>
              <a:noFill/>
              <a:ln w="952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sz="600" kern="0" dirty="0">
                  <a:solidFill>
                    <a:sysClr val="windowText" lastClr="000000"/>
                  </a:solidFill>
                  <a:latin typeface="Calibri" panose="020F0502020204030204" pitchFamily="34" charset="0"/>
                  <a:cs typeface="Arial" pitchFamily="34" charset="0"/>
                </a:endParaRPr>
              </a:p>
            </p:txBody>
          </p:sp>
        </p:grpSp>
        <p:sp>
          <p:nvSpPr>
            <p:cNvPr id="82" name="Rectangle 81"/>
            <p:cNvSpPr/>
            <p:nvPr/>
          </p:nvSpPr>
          <p:spPr>
            <a:xfrm>
              <a:off x="4614723" y="2844474"/>
              <a:ext cx="874987" cy="496068"/>
            </a:xfrm>
            <a:prstGeom prst="rect">
              <a:avLst/>
            </a:prstGeom>
            <a:noFill/>
            <a:ln w="9525" cap="flat" cmpd="sng" algn="ctr">
              <a:noFill/>
              <a:prstDash val="solid"/>
            </a:ln>
            <a:effectLst/>
          </p:spPr>
          <p:txBody>
            <a:bodyPr rtlCol="0" anchor="ctr"/>
            <a:lstStyle/>
            <a:p>
              <a:pPr algn="ctr" defTabSz="957102">
                <a:defRPr/>
              </a:pPr>
              <a:r>
                <a:rPr lang="en-US" sz="2300" b="1" kern="0" dirty="0">
                  <a:solidFill>
                    <a:srgbClr val="0098CC"/>
                  </a:solidFill>
                  <a:effectLst>
                    <a:outerShdw blurRad="38100" dist="38100" dir="2700000" algn="tl">
                      <a:srgbClr val="000000">
                        <a:alpha val="43137"/>
                      </a:srgbClr>
                    </a:outerShdw>
                  </a:effectLst>
                  <a:latin typeface="Calibri" panose="020F0502020204030204" pitchFamily="34" charset="0"/>
                  <a:cs typeface="Arial" pitchFamily="34" charset="0"/>
                </a:rPr>
                <a:t>DCX </a:t>
              </a:r>
            </a:p>
          </p:txBody>
        </p:sp>
        <p:grpSp>
          <p:nvGrpSpPr>
            <p:cNvPr id="83" name="Group 186"/>
            <p:cNvGrpSpPr/>
            <p:nvPr/>
          </p:nvGrpSpPr>
          <p:grpSpPr>
            <a:xfrm>
              <a:off x="5297682" y="3784030"/>
              <a:ext cx="746001" cy="471497"/>
              <a:chOff x="5400217" y="3303020"/>
              <a:chExt cx="802142" cy="506980"/>
            </a:xfrm>
          </p:grpSpPr>
          <p:sp>
            <p:nvSpPr>
              <p:cNvPr id="89" name="Freeform 575"/>
              <p:cNvSpPr>
                <a:spLocks/>
              </p:cNvSpPr>
              <p:nvPr/>
            </p:nvSpPr>
            <p:spPr bwMode="auto">
              <a:xfrm>
                <a:off x="5400217" y="3306491"/>
                <a:ext cx="802142" cy="503509"/>
              </a:xfrm>
              <a:custGeom>
                <a:avLst/>
                <a:gdLst/>
                <a:ahLst/>
                <a:cxnLst>
                  <a:cxn ang="0">
                    <a:pos x="189" y="106"/>
                  </a:cxn>
                  <a:cxn ang="0">
                    <a:pos x="176" y="119"/>
                  </a:cxn>
                  <a:cxn ang="0">
                    <a:pos x="12" y="119"/>
                  </a:cxn>
                  <a:cxn ang="0">
                    <a:pos x="0" y="106"/>
                  </a:cxn>
                  <a:cxn ang="0">
                    <a:pos x="172" y="106"/>
                  </a:cxn>
                  <a:cxn ang="0">
                    <a:pos x="172" y="0"/>
                  </a:cxn>
                  <a:cxn ang="0">
                    <a:pos x="17" y="0"/>
                  </a:cxn>
                  <a:cxn ang="0">
                    <a:pos x="17" y="91"/>
                  </a:cxn>
                </a:cxnLst>
                <a:rect l="0" t="0" r="r" b="b"/>
                <a:pathLst>
                  <a:path w="189" h="119">
                    <a:moveTo>
                      <a:pt x="189" y="106"/>
                    </a:moveTo>
                    <a:cubicBezTo>
                      <a:pt x="189" y="113"/>
                      <a:pt x="184" y="119"/>
                      <a:pt x="176" y="119"/>
                    </a:cubicBezTo>
                    <a:cubicBezTo>
                      <a:pt x="12" y="119"/>
                      <a:pt x="12" y="119"/>
                      <a:pt x="12" y="119"/>
                    </a:cubicBezTo>
                    <a:cubicBezTo>
                      <a:pt x="5" y="119"/>
                      <a:pt x="0" y="113"/>
                      <a:pt x="0" y="106"/>
                    </a:cubicBezTo>
                    <a:cubicBezTo>
                      <a:pt x="172" y="106"/>
                      <a:pt x="172" y="106"/>
                      <a:pt x="172" y="106"/>
                    </a:cubicBezTo>
                    <a:cubicBezTo>
                      <a:pt x="172" y="0"/>
                      <a:pt x="172" y="0"/>
                      <a:pt x="172" y="0"/>
                    </a:cubicBezTo>
                    <a:cubicBezTo>
                      <a:pt x="17" y="0"/>
                      <a:pt x="17" y="0"/>
                      <a:pt x="17" y="0"/>
                    </a:cubicBezTo>
                    <a:cubicBezTo>
                      <a:pt x="17" y="91"/>
                      <a:pt x="17" y="91"/>
                      <a:pt x="17" y="91"/>
                    </a:cubicBezTo>
                  </a:path>
                </a:pathLst>
              </a:custGeom>
              <a:noFill/>
              <a:ln w="952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kern="0" dirty="0">
                  <a:solidFill>
                    <a:srgbClr val="00234B"/>
                  </a:solidFill>
                  <a:latin typeface="Calibri" panose="020F0502020204030204" pitchFamily="34" charset="0"/>
                  <a:cs typeface="Arial" pitchFamily="34" charset="0"/>
                </a:endParaRPr>
              </a:p>
            </p:txBody>
          </p:sp>
          <p:sp>
            <p:nvSpPr>
              <p:cNvPr id="90" name="Freeform 576"/>
              <p:cNvSpPr>
                <a:spLocks/>
              </p:cNvSpPr>
              <p:nvPr/>
            </p:nvSpPr>
            <p:spPr bwMode="auto">
              <a:xfrm>
                <a:off x="5702321" y="3382868"/>
                <a:ext cx="187513" cy="305577"/>
              </a:xfrm>
              <a:custGeom>
                <a:avLst/>
                <a:gdLst/>
                <a:ahLst/>
                <a:cxnLst>
                  <a:cxn ang="0">
                    <a:pos x="33" y="41"/>
                  </a:cxn>
                  <a:cxn ang="0">
                    <a:pos x="44" y="22"/>
                  </a:cxn>
                  <a:cxn ang="0">
                    <a:pos x="22" y="0"/>
                  </a:cxn>
                  <a:cxn ang="0">
                    <a:pos x="0" y="22"/>
                  </a:cxn>
                  <a:cxn ang="0">
                    <a:pos x="12" y="41"/>
                  </a:cxn>
                  <a:cxn ang="0">
                    <a:pos x="12" y="52"/>
                  </a:cxn>
                  <a:cxn ang="0">
                    <a:pos x="33" y="52"/>
                  </a:cxn>
                  <a:cxn ang="0">
                    <a:pos x="33" y="64"/>
                  </a:cxn>
                  <a:cxn ang="0">
                    <a:pos x="28" y="69"/>
                  </a:cxn>
                  <a:cxn ang="0">
                    <a:pos x="28" y="69"/>
                  </a:cxn>
                  <a:cxn ang="0">
                    <a:pos x="22" y="72"/>
                  </a:cxn>
                  <a:cxn ang="0">
                    <a:pos x="16" y="69"/>
                  </a:cxn>
                  <a:cxn ang="0">
                    <a:pos x="16" y="69"/>
                  </a:cxn>
                  <a:cxn ang="0">
                    <a:pos x="12" y="64"/>
                  </a:cxn>
                  <a:cxn ang="0">
                    <a:pos x="12" y="60"/>
                  </a:cxn>
                </a:cxnLst>
                <a:rect l="0" t="0" r="r" b="b"/>
                <a:pathLst>
                  <a:path w="44" h="72">
                    <a:moveTo>
                      <a:pt x="33" y="41"/>
                    </a:moveTo>
                    <a:cubicBezTo>
                      <a:pt x="40" y="38"/>
                      <a:pt x="44" y="30"/>
                      <a:pt x="44" y="22"/>
                    </a:cubicBezTo>
                    <a:cubicBezTo>
                      <a:pt x="44" y="10"/>
                      <a:pt x="35" y="0"/>
                      <a:pt x="22" y="0"/>
                    </a:cubicBezTo>
                    <a:cubicBezTo>
                      <a:pt x="10" y="0"/>
                      <a:pt x="0" y="10"/>
                      <a:pt x="0" y="22"/>
                    </a:cubicBezTo>
                    <a:cubicBezTo>
                      <a:pt x="0" y="30"/>
                      <a:pt x="5" y="38"/>
                      <a:pt x="12" y="41"/>
                    </a:cubicBezTo>
                    <a:cubicBezTo>
                      <a:pt x="12" y="52"/>
                      <a:pt x="12" y="52"/>
                      <a:pt x="12" y="52"/>
                    </a:cubicBezTo>
                    <a:cubicBezTo>
                      <a:pt x="33" y="52"/>
                      <a:pt x="33" y="52"/>
                      <a:pt x="33" y="52"/>
                    </a:cubicBezTo>
                    <a:cubicBezTo>
                      <a:pt x="33" y="64"/>
                      <a:pt x="33" y="64"/>
                      <a:pt x="33" y="64"/>
                    </a:cubicBezTo>
                    <a:cubicBezTo>
                      <a:pt x="33" y="66"/>
                      <a:pt x="31" y="68"/>
                      <a:pt x="28" y="69"/>
                    </a:cubicBezTo>
                    <a:cubicBezTo>
                      <a:pt x="28" y="69"/>
                      <a:pt x="28" y="69"/>
                      <a:pt x="28" y="69"/>
                    </a:cubicBezTo>
                    <a:cubicBezTo>
                      <a:pt x="28" y="71"/>
                      <a:pt x="26" y="72"/>
                      <a:pt x="22" y="72"/>
                    </a:cubicBezTo>
                    <a:cubicBezTo>
                      <a:pt x="19" y="72"/>
                      <a:pt x="16" y="71"/>
                      <a:pt x="16" y="69"/>
                    </a:cubicBezTo>
                    <a:cubicBezTo>
                      <a:pt x="16" y="69"/>
                      <a:pt x="16" y="69"/>
                      <a:pt x="16" y="69"/>
                    </a:cubicBezTo>
                    <a:cubicBezTo>
                      <a:pt x="13" y="68"/>
                      <a:pt x="12" y="66"/>
                      <a:pt x="12" y="64"/>
                    </a:cubicBezTo>
                    <a:cubicBezTo>
                      <a:pt x="12" y="60"/>
                      <a:pt x="12" y="60"/>
                      <a:pt x="12" y="60"/>
                    </a:cubicBezTo>
                  </a:path>
                </a:pathLst>
              </a:custGeom>
              <a:noFill/>
              <a:ln w="952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kern="0" dirty="0">
                  <a:solidFill>
                    <a:srgbClr val="00234B"/>
                  </a:solidFill>
                  <a:latin typeface="Calibri" panose="020F0502020204030204" pitchFamily="34" charset="0"/>
                  <a:cs typeface="Arial" pitchFamily="34" charset="0"/>
                </a:endParaRPr>
              </a:p>
            </p:txBody>
          </p:sp>
          <p:sp>
            <p:nvSpPr>
              <p:cNvPr id="91" name="Freeform 577"/>
              <p:cNvSpPr>
                <a:spLocks/>
              </p:cNvSpPr>
              <p:nvPr/>
            </p:nvSpPr>
            <p:spPr bwMode="auto">
              <a:xfrm>
                <a:off x="5740519" y="3410648"/>
                <a:ext cx="69449" cy="69449"/>
              </a:xfrm>
              <a:custGeom>
                <a:avLst/>
                <a:gdLst/>
                <a:ahLst/>
                <a:cxnLst>
                  <a:cxn ang="0">
                    <a:pos x="0" y="16"/>
                  </a:cxn>
                  <a:cxn ang="0">
                    <a:pos x="16" y="0"/>
                  </a:cxn>
                </a:cxnLst>
                <a:rect l="0" t="0" r="r" b="b"/>
                <a:pathLst>
                  <a:path w="16" h="16">
                    <a:moveTo>
                      <a:pt x="0" y="16"/>
                    </a:moveTo>
                    <a:cubicBezTo>
                      <a:pt x="0" y="7"/>
                      <a:pt x="7" y="0"/>
                      <a:pt x="16" y="0"/>
                    </a:cubicBezTo>
                  </a:path>
                </a:pathLst>
              </a:custGeom>
              <a:noFill/>
              <a:ln w="952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kern="0" dirty="0">
                  <a:solidFill>
                    <a:srgbClr val="00234B"/>
                  </a:solidFill>
                  <a:latin typeface="Calibri" panose="020F0502020204030204" pitchFamily="34" charset="0"/>
                  <a:cs typeface="Arial" pitchFamily="34" charset="0"/>
                </a:endParaRPr>
              </a:p>
            </p:txBody>
          </p:sp>
          <p:sp>
            <p:nvSpPr>
              <p:cNvPr id="92" name="Line 578"/>
              <p:cNvSpPr>
                <a:spLocks noChangeShapeType="1"/>
              </p:cNvSpPr>
              <p:nvPr/>
            </p:nvSpPr>
            <p:spPr bwMode="auto">
              <a:xfrm flipV="1">
                <a:off x="5800794" y="3303020"/>
                <a:ext cx="3474" cy="72923"/>
              </a:xfrm>
              <a:prstGeom prst="line">
                <a:avLst/>
              </a:prstGeom>
              <a:noFill/>
              <a:ln w="1905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kern="0" dirty="0">
                  <a:solidFill>
                    <a:srgbClr val="00234B"/>
                  </a:solidFill>
                  <a:latin typeface="Calibri" panose="020F0502020204030204" pitchFamily="34" charset="0"/>
                  <a:cs typeface="Arial" pitchFamily="34" charset="0"/>
                </a:endParaRPr>
              </a:p>
            </p:txBody>
          </p:sp>
          <p:sp>
            <p:nvSpPr>
              <p:cNvPr id="93" name="Line 579"/>
              <p:cNvSpPr>
                <a:spLocks noChangeShapeType="1"/>
              </p:cNvSpPr>
              <p:nvPr/>
            </p:nvSpPr>
            <p:spPr bwMode="auto">
              <a:xfrm flipH="1" flipV="1">
                <a:off x="5625927" y="3372452"/>
                <a:ext cx="59033" cy="34725"/>
              </a:xfrm>
              <a:prstGeom prst="line">
                <a:avLst/>
              </a:prstGeom>
              <a:noFill/>
              <a:ln w="952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kern="0" dirty="0">
                  <a:solidFill>
                    <a:srgbClr val="00234B"/>
                  </a:solidFill>
                  <a:latin typeface="Calibri" panose="020F0502020204030204" pitchFamily="34" charset="0"/>
                  <a:cs typeface="Arial" pitchFamily="34" charset="0"/>
                </a:endParaRPr>
              </a:p>
            </p:txBody>
          </p:sp>
          <p:sp>
            <p:nvSpPr>
              <p:cNvPr id="94" name="Line 580"/>
              <p:cNvSpPr>
                <a:spLocks noChangeShapeType="1"/>
              </p:cNvSpPr>
              <p:nvPr/>
            </p:nvSpPr>
            <p:spPr bwMode="auto">
              <a:xfrm flipH="1">
                <a:off x="5622455" y="3539131"/>
                <a:ext cx="59033" cy="34725"/>
              </a:xfrm>
              <a:prstGeom prst="line">
                <a:avLst/>
              </a:prstGeom>
              <a:noFill/>
              <a:ln w="952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kern="0" dirty="0">
                  <a:solidFill>
                    <a:srgbClr val="00234B"/>
                  </a:solidFill>
                  <a:latin typeface="Calibri" panose="020F0502020204030204" pitchFamily="34" charset="0"/>
                  <a:cs typeface="Arial" pitchFamily="34" charset="0"/>
                </a:endParaRPr>
              </a:p>
            </p:txBody>
          </p:sp>
          <p:sp>
            <p:nvSpPr>
              <p:cNvPr id="95" name="Line 581"/>
              <p:cNvSpPr>
                <a:spLocks noChangeShapeType="1"/>
              </p:cNvSpPr>
              <p:nvPr/>
            </p:nvSpPr>
            <p:spPr bwMode="auto">
              <a:xfrm>
                <a:off x="5907198" y="3542602"/>
                <a:ext cx="59033" cy="34725"/>
              </a:xfrm>
              <a:prstGeom prst="line">
                <a:avLst/>
              </a:prstGeom>
              <a:noFill/>
              <a:ln w="952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kern="0" dirty="0">
                  <a:solidFill>
                    <a:srgbClr val="00234B"/>
                  </a:solidFill>
                  <a:latin typeface="Calibri" panose="020F0502020204030204" pitchFamily="34" charset="0"/>
                  <a:cs typeface="Arial" pitchFamily="34" charset="0"/>
                </a:endParaRPr>
              </a:p>
            </p:txBody>
          </p:sp>
          <p:sp>
            <p:nvSpPr>
              <p:cNvPr id="96" name="Line 582"/>
              <p:cNvSpPr>
                <a:spLocks noChangeShapeType="1"/>
              </p:cNvSpPr>
              <p:nvPr/>
            </p:nvSpPr>
            <p:spPr bwMode="auto">
              <a:xfrm flipV="1">
                <a:off x="5907198" y="3379397"/>
                <a:ext cx="59033" cy="31253"/>
              </a:xfrm>
              <a:prstGeom prst="line">
                <a:avLst/>
              </a:prstGeom>
              <a:noFill/>
              <a:ln w="952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kern="0" dirty="0">
                  <a:solidFill>
                    <a:srgbClr val="00234B"/>
                  </a:solidFill>
                  <a:latin typeface="Calibri" panose="020F0502020204030204" pitchFamily="34" charset="0"/>
                  <a:cs typeface="Arial" pitchFamily="34" charset="0"/>
                </a:endParaRPr>
              </a:p>
            </p:txBody>
          </p:sp>
        </p:grpSp>
        <p:grpSp>
          <p:nvGrpSpPr>
            <p:cNvPr id="84" name="Groupe 381"/>
            <p:cNvGrpSpPr/>
            <p:nvPr/>
          </p:nvGrpSpPr>
          <p:grpSpPr>
            <a:xfrm>
              <a:off x="3728954" y="3115753"/>
              <a:ext cx="683602" cy="439062"/>
              <a:chOff x="2444750" y="3516313"/>
              <a:chExt cx="390525" cy="250825"/>
            </a:xfrm>
          </p:grpSpPr>
          <p:sp>
            <p:nvSpPr>
              <p:cNvPr id="86" name="Freeform 465"/>
              <p:cNvSpPr>
                <a:spLocks/>
              </p:cNvSpPr>
              <p:nvPr/>
            </p:nvSpPr>
            <p:spPr bwMode="auto">
              <a:xfrm>
                <a:off x="2468563" y="3536950"/>
                <a:ext cx="347663" cy="230188"/>
              </a:xfrm>
              <a:custGeom>
                <a:avLst/>
                <a:gdLst/>
                <a:ahLst/>
                <a:cxnLst>
                  <a:cxn ang="0">
                    <a:pos x="110" y="88"/>
                  </a:cxn>
                  <a:cxn ang="0">
                    <a:pos x="77" y="66"/>
                  </a:cxn>
                  <a:cxn ang="0">
                    <a:pos x="65" y="69"/>
                  </a:cxn>
                  <a:cxn ang="0">
                    <a:pos x="41" y="40"/>
                  </a:cxn>
                  <a:cxn ang="0">
                    <a:pos x="55" y="74"/>
                  </a:cxn>
                  <a:cxn ang="0">
                    <a:pos x="48" y="82"/>
                  </a:cxn>
                  <a:cxn ang="0">
                    <a:pos x="41" y="102"/>
                  </a:cxn>
                  <a:cxn ang="0">
                    <a:pos x="6" y="102"/>
                  </a:cxn>
                  <a:cxn ang="0">
                    <a:pos x="6" y="49"/>
                  </a:cxn>
                  <a:cxn ang="0">
                    <a:pos x="41" y="9"/>
                  </a:cxn>
                  <a:cxn ang="0">
                    <a:pos x="77" y="0"/>
                  </a:cxn>
                  <a:cxn ang="0">
                    <a:pos x="113" y="9"/>
                  </a:cxn>
                  <a:cxn ang="0">
                    <a:pos x="148" y="49"/>
                  </a:cxn>
                  <a:cxn ang="0">
                    <a:pos x="148" y="102"/>
                  </a:cxn>
                  <a:cxn ang="0">
                    <a:pos x="60" y="102"/>
                  </a:cxn>
                  <a:cxn ang="0">
                    <a:pos x="60" y="89"/>
                  </a:cxn>
                  <a:cxn ang="0">
                    <a:pos x="97" y="89"/>
                  </a:cxn>
                  <a:cxn ang="0">
                    <a:pos x="97" y="94"/>
                  </a:cxn>
                </a:cxnLst>
                <a:rect l="0" t="0" r="r" b="b"/>
                <a:pathLst>
                  <a:path w="154" h="102">
                    <a:moveTo>
                      <a:pt x="110" y="88"/>
                    </a:moveTo>
                    <a:cubicBezTo>
                      <a:pt x="106" y="78"/>
                      <a:pt x="91" y="66"/>
                      <a:pt x="77" y="66"/>
                    </a:cubicBezTo>
                    <a:cubicBezTo>
                      <a:pt x="72" y="67"/>
                      <a:pt x="70" y="67"/>
                      <a:pt x="65" y="69"/>
                    </a:cubicBezTo>
                    <a:cubicBezTo>
                      <a:pt x="56" y="59"/>
                      <a:pt x="49" y="50"/>
                      <a:pt x="41" y="40"/>
                    </a:cubicBezTo>
                    <a:cubicBezTo>
                      <a:pt x="47" y="55"/>
                      <a:pt x="53" y="67"/>
                      <a:pt x="55" y="74"/>
                    </a:cubicBezTo>
                    <a:cubicBezTo>
                      <a:pt x="52" y="78"/>
                      <a:pt x="50" y="78"/>
                      <a:pt x="48" y="82"/>
                    </a:cubicBezTo>
                    <a:cubicBezTo>
                      <a:pt x="46" y="85"/>
                      <a:pt x="42" y="93"/>
                      <a:pt x="41" y="102"/>
                    </a:cubicBezTo>
                    <a:cubicBezTo>
                      <a:pt x="6" y="102"/>
                      <a:pt x="6" y="102"/>
                      <a:pt x="6" y="102"/>
                    </a:cubicBezTo>
                    <a:cubicBezTo>
                      <a:pt x="1" y="84"/>
                      <a:pt x="0" y="66"/>
                      <a:pt x="6" y="49"/>
                    </a:cubicBezTo>
                    <a:cubicBezTo>
                      <a:pt x="13" y="33"/>
                      <a:pt x="25" y="18"/>
                      <a:pt x="41" y="9"/>
                    </a:cubicBezTo>
                    <a:cubicBezTo>
                      <a:pt x="53" y="3"/>
                      <a:pt x="63" y="0"/>
                      <a:pt x="77" y="0"/>
                    </a:cubicBezTo>
                    <a:cubicBezTo>
                      <a:pt x="90" y="0"/>
                      <a:pt x="104" y="4"/>
                      <a:pt x="113" y="9"/>
                    </a:cubicBezTo>
                    <a:cubicBezTo>
                      <a:pt x="121" y="14"/>
                      <a:pt x="140" y="28"/>
                      <a:pt x="148" y="49"/>
                    </a:cubicBezTo>
                    <a:cubicBezTo>
                      <a:pt x="154" y="66"/>
                      <a:pt x="153" y="86"/>
                      <a:pt x="148" y="102"/>
                    </a:cubicBezTo>
                    <a:cubicBezTo>
                      <a:pt x="60" y="102"/>
                      <a:pt x="60" y="102"/>
                      <a:pt x="60" y="102"/>
                    </a:cubicBezTo>
                    <a:cubicBezTo>
                      <a:pt x="60" y="89"/>
                      <a:pt x="60" y="89"/>
                      <a:pt x="60" y="89"/>
                    </a:cubicBezTo>
                    <a:cubicBezTo>
                      <a:pt x="97" y="89"/>
                      <a:pt x="97" y="89"/>
                      <a:pt x="97" y="89"/>
                    </a:cubicBezTo>
                    <a:cubicBezTo>
                      <a:pt x="97" y="94"/>
                      <a:pt x="97" y="94"/>
                      <a:pt x="97" y="94"/>
                    </a:cubicBezTo>
                  </a:path>
                </a:pathLst>
              </a:custGeom>
              <a:noFill/>
              <a:ln w="952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kern="0" dirty="0">
                  <a:solidFill>
                    <a:srgbClr val="00234B"/>
                  </a:solidFill>
                  <a:latin typeface="Calibri" panose="020F0502020204030204" pitchFamily="34" charset="0"/>
                  <a:cs typeface="Arial" pitchFamily="34" charset="0"/>
                </a:endParaRPr>
              </a:p>
            </p:txBody>
          </p:sp>
          <p:sp>
            <p:nvSpPr>
              <p:cNvPr id="87" name="Freeform 466"/>
              <p:cNvSpPr>
                <a:spLocks/>
              </p:cNvSpPr>
              <p:nvPr/>
            </p:nvSpPr>
            <p:spPr bwMode="auto">
              <a:xfrm>
                <a:off x="2517775" y="3552825"/>
                <a:ext cx="268288" cy="146050"/>
              </a:xfrm>
              <a:custGeom>
                <a:avLst/>
                <a:gdLst/>
                <a:ahLst/>
                <a:cxnLst>
                  <a:cxn ang="0">
                    <a:pos x="10" y="28"/>
                  </a:cxn>
                  <a:cxn ang="0">
                    <a:pos x="0" y="41"/>
                  </a:cxn>
                  <a:cxn ang="0">
                    <a:pos x="18" y="14"/>
                  </a:cxn>
                  <a:cxn ang="0">
                    <a:pos x="72" y="6"/>
                  </a:cxn>
                  <a:cxn ang="0">
                    <a:pos x="114" y="50"/>
                  </a:cxn>
                  <a:cxn ang="0">
                    <a:pos x="119" y="50"/>
                  </a:cxn>
                  <a:cxn ang="0">
                    <a:pos x="105" y="65"/>
                  </a:cxn>
                  <a:cxn ang="0">
                    <a:pos x="86" y="52"/>
                  </a:cxn>
                  <a:cxn ang="0">
                    <a:pos x="91" y="51"/>
                  </a:cxn>
                  <a:cxn ang="0">
                    <a:pos x="76" y="25"/>
                  </a:cxn>
                  <a:cxn ang="0">
                    <a:pos x="44" y="13"/>
                  </a:cxn>
                  <a:cxn ang="0">
                    <a:pos x="15" y="24"/>
                  </a:cxn>
                </a:cxnLst>
                <a:rect l="0" t="0" r="r" b="b"/>
                <a:pathLst>
                  <a:path w="119" h="65">
                    <a:moveTo>
                      <a:pt x="10" y="28"/>
                    </a:moveTo>
                    <a:cubicBezTo>
                      <a:pt x="0" y="41"/>
                      <a:pt x="0" y="41"/>
                      <a:pt x="0" y="41"/>
                    </a:cubicBezTo>
                    <a:cubicBezTo>
                      <a:pt x="5" y="27"/>
                      <a:pt x="9" y="21"/>
                      <a:pt x="18" y="14"/>
                    </a:cubicBezTo>
                    <a:cubicBezTo>
                      <a:pt x="32" y="3"/>
                      <a:pt x="57" y="0"/>
                      <a:pt x="72" y="6"/>
                    </a:cubicBezTo>
                    <a:cubicBezTo>
                      <a:pt x="87" y="11"/>
                      <a:pt x="107" y="22"/>
                      <a:pt x="114" y="50"/>
                    </a:cubicBezTo>
                    <a:cubicBezTo>
                      <a:pt x="116" y="50"/>
                      <a:pt x="117" y="50"/>
                      <a:pt x="119" y="50"/>
                    </a:cubicBezTo>
                    <a:cubicBezTo>
                      <a:pt x="105" y="65"/>
                      <a:pt x="105" y="65"/>
                      <a:pt x="105" y="65"/>
                    </a:cubicBezTo>
                    <a:cubicBezTo>
                      <a:pt x="86" y="52"/>
                      <a:pt x="86" y="52"/>
                      <a:pt x="86" y="52"/>
                    </a:cubicBezTo>
                    <a:cubicBezTo>
                      <a:pt x="91" y="51"/>
                      <a:pt x="91" y="51"/>
                      <a:pt x="91" y="51"/>
                    </a:cubicBezTo>
                    <a:cubicBezTo>
                      <a:pt x="88" y="41"/>
                      <a:pt x="80" y="30"/>
                      <a:pt x="76" y="25"/>
                    </a:cubicBezTo>
                    <a:cubicBezTo>
                      <a:pt x="69" y="19"/>
                      <a:pt x="58" y="13"/>
                      <a:pt x="44" y="13"/>
                    </a:cubicBezTo>
                    <a:cubicBezTo>
                      <a:pt x="34" y="14"/>
                      <a:pt x="24" y="17"/>
                      <a:pt x="15" y="24"/>
                    </a:cubicBezTo>
                  </a:path>
                </a:pathLst>
              </a:custGeom>
              <a:noFill/>
              <a:ln w="952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kern="0" dirty="0">
                  <a:solidFill>
                    <a:srgbClr val="00234B"/>
                  </a:solidFill>
                  <a:latin typeface="Calibri" panose="020F0502020204030204" pitchFamily="34" charset="0"/>
                  <a:cs typeface="Arial" pitchFamily="34" charset="0"/>
                </a:endParaRPr>
              </a:p>
            </p:txBody>
          </p:sp>
          <p:sp>
            <p:nvSpPr>
              <p:cNvPr id="88" name="Freeform 467"/>
              <p:cNvSpPr>
                <a:spLocks/>
              </p:cNvSpPr>
              <p:nvPr/>
            </p:nvSpPr>
            <p:spPr bwMode="auto">
              <a:xfrm>
                <a:off x="2444750" y="3516313"/>
                <a:ext cx="390525" cy="250825"/>
              </a:xfrm>
              <a:custGeom>
                <a:avLst/>
                <a:gdLst/>
                <a:ahLst/>
                <a:cxnLst>
                  <a:cxn ang="0">
                    <a:pos x="7" y="111"/>
                  </a:cxn>
                  <a:cxn ang="0">
                    <a:pos x="7" y="53"/>
                  </a:cxn>
                  <a:cxn ang="0">
                    <a:pos x="47" y="10"/>
                  </a:cxn>
                  <a:cxn ang="0">
                    <a:pos x="87" y="0"/>
                  </a:cxn>
                  <a:cxn ang="0">
                    <a:pos x="128" y="10"/>
                  </a:cxn>
                  <a:cxn ang="0">
                    <a:pos x="167" y="53"/>
                  </a:cxn>
                  <a:cxn ang="0">
                    <a:pos x="167" y="111"/>
                  </a:cxn>
                </a:cxnLst>
                <a:rect l="0" t="0" r="r" b="b"/>
                <a:pathLst>
                  <a:path w="174" h="111">
                    <a:moveTo>
                      <a:pt x="7" y="111"/>
                    </a:moveTo>
                    <a:cubicBezTo>
                      <a:pt x="1" y="92"/>
                      <a:pt x="0" y="72"/>
                      <a:pt x="7" y="53"/>
                    </a:cubicBezTo>
                    <a:cubicBezTo>
                      <a:pt x="14" y="36"/>
                      <a:pt x="28" y="20"/>
                      <a:pt x="47" y="10"/>
                    </a:cubicBezTo>
                    <a:cubicBezTo>
                      <a:pt x="60" y="3"/>
                      <a:pt x="71" y="0"/>
                      <a:pt x="87" y="0"/>
                    </a:cubicBezTo>
                    <a:cubicBezTo>
                      <a:pt x="101" y="0"/>
                      <a:pt x="118" y="4"/>
                      <a:pt x="128" y="10"/>
                    </a:cubicBezTo>
                    <a:cubicBezTo>
                      <a:pt x="137" y="15"/>
                      <a:pt x="158" y="30"/>
                      <a:pt x="167" y="53"/>
                    </a:cubicBezTo>
                    <a:cubicBezTo>
                      <a:pt x="174" y="72"/>
                      <a:pt x="173" y="93"/>
                      <a:pt x="167" y="111"/>
                    </a:cubicBezTo>
                  </a:path>
                </a:pathLst>
              </a:custGeom>
              <a:noFill/>
              <a:ln w="952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13777">
                  <a:defRPr/>
                </a:pPr>
                <a:endParaRPr lang="en-US" kern="0" dirty="0">
                  <a:solidFill>
                    <a:srgbClr val="00234B"/>
                  </a:solidFill>
                  <a:latin typeface="Calibri" panose="020F0502020204030204" pitchFamily="34" charset="0"/>
                  <a:cs typeface="Arial" pitchFamily="34" charset="0"/>
                </a:endParaRPr>
              </a:p>
            </p:txBody>
          </p:sp>
        </p:grpSp>
        <p:sp>
          <p:nvSpPr>
            <p:cNvPr id="85" name="Oval 29"/>
            <p:cNvSpPr/>
            <p:nvPr>
              <p:custDataLst>
                <p:tags r:id="rId1"/>
              </p:custDataLst>
            </p:nvPr>
          </p:nvSpPr>
          <p:spPr>
            <a:xfrm>
              <a:off x="3357136" y="1421392"/>
              <a:ext cx="3429439" cy="3429716"/>
            </a:xfrm>
            <a:prstGeom prst="ellipse">
              <a:avLst/>
            </a:prstGeom>
            <a:noFill/>
            <a:ln w="101600" cap="flat" cmpd="sng" algn="ctr">
              <a:solidFill>
                <a:srgbClr val="58585A"/>
              </a:solidFill>
              <a:prstDash val="solid"/>
            </a:ln>
            <a:effectLst/>
          </p:spPr>
          <p:txBody>
            <a:bodyPr rtlCol="0" anchor="b">
              <a:prstTxWarp prst="textArchDown">
                <a:avLst/>
              </a:prstTxWarp>
            </a:bodyPr>
            <a:lstStyle/>
            <a:p>
              <a:pPr algn="ctr" defTabSz="913777">
                <a:defRPr/>
              </a:pPr>
              <a:endParaRPr lang="en-US" sz="1200" b="1" kern="0" dirty="0">
                <a:solidFill>
                  <a:srgbClr val="007295"/>
                </a:solidFill>
                <a:latin typeface="Calibri" panose="020F0502020204030204" pitchFamily="34" charset="0"/>
                <a:cs typeface="Arial" pitchFamily="34" charset="0"/>
              </a:endParaRPr>
            </a:p>
          </p:txBody>
        </p:sp>
      </p:grpSp>
      <p:sp>
        <p:nvSpPr>
          <p:cNvPr id="115" name="Espace réservé du contenu 2"/>
          <p:cNvSpPr txBox="1">
            <a:spLocks/>
          </p:cNvSpPr>
          <p:nvPr/>
        </p:nvSpPr>
        <p:spPr bwMode="auto">
          <a:xfrm>
            <a:off x="7977609" y="3823838"/>
            <a:ext cx="2629088" cy="369332"/>
          </a:xfrm>
          <a:prstGeom prst="rect">
            <a:avLst/>
          </a:prstGeom>
        </p:spPr>
        <p:txBody>
          <a:bodyPr wrap="square" lIns="0" tIns="0" rIns="0" bIns="0">
            <a:spAutoFit/>
          </a:bodyPr>
          <a:lstStyle/>
          <a:p>
            <a:pPr defTabSz="913718">
              <a:spcAft>
                <a:spcPts val="300"/>
              </a:spcAft>
              <a:buClr>
                <a:srgbClr val="B70132">
                  <a:lumMod val="75000"/>
                </a:srgbClr>
              </a:buClr>
              <a:defRPr/>
            </a:pPr>
            <a:r>
              <a:rPr lang="en-US" sz="1200" b="1" kern="0" dirty="0">
                <a:solidFill>
                  <a:srgbClr val="898E10"/>
                </a:solidFill>
                <a:latin typeface="Calibri" panose="020F0502020204030204" pitchFamily="34" charset="0"/>
                <a:cs typeface="Arial" pitchFamily="34" charset="0"/>
              </a:rPr>
              <a:t>ARCHITECT AND DEPLOY ADAPTIVE TECHNOLOGY SOLUTIONS</a:t>
            </a:r>
          </a:p>
        </p:txBody>
      </p:sp>
    </p:spTree>
    <p:extLst>
      <p:ext uri="{BB962C8B-B14F-4D97-AF65-F5344CB8AC3E}">
        <p14:creationId xmlns:p14="http://schemas.microsoft.com/office/powerpoint/2010/main" val="326316479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50000" fill="hold" nodeType="clickEffect">
                                  <p:stCondLst>
                                    <p:cond delay="0"/>
                                  </p:stCondLst>
                                  <p:childTnLst>
                                    <p:set>
                                      <p:cBhvr>
                                        <p:cTn id="6" dur="1" fill="hold">
                                          <p:stCondLst>
                                            <p:cond delay="0"/>
                                          </p:stCondLst>
                                        </p:cTn>
                                        <p:tgtEl>
                                          <p:spTgt spid="75"/>
                                        </p:tgtEl>
                                        <p:attrNameLst>
                                          <p:attrName>style.visibility</p:attrName>
                                        </p:attrNameLst>
                                      </p:cBhvr>
                                      <p:to>
                                        <p:strVal val="visible"/>
                                      </p:to>
                                    </p:set>
                                    <p:anim calcmode="lin" valueType="num">
                                      <p:cBhvr additive="base">
                                        <p:cTn id="7" dur="1000" fill="hold"/>
                                        <p:tgtEl>
                                          <p:spTgt spid="75"/>
                                        </p:tgtEl>
                                        <p:attrNameLst>
                                          <p:attrName>ppt_x</p:attrName>
                                        </p:attrNameLst>
                                      </p:cBhvr>
                                      <p:tavLst>
                                        <p:tav tm="0">
                                          <p:val>
                                            <p:strVal val="0-#ppt_w/2"/>
                                          </p:val>
                                        </p:tav>
                                        <p:tav tm="100000">
                                          <p:val>
                                            <p:strVal val="#ppt_x"/>
                                          </p:val>
                                        </p:tav>
                                      </p:tavLst>
                                    </p:anim>
                                    <p:anim calcmode="lin" valueType="num">
                                      <p:cBhvr additive="base">
                                        <p:cTn id="8" dur="1000" fill="hold"/>
                                        <p:tgtEl>
                                          <p:spTgt spid="7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68"/>
                                        </p:tgtEl>
                                        <p:attrNameLst>
                                          <p:attrName>style.visibility</p:attrName>
                                        </p:attrNameLst>
                                      </p:cBhvr>
                                      <p:to>
                                        <p:strVal val="visible"/>
                                      </p:to>
                                    </p:set>
                                    <p:anim calcmode="lin" valueType="num">
                                      <p:cBhvr additive="base">
                                        <p:cTn id="13" dur="500" fill="hold"/>
                                        <p:tgtEl>
                                          <p:spTgt spid="68"/>
                                        </p:tgtEl>
                                        <p:attrNameLst>
                                          <p:attrName>ppt_x</p:attrName>
                                        </p:attrNameLst>
                                      </p:cBhvr>
                                      <p:tavLst>
                                        <p:tav tm="0">
                                          <p:val>
                                            <p:strVal val="0-#ppt_w/2"/>
                                          </p:val>
                                        </p:tav>
                                        <p:tav tm="100000">
                                          <p:val>
                                            <p:strVal val="#ppt_x"/>
                                          </p:val>
                                        </p:tav>
                                      </p:tavLst>
                                    </p:anim>
                                    <p:anim calcmode="lin" valueType="num">
                                      <p:cBhvr additive="base">
                                        <p:cTn id="14" dur="500" fill="hold"/>
                                        <p:tgtEl>
                                          <p:spTgt spid="68"/>
                                        </p:tgtEl>
                                        <p:attrNameLst>
                                          <p:attrName>ppt_y</p:attrName>
                                        </p:attrNameLst>
                                      </p:cBhvr>
                                      <p:tavLst>
                                        <p:tav tm="0">
                                          <p:val>
                                            <p:strVal val="#ppt_y"/>
                                          </p:val>
                                        </p:tav>
                                        <p:tav tm="100000">
                                          <p:val>
                                            <p:strVal val="#ppt_y"/>
                                          </p:val>
                                        </p:tav>
                                      </p:tavLst>
                                    </p:anim>
                                  </p:childTnLst>
                                </p:cTn>
                              </p:par>
                              <p:par>
                                <p:cTn id="15" presetID="2" presetClass="entr" presetSubtype="8" fill="hold" grpId="0" nodeType="withEffect">
                                  <p:stCondLst>
                                    <p:cond delay="0"/>
                                  </p:stCondLst>
                                  <p:childTnLst>
                                    <p:set>
                                      <p:cBhvr>
                                        <p:cTn id="16" dur="1" fill="hold">
                                          <p:stCondLst>
                                            <p:cond delay="0"/>
                                          </p:stCondLst>
                                        </p:cTn>
                                        <p:tgtEl>
                                          <p:spTgt spid="60"/>
                                        </p:tgtEl>
                                        <p:attrNameLst>
                                          <p:attrName>style.visibility</p:attrName>
                                        </p:attrNameLst>
                                      </p:cBhvr>
                                      <p:to>
                                        <p:strVal val="visible"/>
                                      </p:to>
                                    </p:set>
                                    <p:anim calcmode="lin" valueType="num">
                                      <p:cBhvr additive="base">
                                        <p:cTn id="17" dur="500" fill="hold"/>
                                        <p:tgtEl>
                                          <p:spTgt spid="60"/>
                                        </p:tgtEl>
                                        <p:attrNameLst>
                                          <p:attrName>ppt_x</p:attrName>
                                        </p:attrNameLst>
                                      </p:cBhvr>
                                      <p:tavLst>
                                        <p:tav tm="0">
                                          <p:val>
                                            <p:strVal val="0-#ppt_w/2"/>
                                          </p:val>
                                        </p:tav>
                                        <p:tav tm="100000">
                                          <p:val>
                                            <p:strVal val="#ppt_x"/>
                                          </p:val>
                                        </p:tav>
                                      </p:tavLst>
                                    </p:anim>
                                    <p:anim calcmode="lin" valueType="num">
                                      <p:cBhvr additive="base">
                                        <p:cTn id="18" dur="500" fill="hold"/>
                                        <p:tgtEl>
                                          <p:spTgt spid="60"/>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74"/>
                                        </p:tgtEl>
                                        <p:attrNameLst>
                                          <p:attrName>style.visibility</p:attrName>
                                        </p:attrNameLst>
                                      </p:cBhvr>
                                      <p:to>
                                        <p:strVal val="visible"/>
                                      </p:to>
                                    </p:set>
                                    <p:anim calcmode="lin" valueType="num">
                                      <p:cBhvr additive="base">
                                        <p:cTn id="21" dur="500" fill="hold"/>
                                        <p:tgtEl>
                                          <p:spTgt spid="74"/>
                                        </p:tgtEl>
                                        <p:attrNameLst>
                                          <p:attrName>ppt_x</p:attrName>
                                        </p:attrNameLst>
                                      </p:cBhvr>
                                      <p:tavLst>
                                        <p:tav tm="0">
                                          <p:val>
                                            <p:strVal val="0-#ppt_w/2"/>
                                          </p:val>
                                        </p:tav>
                                        <p:tav tm="100000">
                                          <p:val>
                                            <p:strVal val="#ppt_x"/>
                                          </p:val>
                                        </p:tav>
                                      </p:tavLst>
                                    </p:anim>
                                    <p:anim calcmode="lin" valueType="num">
                                      <p:cBhvr additive="base">
                                        <p:cTn id="22" dur="500" fill="hold"/>
                                        <p:tgtEl>
                                          <p:spTgt spid="74"/>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1" fill="hold" grpId="0" nodeType="clickEffect">
                                  <p:stCondLst>
                                    <p:cond delay="0"/>
                                  </p:stCondLst>
                                  <p:childTnLst>
                                    <p:set>
                                      <p:cBhvr>
                                        <p:cTn id="26" dur="1" fill="hold">
                                          <p:stCondLst>
                                            <p:cond delay="0"/>
                                          </p:stCondLst>
                                        </p:cTn>
                                        <p:tgtEl>
                                          <p:spTgt spid="61"/>
                                        </p:tgtEl>
                                        <p:attrNameLst>
                                          <p:attrName>style.visibility</p:attrName>
                                        </p:attrNameLst>
                                      </p:cBhvr>
                                      <p:to>
                                        <p:strVal val="visible"/>
                                      </p:to>
                                    </p:set>
                                    <p:anim calcmode="lin" valueType="num">
                                      <p:cBhvr additive="base">
                                        <p:cTn id="27" dur="500" fill="hold"/>
                                        <p:tgtEl>
                                          <p:spTgt spid="61"/>
                                        </p:tgtEl>
                                        <p:attrNameLst>
                                          <p:attrName>ppt_x</p:attrName>
                                        </p:attrNameLst>
                                      </p:cBhvr>
                                      <p:tavLst>
                                        <p:tav tm="0">
                                          <p:val>
                                            <p:strVal val="#ppt_x"/>
                                          </p:val>
                                        </p:tav>
                                        <p:tav tm="100000">
                                          <p:val>
                                            <p:strVal val="#ppt_x"/>
                                          </p:val>
                                        </p:tav>
                                      </p:tavLst>
                                    </p:anim>
                                    <p:anim calcmode="lin" valueType="num">
                                      <p:cBhvr additive="base">
                                        <p:cTn id="28" dur="500" fill="hold"/>
                                        <p:tgtEl>
                                          <p:spTgt spid="61"/>
                                        </p:tgtEl>
                                        <p:attrNameLst>
                                          <p:attrName>ppt_y</p:attrName>
                                        </p:attrNameLst>
                                      </p:cBhvr>
                                      <p:tavLst>
                                        <p:tav tm="0">
                                          <p:val>
                                            <p:strVal val="0-#ppt_h/2"/>
                                          </p:val>
                                        </p:tav>
                                        <p:tav tm="100000">
                                          <p:val>
                                            <p:strVal val="#ppt_y"/>
                                          </p:val>
                                        </p:tav>
                                      </p:tavLst>
                                    </p:anim>
                                  </p:childTnLst>
                                </p:cTn>
                              </p:par>
                              <p:par>
                                <p:cTn id="29" presetID="2" presetClass="entr" presetSubtype="1" fill="hold" grpId="0" nodeType="withEffect">
                                  <p:stCondLst>
                                    <p:cond delay="0"/>
                                  </p:stCondLst>
                                  <p:childTnLst>
                                    <p:set>
                                      <p:cBhvr>
                                        <p:cTn id="30" dur="1" fill="hold">
                                          <p:stCondLst>
                                            <p:cond delay="0"/>
                                          </p:stCondLst>
                                        </p:cTn>
                                        <p:tgtEl>
                                          <p:spTgt spid="67"/>
                                        </p:tgtEl>
                                        <p:attrNameLst>
                                          <p:attrName>style.visibility</p:attrName>
                                        </p:attrNameLst>
                                      </p:cBhvr>
                                      <p:to>
                                        <p:strVal val="visible"/>
                                      </p:to>
                                    </p:set>
                                    <p:anim calcmode="lin" valueType="num">
                                      <p:cBhvr additive="base">
                                        <p:cTn id="31" dur="500" fill="hold"/>
                                        <p:tgtEl>
                                          <p:spTgt spid="67"/>
                                        </p:tgtEl>
                                        <p:attrNameLst>
                                          <p:attrName>ppt_x</p:attrName>
                                        </p:attrNameLst>
                                      </p:cBhvr>
                                      <p:tavLst>
                                        <p:tav tm="0">
                                          <p:val>
                                            <p:strVal val="#ppt_x"/>
                                          </p:val>
                                        </p:tav>
                                        <p:tav tm="100000">
                                          <p:val>
                                            <p:strVal val="#ppt_x"/>
                                          </p:val>
                                        </p:tav>
                                      </p:tavLst>
                                    </p:anim>
                                    <p:anim calcmode="lin" valueType="num">
                                      <p:cBhvr additive="base">
                                        <p:cTn id="32" dur="500" fill="hold"/>
                                        <p:tgtEl>
                                          <p:spTgt spid="67"/>
                                        </p:tgtEl>
                                        <p:attrNameLst>
                                          <p:attrName>ppt_y</p:attrName>
                                        </p:attrNameLst>
                                      </p:cBhvr>
                                      <p:tavLst>
                                        <p:tav tm="0">
                                          <p:val>
                                            <p:strVal val="0-#ppt_h/2"/>
                                          </p:val>
                                        </p:tav>
                                        <p:tav tm="100000">
                                          <p:val>
                                            <p:strVal val="#ppt_y"/>
                                          </p:val>
                                        </p:tav>
                                      </p:tavLst>
                                    </p:anim>
                                  </p:childTnLst>
                                </p:cTn>
                              </p:par>
                              <p:par>
                                <p:cTn id="33" presetID="2" presetClass="entr" presetSubtype="1" fill="hold" nodeType="withEffect">
                                  <p:stCondLst>
                                    <p:cond delay="0"/>
                                  </p:stCondLst>
                                  <p:childTnLst>
                                    <p:set>
                                      <p:cBhvr>
                                        <p:cTn id="34" dur="1" fill="hold">
                                          <p:stCondLst>
                                            <p:cond delay="0"/>
                                          </p:stCondLst>
                                        </p:cTn>
                                        <p:tgtEl>
                                          <p:spTgt spid="71"/>
                                        </p:tgtEl>
                                        <p:attrNameLst>
                                          <p:attrName>style.visibility</p:attrName>
                                        </p:attrNameLst>
                                      </p:cBhvr>
                                      <p:to>
                                        <p:strVal val="visible"/>
                                      </p:to>
                                    </p:set>
                                    <p:anim calcmode="lin" valueType="num">
                                      <p:cBhvr additive="base">
                                        <p:cTn id="35" dur="500" fill="hold"/>
                                        <p:tgtEl>
                                          <p:spTgt spid="71"/>
                                        </p:tgtEl>
                                        <p:attrNameLst>
                                          <p:attrName>ppt_x</p:attrName>
                                        </p:attrNameLst>
                                      </p:cBhvr>
                                      <p:tavLst>
                                        <p:tav tm="0">
                                          <p:val>
                                            <p:strVal val="#ppt_x"/>
                                          </p:val>
                                        </p:tav>
                                        <p:tav tm="100000">
                                          <p:val>
                                            <p:strVal val="#ppt_x"/>
                                          </p:val>
                                        </p:tav>
                                      </p:tavLst>
                                    </p:anim>
                                    <p:anim calcmode="lin" valueType="num">
                                      <p:cBhvr additive="base">
                                        <p:cTn id="36" dur="500" fill="hold"/>
                                        <p:tgtEl>
                                          <p:spTgt spid="71"/>
                                        </p:tgtEl>
                                        <p:attrNameLst>
                                          <p:attrName>ppt_y</p:attrName>
                                        </p:attrNameLst>
                                      </p:cBhvr>
                                      <p:tavLst>
                                        <p:tav tm="0">
                                          <p:val>
                                            <p:strVal val="0-#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2" fill="hold" nodeType="clickEffect">
                                  <p:stCondLst>
                                    <p:cond delay="0"/>
                                  </p:stCondLst>
                                  <p:childTnLst>
                                    <p:set>
                                      <p:cBhvr>
                                        <p:cTn id="40" dur="1" fill="hold">
                                          <p:stCondLst>
                                            <p:cond delay="0"/>
                                          </p:stCondLst>
                                        </p:cTn>
                                        <p:tgtEl>
                                          <p:spTgt spid="116"/>
                                        </p:tgtEl>
                                        <p:attrNameLst>
                                          <p:attrName>style.visibility</p:attrName>
                                        </p:attrNameLst>
                                      </p:cBhvr>
                                      <p:to>
                                        <p:strVal val="visible"/>
                                      </p:to>
                                    </p:set>
                                    <p:anim calcmode="lin" valueType="num">
                                      <p:cBhvr additive="base">
                                        <p:cTn id="41" dur="500" fill="hold"/>
                                        <p:tgtEl>
                                          <p:spTgt spid="116"/>
                                        </p:tgtEl>
                                        <p:attrNameLst>
                                          <p:attrName>ppt_x</p:attrName>
                                        </p:attrNameLst>
                                      </p:cBhvr>
                                      <p:tavLst>
                                        <p:tav tm="0">
                                          <p:val>
                                            <p:strVal val="1+#ppt_w/2"/>
                                          </p:val>
                                        </p:tav>
                                        <p:tav tm="100000">
                                          <p:val>
                                            <p:strVal val="#ppt_x"/>
                                          </p:val>
                                        </p:tav>
                                      </p:tavLst>
                                    </p:anim>
                                    <p:anim calcmode="lin" valueType="num">
                                      <p:cBhvr additive="base">
                                        <p:cTn id="42" dur="500" fill="hold"/>
                                        <p:tgtEl>
                                          <p:spTgt spid="116"/>
                                        </p:tgtEl>
                                        <p:attrNameLst>
                                          <p:attrName>ppt_y</p:attrName>
                                        </p:attrNameLst>
                                      </p:cBhvr>
                                      <p:tavLst>
                                        <p:tav tm="0">
                                          <p:val>
                                            <p:strVal val="#ppt_y"/>
                                          </p:val>
                                        </p:tav>
                                        <p:tav tm="100000">
                                          <p:val>
                                            <p:strVal val="#ppt_y"/>
                                          </p:val>
                                        </p:tav>
                                      </p:tavLst>
                                    </p:anim>
                                  </p:childTnLst>
                                </p:cTn>
                              </p:par>
                              <p:par>
                                <p:cTn id="43" presetID="2" presetClass="entr" presetSubtype="2" fill="hold" grpId="0" nodeType="withEffect">
                                  <p:stCondLst>
                                    <p:cond delay="0"/>
                                  </p:stCondLst>
                                  <p:childTnLst>
                                    <p:set>
                                      <p:cBhvr>
                                        <p:cTn id="44" dur="1" fill="hold">
                                          <p:stCondLst>
                                            <p:cond delay="0"/>
                                          </p:stCondLst>
                                        </p:cTn>
                                        <p:tgtEl>
                                          <p:spTgt spid="63"/>
                                        </p:tgtEl>
                                        <p:attrNameLst>
                                          <p:attrName>style.visibility</p:attrName>
                                        </p:attrNameLst>
                                      </p:cBhvr>
                                      <p:to>
                                        <p:strVal val="visible"/>
                                      </p:to>
                                    </p:set>
                                    <p:anim calcmode="lin" valueType="num">
                                      <p:cBhvr additive="base">
                                        <p:cTn id="45" dur="500" fill="hold"/>
                                        <p:tgtEl>
                                          <p:spTgt spid="63"/>
                                        </p:tgtEl>
                                        <p:attrNameLst>
                                          <p:attrName>ppt_x</p:attrName>
                                        </p:attrNameLst>
                                      </p:cBhvr>
                                      <p:tavLst>
                                        <p:tav tm="0">
                                          <p:val>
                                            <p:strVal val="1+#ppt_w/2"/>
                                          </p:val>
                                        </p:tav>
                                        <p:tav tm="100000">
                                          <p:val>
                                            <p:strVal val="#ppt_x"/>
                                          </p:val>
                                        </p:tav>
                                      </p:tavLst>
                                    </p:anim>
                                    <p:anim calcmode="lin" valueType="num">
                                      <p:cBhvr additive="base">
                                        <p:cTn id="46" dur="500" fill="hold"/>
                                        <p:tgtEl>
                                          <p:spTgt spid="63"/>
                                        </p:tgtEl>
                                        <p:attrNameLst>
                                          <p:attrName>ppt_y</p:attrName>
                                        </p:attrNameLst>
                                      </p:cBhvr>
                                      <p:tavLst>
                                        <p:tav tm="0">
                                          <p:val>
                                            <p:strVal val="#ppt_y"/>
                                          </p:val>
                                        </p:tav>
                                        <p:tav tm="100000">
                                          <p:val>
                                            <p:strVal val="#ppt_y"/>
                                          </p:val>
                                        </p:tav>
                                      </p:tavLst>
                                    </p:anim>
                                  </p:childTnLst>
                                </p:cTn>
                              </p:par>
                              <p:par>
                                <p:cTn id="47" presetID="2" presetClass="entr" presetSubtype="2" fill="hold" grpId="0" nodeType="withEffect">
                                  <p:stCondLst>
                                    <p:cond delay="0"/>
                                  </p:stCondLst>
                                  <p:childTnLst>
                                    <p:set>
                                      <p:cBhvr>
                                        <p:cTn id="48" dur="1" fill="hold">
                                          <p:stCondLst>
                                            <p:cond delay="0"/>
                                          </p:stCondLst>
                                        </p:cTn>
                                        <p:tgtEl>
                                          <p:spTgt spid="115"/>
                                        </p:tgtEl>
                                        <p:attrNameLst>
                                          <p:attrName>style.visibility</p:attrName>
                                        </p:attrNameLst>
                                      </p:cBhvr>
                                      <p:to>
                                        <p:strVal val="visible"/>
                                      </p:to>
                                    </p:set>
                                    <p:anim calcmode="lin" valueType="num">
                                      <p:cBhvr additive="base">
                                        <p:cTn id="49" dur="500" fill="hold"/>
                                        <p:tgtEl>
                                          <p:spTgt spid="115"/>
                                        </p:tgtEl>
                                        <p:attrNameLst>
                                          <p:attrName>ppt_x</p:attrName>
                                        </p:attrNameLst>
                                      </p:cBhvr>
                                      <p:tavLst>
                                        <p:tav tm="0">
                                          <p:val>
                                            <p:strVal val="1+#ppt_w/2"/>
                                          </p:val>
                                        </p:tav>
                                        <p:tav tm="100000">
                                          <p:val>
                                            <p:strVal val="#ppt_x"/>
                                          </p:val>
                                        </p:tav>
                                      </p:tavLst>
                                    </p:anim>
                                    <p:anim calcmode="lin" valueType="num">
                                      <p:cBhvr additive="base">
                                        <p:cTn id="50" dur="500" fill="hold"/>
                                        <p:tgtEl>
                                          <p:spTgt spid="115"/>
                                        </p:tgtEl>
                                        <p:attrNameLst>
                                          <p:attrName>ppt_y</p:attrName>
                                        </p:attrNameLst>
                                      </p:cBhvr>
                                      <p:tavLst>
                                        <p:tav tm="0">
                                          <p:val>
                                            <p:strVal val="#ppt_y"/>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62"/>
                                        </p:tgtEl>
                                        <p:attrNameLst>
                                          <p:attrName>style.visibility</p:attrName>
                                        </p:attrNameLst>
                                      </p:cBhvr>
                                      <p:to>
                                        <p:strVal val="visible"/>
                                      </p:to>
                                    </p:set>
                                    <p:anim calcmode="lin" valueType="num">
                                      <p:cBhvr additive="base">
                                        <p:cTn id="55" dur="500" fill="hold"/>
                                        <p:tgtEl>
                                          <p:spTgt spid="62"/>
                                        </p:tgtEl>
                                        <p:attrNameLst>
                                          <p:attrName>ppt_x</p:attrName>
                                        </p:attrNameLst>
                                      </p:cBhvr>
                                      <p:tavLst>
                                        <p:tav tm="0">
                                          <p:val>
                                            <p:strVal val="#ppt_x"/>
                                          </p:val>
                                        </p:tav>
                                        <p:tav tm="100000">
                                          <p:val>
                                            <p:strVal val="#ppt_x"/>
                                          </p:val>
                                        </p:tav>
                                      </p:tavLst>
                                    </p:anim>
                                    <p:anim calcmode="lin" valueType="num">
                                      <p:cBhvr additive="base">
                                        <p:cTn id="56" dur="500" fill="hold"/>
                                        <p:tgtEl>
                                          <p:spTgt spid="62"/>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72"/>
                                        </p:tgtEl>
                                        <p:attrNameLst>
                                          <p:attrName>style.visibility</p:attrName>
                                        </p:attrNameLst>
                                      </p:cBhvr>
                                      <p:to>
                                        <p:strVal val="visible"/>
                                      </p:to>
                                    </p:set>
                                    <p:anim calcmode="lin" valueType="num">
                                      <p:cBhvr additive="base">
                                        <p:cTn id="59" dur="500" fill="hold"/>
                                        <p:tgtEl>
                                          <p:spTgt spid="72"/>
                                        </p:tgtEl>
                                        <p:attrNameLst>
                                          <p:attrName>ppt_x</p:attrName>
                                        </p:attrNameLst>
                                      </p:cBhvr>
                                      <p:tavLst>
                                        <p:tav tm="0">
                                          <p:val>
                                            <p:strVal val="#ppt_x"/>
                                          </p:val>
                                        </p:tav>
                                        <p:tav tm="100000">
                                          <p:val>
                                            <p:strVal val="#ppt_x"/>
                                          </p:val>
                                        </p:tav>
                                      </p:tavLst>
                                    </p:anim>
                                    <p:anim calcmode="lin" valueType="num">
                                      <p:cBhvr additive="base">
                                        <p:cTn id="60" dur="500" fill="hold"/>
                                        <p:tgtEl>
                                          <p:spTgt spid="72"/>
                                        </p:tgtEl>
                                        <p:attrNameLst>
                                          <p:attrName>ppt_y</p:attrName>
                                        </p:attrNameLst>
                                      </p:cBhvr>
                                      <p:tavLst>
                                        <p:tav tm="0">
                                          <p:val>
                                            <p:strVal val="1+#ppt_h/2"/>
                                          </p:val>
                                        </p:tav>
                                        <p:tav tm="100000">
                                          <p:val>
                                            <p:strVal val="#ppt_y"/>
                                          </p:val>
                                        </p:tav>
                                      </p:tavLst>
                                    </p:anim>
                                  </p:childTnLst>
                                </p:cTn>
                              </p:par>
                              <p:par>
                                <p:cTn id="61" presetID="2" presetClass="entr" presetSubtype="4" fill="hold" nodeType="withEffect">
                                  <p:stCondLst>
                                    <p:cond delay="0"/>
                                  </p:stCondLst>
                                  <p:childTnLst>
                                    <p:set>
                                      <p:cBhvr>
                                        <p:cTn id="62" dur="1" fill="hold">
                                          <p:stCondLst>
                                            <p:cond delay="0"/>
                                          </p:stCondLst>
                                        </p:cTn>
                                        <p:tgtEl>
                                          <p:spTgt spid="73"/>
                                        </p:tgtEl>
                                        <p:attrNameLst>
                                          <p:attrName>style.visibility</p:attrName>
                                        </p:attrNameLst>
                                      </p:cBhvr>
                                      <p:to>
                                        <p:strVal val="visible"/>
                                      </p:to>
                                    </p:set>
                                    <p:anim calcmode="lin" valueType="num">
                                      <p:cBhvr additive="base">
                                        <p:cTn id="63" dur="500" fill="hold"/>
                                        <p:tgtEl>
                                          <p:spTgt spid="73"/>
                                        </p:tgtEl>
                                        <p:attrNameLst>
                                          <p:attrName>ppt_x</p:attrName>
                                        </p:attrNameLst>
                                      </p:cBhvr>
                                      <p:tavLst>
                                        <p:tav tm="0">
                                          <p:val>
                                            <p:strVal val="#ppt_x"/>
                                          </p:val>
                                        </p:tav>
                                        <p:tav tm="100000">
                                          <p:val>
                                            <p:strVal val="#ppt_x"/>
                                          </p:val>
                                        </p:tav>
                                      </p:tavLst>
                                    </p:anim>
                                    <p:anim calcmode="lin" valueType="num">
                                      <p:cBhvr additive="base">
                                        <p:cTn id="64" dur="500" fill="hold"/>
                                        <p:tgtEl>
                                          <p:spTgt spid="73"/>
                                        </p:tgtEl>
                                        <p:attrNameLst>
                                          <p:attrName>ppt_y</p:attrName>
                                        </p:attrNameLst>
                                      </p:cBhvr>
                                      <p:tavLst>
                                        <p:tav tm="0">
                                          <p:val>
                                            <p:strVal val="1+#ppt_h/2"/>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2" presetClass="entr" presetSubtype="4" fill="hold" grpId="0" nodeType="clickEffect">
                                  <p:stCondLst>
                                    <p:cond delay="0"/>
                                  </p:stCondLst>
                                  <p:childTnLst>
                                    <p:set>
                                      <p:cBhvr>
                                        <p:cTn id="68" dur="1" fill="hold">
                                          <p:stCondLst>
                                            <p:cond delay="0"/>
                                          </p:stCondLst>
                                        </p:cTn>
                                        <p:tgtEl>
                                          <p:spTgt spid="64"/>
                                        </p:tgtEl>
                                        <p:attrNameLst>
                                          <p:attrName>style.visibility</p:attrName>
                                        </p:attrNameLst>
                                      </p:cBhvr>
                                      <p:to>
                                        <p:strVal val="visible"/>
                                      </p:to>
                                    </p:set>
                                    <p:anim calcmode="lin" valueType="num">
                                      <p:cBhvr additive="base">
                                        <p:cTn id="69" dur="500" fill="hold"/>
                                        <p:tgtEl>
                                          <p:spTgt spid="64"/>
                                        </p:tgtEl>
                                        <p:attrNameLst>
                                          <p:attrName>ppt_x</p:attrName>
                                        </p:attrNameLst>
                                      </p:cBhvr>
                                      <p:tavLst>
                                        <p:tav tm="0">
                                          <p:val>
                                            <p:strVal val="#ppt_x"/>
                                          </p:val>
                                        </p:tav>
                                        <p:tav tm="100000">
                                          <p:val>
                                            <p:strVal val="#ppt_x"/>
                                          </p:val>
                                        </p:tav>
                                      </p:tavLst>
                                    </p:anim>
                                    <p:anim calcmode="lin" valueType="num">
                                      <p:cBhvr additive="base">
                                        <p:cTn id="70" dur="500" fill="hold"/>
                                        <p:tgtEl>
                                          <p:spTgt spid="64"/>
                                        </p:tgtEl>
                                        <p:attrNameLst>
                                          <p:attrName>ppt_y</p:attrName>
                                        </p:attrNameLst>
                                      </p:cBhvr>
                                      <p:tavLst>
                                        <p:tav tm="0">
                                          <p:val>
                                            <p:strVal val="1+#ppt_h/2"/>
                                          </p:val>
                                        </p:tav>
                                        <p:tav tm="100000">
                                          <p:val>
                                            <p:strVal val="#ppt_y"/>
                                          </p:val>
                                        </p:tav>
                                      </p:tavLst>
                                    </p:anim>
                                  </p:childTnLst>
                                </p:cTn>
                              </p:par>
                              <p:par>
                                <p:cTn id="71" presetID="2" presetClass="entr" presetSubtype="4" fill="hold" nodeType="withEffect">
                                  <p:stCondLst>
                                    <p:cond delay="0"/>
                                  </p:stCondLst>
                                  <p:childTnLst>
                                    <p:set>
                                      <p:cBhvr>
                                        <p:cTn id="72" dur="1" fill="hold">
                                          <p:stCondLst>
                                            <p:cond delay="0"/>
                                          </p:stCondLst>
                                        </p:cTn>
                                        <p:tgtEl>
                                          <p:spTgt spid="66"/>
                                        </p:tgtEl>
                                        <p:attrNameLst>
                                          <p:attrName>style.visibility</p:attrName>
                                        </p:attrNameLst>
                                      </p:cBhvr>
                                      <p:to>
                                        <p:strVal val="visible"/>
                                      </p:to>
                                    </p:set>
                                    <p:anim calcmode="lin" valueType="num">
                                      <p:cBhvr additive="base">
                                        <p:cTn id="73" dur="500" fill="hold"/>
                                        <p:tgtEl>
                                          <p:spTgt spid="66"/>
                                        </p:tgtEl>
                                        <p:attrNameLst>
                                          <p:attrName>ppt_x</p:attrName>
                                        </p:attrNameLst>
                                      </p:cBhvr>
                                      <p:tavLst>
                                        <p:tav tm="0">
                                          <p:val>
                                            <p:strVal val="#ppt_x"/>
                                          </p:val>
                                        </p:tav>
                                        <p:tav tm="100000">
                                          <p:val>
                                            <p:strVal val="#ppt_x"/>
                                          </p:val>
                                        </p:tav>
                                      </p:tavLst>
                                    </p:anim>
                                    <p:anim calcmode="lin" valueType="num">
                                      <p:cBhvr additive="base">
                                        <p:cTn id="74" dur="500" fill="hold"/>
                                        <p:tgtEl>
                                          <p:spTgt spid="66"/>
                                        </p:tgtEl>
                                        <p:attrNameLst>
                                          <p:attrName>ppt_y</p:attrName>
                                        </p:attrNameLst>
                                      </p:cBhvr>
                                      <p:tavLst>
                                        <p:tav tm="0">
                                          <p:val>
                                            <p:strVal val="1+#ppt_h/2"/>
                                          </p:val>
                                        </p:tav>
                                        <p:tav tm="100000">
                                          <p:val>
                                            <p:strVal val="#ppt_y"/>
                                          </p:val>
                                        </p:tav>
                                      </p:tavLst>
                                    </p:anim>
                                  </p:childTnLst>
                                </p:cTn>
                              </p:par>
                              <p:par>
                                <p:cTn id="75" presetID="2" presetClass="entr" presetSubtype="4" fill="hold" grpId="0" nodeType="withEffect">
                                  <p:stCondLst>
                                    <p:cond delay="0"/>
                                  </p:stCondLst>
                                  <p:childTnLst>
                                    <p:set>
                                      <p:cBhvr>
                                        <p:cTn id="76" dur="1" fill="hold">
                                          <p:stCondLst>
                                            <p:cond delay="0"/>
                                          </p:stCondLst>
                                        </p:cTn>
                                        <p:tgtEl>
                                          <p:spTgt spid="69"/>
                                        </p:tgtEl>
                                        <p:attrNameLst>
                                          <p:attrName>style.visibility</p:attrName>
                                        </p:attrNameLst>
                                      </p:cBhvr>
                                      <p:to>
                                        <p:strVal val="visible"/>
                                      </p:to>
                                    </p:set>
                                    <p:anim calcmode="lin" valueType="num">
                                      <p:cBhvr additive="base">
                                        <p:cTn id="77" dur="500" fill="hold"/>
                                        <p:tgtEl>
                                          <p:spTgt spid="69"/>
                                        </p:tgtEl>
                                        <p:attrNameLst>
                                          <p:attrName>ppt_x</p:attrName>
                                        </p:attrNameLst>
                                      </p:cBhvr>
                                      <p:tavLst>
                                        <p:tav tm="0">
                                          <p:val>
                                            <p:strVal val="#ppt_x"/>
                                          </p:val>
                                        </p:tav>
                                        <p:tav tm="100000">
                                          <p:val>
                                            <p:strVal val="#ppt_x"/>
                                          </p:val>
                                        </p:tav>
                                      </p:tavLst>
                                    </p:anim>
                                    <p:anim calcmode="lin" valueType="num">
                                      <p:cBhvr additive="base">
                                        <p:cTn id="78" dur="500" fill="hold"/>
                                        <p:tgtEl>
                                          <p:spTgt spid="69"/>
                                        </p:tgtEl>
                                        <p:attrNameLst>
                                          <p:attrName>ppt_y</p:attrName>
                                        </p:attrNameLst>
                                      </p:cBhvr>
                                      <p:tavLst>
                                        <p:tav tm="0">
                                          <p:val>
                                            <p:strVal val="1+#ppt_h/2"/>
                                          </p:val>
                                        </p:tav>
                                        <p:tav tm="100000">
                                          <p:val>
                                            <p:strVal val="#ppt_y"/>
                                          </p:val>
                                        </p:tav>
                                      </p:tavLst>
                                    </p:anim>
                                  </p:childTnLst>
                                </p:cTn>
                              </p:par>
                              <p:par>
                                <p:cTn id="79" presetID="2" presetClass="entr" presetSubtype="4" fill="hold" grpId="0" nodeType="withEffect">
                                  <p:stCondLst>
                                    <p:cond delay="0"/>
                                  </p:stCondLst>
                                  <p:childTnLst>
                                    <p:set>
                                      <p:cBhvr>
                                        <p:cTn id="80" dur="1" fill="hold">
                                          <p:stCondLst>
                                            <p:cond delay="0"/>
                                          </p:stCondLst>
                                        </p:cTn>
                                        <p:tgtEl>
                                          <p:spTgt spid="70"/>
                                        </p:tgtEl>
                                        <p:attrNameLst>
                                          <p:attrName>style.visibility</p:attrName>
                                        </p:attrNameLst>
                                      </p:cBhvr>
                                      <p:to>
                                        <p:strVal val="visible"/>
                                      </p:to>
                                    </p:set>
                                    <p:anim calcmode="lin" valueType="num">
                                      <p:cBhvr additive="base">
                                        <p:cTn id="81" dur="500" fill="hold"/>
                                        <p:tgtEl>
                                          <p:spTgt spid="70"/>
                                        </p:tgtEl>
                                        <p:attrNameLst>
                                          <p:attrName>ppt_x</p:attrName>
                                        </p:attrNameLst>
                                      </p:cBhvr>
                                      <p:tavLst>
                                        <p:tav tm="0">
                                          <p:val>
                                            <p:strVal val="#ppt_x"/>
                                          </p:val>
                                        </p:tav>
                                        <p:tav tm="100000">
                                          <p:val>
                                            <p:strVal val="#ppt_x"/>
                                          </p:val>
                                        </p:tav>
                                      </p:tavLst>
                                    </p:anim>
                                    <p:anim calcmode="lin" valueType="num">
                                      <p:cBhvr additive="base">
                                        <p:cTn id="82" dur="500" fill="hold"/>
                                        <p:tgtEl>
                                          <p:spTgt spid="7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P spid="61" grpId="0"/>
      <p:bldP spid="62" grpId="0"/>
      <p:bldP spid="63" grpId="0"/>
      <p:bldP spid="64" grpId="0"/>
      <p:bldP spid="67" grpId="0"/>
      <p:bldP spid="68" grpId="0"/>
      <p:bldP spid="69" grpId="0"/>
      <p:bldP spid="70" grpId="0" animBg="1"/>
      <p:bldP spid="72" grpId="0"/>
      <p:bldP spid="11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p:cNvSpPr/>
          <p:nvPr/>
        </p:nvSpPr>
        <p:spPr>
          <a:xfrm>
            <a:off x="309" y="4951636"/>
            <a:ext cx="12199099" cy="986050"/>
          </a:xfrm>
          <a:prstGeom prst="rect">
            <a:avLst/>
          </a:prstGeom>
          <a:solidFill>
            <a:schemeClr val="accent5">
              <a:lumMod val="40000"/>
              <a:lumOff val="60000"/>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3"/>
            <a:endParaRPr lang="en-GB" sz="1400" dirty="0">
              <a:solidFill>
                <a:prstClr val="white"/>
              </a:solidFill>
            </a:endParaRPr>
          </a:p>
        </p:txBody>
      </p:sp>
      <p:sp>
        <p:nvSpPr>
          <p:cNvPr id="4" name="Rectangle 3"/>
          <p:cNvSpPr/>
          <p:nvPr/>
        </p:nvSpPr>
        <p:spPr>
          <a:xfrm>
            <a:off x="512036" y="1319184"/>
            <a:ext cx="11346297" cy="1880660"/>
          </a:xfrm>
          <a:prstGeom prst="rect">
            <a:avLst/>
          </a:prstGeom>
          <a:noFill/>
        </p:spPr>
        <p:txBody>
          <a:bodyPr wrap="square" lIns="0" tIns="0" rIns="0" bIns="0" rtlCol="0" anchor="ctr"/>
          <a:lstStyle/>
          <a:p>
            <a:pPr algn="ctr" defTabSz="914263"/>
            <a:endParaRPr lang="en-US" sz="1687" dirty="0">
              <a:solidFill>
                <a:srgbClr val="263147"/>
              </a:solidFill>
            </a:endParaRPr>
          </a:p>
        </p:txBody>
      </p:sp>
      <p:sp>
        <p:nvSpPr>
          <p:cNvPr id="2" name="Title 1"/>
          <p:cNvSpPr>
            <a:spLocks noGrp="1"/>
          </p:cNvSpPr>
          <p:nvPr>
            <p:ph type="title"/>
          </p:nvPr>
        </p:nvSpPr>
        <p:spPr>
          <a:xfrm>
            <a:off x="227349" y="0"/>
            <a:ext cx="7502617" cy="1104900"/>
          </a:xfrm>
        </p:spPr>
        <p:txBody>
          <a:bodyPr/>
          <a:lstStyle/>
          <a:p>
            <a:r>
              <a:rPr lang="en-US" sz="2800" dirty="0"/>
              <a:t>DCX </a:t>
            </a:r>
            <a:r>
              <a:rPr lang="en-US" sz="2800" dirty="0" smtClean="0"/>
              <a:t>India CoE </a:t>
            </a:r>
            <a:r>
              <a:rPr lang="en-US" sz="2800" dirty="0"/>
              <a:t>– </a:t>
            </a:r>
            <a:r>
              <a:rPr lang="en-US" sz="2800" dirty="0" smtClean="0"/>
              <a:t>Practice &amp; Technology </a:t>
            </a:r>
            <a:r>
              <a:rPr lang="en-US" sz="2800" dirty="0"/>
              <a:t>Landscape</a:t>
            </a:r>
          </a:p>
        </p:txBody>
      </p:sp>
      <p:sp>
        <p:nvSpPr>
          <p:cNvPr id="3" name="Rectangle 2"/>
          <p:cNvSpPr/>
          <p:nvPr/>
        </p:nvSpPr>
        <p:spPr>
          <a:xfrm>
            <a:off x="356586" y="1312257"/>
            <a:ext cx="184023" cy="1897978"/>
          </a:xfrm>
          <a:prstGeom prst="rect">
            <a:avLst/>
          </a:prstGeom>
          <a:solidFill>
            <a:schemeClr val="accent5">
              <a:lumMod val="75000"/>
            </a:schemeClr>
          </a:solidFill>
          <a:ln>
            <a:noFill/>
          </a:ln>
        </p:spPr>
        <p:txBody>
          <a:bodyPr wrap="square" anchor="ctr" anchorCtr="0">
            <a:noAutofit/>
          </a:bodyPr>
          <a:lstStyle/>
          <a:p>
            <a:pPr marL="14326" marR="5730" algn="ctr" defTabSz="914263">
              <a:lnSpc>
                <a:spcPct val="107200"/>
              </a:lnSpc>
            </a:pPr>
            <a:endParaRPr lang="en-GB" b="1" dirty="0">
              <a:solidFill>
                <a:prstClr val="white"/>
              </a:solidFill>
              <a:ea typeface="Segoe UI Black" panose="020B0A02040204020203" pitchFamily="34" charset="0"/>
              <a:cs typeface="Segoe UI Black" panose="020B0A02040204020203" pitchFamily="34" charset="0"/>
            </a:endParaRPr>
          </a:p>
        </p:txBody>
      </p:sp>
      <p:sp>
        <p:nvSpPr>
          <p:cNvPr id="6" name="TextBox 54"/>
          <p:cNvSpPr txBox="1"/>
          <p:nvPr/>
        </p:nvSpPr>
        <p:spPr>
          <a:xfrm>
            <a:off x="7729966" y="2661552"/>
            <a:ext cx="2212585" cy="461596"/>
          </a:xfrm>
          <a:prstGeom prst="rect">
            <a:avLst/>
          </a:prstGeom>
          <a:noFill/>
        </p:spPr>
        <p:txBody>
          <a:bodyPr wrap="square" lIns="91372" tIns="45686" rIns="91372" bIns="45686" rtlCol="0" anchor="t">
            <a:spAutoFit/>
          </a:bodyPr>
          <a:lstStyle>
            <a:defPPr>
              <a:defRPr lang="de-DE"/>
            </a:defPPr>
            <a:lvl1pPr>
              <a:defRPr sz="1800">
                <a:solidFill>
                  <a:schemeClr val="tx1">
                    <a:lumMod val="50000"/>
                  </a:schemeClr>
                </a:solidFill>
                <a:latin typeface="Calibri" pitchFamily="34" charset="0"/>
              </a:defRPr>
            </a:lvl1pPr>
          </a:lstStyle>
          <a:p>
            <a:pPr algn="ctr" defTabSz="914263"/>
            <a:r>
              <a:rPr lang="en-GB" sz="1400" b="1" dirty="0">
                <a:solidFill>
                  <a:srgbClr val="263147"/>
                </a:solidFill>
                <a:latin typeface="Calibri" panose="020F0502020204030204"/>
              </a:rPr>
              <a:t>Digital Channels</a:t>
            </a:r>
          </a:p>
          <a:p>
            <a:pPr algn="ctr" defTabSz="914263"/>
            <a:r>
              <a:rPr lang="en-GB" sz="1000" b="1" dirty="0">
                <a:solidFill>
                  <a:srgbClr val="263147"/>
                </a:solidFill>
                <a:latin typeface="Calibri" panose="020F0502020204030204"/>
              </a:rPr>
              <a:t>(Mobility, UX &amp; UI)</a:t>
            </a:r>
          </a:p>
        </p:txBody>
      </p:sp>
      <p:sp>
        <p:nvSpPr>
          <p:cNvPr id="7" name="TextBox 6"/>
          <p:cNvSpPr txBox="1"/>
          <p:nvPr/>
        </p:nvSpPr>
        <p:spPr>
          <a:xfrm>
            <a:off x="3958510" y="2664003"/>
            <a:ext cx="1782480" cy="307708"/>
          </a:xfrm>
          <a:prstGeom prst="rect">
            <a:avLst/>
          </a:prstGeom>
          <a:noFill/>
        </p:spPr>
        <p:txBody>
          <a:bodyPr wrap="square" lIns="91372" tIns="45686" rIns="91372" bIns="45686" rtlCol="0" anchor="t">
            <a:spAutoFit/>
          </a:bodyPr>
          <a:lstStyle>
            <a:defPPr>
              <a:defRPr lang="de-DE"/>
            </a:defPPr>
            <a:lvl1pPr>
              <a:defRPr sz="1800">
                <a:solidFill>
                  <a:schemeClr val="tx1">
                    <a:lumMod val="50000"/>
                  </a:schemeClr>
                </a:solidFill>
                <a:latin typeface="Calibri" pitchFamily="34" charset="0"/>
              </a:defRPr>
            </a:lvl1pPr>
          </a:lstStyle>
          <a:p>
            <a:pPr algn="ctr" defTabSz="914263">
              <a:defRPr/>
            </a:pPr>
            <a:r>
              <a:rPr lang="en-GB" sz="1400" b="1" dirty="0">
                <a:solidFill>
                  <a:srgbClr val="263147"/>
                </a:solidFill>
                <a:latin typeface="Calibri" panose="020F0502020204030204"/>
              </a:rPr>
              <a:t>Commerce</a:t>
            </a:r>
          </a:p>
        </p:txBody>
      </p:sp>
      <p:sp>
        <p:nvSpPr>
          <p:cNvPr id="8" name="TextBox 7"/>
          <p:cNvSpPr txBox="1"/>
          <p:nvPr/>
        </p:nvSpPr>
        <p:spPr>
          <a:xfrm>
            <a:off x="5880623" y="2661552"/>
            <a:ext cx="1788583" cy="307708"/>
          </a:xfrm>
          <a:prstGeom prst="rect">
            <a:avLst/>
          </a:prstGeom>
          <a:noFill/>
        </p:spPr>
        <p:txBody>
          <a:bodyPr wrap="square" lIns="91372" tIns="45686" rIns="91372" bIns="45686" rtlCol="0" anchor="t">
            <a:spAutoFit/>
          </a:bodyPr>
          <a:lstStyle>
            <a:defPPr>
              <a:defRPr lang="de-DE"/>
            </a:defPPr>
            <a:lvl1pPr>
              <a:defRPr sz="1800">
                <a:solidFill>
                  <a:schemeClr val="tx1">
                    <a:lumMod val="50000"/>
                  </a:schemeClr>
                </a:solidFill>
                <a:latin typeface="Calibri" pitchFamily="34" charset="0"/>
              </a:defRPr>
            </a:lvl1pPr>
          </a:lstStyle>
          <a:p>
            <a:pPr algn="ctr" defTabSz="914263"/>
            <a:r>
              <a:rPr lang="en-GB" sz="1400" b="1" dirty="0">
                <a:solidFill>
                  <a:srgbClr val="263147"/>
                </a:solidFill>
                <a:latin typeface="Calibri" panose="020F0502020204030204"/>
              </a:rPr>
              <a:t>Content &amp; Marketing</a:t>
            </a:r>
          </a:p>
        </p:txBody>
      </p:sp>
      <p:sp>
        <p:nvSpPr>
          <p:cNvPr id="9" name="TextBox 8"/>
          <p:cNvSpPr txBox="1"/>
          <p:nvPr/>
        </p:nvSpPr>
        <p:spPr>
          <a:xfrm>
            <a:off x="2088137" y="2661552"/>
            <a:ext cx="1611149" cy="307708"/>
          </a:xfrm>
          <a:prstGeom prst="rect">
            <a:avLst/>
          </a:prstGeom>
          <a:noFill/>
        </p:spPr>
        <p:txBody>
          <a:bodyPr wrap="square" lIns="91372" tIns="45686" rIns="91372" bIns="45686" rtlCol="0" anchor="t">
            <a:spAutoFit/>
          </a:bodyPr>
          <a:lstStyle>
            <a:defPPr>
              <a:defRPr lang="de-DE"/>
            </a:defPPr>
            <a:lvl1pPr>
              <a:defRPr sz="1800">
                <a:solidFill>
                  <a:schemeClr val="tx1">
                    <a:lumMod val="50000"/>
                  </a:schemeClr>
                </a:solidFill>
                <a:latin typeface="Calibri" pitchFamily="34" charset="0"/>
              </a:defRPr>
            </a:lvl1pPr>
          </a:lstStyle>
          <a:p>
            <a:pPr algn="ctr" defTabSz="914263"/>
            <a:r>
              <a:rPr lang="en-GB" sz="1400" b="1" dirty="0">
                <a:solidFill>
                  <a:srgbClr val="263147"/>
                </a:solidFill>
                <a:latin typeface="Calibri" panose="020F0502020204030204"/>
              </a:rPr>
              <a:t>Customer &amp; CRM</a:t>
            </a:r>
          </a:p>
        </p:txBody>
      </p:sp>
      <p:sp>
        <p:nvSpPr>
          <p:cNvPr id="10" name="TextBox 54"/>
          <p:cNvSpPr txBox="1"/>
          <p:nvPr/>
        </p:nvSpPr>
        <p:spPr>
          <a:xfrm>
            <a:off x="9886976" y="2661552"/>
            <a:ext cx="1703282" cy="523151"/>
          </a:xfrm>
          <a:prstGeom prst="rect">
            <a:avLst/>
          </a:prstGeom>
          <a:noFill/>
        </p:spPr>
        <p:txBody>
          <a:bodyPr wrap="square" lIns="91372" tIns="45686" rIns="91372" bIns="45686" rtlCol="0" anchor="t">
            <a:spAutoFit/>
          </a:bodyPr>
          <a:lstStyle>
            <a:defPPr>
              <a:defRPr lang="de-DE"/>
            </a:defPPr>
            <a:lvl1pPr>
              <a:defRPr sz="1800">
                <a:solidFill>
                  <a:schemeClr val="tx1">
                    <a:lumMod val="50000"/>
                  </a:schemeClr>
                </a:solidFill>
                <a:latin typeface="Calibri" pitchFamily="34" charset="0"/>
              </a:defRPr>
            </a:lvl1pPr>
          </a:lstStyle>
          <a:p>
            <a:pPr algn="ctr" defTabSz="914263"/>
            <a:r>
              <a:rPr lang="en-GB" sz="1400" b="1" dirty="0">
                <a:solidFill>
                  <a:srgbClr val="263147"/>
                </a:solidFill>
                <a:latin typeface="Calibri" panose="020F0502020204030204"/>
              </a:rPr>
              <a:t>BPM &amp; Enterprise Integration</a:t>
            </a:r>
          </a:p>
        </p:txBody>
      </p:sp>
      <p:sp>
        <p:nvSpPr>
          <p:cNvPr id="11" name="Oval 44"/>
          <p:cNvSpPr/>
          <p:nvPr/>
        </p:nvSpPr>
        <p:spPr>
          <a:xfrm>
            <a:off x="4248594" y="1445264"/>
            <a:ext cx="1214210" cy="1218155"/>
          </a:xfrm>
          <a:prstGeom prst="ellipse">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defTabSz="957612"/>
            <a:endParaRPr lang="en-GB" sz="2000" dirty="0">
              <a:solidFill>
                <a:srgbClr val="263147"/>
              </a:solidFill>
            </a:endParaRPr>
          </a:p>
        </p:txBody>
      </p:sp>
      <p:sp>
        <p:nvSpPr>
          <p:cNvPr id="12" name="Oval 44"/>
          <p:cNvSpPr/>
          <p:nvPr/>
        </p:nvSpPr>
        <p:spPr>
          <a:xfrm>
            <a:off x="6213325" y="1445264"/>
            <a:ext cx="1214210" cy="1218155"/>
          </a:xfrm>
          <a:prstGeom prst="ellipse">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57612"/>
            <a:endParaRPr lang="en-GB" sz="2000" dirty="0">
              <a:solidFill>
                <a:srgbClr val="263147"/>
              </a:solidFill>
            </a:endParaRPr>
          </a:p>
        </p:txBody>
      </p:sp>
      <p:sp>
        <p:nvSpPr>
          <p:cNvPr id="13" name="Oval 44"/>
          <p:cNvSpPr/>
          <p:nvPr/>
        </p:nvSpPr>
        <p:spPr>
          <a:xfrm>
            <a:off x="2283862" y="1445264"/>
            <a:ext cx="1214210" cy="1218155"/>
          </a:xfrm>
          <a:prstGeom prst="ellipse">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57612"/>
            <a:endParaRPr lang="en-GB" sz="2000" dirty="0">
              <a:solidFill>
                <a:srgbClr val="263147"/>
              </a:solidFill>
            </a:endParaRPr>
          </a:p>
        </p:txBody>
      </p:sp>
      <p:sp>
        <p:nvSpPr>
          <p:cNvPr id="14" name="Oval 44"/>
          <p:cNvSpPr/>
          <p:nvPr/>
        </p:nvSpPr>
        <p:spPr>
          <a:xfrm>
            <a:off x="8178057" y="1445264"/>
            <a:ext cx="1214210" cy="1218155"/>
          </a:xfrm>
          <a:prstGeom prst="ellipse">
            <a:avLst/>
          </a:prstGeom>
          <a:ln/>
        </p:spPr>
        <p:style>
          <a:lnRef idx="1">
            <a:schemeClr val="dk1"/>
          </a:lnRef>
          <a:fillRef idx="3">
            <a:schemeClr val="dk1"/>
          </a:fillRef>
          <a:effectRef idx="2">
            <a:schemeClr val="dk1"/>
          </a:effectRef>
          <a:fontRef idx="minor">
            <a:schemeClr val="lt1"/>
          </a:fontRef>
        </p:style>
        <p:txBody>
          <a:bodyPr rtlCol="0" anchor="ctr"/>
          <a:lstStyle/>
          <a:p>
            <a:pPr algn="ctr" defTabSz="957612"/>
            <a:endParaRPr lang="en-GB" sz="2000" dirty="0">
              <a:solidFill>
                <a:srgbClr val="263147"/>
              </a:solidFill>
            </a:endParaRPr>
          </a:p>
        </p:txBody>
      </p:sp>
      <p:sp>
        <p:nvSpPr>
          <p:cNvPr id="15" name="Oval 44"/>
          <p:cNvSpPr/>
          <p:nvPr/>
        </p:nvSpPr>
        <p:spPr>
          <a:xfrm>
            <a:off x="10142787" y="1445264"/>
            <a:ext cx="1214210" cy="1218155"/>
          </a:xfrm>
          <a:prstGeom prst="ellipse">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defTabSz="957612"/>
            <a:endParaRPr lang="en-GB" sz="2000" dirty="0">
              <a:solidFill>
                <a:srgbClr val="263147"/>
              </a:solidFill>
            </a:endParaRPr>
          </a:p>
        </p:txBody>
      </p:sp>
      <p:grpSp>
        <p:nvGrpSpPr>
          <p:cNvPr id="16" name="Groupe 581"/>
          <p:cNvGrpSpPr/>
          <p:nvPr/>
        </p:nvGrpSpPr>
        <p:grpSpPr>
          <a:xfrm>
            <a:off x="2484465" y="1769084"/>
            <a:ext cx="790737" cy="612355"/>
            <a:chOff x="1698626" y="4429125"/>
            <a:chExt cx="471488" cy="365125"/>
          </a:xfrm>
          <a:noFill/>
        </p:grpSpPr>
        <p:sp>
          <p:nvSpPr>
            <p:cNvPr id="17" name="Freeform 366"/>
            <p:cNvSpPr>
              <a:spLocks/>
            </p:cNvSpPr>
            <p:nvPr/>
          </p:nvSpPr>
          <p:spPr bwMode="auto">
            <a:xfrm>
              <a:off x="1698626" y="4429125"/>
              <a:ext cx="471488" cy="365125"/>
            </a:xfrm>
            <a:custGeom>
              <a:avLst/>
              <a:gdLst/>
              <a:ahLst/>
              <a:cxnLst>
                <a:cxn ang="0">
                  <a:pos x="244" y="181"/>
                </a:cxn>
                <a:cxn ang="0">
                  <a:pos x="244" y="17"/>
                </a:cxn>
                <a:cxn ang="0">
                  <a:pos x="224" y="0"/>
                </a:cxn>
                <a:cxn ang="0">
                  <a:pos x="210" y="0"/>
                </a:cxn>
                <a:cxn ang="0">
                  <a:pos x="33" y="0"/>
                </a:cxn>
                <a:cxn ang="0">
                  <a:pos x="22" y="0"/>
                </a:cxn>
                <a:cxn ang="0">
                  <a:pos x="0" y="16"/>
                </a:cxn>
                <a:cxn ang="0">
                  <a:pos x="0" y="16"/>
                </a:cxn>
                <a:cxn ang="0">
                  <a:pos x="0" y="170"/>
                </a:cxn>
                <a:cxn ang="0">
                  <a:pos x="0" y="171"/>
                </a:cxn>
                <a:cxn ang="0">
                  <a:pos x="20" y="188"/>
                </a:cxn>
                <a:cxn ang="0">
                  <a:pos x="34" y="188"/>
                </a:cxn>
                <a:cxn ang="0">
                  <a:pos x="229" y="188"/>
                </a:cxn>
              </a:cxnLst>
              <a:rect l="0" t="0" r="r" b="b"/>
              <a:pathLst>
                <a:path w="244" h="188">
                  <a:moveTo>
                    <a:pt x="244" y="181"/>
                  </a:moveTo>
                  <a:cubicBezTo>
                    <a:pt x="244" y="17"/>
                    <a:pt x="244" y="17"/>
                    <a:pt x="244" y="17"/>
                  </a:cubicBezTo>
                  <a:cubicBezTo>
                    <a:pt x="244" y="7"/>
                    <a:pt x="241" y="0"/>
                    <a:pt x="224" y="0"/>
                  </a:cubicBezTo>
                  <a:cubicBezTo>
                    <a:pt x="210" y="0"/>
                    <a:pt x="210" y="0"/>
                    <a:pt x="210" y="0"/>
                  </a:cubicBezTo>
                  <a:cubicBezTo>
                    <a:pt x="33" y="0"/>
                    <a:pt x="33" y="0"/>
                    <a:pt x="33" y="0"/>
                  </a:cubicBezTo>
                  <a:cubicBezTo>
                    <a:pt x="22" y="0"/>
                    <a:pt x="22" y="0"/>
                    <a:pt x="22" y="0"/>
                  </a:cubicBezTo>
                  <a:cubicBezTo>
                    <a:pt x="4" y="0"/>
                    <a:pt x="0" y="7"/>
                    <a:pt x="0" y="16"/>
                  </a:cubicBezTo>
                  <a:cubicBezTo>
                    <a:pt x="0" y="16"/>
                    <a:pt x="0" y="16"/>
                    <a:pt x="0" y="16"/>
                  </a:cubicBezTo>
                  <a:cubicBezTo>
                    <a:pt x="0" y="170"/>
                    <a:pt x="0" y="170"/>
                    <a:pt x="0" y="170"/>
                  </a:cubicBezTo>
                  <a:cubicBezTo>
                    <a:pt x="0" y="171"/>
                    <a:pt x="0" y="171"/>
                    <a:pt x="0" y="171"/>
                  </a:cubicBezTo>
                  <a:cubicBezTo>
                    <a:pt x="0" y="181"/>
                    <a:pt x="3" y="188"/>
                    <a:pt x="20" y="188"/>
                  </a:cubicBezTo>
                  <a:cubicBezTo>
                    <a:pt x="34" y="188"/>
                    <a:pt x="34" y="188"/>
                    <a:pt x="34" y="188"/>
                  </a:cubicBezTo>
                  <a:cubicBezTo>
                    <a:pt x="229" y="188"/>
                    <a:pt x="229" y="188"/>
                    <a:pt x="229" y="188"/>
                  </a:cubicBezTo>
                </a:path>
              </a:pathLst>
            </a:custGeom>
            <a:grpFill/>
            <a:ln w="9525" cap="sq">
              <a:solidFill>
                <a:schemeClr val="bg1"/>
              </a:solidFill>
              <a:prstDash val="solid"/>
              <a:miter lim="800000"/>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sp>
          <p:nvSpPr>
            <p:cNvPr id="18" name="Freeform 367"/>
            <p:cNvSpPr>
              <a:spLocks/>
            </p:cNvSpPr>
            <p:nvPr/>
          </p:nvSpPr>
          <p:spPr bwMode="auto">
            <a:xfrm>
              <a:off x="1735138" y="4470400"/>
              <a:ext cx="377825" cy="282575"/>
            </a:xfrm>
            <a:custGeom>
              <a:avLst/>
              <a:gdLst/>
              <a:ahLst/>
              <a:cxnLst>
                <a:cxn ang="0">
                  <a:pos x="165" y="146"/>
                </a:cxn>
                <a:cxn ang="0">
                  <a:pos x="183" y="146"/>
                </a:cxn>
                <a:cxn ang="0">
                  <a:pos x="57" y="146"/>
                </a:cxn>
                <a:cxn ang="0">
                  <a:pos x="27" y="146"/>
                </a:cxn>
                <a:cxn ang="0">
                  <a:pos x="16" y="146"/>
                </a:cxn>
                <a:cxn ang="0">
                  <a:pos x="0" y="132"/>
                </a:cxn>
                <a:cxn ang="0">
                  <a:pos x="0" y="132"/>
                </a:cxn>
                <a:cxn ang="0">
                  <a:pos x="0" y="13"/>
                </a:cxn>
                <a:cxn ang="0">
                  <a:pos x="0" y="13"/>
                </a:cxn>
                <a:cxn ang="0">
                  <a:pos x="17" y="0"/>
                </a:cxn>
                <a:cxn ang="0">
                  <a:pos x="18" y="0"/>
                </a:cxn>
                <a:cxn ang="0">
                  <a:pos x="168" y="0"/>
                </a:cxn>
                <a:cxn ang="0">
                  <a:pos x="179" y="0"/>
                </a:cxn>
                <a:cxn ang="0">
                  <a:pos x="195" y="14"/>
                </a:cxn>
                <a:cxn ang="0">
                  <a:pos x="195" y="136"/>
                </a:cxn>
                <a:cxn ang="0">
                  <a:pos x="181" y="146"/>
                </a:cxn>
              </a:cxnLst>
              <a:rect l="0" t="0" r="r" b="b"/>
              <a:pathLst>
                <a:path w="195" h="146">
                  <a:moveTo>
                    <a:pt x="165" y="146"/>
                  </a:moveTo>
                  <a:cubicBezTo>
                    <a:pt x="183" y="146"/>
                    <a:pt x="183" y="146"/>
                    <a:pt x="183" y="146"/>
                  </a:cubicBezTo>
                  <a:cubicBezTo>
                    <a:pt x="57" y="146"/>
                    <a:pt x="57" y="146"/>
                    <a:pt x="57" y="146"/>
                  </a:cubicBezTo>
                  <a:cubicBezTo>
                    <a:pt x="27" y="146"/>
                    <a:pt x="27" y="146"/>
                    <a:pt x="27" y="146"/>
                  </a:cubicBezTo>
                  <a:cubicBezTo>
                    <a:pt x="16" y="146"/>
                    <a:pt x="16" y="146"/>
                    <a:pt x="16" y="146"/>
                  </a:cubicBezTo>
                  <a:cubicBezTo>
                    <a:pt x="2" y="146"/>
                    <a:pt x="0" y="140"/>
                    <a:pt x="0" y="132"/>
                  </a:cubicBezTo>
                  <a:cubicBezTo>
                    <a:pt x="0" y="132"/>
                    <a:pt x="0" y="132"/>
                    <a:pt x="0" y="132"/>
                  </a:cubicBezTo>
                  <a:cubicBezTo>
                    <a:pt x="0" y="13"/>
                    <a:pt x="0" y="13"/>
                    <a:pt x="0" y="13"/>
                  </a:cubicBezTo>
                  <a:cubicBezTo>
                    <a:pt x="0" y="13"/>
                    <a:pt x="0" y="13"/>
                    <a:pt x="0" y="13"/>
                  </a:cubicBezTo>
                  <a:cubicBezTo>
                    <a:pt x="0" y="6"/>
                    <a:pt x="3" y="0"/>
                    <a:pt x="17" y="0"/>
                  </a:cubicBezTo>
                  <a:cubicBezTo>
                    <a:pt x="18" y="0"/>
                    <a:pt x="18" y="0"/>
                    <a:pt x="18" y="0"/>
                  </a:cubicBezTo>
                  <a:cubicBezTo>
                    <a:pt x="168" y="0"/>
                    <a:pt x="168" y="0"/>
                    <a:pt x="168" y="0"/>
                  </a:cubicBezTo>
                  <a:cubicBezTo>
                    <a:pt x="179" y="0"/>
                    <a:pt x="179" y="0"/>
                    <a:pt x="179" y="0"/>
                  </a:cubicBezTo>
                  <a:cubicBezTo>
                    <a:pt x="193" y="0"/>
                    <a:pt x="195" y="6"/>
                    <a:pt x="195" y="14"/>
                  </a:cubicBezTo>
                  <a:cubicBezTo>
                    <a:pt x="195" y="136"/>
                    <a:pt x="195" y="136"/>
                    <a:pt x="195" y="136"/>
                  </a:cubicBezTo>
                  <a:cubicBezTo>
                    <a:pt x="195" y="142"/>
                    <a:pt x="192" y="146"/>
                    <a:pt x="181" y="146"/>
                  </a:cubicBezTo>
                </a:path>
              </a:pathLst>
            </a:custGeom>
            <a:grpFill/>
            <a:ln w="9525" cap="flat">
              <a:solidFill>
                <a:schemeClr val="bg1"/>
              </a:solidFill>
              <a:prstDash val="solid"/>
              <a:miter lim="800000"/>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sp>
          <p:nvSpPr>
            <p:cNvPr id="19" name="Oval 368"/>
            <p:cNvSpPr>
              <a:spLocks noChangeArrowheads="1"/>
            </p:cNvSpPr>
            <p:nvPr/>
          </p:nvSpPr>
          <p:spPr bwMode="auto">
            <a:xfrm>
              <a:off x="2122488" y="4592638"/>
              <a:ext cx="38100" cy="38100"/>
            </a:xfrm>
            <a:prstGeom prst="ellipse">
              <a:avLst/>
            </a:prstGeom>
            <a:grpFill/>
            <a:ln w="9525" cap="flat">
              <a:solidFill>
                <a:schemeClr val="bg1"/>
              </a:solidFill>
              <a:prstDash val="solid"/>
              <a:miter lim="800000"/>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sp>
          <p:nvSpPr>
            <p:cNvPr id="20" name="Freeform 369"/>
            <p:cNvSpPr>
              <a:spLocks/>
            </p:cNvSpPr>
            <p:nvPr/>
          </p:nvSpPr>
          <p:spPr bwMode="auto">
            <a:xfrm>
              <a:off x="2130426" y="4603750"/>
              <a:ext cx="20638" cy="15875"/>
            </a:xfrm>
            <a:custGeom>
              <a:avLst/>
              <a:gdLst/>
              <a:ahLst/>
              <a:cxnLst>
                <a:cxn ang="0">
                  <a:pos x="11" y="8"/>
                </a:cxn>
                <a:cxn ang="0">
                  <a:pos x="11" y="1"/>
                </a:cxn>
                <a:cxn ang="0">
                  <a:pos x="10" y="0"/>
                </a:cxn>
                <a:cxn ang="0">
                  <a:pos x="9" y="0"/>
                </a:cxn>
                <a:cxn ang="0">
                  <a:pos x="2" y="0"/>
                </a:cxn>
                <a:cxn ang="0">
                  <a:pos x="1" y="0"/>
                </a:cxn>
                <a:cxn ang="0">
                  <a:pos x="0" y="1"/>
                </a:cxn>
                <a:cxn ang="0">
                  <a:pos x="0" y="1"/>
                </a:cxn>
                <a:cxn ang="0">
                  <a:pos x="0" y="7"/>
                </a:cxn>
                <a:cxn ang="0">
                  <a:pos x="0" y="7"/>
                </a:cxn>
                <a:cxn ang="0">
                  <a:pos x="1" y="8"/>
                </a:cxn>
                <a:cxn ang="0">
                  <a:pos x="2" y="8"/>
                </a:cxn>
                <a:cxn ang="0">
                  <a:pos x="8" y="8"/>
                </a:cxn>
              </a:cxnLst>
              <a:rect l="0" t="0" r="r" b="b"/>
              <a:pathLst>
                <a:path w="11" h="8">
                  <a:moveTo>
                    <a:pt x="11" y="8"/>
                  </a:moveTo>
                  <a:cubicBezTo>
                    <a:pt x="11" y="1"/>
                    <a:pt x="11" y="1"/>
                    <a:pt x="11" y="1"/>
                  </a:cubicBezTo>
                  <a:cubicBezTo>
                    <a:pt x="11" y="0"/>
                    <a:pt x="11" y="0"/>
                    <a:pt x="10" y="0"/>
                  </a:cubicBezTo>
                  <a:cubicBezTo>
                    <a:pt x="9" y="0"/>
                    <a:pt x="9" y="0"/>
                    <a:pt x="9" y="0"/>
                  </a:cubicBezTo>
                  <a:cubicBezTo>
                    <a:pt x="2" y="0"/>
                    <a:pt x="2" y="0"/>
                    <a:pt x="2" y="0"/>
                  </a:cubicBezTo>
                  <a:cubicBezTo>
                    <a:pt x="1" y="0"/>
                    <a:pt x="1" y="0"/>
                    <a:pt x="1" y="0"/>
                  </a:cubicBezTo>
                  <a:cubicBezTo>
                    <a:pt x="1" y="0"/>
                    <a:pt x="0" y="0"/>
                    <a:pt x="0" y="1"/>
                  </a:cubicBezTo>
                  <a:cubicBezTo>
                    <a:pt x="0" y="1"/>
                    <a:pt x="0" y="1"/>
                    <a:pt x="0" y="1"/>
                  </a:cubicBezTo>
                  <a:cubicBezTo>
                    <a:pt x="0" y="7"/>
                    <a:pt x="0" y="7"/>
                    <a:pt x="0" y="7"/>
                  </a:cubicBezTo>
                  <a:cubicBezTo>
                    <a:pt x="0" y="7"/>
                    <a:pt x="0" y="7"/>
                    <a:pt x="0" y="7"/>
                  </a:cubicBezTo>
                  <a:cubicBezTo>
                    <a:pt x="0" y="8"/>
                    <a:pt x="1" y="8"/>
                    <a:pt x="1" y="8"/>
                  </a:cubicBezTo>
                  <a:cubicBezTo>
                    <a:pt x="2" y="8"/>
                    <a:pt x="2" y="8"/>
                    <a:pt x="2" y="8"/>
                  </a:cubicBezTo>
                  <a:cubicBezTo>
                    <a:pt x="8" y="8"/>
                    <a:pt x="8" y="8"/>
                    <a:pt x="8" y="8"/>
                  </a:cubicBezTo>
                </a:path>
              </a:pathLst>
            </a:custGeom>
            <a:grpFill/>
            <a:ln w="9525" cap="flat">
              <a:solidFill>
                <a:schemeClr val="bg1"/>
              </a:solidFill>
              <a:prstDash val="solid"/>
              <a:miter lim="800000"/>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sp>
          <p:nvSpPr>
            <p:cNvPr id="21" name="Freeform 370"/>
            <p:cNvSpPr>
              <a:spLocks noEditPoints="1"/>
            </p:cNvSpPr>
            <p:nvPr/>
          </p:nvSpPr>
          <p:spPr bwMode="auto">
            <a:xfrm>
              <a:off x="1790701" y="4513263"/>
              <a:ext cx="69850" cy="195263"/>
            </a:xfrm>
            <a:custGeom>
              <a:avLst/>
              <a:gdLst/>
              <a:ahLst/>
              <a:cxnLst>
                <a:cxn ang="0">
                  <a:pos x="29" y="31"/>
                </a:cxn>
                <a:cxn ang="0">
                  <a:pos x="14" y="84"/>
                </a:cxn>
                <a:cxn ang="0">
                  <a:pos x="12" y="90"/>
                </a:cxn>
                <a:cxn ang="0">
                  <a:pos x="13" y="92"/>
                </a:cxn>
                <a:cxn ang="0">
                  <a:pos x="15" y="93"/>
                </a:cxn>
                <a:cxn ang="0">
                  <a:pos x="18" y="92"/>
                </a:cxn>
                <a:cxn ang="0">
                  <a:pos x="26" y="82"/>
                </a:cxn>
                <a:cxn ang="0">
                  <a:pos x="29" y="84"/>
                </a:cxn>
                <a:cxn ang="0">
                  <a:pos x="17" y="97"/>
                </a:cxn>
                <a:cxn ang="0">
                  <a:pos x="7" y="101"/>
                </a:cxn>
                <a:cxn ang="0">
                  <a:pos x="2" y="100"/>
                </a:cxn>
                <a:cxn ang="0">
                  <a:pos x="0" y="95"/>
                </a:cxn>
                <a:cxn ang="0">
                  <a:pos x="2" y="85"/>
                </a:cxn>
                <a:cxn ang="0">
                  <a:pos x="12" y="51"/>
                </a:cxn>
                <a:cxn ang="0">
                  <a:pos x="14" y="41"/>
                </a:cxn>
                <a:cxn ang="0">
                  <a:pos x="13" y="38"/>
                </a:cxn>
                <a:cxn ang="0">
                  <a:pos x="10" y="37"/>
                </a:cxn>
                <a:cxn ang="0">
                  <a:pos x="3" y="38"/>
                </a:cxn>
                <a:cxn ang="0">
                  <a:pos x="3" y="35"/>
                </a:cxn>
                <a:cxn ang="0">
                  <a:pos x="29" y="31"/>
                </a:cxn>
                <a:cxn ang="0">
                  <a:pos x="28" y="0"/>
                </a:cxn>
                <a:cxn ang="0">
                  <a:pos x="33" y="3"/>
                </a:cxn>
                <a:cxn ang="0">
                  <a:pos x="36" y="8"/>
                </a:cxn>
                <a:cxn ang="0">
                  <a:pos x="33" y="13"/>
                </a:cxn>
                <a:cxn ang="0">
                  <a:pos x="28" y="16"/>
                </a:cxn>
                <a:cxn ang="0">
                  <a:pos x="23" y="13"/>
                </a:cxn>
                <a:cxn ang="0">
                  <a:pos x="20" y="8"/>
                </a:cxn>
                <a:cxn ang="0">
                  <a:pos x="23" y="3"/>
                </a:cxn>
                <a:cxn ang="0">
                  <a:pos x="28" y="0"/>
                </a:cxn>
              </a:cxnLst>
              <a:rect l="0" t="0" r="r" b="b"/>
              <a:pathLst>
                <a:path w="36" h="101">
                  <a:moveTo>
                    <a:pt x="29" y="31"/>
                  </a:moveTo>
                  <a:cubicBezTo>
                    <a:pt x="14" y="84"/>
                    <a:pt x="14" y="84"/>
                    <a:pt x="14" y="84"/>
                  </a:cubicBezTo>
                  <a:cubicBezTo>
                    <a:pt x="13" y="88"/>
                    <a:pt x="12" y="90"/>
                    <a:pt x="12" y="90"/>
                  </a:cubicBezTo>
                  <a:cubicBezTo>
                    <a:pt x="12" y="91"/>
                    <a:pt x="13" y="92"/>
                    <a:pt x="13" y="92"/>
                  </a:cubicBezTo>
                  <a:cubicBezTo>
                    <a:pt x="14" y="93"/>
                    <a:pt x="14" y="93"/>
                    <a:pt x="15" y="93"/>
                  </a:cubicBezTo>
                  <a:cubicBezTo>
                    <a:pt x="16" y="93"/>
                    <a:pt x="17" y="93"/>
                    <a:pt x="18" y="92"/>
                  </a:cubicBezTo>
                  <a:cubicBezTo>
                    <a:pt x="20" y="90"/>
                    <a:pt x="23" y="86"/>
                    <a:pt x="26" y="82"/>
                  </a:cubicBezTo>
                  <a:cubicBezTo>
                    <a:pt x="29" y="84"/>
                    <a:pt x="29" y="84"/>
                    <a:pt x="29" y="84"/>
                  </a:cubicBezTo>
                  <a:cubicBezTo>
                    <a:pt x="26" y="89"/>
                    <a:pt x="21" y="94"/>
                    <a:pt x="17" y="97"/>
                  </a:cubicBezTo>
                  <a:cubicBezTo>
                    <a:pt x="13" y="100"/>
                    <a:pt x="10" y="101"/>
                    <a:pt x="7" y="101"/>
                  </a:cubicBezTo>
                  <a:cubicBezTo>
                    <a:pt x="5" y="101"/>
                    <a:pt x="3" y="101"/>
                    <a:pt x="2" y="100"/>
                  </a:cubicBezTo>
                  <a:cubicBezTo>
                    <a:pt x="1" y="98"/>
                    <a:pt x="0" y="97"/>
                    <a:pt x="0" y="95"/>
                  </a:cubicBezTo>
                  <a:cubicBezTo>
                    <a:pt x="0" y="93"/>
                    <a:pt x="0" y="90"/>
                    <a:pt x="2" y="85"/>
                  </a:cubicBezTo>
                  <a:cubicBezTo>
                    <a:pt x="12" y="51"/>
                    <a:pt x="12" y="51"/>
                    <a:pt x="12" y="51"/>
                  </a:cubicBezTo>
                  <a:cubicBezTo>
                    <a:pt x="13" y="46"/>
                    <a:pt x="14" y="42"/>
                    <a:pt x="14" y="41"/>
                  </a:cubicBezTo>
                  <a:cubicBezTo>
                    <a:pt x="14" y="40"/>
                    <a:pt x="14" y="39"/>
                    <a:pt x="13" y="38"/>
                  </a:cubicBezTo>
                  <a:cubicBezTo>
                    <a:pt x="12" y="37"/>
                    <a:pt x="11" y="37"/>
                    <a:pt x="10" y="37"/>
                  </a:cubicBezTo>
                  <a:cubicBezTo>
                    <a:pt x="9" y="37"/>
                    <a:pt x="6" y="37"/>
                    <a:pt x="3" y="38"/>
                  </a:cubicBezTo>
                  <a:cubicBezTo>
                    <a:pt x="3" y="35"/>
                    <a:pt x="3" y="35"/>
                    <a:pt x="3" y="35"/>
                  </a:cubicBezTo>
                  <a:lnTo>
                    <a:pt x="29" y="31"/>
                  </a:lnTo>
                  <a:close/>
                  <a:moveTo>
                    <a:pt x="28" y="0"/>
                  </a:moveTo>
                  <a:cubicBezTo>
                    <a:pt x="30" y="0"/>
                    <a:pt x="32" y="1"/>
                    <a:pt x="33" y="3"/>
                  </a:cubicBezTo>
                  <a:cubicBezTo>
                    <a:pt x="35" y="4"/>
                    <a:pt x="36" y="6"/>
                    <a:pt x="36" y="8"/>
                  </a:cubicBezTo>
                  <a:cubicBezTo>
                    <a:pt x="36" y="10"/>
                    <a:pt x="35" y="12"/>
                    <a:pt x="33" y="13"/>
                  </a:cubicBezTo>
                  <a:cubicBezTo>
                    <a:pt x="32" y="15"/>
                    <a:pt x="30" y="16"/>
                    <a:pt x="28" y="16"/>
                  </a:cubicBezTo>
                  <a:cubicBezTo>
                    <a:pt x="26" y="16"/>
                    <a:pt x="24" y="15"/>
                    <a:pt x="23" y="13"/>
                  </a:cubicBezTo>
                  <a:cubicBezTo>
                    <a:pt x="21" y="12"/>
                    <a:pt x="20" y="10"/>
                    <a:pt x="20" y="8"/>
                  </a:cubicBezTo>
                  <a:cubicBezTo>
                    <a:pt x="20" y="6"/>
                    <a:pt x="21" y="4"/>
                    <a:pt x="23" y="3"/>
                  </a:cubicBezTo>
                  <a:cubicBezTo>
                    <a:pt x="24" y="1"/>
                    <a:pt x="26" y="0"/>
                    <a:pt x="28" y="0"/>
                  </a:cubicBezTo>
                  <a:close/>
                </a:path>
              </a:pathLst>
            </a:custGeom>
            <a:grpFill/>
            <a:ln w="9525" cap="flat">
              <a:solidFill>
                <a:schemeClr val="bg1"/>
              </a:solidFill>
              <a:prstDash val="solid"/>
              <a:miter lim="800000"/>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sp>
          <p:nvSpPr>
            <p:cNvPr id="22" name="Line 371"/>
            <p:cNvSpPr>
              <a:spLocks noChangeShapeType="1"/>
            </p:cNvSpPr>
            <p:nvPr/>
          </p:nvSpPr>
          <p:spPr bwMode="auto">
            <a:xfrm>
              <a:off x="1944688" y="4535488"/>
              <a:ext cx="109538" cy="1588"/>
            </a:xfrm>
            <a:prstGeom prst="line">
              <a:avLst/>
            </a:prstGeom>
            <a:grpFill/>
            <a:ln w="9525" cap="sq">
              <a:solidFill>
                <a:schemeClr val="bg1"/>
              </a:solidFill>
              <a:prstDash val="solid"/>
              <a:miter lim="800000"/>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sp>
          <p:nvSpPr>
            <p:cNvPr id="23" name="Line 372"/>
            <p:cNvSpPr>
              <a:spLocks noChangeShapeType="1"/>
            </p:cNvSpPr>
            <p:nvPr/>
          </p:nvSpPr>
          <p:spPr bwMode="auto">
            <a:xfrm>
              <a:off x="1944688" y="4586288"/>
              <a:ext cx="109538" cy="1588"/>
            </a:xfrm>
            <a:prstGeom prst="line">
              <a:avLst/>
            </a:prstGeom>
            <a:grpFill/>
            <a:ln w="9525" cap="sq">
              <a:solidFill>
                <a:schemeClr val="bg1"/>
              </a:solidFill>
              <a:prstDash val="solid"/>
              <a:miter lim="800000"/>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sp>
          <p:nvSpPr>
            <p:cNvPr id="24" name="Line 373"/>
            <p:cNvSpPr>
              <a:spLocks noChangeShapeType="1"/>
            </p:cNvSpPr>
            <p:nvPr/>
          </p:nvSpPr>
          <p:spPr bwMode="auto">
            <a:xfrm>
              <a:off x="1895476" y="4637088"/>
              <a:ext cx="158750" cy="1588"/>
            </a:xfrm>
            <a:prstGeom prst="line">
              <a:avLst/>
            </a:prstGeom>
            <a:grpFill/>
            <a:ln w="9525" cap="sq">
              <a:solidFill>
                <a:schemeClr val="bg1"/>
              </a:solidFill>
              <a:prstDash val="solid"/>
              <a:miter lim="800000"/>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sp>
          <p:nvSpPr>
            <p:cNvPr id="25" name="Line 374"/>
            <p:cNvSpPr>
              <a:spLocks noChangeShapeType="1"/>
            </p:cNvSpPr>
            <p:nvPr/>
          </p:nvSpPr>
          <p:spPr bwMode="auto">
            <a:xfrm>
              <a:off x="1895476" y="4684713"/>
              <a:ext cx="158750" cy="1588"/>
            </a:xfrm>
            <a:prstGeom prst="line">
              <a:avLst/>
            </a:prstGeom>
            <a:grpFill/>
            <a:ln w="9525" cap="sq">
              <a:solidFill>
                <a:schemeClr val="bg1"/>
              </a:solidFill>
              <a:prstDash val="solid"/>
              <a:miter lim="800000"/>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grpSp>
      <p:grpSp>
        <p:nvGrpSpPr>
          <p:cNvPr id="26" name="Groupe 663"/>
          <p:cNvGrpSpPr/>
          <p:nvPr/>
        </p:nvGrpSpPr>
        <p:grpSpPr>
          <a:xfrm>
            <a:off x="10315006" y="1774956"/>
            <a:ext cx="761450" cy="593719"/>
            <a:chOff x="4452938" y="2754312"/>
            <a:chExt cx="454026" cy="354013"/>
          </a:xfrm>
          <a:noFill/>
        </p:grpSpPr>
        <p:sp>
          <p:nvSpPr>
            <p:cNvPr id="27" name="Oval 591"/>
            <p:cNvSpPr>
              <a:spLocks noChangeArrowheads="1"/>
            </p:cNvSpPr>
            <p:nvPr/>
          </p:nvSpPr>
          <p:spPr bwMode="auto">
            <a:xfrm>
              <a:off x="4735513" y="2754312"/>
              <a:ext cx="133350" cy="136525"/>
            </a:xfrm>
            <a:prstGeom prst="ellipse">
              <a:avLst/>
            </a:prstGeom>
            <a:grpFill/>
            <a:ln w="9525" cap="rnd">
              <a:solidFill>
                <a:schemeClr val="bg1"/>
              </a:solidFill>
              <a:prstDash val="solid"/>
              <a:round/>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sp>
          <p:nvSpPr>
            <p:cNvPr id="28" name="Oval 592"/>
            <p:cNvSpPr>
              <a:spLocks noChangeArrowheads="1"/>
            </p:cNvSpPr>
            <p:nvPr/>
          </p:nvSpPr>
          <p:spPr bwMode="auto">
            <a:xfrm>
              <a:off x="4783138" y="2773362"/>
              <a:ext cx="39688" cy="47625"/>
            </a:xfrm>
            <a:prstGeom prst="ellipse">
              <a:avLst/>
            </a:prstGeom>
            <a:grpFill/>
            <a:ln w="9525" cap="rnd">
              <a:solidFill>
                <a:schemeClr val="bg1"/>
              </a:solidFill>
              <a:prstDash val="solid"/>
              <a:round/>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sp>
          <p:nvSpPr>
            <p:cNvPr id="29" name="Freeform 593"/>
            <p:cNvSpPr>
              <a:spLocks/>
            </p:cNvSpPr>
            <p:nvPr/>
          </p:nvSpPr>
          <p:spPr bwMode="auto">
            <a:xfrm>
              <a:off x="4759326" y="2820987"/>
              <a:ext cx="87313" cy="31750"/>
            </a:xfrm>
            <a:custGeom>
              <a:avLst/>
              <a:gdLst/>
              <a:ahLst/>
              <a:cxnLst>
                <a:cxn ang="0">
                  <a:pos x="0" y="17"/>
                </a:cxn>
                <a:cxn ang="0">
                  <a:pos x="22" y="0"/>
                </a:cxn>
                <a:cxn ang="0">
                  <a:pos x="45" y="16"/>
                </a:cxn>
              </a:cxnLst>
              <a:rect l="0" t="0" r="r" b="b"/>
              <a:pathLst>
                <a:path w="45" h="17">
                  <a:moveTo>
                    <a:pt x="0" y="17"/>
                  </a:moveTo>
                  <a:cubicBezTo>
                    <a:pt x="3" y="7"/>
                    <a:pt x="9" y="0"/>
                    <a:pt x="22" y="0"/>
                  </a:cubicBezTo>
                  <a:cubicBezTo>
                    <a:pt x="35" y="0"/>
                    <a:pt x="42" y="7"/>
                    <a:pt x="45" y="16"/>
                  </a:cubicBezTo>
                </a:path>
              </a:pathLst>
            </a:custGeom>
            <a:grpFill/>
            <a:ln w="9525" cap="rnd">
              <a:solidFill>
                <a:schemeClr val="bg1"/>
              </a:solidFill>
              <a:prstDash val="solid"/>
              <a:round/>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sp>
          <p:nvSpPr>
            <p:cNvPr id="30" name="Oval 594"/>
            <p:cNvSpPr>
              <a:spLocks noChangeArrowheads="1"/>
            </p:cNvSpPr>
            <p:nvPr/>
          </p:nvSpPr>
          <p:spPr bwMode="auto">
            <a:xfrm>
              <a:off x="4737101" y="2940050"/>
              <a:ext cx="169863" cy="168275"/>
            </a:xfrm>
            <a:prstGeom prst="ellipse">
              <a:avLst/>
            </a:prstGeom>
            <a:grpFill/>
            <a:ln w="9525" cap="rnd">
              <a:solidFill>
                <a:schemeClr val="bg1"/>
              </a:solidFill>
              <a:prstDash val="solid"/>
              <a:round/>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sp>
          <p:nvSpPr>
            <p:cNvPr id="31" name="Oval 595"/>
            <p:cNvSpPr>
              <a:spLocks noChangeArrowheads="1"/>
            </p:cNvSpPr>
            <p:nvPr/>
          </p:nvSpPr>
          <p:spPr bwMode="auto">
            <a:xfrm>
              <a:off x="4795838" y="2965450"/>
              <a:ext cx="50800" cy="57150"/>
            </a:xfrm>
            <a:prstGeom prst="ellipse">
              <a:avLst/>
            </a:prstGeom>
            <a:grpFill/>
            <a:ln w="9525" cap="rnd">
              <a:solidFill>
                <a:schemeClr val="bg1"/>
              </a:solidFill>
              <a:prstDash val="solid"/>
              <a:round/>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sp>
          <p:nvSpPr>
            <p:cNvPr id="32" name="Freeform 596"/>
            <p:cNvSpPr>
              <a:spLocks/>
            </p:cNvSpPr>
            <p:nvPr/>
          </p:nvSpPr>
          <p:spPr bwMode="auto">
            <a:xfrm>
              <a:off x="4767263" y="3022600"/>
              <a:ext cx="107950" cy="41275"/>
            </a:xfrm>
            <a:custGeom>
              <a:avLst/>
              <a:gdLst/>
              <a:ahLst/>
              <a:cxnLst>
                <a:cxn ang="0">
                  <a:pos x="0" y="22"/>
                </a:cxn>
                <a:cxn ang="0">
                  <a:pos x="28" y="0"/>
                </a:cxn>
                <a:cxn ang="0">
                  <a:pos x="56" y="21"/>
                </a:cxn>
              </a:cxnLst>
              <a:rect l="0" t="0" r="r" b="b"/>
              <a:pathLst>
                <a:path w="56" h="22">
                  <a:moveTo>
                    <a:pt x="0" y="22"/>
                  </a:moveTo>
                  <a:cubicBezTo>
                    <a:pt x="3" y="10"/>
                    <a:pt x="12" y="0"/>
                    <a:pt x="28" y="0"/>
                  </a:cubicBezTo>
                  <a:cubicBezTo>
                    <a:pt x="43" y="0"/>
                    <a:pt x="52" y="9"/>
                    <a:pt x="56" y="21"/>
                  </a:cubicBezTo>
                </a:path>
              </a:pathLst>
            </a:custGeom>
            <a:grpFill/>
            <a:ln w="9525" cap="rnd">
              <a:solidFill>
                <a:schemeClr val="bg1"/>
              </a:solidFill>
              <a:prstDash val="solid"/>
              <a:round/>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sp>
          <p:nvSpPr>
            <p:cNvPr id="33" name="Oval 597"/>
            <p:cNvSpPr>
              <a:spLocks noChangeArrowheads="1"/>
            </p:cNvSpPr>
            <p:nvPr/>
          </p:nvSpPr>
          <p:spPr bwMode="auto">
            <a:xfrm>
              <a:off x="4452938" y="2828925"/>
              <a:ext cx="190500" cy="188913"/>
            </a:xfrm>
            <a:prstGeom prst="ellipse">
              <a:avLst/>
            </a:prstGeom>
            <a:grpFill/>
            <a:ln w="9525" cap="rnd">
              <a:solidFill>
                <a:schemeClr val="bg1"/>
              </a:solidFill>
              <a:prstDash val="solid"/>
              <a:round/>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sp>
          <p:nvSpPr>
            <p:cNvPr id="34" name="Oval 598"/>
            <p:cNvSpPr>
              <a:spLocks noChangeArrowheads="1"/>
            </p:cNvSpPr>
            <p:nvPr/>
          </p:nvSpPr>
          <p:spPr bwMode="auto">
            <a:xfrm>
              <a:off x="4519613" y="2855912"/>
              <a:ext cx="58738" cy="66675"/>
            </a:xfrm>
            <a:prstGeom prst="ellipse">
              <a:avLst/>
            </a:prstGeom>
            <a:grpFill/>
            <a:ln w="9525" cap="rnd">
              <a:solidFill>
                <a:schemeClr val="bg1"/>
              </a:solidFill>
              <a:prstDash val="solid"/>
              <a:round/>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sp>
          <p:nvSpPr>
            <p:cNvPr id="35" name="Freeform 599"/>
            <p:cNvSpPr>
              <a:spLocks/>
            </p:cNvSpPr>
            <p:nvPr/>
          </p:nvSpPr>
          <p:spPr bwMode="auto">
            <a:xfrm>
              <a:off x="4484688" y="2922587"/>
              <a:ext cx="127000" cy="50800"/>
            </a:xfrm>
            <a:custGeom>
              <a:avLst/>
              <a:gdLst/>
              <a:ahLst/>
              <a:cxnLst>
                <a:cxn ang="0">
                  <a:pos x="0" y="26"/>
                </a:cxn>
                <a:cxn ang="0">
                  <a:pos x="33" y="0"/>
                </a:cxn>
                <a:cxn ang="0">
                  <a:pos x="66" y="24"/>
                </a:cxn>
              </a:cxnLst>
              <a:rect l="0" t="0" r="r" b="b"/>
              <a:pathLst>
                <a:path w="66" h="26">
                  <a:moveTo>
                    <a:pt x="0" y="26"/>
                  </a:moveTo>
                  <a:cubicBezTo>
                    <a:pt x="4" y="11"/>
                    <a:pt x="14" y="0"/>
                    <a:pt x="33" y="0"/>
                  </a:cubicBezTo>
                  <a:cubicBezTo>
                    <a:pt x="52" y="0"/>
                    <a:pt x="62" y="10"/>
                    <a:pt x="66" y="24"/>
                  </a:cubicBezTo>
                </a:path>
              </a:pathLst>
            </a:custGeom>
            <a:grpFill/>
            <a:ln w="9525" cap="rnd">
              <a:solidFill>
                <a:schemeClr val="bg1"/>
              </a:solidFill>
              <a:prstDash val="solid"/>
              <a:round/>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sp>
          <p:nvSpPr>
            <p:cNvPr id="36" name="Line 600"/>
            <p:cNvSpPr>
              <a:spLocks noChangeShapeType="1"/>
            </p:cNvSpPr>
            <p:nvPr/>
          </p:nvSpPr>
          <p:spPr bwMode="auto">
            <a:xfrm flipH="1" flipV="1">
              <a:off x="4638676" y="2962275"/>
              <a:ext cx="95250" cy="39688"/>
            </a:xfrm>
            <a:prstGeom prst="line">
              <a:avLst/>
            </a:prstGeom>
            <a:grpFill/>
            <a:ln w="9525" cap="rnd">
              <a:solidFill>
                <a:schemeClr val="bg1"/>
              </a:solidFill>
              <a:prstDash val="solid"/>
              <a:round/>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sp>
          <p:nvSpPr>
            <p:cNvPr id="37" name="Line 601"/>
            <p:cNvSpPr>
              <a:spLocks noChangeShapeType="1"/>
            </p:cNvSpPr>
            <p:nvPr/>
          </p:nvSpPr>
          <p:spPr bwMode="auto">
            <a:xfrm flipH="1">
              <a:off x="4640263" y="2841625"/>
              <a:ext cx="96838" cy="42863"/>
            </a:xfrm>
            <a:prstGeom prst="line">
              <a:avLst/>
            </a:prstGeom>
            <a:grpFill/>
            <a:ln w="9525" cap="rnd">
              <a:solidFill>
                <a:schemeClr val="bg1"/>
              </a:solidFill>
              <a:prstDash val="solid"/>
              <a:round/>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grpSp>
      <p:grpSp>
        <p:nvGrpSpPr>
          <p:cNvPr id="38" name="Groupe 573"/>
          <p:cNvGrpSpPr/>
          <p:nvPr/>
        </p:nvGrpSpPr>
        <p:grpSpPr>
          <a:xfrm>
            <a:off x="8552946" y="1746970"/>
            <a:ext cx="378041" cy="702082"/>
            <a:chOff x="3952876" y="1790700"/>
            <a:chExt cx="177800" cy="330201"/>
          </a:xfrm>
          <a:noFill/>
        </p:grpSpPr>
        <p:sp>
          <p:nvSpPr>
            <p:cNvPr id="39" name="Freeform 423"/>
            <p:cNvSpPr>
              <a:spLocks/>
            </p:cNvSpPr>
            <p:nvPr/>
          </p:nvSpPr>
          <p:spPr bwMode="auto">
            <a:xfrm>
              <a:off x="3952876" y="1790700"/>
              <a:ext cx="177800" cy="330200"/>
            </a:xfrm>
            <a:custGeom>
              <a:avLst/>
              <a:gdLst/>
              <a:ahLst/>
              <a:cxnLst>
                <a:cxn ang="0">
                  <a:pos x="71" y="170"/>
                </a:cxn>
                <a:cxn ang="0">
                  <a:pos x="21" y="170"/>
                </a:cxn>
                <a:cxn ang="0">
                  <a:pos x="0" y="149"/>
                </a:cxn>
                <a:cxn ang="0">
                  <a:pos x="0" y="21"/>
                </a:cxn>
                <a:cxn ang="0">
                  <a:pos x="21" y="0"/>
                </a:cxn>
                <a:cxn ang="0">
                  <a:pos x="71" y="0"/>
                </a:cxn>
                <a:cxn ang="0">
                  <a:pos x="92" y="21"/>
                </a:cxn>
                <a:cxn ang="0">
                  <a:pos x="92" y="169"/>
                </a:cxn>
              </a:cxnLst>
              <a:rect l="0" t="0" r="r" b="b"/>
              <a:pathLst>
                <a:path w="92" h="170">
                  <a:moveTo>
                    <a:pt x="71" y="170"/>
                  </a:moveTo>
                  <a:cubicBezTo>
                    <a:pt x="21" y="170"/>
                    <a:pt x="21" y="170"/>
                    <a:pt x="21" y="170"/>
                  </a:cubicBezTo>
                  <a:cubicBezTo>
                    <a:pt x="9" y="170"/>
                    <a:pt x="0" y="160"/>
                    <a:pt x="0" y="149"/>
                  </a:cubicBezTo>
                  <a:cubicBezTo>
                    <a:pt x="0" y="21"/>
                    <a:pt x="0" y="21"/>
                    <a:pt x="0" y="21"/>
                  </a:cubicBezTo>
                  <a:cubicBezTo>
                    <a:pt x="0" y="9"/>
                    <a:pt x="9" y="0"/>
                    <a:pt x="21" y="0"/>
                  </a:cubicBezTo>
                  <a:cubicBezTo>
                    <a:pt x="71" y="0"/>
                    <a:pt x="71" y="0"/>
                    <a:pt x="71" y="0"/>
                  </a:cubicBezTo>
                  <a:cubicBezTo>
                    <a:pt x="83" y="0"/>
                    <a:pt x="92" y="9"/>
                    <a:pt x="92" y="21"/>
                  </a:cubicBezTo>
                  <a:cubicBezTo>
                    <a:pt x="92" y="169"/>
                    <a:pt x="92" y="169"/>
                    <a:pt x="92" y="169"/>
                  </a:cubicBezTo>
                </a:path>
              </a:pathLst>
            </a:custGeom>
            <a:grpFill/>
            <a:ln w="9525" cap="rnd">
              <a:solidFill>
                <a:schemeClr val="bg1"/>
              </a:solidFill>
              <a:prstDash val="solid"/>
              <a:round/>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endParaRPr>
            </a:p>
          </p:txBody>
        </p:sp>
        <p:sp>
          <p:nvSpPr>
            <p:cNvPr id="40" name="Freeform 424"/>
            <p:cNvSpPr>
              <a:spLocks/>
            </p:cNvSpPr>
            <p:nvPr/>
          </p:nvSpPr>
          <p:spPr bwMode="auto">
            <a:xfrm>
              <a:off x="3979863" y="1817688"/>
              <a:ext cx="123825" cy="303213"/>
            </a:xfrm>
            <a:custGeom>
              <a:avLst/>
              <a:gdLst/>
              <a:ahLst/>
              <a:cxnLst>
                <a:cxn ang="0">
                  <a:pos x="23" y="138"/>
                </a:cxn>
                <a:cxn ang="0">
                  <a:pos x="32" y="147"/>
                </a:cxn>
                <a:cxn ang="0">
                  <a:pos x="41" y="138"/>
                </a:cxn>
                <a:cxn ang="0">
                  <a:pos x="32" y="128"/>
                </a:cxn>
                <a:cxn ang="0">
                  <a:pos x="7" y="128"/>
                </a:cxn>
                <a:cxn ang="0">
                  <a:pos x="0" y="121"/>
                </a:cxn>
                <a:cxn ang="0">
                  <a:pos x="0" y="7"/>
                </a:cxn>
                <a:cxn ang="0">
                  <a:pos x="7" y="0"/>
                </a:cxn>
                <a:cxn ang="0">
                  <a:pos x="57" y="0"/>
                </a:cxn>
                <a:cxn ang="0">
                  <a:pos x="64" y="7"/>
                </a:cxn>
                <a:cxn ang="0">
                  <a:pos x="64" y="149"/>
                </a:cxn>
                <a:cxn ang="0">
                  <a:pos x="57" y="156"/>
                </a:cxn>
              </a:cxnLst>
              <a:rect l="0" t="0" r="r" b="b"/>
              <a:pathLst>
                <a:path w="64" h="156">
                  <a:moveTo>
                    <a:pt x="23" y="138"/>
                  </a:moveTo>
                  <a:cubicBezTo>
                    <a:pt x="23" y="143"/>
                    <a:pt x="27" y="147"/>
                    <a:pt x="32" y="147"/>
                  </a:cubicBezTo>
                  <a:cubicBezTo>
                    <a:pt x="37" y="147"/>
                    <a:pt x="41" y="143"/>
                    <a:pt x="41" y="138"/>
                  </a:cubicBezTo>
                  <a:cubicBezTo>
                    <a:pt x="41" y="133"/>
                    <a:pt x="37" y="128"/>
                    <a:pt x="32" y="128"/>
                  </a:cubicBezTo>
                  <a:cubicBezTo>
                    <a:pt x="7" y="128"/>
                    <a:pt x="7" y="128"/>
                    <a:pt x="7" y="128"/>
                  </a:cubicBezTo>
                  <a:cubicBezTo>
                    <a:pt x="3" y="128"/>
                    <a:pt x="0" y="125"/>
                    <a:pt x="0" y="121"/>
                  </a:cubicBezTo>
                  <a:cubicBezTo>
                    <a:pt x="0" y="7"/>
                    <a:pt x="0" y="7"/>
                    <a:pt x="0" y="7"/>
                  </a:cubicBezTo>
                  <a:cubicBezTo>
                    <a:pt x="0" y="3"/>
                    <a:pt x="3" y="0"/>
                    <a:pt x="7" y="0"/>
                  </a:cubicBezTo>
                  <a:cubicBezTo>
                    <a:pt x="57" y="0"/>
                    <a:pt x="57" y="0"/>
                    <a:pt x="57" y="0"/>
                  </a:cubicBezTo>
                  <a:cubicBezTo>
                    <a:pt x="61" y="0"/>
                    <a:pt x="64" y="3"/>
                    <a:pt x="64" y="7"/>
                  </a:cubicBezTo>
                  <a:cubicBezTo>
                    <a:pt x="64" y="149"/>
                    <a:pt x="64" y="149"/>
                    <a:pt x="64" y="149"/>
                  </a:cubicBezTo>
                  <a:cubicBezTo>
                    <a:pt x="64" y="153"/>
                    <a:pt x="61" y="156"/>
                    <a:pt x="57" y="156"/>
                  </a:cubicBezTo>
                </a:path>
              </a:pathLst>
            </a:custGeom>
            <a:grpFill/>
            <a:ln w="9525" cap="rnd">
              <a:solidFill>
                <a:schemeClr val="bg1"/>
              </a:solidFill>
              <a:prstDash val="solid"/>
              <a:round/>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endParaRPr>
            </a:p>
          </p:txBody>
        </p:sp>
      </p:grpSp>
      <p:sp>
        <p:nvSpPr>
          <p:cNvPr id="41" name="Freeform 582"/>
          <p:cNvSpPr>
            <a:spLocks noChangeAspect="1" noEditPoints="1"/>
          </p:cNvSpPr>
          <p:nvPr/>
        </p:nvSpPr>
        <p:spPr bwMode="auto">
          <a:xfrm>
            <a:off x="4596023" y="1735474"/>
            <a:ext cx="517131" cy="728118"/>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noFill/>
          <a:ln w="9525" cap="rnd">
            <a:solidFill>
              <a:schemeClr val="bg1"/>
            </a:solidFill>
            <a:prstDash val="solid"/>
            <a:round/>
            <a:headEnd/>
            <a:tailEnd/>
          </a:ln>
        </p:spPr>
        <p:txBody>
          <a:bodyPr vert="horz" wrap="square" lIns="91435" tIns="45718" rIns="91435" bIns="45718" numCol="1" anchor="t" anchorCtr="0" compatLnSpc="1">
            <a:prstTxWarp prst="textNoShape">
              <a:avLst/>
            </a:prstTxWarp>
          </a:bodyPr>
          <a:lstStyle/>
          <a:p>
            <a:pPr defTabSz="914263"/>
            <a:endParaRPr lang="en-GB" dirty="0">
              <a:solidFill>
                <a:srgbClr val="263147"/>
              </a:solidFill>
              <a:sym typeface="Calibri"/>
            </a:endParaRPr>
          </a:p>
        </p:txBody>
      </p:sp>
      <p:grpSp>
        <p:nvGrpSpPr>
          <p:cNvPr id="42" name="Groupe 581"/>
          <p:cNvGrpSpPr/>
          <p:nvPr/>
        </p:nvGrpSpPr>
        <p:grpSpPr>
          <a:xfrm>
            <a:off x="6576600" y="1764599"/>
            <a:ext cx="604245" cy="662622"/>
            <a:chOff x="1604964" y="3111501"/>
            <a:chExt cx="328613" cy="360362"/>
          </a:xfrm>
          <a:noFill/>
        </p:grpSpPr>
        <p:sp>
          <p:nvSpPr>
            <p:cNvPr id="43" name="Freeform 266"/>
            <p:cNvSpPr>
              <a:spLocks/>
            </p:cNvSpPr>
            <p:nvPr/>
          </p:nvSpPr>
          <p:spPr bwMode="auto">
            <a:xfrm>
              <a:off x="1604964" y="3192463"/>
              <a:ext cx="247650" cy="238125"/>
            </a:xfrm>
            <a:custGeom>
              <a:avLst/>
              <a:gdLst/>
              <a:ahLst/>
              <a:cxnLst>
                <a:cxn ang="0">
                  <a:pos x="106" y="105"/>
                </a:cxn>
                <a:cxn ang="0">
                  <a:pos x="0" y="105"/>
                </a:cxn>
                <a:cxn ang="0">
                  <a:pos x="0" y="32"/>
                </a:cxn>
                <a:cxn ang="0">
                  <a:pos x="156" y="0"/>
                </a:cxn>
                <a:cxn ang="0">
                  <a:pos x="123" y="150"/>
                </a:cxn>
              </a:cxnLst>
              <a:rect l="0" t="0" r="r" b="b"/>
              <a:pathLst>
                <a:path w="156" h="150">
                  <a:moveTo>
                    <a:pt x="106" y="105"/>
                  </a:moveTo>
                  <a:lnTo>
                    <a:pt x="0" y="105"/>
                  </a:lnTo>
                  <a:lnTo>
                    <a:pt x="0" y="32"/>
                  </a:lnTo>
                  <a:lnTo>
                    <a:pt x="156" y="0"/>
                  </a:lnTo>
                  <a:lnTo>
                    <a:pt x="123" y="150"/>
                  </a:lnTo>
                </a:path>
              </a:pathLst>
            </a:custGeom>
            <a:grpFill/>
            <a:ln w="9525" cap="rnd">
              <a:solidFill>
                <a:schemeClr val="bg1"/>
              </a:solidFill>
              <a:prstDash val="solid"/>
              <a:round/>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sp>
          <p:nvSpPr>
            <p:cNvPr id="44" name="Freeform 267"/>
            <p:cNvSpPr>
              <a:spLocks/>
            </p:cNvSpPr>
            <p:nvPr/>
          </p:nvSpPr>
          <p:spPr bwMode="auto">
            <a:xfrm>
              <a:off x="1852614" y="3133726"/>
              <a:ext cx="80963" cy="58738"/>
            </a:xfrm>
            <a:custGeom>
              <a:avLst/>
              <a:gdLst/>
              <a:ahLst/>
              <a:cxnLst>
                <a:cxn ang="0">
                  <a:pos x="0" y="37"/>
                </a:cxn>
                <a:cxn ang="0">
                  <a:pos x="6" y="7"/>
                </a:cxn>
                <a:cxn ang="0">
                  <a:pos x="51" y="0"/>
                </a:cxn>
              </a:cxnLst>
              <a:rect l="0" t="0" r="r" b="b"/>
              <a:pathLst>
                <a:path w="51" h="37">
                  <a:moveTo>
                    <a:pt x="0" y="37"/>
                  </a:moveTo>
                  <a:lnTo>
                    <a:pt x="6" y="7"/>
                  </a:lnTo>
                  <a:lnTo>
                    <a:pt x="51" y="0"/>
                  </a:lnTo>
                </a:path>
              </a:pathLst>
            </a:custGeom>
            <a:grpFill/>
            <a:ln w="9525" cap="rnd">
              <a:solidFill>
                <a:schemeClr val="bg1"/>
              </a:solidFill>
              <a:prstDash val="solid"/>
              <a:round/>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sp>
          <p:nvSpPr>
            <p:cNvPr id="45" name="Freeform 268"/>
            <p:cNvSpPr>
              <a:spLocks/>
            </p:cNvSpPr>
            <p:nvPr/>
          </p:nvSpPr>
          <p:spPr bwMode="auto">
            <a:xfrm>
              <a:off x="1627189" y="3162301"/>
              <a:ext cx="77788" cy="71438"/>
            </a:xfrm>
            <a:custGeom>
              <a:avLst/>
              <a:gdLst/>
              <a:ahLst/>
              <a:cxnLst>
                <a:cxn ang="0">
                  <a:pos x="10" y="45"/>
                </a:cxn>
                <a:cxn ang="0">
                  <a:pos x="0" y="11"/>
                </a:cxn>
                <a:cxn ang="0">
                  <a:pos x="38" y="0"/>
                </a:cxn>
                <a:cxn ang="0">
                  <a:pos x="49" y="37"/>
                </a:cxn>
              </a:cxnLst>
              <a:rect l="0" t="0" r="r" b="b"/>
              <a:pathLst>
                <a:path w="49" h="45">
                  <a:moveTo>
                    <a:pt x="10" y="45"/>
                  </a:moveTo>
                  <a:lnTo>
                    <a:pt x="0" y="11"/>
                  </a:lnTo>
                  <a:lnTo>
                    <a:pt x="38" y="0"/>
                  </a:lnTo>
                  <a:lnTo>
                    <a:pt x="49" y="37"/>
                  </a:lnTo>
                </a:path>
              </a:pathLst>
            </a:custGeom>
            <a:grpFill/>
            <a:ln w="9525" cap="rnd">
              <a:solidFill>
                <a:schemeClr val="bg1"/>
              </a:solidFill>
              <a:prstDash val="solid"/>
              <a:round/>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sp>
          <p:nvSpPr>
            <p:cNvPr id="46" name="Freeform 269"/>
            <p:cNvSpPr>
              <a:spLocks/>
            </p:cNvSpPr>
            <p:nvPr/>
          </p:nvSpPr>
          <p:spPr bwMode="auto">
            <a:xfrm>
              <a:off x="1785939" y="3430588"/>
              <a:ext cx="41275" cy="41275"/>
            </a:xfrm>
            <a:custGeom>
              <a:avLst/>
              <a:gdLst/>
              <a:ahLst/>
              <a:cxnLst>
                <a:cxn ang="0">
                  <a:pos x="11" y="0"/>
                </a:cxn>
                <a:cxn ang="0">
                  <a:pos x="21" y="11"/>
                </a:cxn>
                <a:cxn ang="0">
                  <a:pos x="11" y="21"/>
                </a:cxn>
                <a:cxn ang="0">
                  <a:pos x="0" y="11"/>
                </a:cxn>
                <a:cxn ang="0">
                  <a:pos x="0" y="9"/>
                </a:cxn>
              </a:cxnLst>
              <a:rect l="0" t="0" r="r" b="b"/>
              <a:pathLst>
                <a:path w="21" h="21">
                  <a:moveTo>
                    <a:pt x="11" y="0"/>
                  </a:moveTo>
                  <a:cubicBezTo>
                    <a:pt x="17" y="0"/>
                    <a:pt x="21" y="5"/>
                    <a:pt x="21" y="11"/>
                  </a:cubicBezTo>
                  <a:cubicBezTo>
                    <a:pt x="21" y="16"/>
                    <a:pt x="17" y="21"/>
                    <a:pt x="11" y="21"/>
                  </a:cubicBezTo>
                  <a:cubicBezTo>
                    <a:pt x="5" y="21"/>
                    <a:pt x="0" y="16"/>
                    <a:pt x="0" y="11"/>
                  </a:cubicBezTo>
                  <a:cubicBezTo>
                    <a:pt x="0" y="10"/>
                    <a:pt x="0" y="10"/>
                    <a:pt x="0" y="9"/>
                  </a:cubicBezTo>
                </a:path>
              </a:pathLst>
            </a:custGeom>
            <a:grpFill/>
            <a:ln w="9525" cap="rnd">
              <a:solidFill>
                <a:schemeClr val="bg1"/>
              </a:solidFill>
              <a:prstDash val="solid"/>
              <a:round/>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sp>
          <p:nvSpPr>
            <p:cNvPr id="47" name="Freeform 270"/>
            <p:cNvSpPr>
              <a:spLocks/>
            </p:cNvSpPr>
            <p:nvPr/>
          </p:nvSpPr>
          <p:spPr bwMode="auto">
            <a:xfrm>
              <a:off x="1604964" y="3430588"/>
              <a:ext cx="39688" cy="41275"/>
            </a:xfrm>
            <a:custGeom>
              <a:avLst/>
              <a:gdLst/>
              <a:ahLst/>
              <a:cxnLst>
                <a:cxn ang="0">
                  <a:pos x="10" y="0"/>
                </a:cxn>
                <a:cxn ang="0">
                  <a:pos x="0" y="11"/>
                </a:cxn>
                <a:cxn ang="0">
                  <a:pos x="10" y="21"/>
                </a:cxn>
                <a:cxn ang="0">
                  <a:pos x="21" y="11"/>
                </a:cxn>
                <a:cxn ang="0">
                  <a:pos x="21" y="9"/>
                </a:cxn>
              </a:cxnLst>
              <a:rect l="0" t="0" r="r" b="b"/>
              <a:pathLst>
                <a:path w="21" h="21">
                  <a:moveTo>
                    <a:pt x="10" y="0"/>
                  </a:moveTo>
                  <a:cubicBezTo>
                    <a:pt x="4" y="0"/>
                    <a:pt x="0" y="5"/>
                    <a:pt x="0" y="11"/>
                  </a:cubicBezTo>
                  <a:cubicBezTo>
                    <a:pt x="0" y="16"/>
                    <a:pt x="4" y="21"/>
                    <a:pt x="10" y="21"/>
                  </a:cubicBezTo>
                  <a:cubicBezTo>
                    <a:pt x="16" y="21"/>
                    <a:pt x="21" y="16"/>
                    <a:pt x="21" y="11"/>
                  </a:cubicBezTo>
                  <a:cubicBezTo>
                    <a:pt x="21" y="10"/>
                    <a:pt x="21" y="10"/>
                    <a:pt x="21" y="9"/>
                  </a:cubicBezTo>
                </a:path>
              </a:pathLst>
            </a:custGeom>
            <a:grpFill/>
            <a:ln w="9525" cap="rnd">
              <a:solidFill>
                <a:schemeClr val="bg1"/>
              </a:solidFill>
              <a:prstDash val="solid"/>
              <a:round/>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sp>
          <p:nvSpPr>
            <p:cNvPr id="48" name="Line 271"/>
            <p:cNvSpPr>
              <a:spLocks noChangeShapeType="1"/>
            </p:cNvSpPr>
            <p:nvPr/>
          </p:nvSpPr>
          <p:spPr bwMode="auto">
            <a:xfrm>
              <a:off x="1624014" y="3430588"/>
              <a:ext cx="184150" cy="1588"/>
            </a:xfrm>
            <a:prstGeom prst="line">
              <a:avLst/>
            </a:prstGeom>
            <a:grpFill/>
            <a:ln w="9525" cap="rnd">
              <a:solidFill>
                <a:schemeClr val="bg1"/>
              </a:solidFill>
              <a:prstDash val="solid"/>
              <a:round/>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sp>
          <p:nvSpPr>
            <p:cNvPr id="49" name="Freeform 272"/>
            <p:cNvSpPr>
              <a:spLocks/>
            </p:cNvSpPr>
            <p:nvPr/>
          </p:nvSpPr>
          <p:spPr bwMode="auto">
            <a:xfrm>
              <a:off x="1698626" y="3144838"/>
              <a:ext cx="84138" cy="65088"/>
            </a:xfrm>
            <a:custGeom>
              <a:avLst/>
              <a:gdLst/>
              <a:ahLst/>
              <a:cxnLst>
                <a:cxn ang="0">
                  <a:pos x="0" y="31"/>
                </a:cxn>
                <a:cxn ang="0">
                  <a:pos x="19" y="0"/>
                </a:cxn>
                <a:cxn ang="0">
                  <a:pos x="53" y="19"/>
                </a:cxn>
                <a:cxn ang="0">
                  <a:pos x="41" y="41"/>
                </a:cxn>
              </a:cxnLst>
              <a:rect l="0" t="0" r="r" b="b"/>
              <a:pathLst>
                <a:path w="53" h="41">
                  <a:moveTo>
                    <a:pt x="0" y="31"/>
                  </a:moveTo>
                  <a:lnTo>
                    <a:pt x="19" y="0"/>
                  </a:lnTo>
                  <a:lnTo>
                    <a:pt x="53" y="19"/>
                  </a:lnTo>
                  <a:lnTo>
                    <a:pt x="41" y="41"/>
                  </a:lnTo>
                </a:path>
              </a:pathLst>
            </a:custGeom>
            <a:grpFill/>
            <a:ln w="9525" cap="rnd">
              <a:solidFill>
                <a:schemeClr val="bg1"/>
              </a:solidFill>
              <a:prstDash val="solid"/>
              <a:round/>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sp>
          <p:nvSpPr>
            <p:cNvPr id="50" name="Freeform 273"/>
            <p:cNvSpPr>
              <a:spLocks/>
            </p:cNvSpPr>
            <p:nvPr/>
          </p:nvSpPr>
          <p:spPr bwMode="auto">
            <a:xfrm>
              <a:off x="1754189" y="3119438"/>
              <a:ext cx="87313" cy="74613"/>
            </a:xfrm>
            <a:custGeom>
              <a:avLst/>
              <a:gdLst/>
              <a:ahLst/>
              <a:cxnLst>
                <a:cxn ang="0">
                  <a:pos x="2" y="27"/>
                </a:cxn>
                <a:cxn ang="0">
                  <a:pos x="0" y="7"/>
                </a:cxn>
                <a:cxn ang="0">
                  <a:pos x="47" y="0"/>
                </a:cxn>
                <a:cxn ang="0">
                  <a:pos x="55" y="47"/>
                </a:cxn>
              </a:cxnLst>
              <a:rect l="0" t="0" r="r" b="b"/>
              <a:pathLst>
                <a:path w="55" h="47">
                  <a:moveTo>
                    <a:pt x="2" y="27"/>
                  </a:moveTo>
                  <a:lnTo>
                    <a:pt x="0" y="7"/>
                  </a:lnTo>
                  <a:lnTo>
                    <a:pt x="47" y="0"/>
                  </a:lnTo>
                  <a:lnTo>
                    <a:pt x="55" y="47"/>
                  </a:lnTo>
                </a:path>
              </a:pathLst>
            </a:custGeom>
            <a:grpFill/>
            <a:ln w="9525" cap="rnd">
              <a:solidFill>
                <a:schemeClr val="bg1"/>
              </a:solidFill>
              <a:prstDash val="solid"/>
              <a:round/>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sp>
          <p:nvSpPr>
            <p:cNvPr id="51" name="Freeform 274"/>
            <p:cNvSpPr>
              <a:spLocks/>
            </p:cNvSpPr>
            <p:nvPr/>
          </p:nvSpPr>
          <p:spPr bwMode="auto">
            <a:xfrm>
              <a:off x="1676401" y="3111501"/>
              <a:ext cx="79375" cy="50800"/>
            </a:xfrm>
            <a:custGeom>
              <a:avLst/>
              <a:gdLst/>
              <a:ahLst/>
              <a:cxnLst>
                <a:cxn ang="0">
                  <a:pos x="0" y="26"/>
                </a:cxn>
                <a:cxn ang="0">
                  <a:pos x="0" y="0"/>
                </a:cxn>
                <a:cxn ang="0">
                  <a:pos x="41" y="0"/>
                </a:cxn>
                <a:cxn ang="0">
                  <a:pos x="41" y="9"/>
                </a:cxn>
              </a:cxnLst>
              <a:rect l="0" t="0" r="r" b="b"/>
              <a:pathLst>
                <a:path w="41" h="26">
                  <a:moveTo>
                    <a:pt x="0" y="26"/>
                  </a:moveTo>
                  <a:cubicBezTo>
                    <a:pt x="0" y="0"/>
                    <a:pt x="0" y="0"/>
                    <a:pt x="0" y="0"/>
                  </a:cubicBezTo>
                  <a:cubicBezTo>
                    <a:pt x="41" y="0"/>
                    <a:pt x="41" y="0"/>
                    <a:pt x="41" y="0"/>
                  </a:cubicBezTo>
                  <a:cubicBezTo>
                    <a:pt x="41" y="3"/>
                    <a:pt x="41" y="7"/>
                    <a:pt x="41" y="9"/>
                  </a:cubicBezTo>
                </a:path>
              </a:pathLst>
            </a:custGeom>
            <a:grpFill/>
            <a:ln w="9525" cap="rnd">
              <a:solidFill>
                <a:schemeClr val="bg1"/>
              </a:solidFill>
              <a:prstDash val="solid"/>
              <a:round/>
              <a:headEnd/>
              <a:tailEnd/>
            </a:ln>
          </p:spPr>
          <p:txBody>
            <a:bodyPr vert="horz" wrap="square" lIns="91435" tIns="45718" rIns="91435" bIns="45718" numCol="1" anchor="t" anchorCtr="0" compatLnSpc="1">
              <a:prstTxWarp prst="textNoShape">
                <a:avLst/>
              </a:prstTxWarp>
            </a:bodyPr>
            <a:lstStyle/>
            <a:p>
              <a:pPr defTabSz="914263"/>
              <a:endParaRPr lang="en-GB" sz="600" dirty="0">
                <a:solidFill>
                  <a:srgbClr val="263147"/>
                </a:solidFill>
                <a:cs typeface="Arial" pitchFamily="34" charset="0"/>
                <a:sym typeface="Calibri"/>
              </a:endParaRPr>
            </a:p>
          </p:txBody>
        </p:sp>
      </p:grpSp>
      <p:sp>
        <p:nvSpPr>
          <p:cNvPr id="53" name="Rectangle 52"/>
          <p:cNvSpPr/>
          <p:nvPr/>
        </p:nvSpPr>
        <p:spPr>
          <a:xfrm>
            <a:off x="332800" y="3316323"/>
            <a:ext cx="11523628" cy="404666"/>
          </a:xfrm>
          <a:prstGeom prst="rect">
            <a:avLst/>
          </a:prstGeom>
          <a:solidFill>
            <a:schemeClr val="accent5">
              <a:lumMod val="75000"/>
            </a:schemeClr>
          </a:solidFill>
        </p:spPr>
        <p:txBody>
          <a:bodyPr wrap="square" anchor="ctr" anchorCtr="0">
            <a:noAutofit/>
          </a:bodyPr>
          <a:lstStyle/>
          <a:p>
            <a:pPr marL="14326" marR="5730" algn="ctr" defTabSz="914263">
              <a:lnSpc>
                <a:spcPct val="107200"/>
              </a:lnSpc>
            </a:pPr>
            <a:r>
              <a:rPr lang="en-GB" b="1" dirty="0">
                <a:solidFill>
                  <a:prstClr val="white"/>
                </a:solidFill>
                <a:ea typeface="Segoe UI Black" panose="020B0A02040204020203" pitchFamily="34" charset="0"/>
                <a:cs typeface="Segoe UI Black" panose="020B0A02040204020203" pitchFamily="34" charset="0"/>
              </a:rPr>
              <a:t>Technology Landscape</a:t>
            </a:r>
          </a:p>
        </p:txBody>
      </p:sp>
      <p:sp>
        <p:nvSpPr>
          <p:cNvPr id="54" name="Rectangle 53"/>
          <p:cNvSpPr/>
          <p:nvPr/>
        </p:nvSpPr>
        <p:spPr>
          <a:xfrm>
            <a:off x="340652" y="3724782"/>
            <a:ext cx="11525936" cy="1068032"/>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3"/>
            <a:endParaRPr lang="en-GB" sz="1400" dirty="0">
              <a:solidFill>
                <a:prstClr val="white"/>
              </a:solidFill>
            </a:endParaRPr>
          </a:p>
        </p:txBody>
      </p:sp>
      <p:pic>
        <p:nvPicPr>
          <p:cNvPr id="55" name="Picture 54" descr="pega.jpg"/>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524827" y="3784541"/>
            <a:ext cx="1038673" cy="612199"/>
          </a:xfrm>
          <a:prstGeom prst="rect">
            <a:avLst/>
          </a:prstGeom>
          <a:noFill/>
          <a:ln>
            <a:noFill/>
          </a:ln>
        </p:spPr>
      </p:pic>
      <p:pic>
        <p:nvPicPr>
          <p:cNvPr id="56" name="Picture 2" descr="Image result for adobe logo png"/>
          <p:cNvPicPr>
            <a:picLocks noChangeAspect="1" noChangeArrowheads="1"/>
          </p:cNvPicPr>
          <p:nvPr/>
        </p:nvPicPr>
        <p:blipFill>
          <a:blip r:embed="rId4" cstate="print"/>
          <a:srcRect/>
          <a:stretch>
            <a:fillRect/>
          </a:stretch>
        </p:blipFill>
        <p:spPr bwMode="auto">
          <a:xfrm>
            <a:off x="7600438" y="3802809"/>
            <a:ext cx="598576" cy="598576"/>
          </a:xfrm>
          <a:prstGeom prst="rect">
            <a:avLst/>
          </a:prstGeom>
          <a:noFill/>
        </p:spPr>
      </p:pic>
      <p:pic>
        <p:nvPicPr>
          <p:cNvPr id="57" name="Picture 8" descr="Image result for sales force logo png"/>
          <p:cNvPicPr>
            <a:picLocks noChangeAspect="1" noChangeArrowheads="1"/>
          </p:cNvPicPr>
          <p:nvPr/>
        </p:nvPicPr>
        <p:blipFill>
          <a:blip r:embed="rId5" cstate="print"/>
          <a:srcRect/>
          <a:stretch>
            <a:fillRect/>
          </a:stretch>
        </p:blipFill>
        <p:spPr bwMode="auto">
          <a:xfrm>
            <a:off x="2786242" y="3813931"/>
            <a:ext cx="790206" cy="553420"/>
          </a:xfrm>
          <a:prstGeom prst="rect">
            <a:avLst/>
          </a:prstGeom>
          <a:noFill/>
        </p:spPr>
      </p:pic>
      <p:pic>
        <p:nvPicPr>
          <p:cNvPr id="58" name="Picture 5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872616" y="3895412"/>
            <a:ext cx="1568806" cy="390460"/>
          </a:xfrm>
          <a:prstGeom prst="rect">
            <a:avLst/>
          </a:prstGeom>
        </p:spPr>
      </p:pic>
      <p:sp>
        <p:nvSpPr>
          <p:cNvPr id="59" name="Rounded Rectangle 106"/>
          <p:cNvSpPr/>
          <p:nvPr/>
        </p:nvSpPr>
        <p:spPr>
          <a:xfrm>
            <a:off x="2246878" y="4394618"/>
            <a:ext cx="1690233" cy="220154"/>
          </a:xfrm>
          <a:prstGeom prst="roundRect">
            <a:avLst>
              <a:gd name="adj" fmla="val 4806"/>
            </a:avLst>
          </a:prstGeom>
          <a:noFill/>
          <a:ln w="22225" cap="flat" cmpd="sng" algn="ctr">
            <a:noFill/>
            <a:prstDash val="solid"/>
          </a:ln>
          <a:effectLst/>
        </p:spPr>
        <p:txBody>
          <a:bodyPr wrap="square" tIns="27431">
            <a:noAutofit/>
          </a:bodyPr>
          <a:lstStyle/>
          <a:p>
            <a:pPr algn="ctr" defTabSz="957612">
              <a:defRPr/>
            </a:pPr>
            <a:r>
              <a:rPr lang="en-US" sz="1050" i="1" kern="0" dirty="0">
                <a:solidFill>
                  <a:srgbClr val="000000"/>
                </a:solidFill>
              </a:rPr>
              <a:t>Leader in Customer Engagement platform</a:t>
            </a:r>
          </a:p>
        </p:txBody>
      </p:sp>
      <p:sp>
        <p:nvSpPr>
          <p:cNvPr id="60" name="Rounded Rectangle 106"/>
          <p:cNvSpPr/>
          <p:nvPr/>
        </p:nvSpPr>
        <p:spPr>
          <a:xfrm>
            <a:off x="8791249" y="4394617"/>
            <a:ext cx="2983904" cy="320804"/>
          </a:xfrm>
          <a:prstGeom prst="roundRect">
            <a:avLst>
              <a:gd name="adj" fmla="val 4806"/>
            </a:avLst>
          </a:prstGeom>
          <a:noFill/>
          <a:ln w="22225" cap="flat" cmpd="sng" algn="ctr">
            <a:noFill/>
            <a:prstDash val="solid"/>
          </a:ln>
          <a:effectLst/>
        </p:spPr>
        <p:txBody>
          <a:bodyPr wrap="square" tIns="27431">
            <a:noAutofit/>
          </a:bodyPr>
          <a:lstStyle/>
          <a:p>
            <a:pPr algn="ctr" defTabSz="957612">
              <a:defRPr/>
            </a:pPr>
            <a:r>
              <a:rPr lang="en-US" sz="1050" i="1" kern="0" dirty="0">
                <a:solidFill>
                  <a:srgbClr val="000000"/>
                </a:solidFill>
              </a:rPr>
              <a:t>Leader in connecting Customer journeys with processes &amp; decision automation</a:t>
            </a:r>
          </a:p>
        </p:txBody>
      </p:sp>
      <p:sp>
        <p:nvSpPr>
          <p:cNvPr id="61" name="Rounded Rectangle 106"/>
          <p:cNvSpPr/>
          <p:nvPr/>
        </p:nvSpPr>
        <p:spPr>
          <a:xfrm>
            <a:off x="4658434" y="4394617"/>
            <a:ext cx="1999431" cy="549164"/>
          </a:xfrm>
          <a:prstGeom prst="roundRect">
            <a:avLst>
              <a:gd name="adj" fmla="val 4806"/>
            </a:avLst>
          </a:prstGeom>
          <a:noFill/>
          <a:ln w="22225" cap="flat" cmpd="sng" algn="ctr">
            <a:noFill/>
            <a:prstDash val="solid"/>
          </a:ln>
          <a:effectLst/>
        </p:spPr>
        <p:txBody>
          <a:bodyPr wrap="square" tIns="27431">
            <a:noAutofit/>
          </a:bodyPr>
          <a:lstStyle/>
          <a:p>
            <a:pPr algn="ctr" defTabSz="957612">
              <a:defRPr/>
            </a:pPr>
            <a:r>
              <a:rPr lang="en-US" sz="1050" i="1" kern="0" dirty="0">
                <a:solidFill>
                  <a:srgbClr val="000000"/>
                </a:solidFill>
              </a:rPr>
              <a:t>Leader in Digital Commerce</a:t>
            </a:r>
          </a:p>
        </p:txBody>
      </p:sp>
      <p:sp>
        <p:nvSpPr>
          <p:cNvPr id="62" name="TextBox 61"/>
          <p:cNvSpPr txBox="1"/>
          <p:nvPr/>
        </p:nvSpPr>
        <p:spPr>
          <a:xfrm>
            <a:off x="295154" y="3863694"/>
            <a:ext cx="1682277" cy="738664"/>
          </a:xfrm>
          <a:prstGeom prst="rect">
            <a:avLst/>
          </a:prstGeom>
          <a:noFill/>
        </p:spPr>
        <p:txBody>
          <a:bodyPr wrap="square" rtlCol="0">
            <a:spAutoFit/>
          </a:bodyPr>
          <a:lstStyle/>
          <a:p>
            <a:pPr defTabSz="914263"/>
            <a:r>
              <a:rPr lang="en-US" sz="1400" b="1" dirty="0">
                <a:solidFill>
                  <a:srgbClr val="0098C7">
                    <a:lumMod val="75000"/>
                  </a:srgbClr>
                </a:solidFill>
              </a:rPr>
              <a:t>4 DCX </a:t>
            </a:r>
          </a:p>
          <a:p>
            <a:pPr defTabSz="914263"/>
            <a:r>
              <a:rPr lang="en-US" sz="1400" b="1" dirty="0">
                <a:solidFill>
                  <a:srgbClr val="0098C7">
                    <a:lumMod val="75000"/>
                  </a:srgbClr>
                </a:solidFill>
              </a:rPr>
              <a:t>Focused</a:t>
            </a:r>
          </a:p>
          <a:p>
            <a:pPr defTabSz="914263"/>
            <a:r>
              <a:rPr lang="en-US" sz="1400" b="1" dirty="0">
                <a:solidFill>
                  <a:srgbClr val="0098C7">
                    <a:lumMod val="75000"/>
                  </a:srgbClr>
                </a:solidFill>
              </a:rPr>
              <a:t>Technologies</a:t>
            </a:r>
          </a:p>
        </p:txBody>
      </p:sp>
      <p:sp>
        <p:nvSpPr>
          <p:cNvPr id="63" name="Rounded Rectangle 106"/>
          <p:cNvSpPr/>
          <p:nvPr/>
        </p:nvSpPr>
        <p:spPr>
          <a:xfrm>
            <a:off x="6913840" y="4394617"/>
            <a:ext cx="1999431" cy="549164"/>
          </a:xfrm>
          <a:prstGeom prst="roundRect">
            <a:avLst>
              <a:gd name="adj" fmla="val 4806"/>
            </a:avLst>
          </a:prstGeom>
          <a:noFill/>
          <a:ln w="22225" cap="flat" cmpd="sng" algn="ctr">
            <a:noFill/>
            <a:prstDash val="solid"/>
          </a:ln>
          <a:effectLst/>
        </p:spPr>
        <p:txBody>
          <a:bodyPr wrap="square" tIns="27431">
            <a:noAutofit/>
          </a:bodyPr>
          <a:lstStyle/>
          <a:p>
            <a:pPr algn="ctr" defTabSz="957612">
              <a:defRPr/>
            </a:pPr>
            <a:r>
              <a:rPr lang="en-US" sz="1050" i="1" kern="0" dirty="0">
                <a:solidFill>
                  <a:srgbClr val="000000"/>
                </a:solidFill>
              </a:rPr>
              <a:t>Leader in Content experience and Marketing solutions</a:t>
            </a:r>
          </a:p>
        </p:txBody>
      </p:sp>
      <p:pic>
        <p:nvPicPr>
          <p:cNvPr id="64" name="Picture 63" descr="HTML5.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848451" y="5016721"/>
            <a:ext cx="460728" cy="460728"/>
          </a:xfrm>
          <a:prstGeom prst="rect">
            <a:avLst/>
          </a:prstGeom>
          <a:noFill/>
          <a:ln>
            <a:noFill/>
          </a:ln>
        </p:spPr>
      </p:pic>
      <p:pic>
        <p:nvPicPr>
          <p:cNvPr id="65" name="Picture 2"/>
          <p:cNvPicPr>
            <a:picLocks noChangeAspect="1" noChangeArrowheads="1"/>
          </p:cNvPicPr>
          <p:nvPr/>
        </p:nvPicPr>
        <p:blipFill>
          <a:blip r:embed="rId8" cstate="screen">
            <a:extLst>
              <a:ext uri="{28A0092B-C50C-407E-A947-70E740481C1C}">
                <a14:useLocalDpi xmlns:a14="http://schemas.microsoft.com/office/drawing/2010/main"/>
              </a:ext>
            </a:extLst>
          </a:blip>
          <a:stretch>
            <a:fillRect/>
          </a:stretch>
        </p:blipFill>
        <p:spPr bwMode="auto">
          <a:xfrm>
            <a:off x="8453888" y="5620564"/>
            <a:ext cx="906213" cy="212955"/>
          </a:xfrm>
          <a:prstGeom prst="rect">
            <a:avLst/>
          </a:prstGeom>
          <a:noFill/>
          <a:ln>
            <a:noFill/>
          </a:ln>
        </p:spPr>
      </p:pic>
      <p:pic>
        <p:nvPicPr>
          <p:cNvPr id="67" name="Picture 2" descr="C:\Documents and Settings\paigansu\My Documents\My Pictures\Liferay.jpg"/>
          <p:cNvPicPr>
            <a:picLocks noChangeAspect="1" noChangeArrowheads="1"/>
          </p:cNvPicPr>
          <p:nvPr/>
        </p:nvPicPr>
        <p:blipFill>
          <a:blip r:embed="rId9" cstate="print"/>
          <a:stretch>
            <a:fillRect/>
          </a:stretch>
        </p:blipFill>
        <p:spPr bwMode="auto">
          <a:xfrm>
            <a:off x="4461047" y="5621762"/>
            <a:ext cx="793902" cy="213177"/>
          </a:xfrm>
          <a:prstGeom prst="rect">
            <a:avLst/>
          </a:prstGeom>
          <a:noFill/>
          <a:ln>
            <a:noFill/>
          </a:ln>
        </p:spPr>
      </p:pic>
      <p:pic>
        <p:nvPicPr>
          <p:cNvPr id="68" name="Picture 8" descr="http://sparsity-technologies.com/blog/wp-content/uploads/2014/07/apple-logo-01.png"/>
          <p:cNvPicPr>
            <a:picLocks noChangeAspect="1" noChangeArrowheads="1"/>
          </p:cNvPicPr>
          <p:nvPr/>
        </p:nvPicPr>
        <p:blipFill>
          <a:blip r:embed="rId10" cstate="screen">
            <a:extLst>
              <a:ext uri="{28A0092B-C50C-407E-A947-70E740481C1C}">
                <a14:useLocalDpi xmlns:a14="http://schemas.microsoft.com/office/drawing/2010/main"/>
              </a:ext>
            </a:extLst>
          </a:blip>
          <a:stretch>
            <a:fillRect/>
          </a:stretch>
        </p:blipFill>
        <p:spPr bwMode="auto">
          <a:xfrm>
            <a:off x="4891233" y="4972227"/>
            <a:ext cx="549717" cy="549717"/>
          </a:xfrm>
          <a:prstGeom prst="rect">
            <a:avLst/>
          </a:prstGeom>
          <a:noFill/>
          <a:ln>
            <a:noFill/>
          </a:ln>
        </p:spPr>
      </p:pic>
      <p:pic>
        <p:nvPicPr>
          <p:cNvPr id="69" name="Picture 6" descr="Android Logo"/>
          <p:cNvPicPr>
            <a:picLocks noChangeAspect="1" noChangeArrowheads="1"/>
          </p:cNvPicPr>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auto">
          <a:xfrm>
            <a:off x="7581143" y="5021459"/>
            <a:ext cx="536489" cy="451251"/>
          </a:xfrm>
          <a:prstGeom prst="rect">
            <a:avLst/>
          </a:prstGeom>
          <a:noFill/>
          <a:ln>
            <a:noFill/>
          </a:ln>
        </p:spPr>
      </p:pic>
      <p:pic>
        <p:nvPicPr>
          <p:cNvPr id="70" name="Picture 2" descr="http://mhealthwatch.com/wp-content/uploads/2012/01/Independence-Blue-Cross-Announces-Partnership-with-Kony-Solutions-for-Mobile-App-Strategy.jpg"/>
          <p:cNvPicPr>
            <a:picLocks noChangeAspect="1" noChangeArrowheads="1"/>
          </p:cNvPicPr>
          <p:nvPr/>
        </p:nvPicPr>
        <p:blipFill>
          <a:blip r:embed="rId1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auto">
          <a:xfrm>
            <a:off x="6171769" y="5078703"/>
            <a:ext cx="678555" cy="336764"/>
          </a:xfrm>
          <a:prstGeom prst="rect">
            <a:avLst/>
          </a:prstGeom>
          <a:noFill/>
          <a:ln>
            <a:noFill/>
          </a:ln>
        </p:spPr>
      </p:pic>
      <p:pic>
        <p:nvPicPr>
          <p:cNvPr id="71" name="Picture 4" descr="Windows Phone logo Google prevents Windows Phone users from accessing Maps"/>
          <p:cNvPicPr>
            <a:picLocks noChangeAspect="1" noChangeArrowheads="1"/>
          </p:cNvPicPr>
          <p:nvPr/>
        </p:nvPicPr>
        <p:blipFill>
          <a:blip r:embed="rId13" cstate="screen">
            <a:extLst>
              <a:ext uri="{28A0092B-C50C-407E-A947-70E740481C1C}">
                <a14:useLocalDpi xmlns:a14="http://schemas.microsoft.com/office/drawing/2010/main"/>
              </a:ext>
            </a:extLst>
          </a:blip>
          <a:stretch>
            <a:fillRect/>
          </a:stretch>
        </p:blipFill>
        <p:spPr bwMode="auto">
          <a:xfrm>
            <a:off x="10039998" y="5053814"/>
            <a:ext cx="515388" cy="386540"/>
          </a:xfrm>
          <a:prstGeom prst="ellipse">
            <a:avLst/>
          </a:prstGeom>
          <a:noFill/>
          <a:ln>
            <a:noFill/>
          </a:ln>
        </p:spPr>
      </p:pic>
      <p:pic>
        <p:nvPicPr>
          <p:cNvPr id="72" name="Picture 71"/>
          <p:cNvPicPr>
            <a:picLocks noChangeAspect="1"/>
          </p:cNvPicPr>
          <p:nvPr/>
        </p:nvPicPr>
        <p:blipFill>
          <a:blip r:embed="rId14" cstate="screen">
            <a:clrChange>
              <a:clrFrom>
                <a:srgbClr val="FFFFFF"/>
              </a:clrFrom>
              <a:clrTo>
                <a:srgbClr val="FFFFFF">
                  <a:alpha val="0"/>
                </a:srgbClr>
              </a:clrTo>
            </a:clrChange>
            <a:extLst>
              <a:ext uri="{28A0092B-C50C-407E-A947-70E740481C1C}">
                <a14:useLocalDpi xmlns:a14="http://schemas.microsoft.com/office/drawing/2010/main"/>
              </a:ext>
            </a:extLst>
          </a:blip>
          <a:srcRect t="28453" b="34363"/>
          <a:stretch>
            <a:fillRect/>
          </a:stretch>
        </p:blipFill>
        <p:spPr>
          <a:xfrm>
            <a:off x="1795945" y="5062032"/>
            <a:ext cx="1205125" cy="370106"/>
          </a:xfrm>
          <a:prstGeom prst="rect">
            <a:avLst/>
          </a:prstGeom>
          <a:noFill/>
          <a:ln>
            <a:noFill/>
          </a:ln>
        </p:spPr>
      </p:pic>
      <p:pic>
        <p:nvPicPr>
          <p:cNvPr id="73" name="Picture 72"/>
          <p:cNvPicPr>
            <a:picLocks noChangeAspect="1"/>
          </p:cNvPicPr>
          <p:nvPr/>
        </p:nvPicPr>
        <p:blipFill>
          <a:blip r:embed="rId1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30023" y="5092830"/>
            <a:ext cx="935103" cy="308511"/>
          </a:xfrm>
          <a:prstGeom prst="rect">
            <a:avLst/>
          </a:prstGeom>
          <a:noFill/>
          <a:ln>
            <a:noFill/>
          </a:ln>
        </p:spPr>
      </p:pic>
      <p:pic>
        <p:nvPicPr>
          <p:cNvPr id="74" name="Picture 73"/>
          <p:cNvPicPr>
            <a:picLocks noChangeAspect="1"/>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a:xfrm>
            <a:off x="11286205" y="5090422"/>
            <a:ext cx="589654" cy="313327"/>
          </a:xfrm>
          <a:prstGeom prst="rect">
            <a:avLst/>
          </a:prstGeom>
          <a:noFill/>
          <a:ln>
            <a:noFill/>
          </a:ln>
        </p:spPr>
      </p:pic>
      <p:pic>
        <p:nvPicPr>
          <p:cNvPr id="75" name="Picture 2" descr="Image result for sitecore logo transparent"/>
          <p:cNvPicPr>
            <a:picLocks noChangeAspect="1" noChangeArrowheads="1"/>
          </p:cNvPicPr>
          <p:nvPr/>
        </p:nvPicPr>
        <p:blipFill>
          <a:blip r:embed="rId1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480444" y="5485038"/>
            <a:ext cx="1412189" cy="480301"/>
          </a:xfrm>
          <a:prstGeom prst="rect">
            <a:avLst/>
          </a:prstGeom>
          <a:noFill/>
        </p:spPr>
      </p:pic>
      <p:pic>
        <p:nvPicPr>
          <p:cNvPr id="76" name="Picture 4" descr="Image result for drupal logo png"/>
          <p:cNvPicPr>
            <a:picLocks noChangeAspect="1" noChangeArrowheads="1"/>
          </p:cNvPicPr>
          <p:nvPr/>
        </p:nvPicPr>
        <p:blipFill>
          <a:blip r:embed="rId18" cstate="print"/>
          <a:srcRect/>
          <a:stretch>
            <a:fillRect/>
          </a:stretch>
        </p:blipFill>
        <p:spPr bwMode="auto">
          <a:xfrm>
            <a:off x="3731889" y="4987397"/>
            <a:ext cx="428525" cy="519374"/>
          </a:xfrm>
          <a:prstGeom prst="rect">
            <a:avLst/>
          </a:prstGeom>
          <a:noFill/>
        </p:spPr>
      </p:pic>
      <p:pic>
        <p:nvPicPr>
          <p:cNvPr id="79" name="Picture 4" descr="Z:\Graphic Data Base RB\Logotheque\IBM.png"/>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2456705" y="5566105"/>
            <a:ext cx="610739" cy="272090"/>
          </a:xfrm>
          <a:prstGeom prst="rect">
            <a:avLst/>
          </a:prstGeom>
          <a:noFill/>
          <a:ln w="9525">
            <a:noFill/>
            <a:miter lim="800000"/>
            <a:headEnd/>
            <a:tailEnd/>
          </a:ln>
        </p:spPr>
      </p:pic>
      <p:cxnSp>
        <p:nvCxnSpPr>
          <p:cNvPr id="81" name="Straight Connector 80"/>
          <p:cNvCxnSpPr/>
          <p:nvPr/>
        </p:nvCxnSpPr>
        <p:spPr>
          <a:xfrm>
            <a:off x="1864451" y="3821777"/>
            <a:ext cx="0" cy="844043"/>
          </a:xfrm>
          <a:prstGeom prst="line">
            <a:avLst/>
          </a:prstGeom>
          <a:ln w="31750">
            <a:solidFill>
              <a:schemeClr val="accent5">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83" name="Isosceles Triangle 82"/>
          <p:cNvSpPr/>
          <p:nvPr/>
        </p:nvSpPr>
        <p:spPr>
          <a:xfrm rot="5400000">
            <a:off x="1768146" y="4125248"/>
            <a:ext cx="418571" cy="215557"/>
          </a:xfrm>
          <a:prstGeom prst="triangle">
            <a:avLst/>
          </a:prstGeom>
          <a:solidFill>
            <a:schemeClr val="accent5">
              <a:lumMod val="75000"/>
            </a:schemeClr>
          </a:solidFill>
        </p:spPr>
        <p:txBody>
          <a:bodyPr wrap="square" lIns="0" tIns="0" rIns="0" bIns="0" rtlCol="0" anchor="ctr"/>
          <a:lstStyle/>
          <a:p>
            <a:pPr algn="ctr" defTabSz="914263"/>
            <a:endParaRPr lang="en-US" sz="1687" dirty="0">
              <a:solidFill>
                <a:srgbClr val="263147"/>
              </a:solidFill>
            </a:endParaRPr>
          </a:p>
        </p:txBody>
      </p:sp>
      <p:pic>
        <p:nvPicPr>
          <p:cNvPr id="1462276" name="Picture 4" descr="Image result for mulesoft logo"/>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10017007" y="5388397"/>
            <a:ext cx="932398" cy="626779"/>
          </a:xfrm>
          <a:prstGeom prst="rect">
            <a:avLst/>
          </a:prstGeom>
          <a:noFill/>
          <a:extLst>
            <a:ext uri="{909E8E84-426E-40DD-AFC4-6F175D3DCCD1}">
              <a14:hiddenFill xmlns:a14="http://schemas.microsoft.com/office/drawing/2010/main">
                <a:solidFill>
                  <a:srgbClr val="FFFFFF"/>
                </a:solidFill>
              </a14:hiddenFill>
            </a:ext>
          </a:extLst>
        </p:spPr>
      </p:pic>
      <p:sp>
        <p:nvSpPr>
          <p:cNvPr id="82" name="Rectangle 81"/>
          <p:cNvSpPr/>
          <p:nvPr/>
        </p:nvSpPr>
        <p:spPr>
          <a:xfrm>
            <a:off x="582170" y="1312257"/>
            <a:ext cx="1194895" cy="1897978"/>
          </a:xfrm>
          <a:prstGeom prst="rect">
            <a:avLst/>
          </a:prstGeom>
          <a:noFill/>
          <a:ln>
            <a:noFill/>
          </a:ln>
        </p:spPr>
        <p:txBody>
          <a:bodyPr wrap="square" anchor="ctr" anchorCtr="0">
            <a:noAutofit/>
          </a:bodyPr>
          <a:lstStyle/>
          <a:p>
            <a:pPr marL="14326" marR="5730" algn="ctr" defTabSz="914263">
              <a:lnSpc>
                <a:spcPct val="107200"/>
              </a:lnSpc>
            </a:pPr>
            <a:r>
              <a:rPr lang="en-GB" sz="1400" b="1" dirty="0">
                <a:solidFill>
                  <a:srgbClr val="0098C7">
                    <a:lumMod val="75000"/>
                  </a:srgbClr>
                </a:solidFill>
                <a:ea typeface="Segoe UI Black" panose="020B0A02040204020203" pitchFamily="34" charset="0"/>
                <a:cs typeface="Segoe UI Black" panose="020B0A02040204020203" pitchFamily="34" charset="0"/>
              </a:rPr>
              <a:t>DCX Practices</a:t>
            </a:r>
          </a:p>
        </p:txBody>
      </p:sp>
    </p:spTree>
    <p:extLst>
      <p:ext uri="{BB962C8B-B14F-4D97-AF65-F5344CB8AC3E}">
        <p14:creationId xmlns:p14="http://schemas.microsoft.com/office/powerpoint/2010/main" val="56236667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Object 92" hidden="1"/>
          <p:cNvGraphicFramePr>
            <a:graphicFrameLocks noChangeAspect="1"/>
          </p:cNvGraphicFramePr>
          <p:nvPr>
            <p:custDataLst>
              <p:tags r:id="rId2"/>
            </p:custDataLst>
          </p:nvPr>
        </p:nvGraphicFramePr>
        <p:xfrm>
          <a:off x="1144588" y="1589"/>
          <a:ext cx="1587" cy="1587"/>
        </p:xfrm>
        <a:graphic>
          <a:graphicData uri="http://schemas.openxmlformats.org/presentationml/2006/ole">
            <mc:AlternateContent xmlns:mc="http://schemas.openxmlformats.org/markup-compatibility/2006">
              <mc:Choice xmlns:v="urn:schemas-microsoft-com:vml" Requires="v">
                <p:oleObj spid="_x0000_s160780" name="think-cell Slide" r:id="rId5" imgW="216" imgH="216" progId="">
                  <p:embed/>
                </p:oleObj>
              </mc:Choice>
              <mc:Fallback>
                <p:oleObj name="think-cell Slide" r:id="rId5" imgW="216" imgH="216"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4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GB" dirty="0">
                <a:sym typeface="Calibri"/>
              </a:rPr>
              <a:t>Digital Transformation Management </a:t>
            </a:r>
          </a:p>
        </p:txBody>
      </p:sp>
      <p:grpSp>
        <p:nvGrpSpPr>
          <p:cNvPr id="116" name="Group 115"/>
          <p:cNvGrpSpPr/>
          <p:nvPr/>
        </p:nvGrpSpPr>
        <p:grpSpPr>
          <a:xfrm>
            <a:off x="1873475" y="1373247"/>
            <a:ext cx="1993392" cy="603802"/>
            <a:chOff x="730475" y="2377958"/>
            <a:chExt cx="2448411" cy="603802"/>
          </a:xfrm>
        </p:grpSpPr>
        <p:sp>
          <p:nvSpPr>
            <p:cNvPr id="117" name="Right Brace 116"/>
            <p:cNvSpPr/>
            <p:nvPr/>
          </p:nvSpPr>
          <p:spPr>
            <a:xfrm rot="5400000">
              <a:off x="1817993" y="2050134"/>
              <a:ext cx="273374" cy="1589877"/>
            </a:xfrm>
            <a:prstGeom prst="rightBrace">
              <a:avLst>
                <a:gd name="adj1" fmla="val 33390"/>
                <a:gd name="adj2" fmla="val 50000"/>
              </a:avLst>
            </a:prstGeom>
            <a:solidFill>
              <a:schemeClr val="bg1">
                <a:lumMod val="65000"/>
              </a:schemeClr>
            </a:solidFill>
            <a:ln w="6350" cap="flat" cmpd="sng" algn="ctr">
              <a:noFill/>
              <a:prstDash val="solid"/>
              <a:round/>
              <a:headEnd type="none" w="med" len="med"/>
              <a:tailEnd type="none" w="med" len="med"/>
            </a:ln>
            <a:effectLst/>
          </p:spPr>
          <p:txBody>
            <a:bodyPr rtlCol="0" anchor="ctr"/>
            <a:lstStyle/>
            <a:p>
              <a:pPr algn="ctr">
                <a:lnSpc>
                  <a:spcPct val="90000"/>
                </a:lnSpc>
              </a:pPr>
              <a:endParaRPr lang="en-GB" sz="1400" dirty="0">
                <a:latin typeface="Calibri" panose="020F0502020204030204" pitchFamily="34" charset="0"/>
                <a:sym typeface="Calibri"/>
              </a:endParaRPr>
            </a:p>
          </p:txBody>
        </p:sp>
        <p:sp>
          <p:nvSpPr>
            <p:cNvPr id="124" name="Rounded Rectangle 123"/>
            <p:cNvSpPr/>
            <p:nvPr/>
          </p:nvSpPr>
          <p:spPr bwMode="auto">
            <a:xfrm>
              <a:off x="730475" y="2377958"/>
              <a:ext cx="2448411" cy="388928"/>
            </a:xfrm>
            <a:prstGeom prst="roundRect">
              <a:avLst/>
            </a:prstGeom>
            <a:solidFill>
              <a:schemeClr val="accent3"/>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lnSpc>
                  <a:spcPct val="90000"/>
                </a:lnSpc>
                <a:spcBef>
                  <a:spcPct val="0"/>
                </a:spcBef>
                <a:spcAft>
                  <a:spcPct val="0"/>
                </a:spcAft>
              </a:pPr>
              <a:r>
                <a:rPr lang="en-GB" sz="1400" dirty="0">
                  <a:solidFill>
                    <a:schemeClr val="bg1"/>
                  </a:solidFill>
                  <a:latin typeface="Calibri" panose="020F0502020204030204" pitchFamily="34" charset="0"/>
                  <a:cs typeface="Arial" charset="0"/>
                  <a:sym typeface="Calibri"/>
                </a:rPr>
                <a:t>Reach </a:t>
              </a:r>
            </a:p>
          </p:txBody>
        </p:sp>
      </p:grpSp>
      <p:grpSp>
        <p:nvGrpSpPr>
          <p:cNvPr id="12" name="Group 11"/>
          <p:cNvGrpSpPr/>
          <p:nvPr/>
        </p:nvGrpSpPr>
        <p:grpSpPr>
          <a:xfrm>
            <a:off x="4032808" y="1373247"/>
            <a:ext cx="4736592" cy="603802"/>
            <a:chOff x="3727443" y="1373247"/>
            <a:chExt cx="2448411" cy="603802"/>
          </a:xfrm>
        </p:grpSpPr>
        <p:sp>
          <p:nvSpPr>
            <p:cNvPr id="101" name="Right Brace 100"/>
            <p:cNvSpPr/>
            <p:nvPr/>
          </p:nvSpPr>
          <p:spPr>
            <a:xfrm rot="5400000">
              <a:off x="4814961" y="1045423"/>
              <a:ext cx="273374" cy="1589877"/>
            </a:xfrm>
            <a:prstGeom prst="rightBrace">
              <a:avLst>
                <a:gd name="adj1" fmla="val 33390"/>
                <a:gd name="adj2" fmla="val 50000"/>
              </a:avLst>
            </a:prstGeom>
            <a:solidFill>
              <a:schemeClr val="bg1">
                <a:lumMod val="65000"/>
              </a:schemeClr>
            </a:solidFill>
            <a:ln w="6350" cap="flat" cmpd="sng" algn="ctr">
              <a:noFill/>
              <a:prstDash val="solid"/>
              <a:round/>
              <a:headEnd type="none" w="med" len="med"/>
              <a:tailEnd type="none" w="med" len="med"/>
            </a:ln>
            <a:effectLst/>
          </p:spPr>
          <p:txBody>
            <a:bodyPr rtlCol="0" anchor="ctr"/>
            <a:lstStyle/>
            <a:p>
              <a:pPr algn="ctr">
                <a:lnSpc>
                  <a:spcPct val="90000"/>
                </a:lnSpc>
              </a:pPr>
              <a:endParaRPr lang="en-GB" sz="1400" dirty="0">
                <a:latin typeface="Calibri" panose="020F0502020204030204" pitchFamily="34" charset="0"/>
                <a:sym typeface="Calibri"/>
              </a:endParaRPr>
            </a:p>
          </p:txBody>
        </p:sp>
        <p:sp>
          <p:nvSpPr>
            <p:cNvPr id="126" name="Rounded Rectangle 125"/>
            <p:cNvSpPr/>
            <p:nvPr/>
          </p:nvSpPr>
          <p:spPr bwMode="auto">
            <a:xfrm>
              <a:off x="3727443" y="1373247"/>
              <a:ext cx="2448411" cy="388928"/>
            </a:xfrm>
            <a:prstGeom prst="roundRect">
              <a:avLst/>
            </a:prstGeom>
            <a:solidFill>
              <a:schemeClr val="accent4"/>
            </a:solidFill>
            <a:ln w="6350" cap="flat" cmpd="sng" algn="ctr">
              <a:solidFill>
                <a:schemeClr val="accent4"/>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lnSpc>
                  <a:spcPct val="90000"/>
                </a:lnSpc>
                <a:spcBef>
                  <a:spcPct val="0"/>
                </a:spcBef>
                <a:spcAft>
                  <a:spcPct val="0"/>
                </a:spcAft>
              </a:pPr>
              <a:r>
                <a:rPr lang="en-GB" sz="1400" dirty="0">
                  <a:solidFill>
                    <a:prstClr val="white"/>
                  </a:solidFill>
                  <a:latin typeface="Calibri" panose="020F0502020204030204" pitchFamily="34" charset="0"/>
                  <a:cs typeface="Arial" charset="0"/>
                  <a:sym typeface="Calibri"/>
                </a:rPr>
                <a:t>Target </a:t>
              </a:r>
            </a:p>
          </p:txBody>
        </p:sp>
      </p:grpSp>
      <p:grpSp>
        <p:nvGrpSpPr>
          <p:cNvPr id="11" name="Group 10"/>
          <p:cNvGrpSpPr/>
          <p:nvPr/>
        </p:nvGrpSpPr>
        <p:grpSpPr>
          <a:xfrm>
            <a:off x="8963147" y="1373247"/>
            <a:ext cx="1773936" cy="603802"/>
            <a:chOff x="6724412" y="1373247"/>
            <a:chExt cx="2448411" cy="603802"/>
          </a:xfrm>
        </p:grpSpPr>
        <p:sp>
          <p:nvSpPr>
            <p:cNvPr id="102" name="Right Brace 101"/>
            <p:cNvSpPr/>
            <p:nvPr/>
          </p:nvSpPr>
          <p:spPr>
            <a:xfrm rot="5400000">
              <a:off x="7811930" y="1045423"/>
              <a:ext cx="273374" cy="1589877"/>
            </a:xfrm>
            <a:prstGeom prst="rightBrace">
              <a:avLst>
                <a:gd name="adj1" fmla="val 33390"/>
                <a:gd name="adj2" fmla="val 50000"/>
              </a:avLst>
            </a:prstGeom>
            <a:solidFill>
              <a:schemeClr val="bg1">
                <a:lumMod val="65000"/>
              </a:schemeClr>
            </a:solidFill>
            <a:ln w="6350" cap="flat" cmpd="sng" algn="ctr">
              <a:noFill/>
              <a:prstDash val="solid"/>
              <a:round/>
              <a:headEnd type="none" w="med" len="med"/>
              <a:tailEnd type="none" w="med" len="med"/>
            </a:ln>
            <a:effectLst/>
          </p:spPr>
          <p:txBody>
            <a:bodyPr rtlCol="0" anchor="ctr"/>
            <a:lstStyle/>
            <a:p>
              <a:pPr algn="ctr">
                <a:lnSpc>
                  <a:spcPct val="90000"/>
                </a:lnSpc>
              </a:pPr>
              <a:endParaRPr lang="en-GB" sz="1400" dirty="0">
                <a:latin typeface="Calibri" panose="020F0502020204030204" pitchFamily="34" charset="0"/>
                <a:sym typeface="Calibri"/>
              </a:endParaRPr>
            </a:p>
          </p:txBody>
        </p:sp>
        <p:sp>
          <p:nvSpPr>
            <p:cNvPr id="128" name="Rounded Rectangle 127"/>
            <p:cNvSpPr/>
            <p:nvPr/>
          </p:nvSpPr>
          <p:spPr bwMode="auto">
            <a:xfrm>
              <a:off x="6724412" y="1373247"/>
              <a:ext cx="2448411" cy="388928"/>
            </a:xfrm>
            <a:prstGeom prst="roundRect">
              <a:avLst/>
            </a:prstGeom>
            <a:solidFill>
              <a:schemeClr val="accent6"/>
            </a:solidFill>
            <a:ln w="6350" cap="flat" cmpd="sng" algn="ctr">
              <a:noFill/>
              <a:prstDash val="solid"/>
              <a:round/>
              <a:headEnd type="none" w="med" len="med"/>
              <a:tailEnd type="none" w="med" len="med"/>
            </a:ln>
            <a:effectLst/>
          </p:spPr>
          <p:txBody>
            <a:bodyPr vert="horz" wrap="square" lIns="91440" tIns="0" rIns="0" bIns="0" numCol="1" rtlCol="0" anchor="ctr" anchorCtr="0" compatLnSpc="1">
              <a:prstTxWarp prst="textNoShape">
                <a:avLst/>
              </a:prstTxWarp>
            </a:bodyPr>
            <a:lstStyle/>
            <a:p>
              <a:pPr algn="ctr" eaLnBrk="0" fontAlgn="base" hangingPunct="0">
                <a:lnSpc>
                  <a:spcPct val="90000"/>
                </a:lnSpc>
                <a:spcBef>
                  <a:spcPct val="0"/>
                </a:spcBef>
                <a:spcAft>
                  <a:spcPct val="0"/>
                </a:spcAft>
                <a:defRPr/>
              </a:pPr>
              <a:r>
                <a:rPr lang="en-GB" sz="1400" dirty="0">
                  <a:solidFill>
                    <a:prstClr val="white"/>
                  </a:solidFill>
                  <a:latin typeface="Calibri" panose="020F0502020204030204" pitchFamily="34" charset="0"/>
                  <a:cs typeface="Arial" charset="0"/>
                  <a:sym typeface="Calibri"/>
                </a:rPr>
                <a:t>Connect</a:t>
              </a:r>
            </a:p>
          </p:txBody>
        </p:sp>
      </p:grpSp>
      <p:sp>
        <p:nvSpPr>
          <p:cNvPr id="155" name="Rounded Rectangle 154"/>
          <p:cNvSpPr/>
          <p:nvPr/>
        </p:nvSpPr>
        <p:spPr bwMode="auto">
          <a:xfrm>
            <a:off x="8959211" y="2079799"/>
            <a:ext cx="1777873" cy="1961017"/>
          </a:xfrm>
          <a:prstGeom prst="roundRect">
            <a:avLst>
              <a:gd name="adj" fmla="val 7266"/>
            </a:avLst>
          </a:prstGeom>
          <a:solidFill>
            <a:schemeClr val="accent6">
              <a:lumMod val="75000"/>
            </a:schemeClr>
          </a:solidFill>
          <a:ln>
            <a:headEnd type="none" w="med" len="med"/>
            <a:tailEnd type="none" w="med" len="med"/>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vert="horz" wrap="square" lIns="80465" tIns="120697" rIns="80465" bIns="40232" numCol="1" rtlCol="0" anchor="t" anchorCtr="0" compatLnSpc="1">
            <a:prstTxWarp prst="textNoShape">
              <a:avLst/>
            </a:prstTxWarp>
          </a:bodyPr>
          <a:lstStyle/>
          <a:p>
            <a:pPr algn="ctr" defTabSz="804649" eaLnBrk="0" fontAlgn="base" hangingPunct="0">
              <a:spcBef>
                <a:spcPct val="0"/>
              </a:spcBef>
              <a:spcAft>
                <a:spcPct val="0"/>
              </a:spcAft>
            </a:pPr>
            <a:r>
              <a:rPr lang="en-US" sz="1100" b="1" dirty="0">
                <a:solidFill>
                  <a:schemeClr val="bg1"/>
                </a:solidFill>
                <a:latin typeface="Calibri" panose="020F0502020204030204" pitchFamily="34" charset="0"/>
                <a:cs typeface="Arial" charset="0"/>
              </a:rPr>
              <a:t>BPM, Integration &amp; Orchestration </a:t>
            </a:r>
          </a:p>
        </p:txBody>
      </p:sp>
      <p:sp>
        <p:nvSpPr>
          <p:cNvPr id="156" name="Rounded Rectangle 155"/>
          <p:cNvSpPr/>
          <p:nvPr/>
        </p:nvSpPr>
        <p:spPr bwMode="auto">
          <a:xfrm>
            <a:off x="4032808" y="2078882"/>
            <a:ext cx="4737772" cy="1959719"/>
          </a:xfrm>
          <a:prstGeom prst="roundRect">
            <a:avLst>
              <a:gd name="adj" fmla="val 6207"/>
            </a:avLst>
          </a:prstGeom>
          <a:solidFill>
            <a:schemeClr val="accent4">
              <a:lumMod val="75000"/>
            </a:schemeClr>
          </a:solidFill>
          <a:ln>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80465" tIns="120697" rIns="80465" bIns="40232" numCol="1" rtlCol="0" anchor="t" anchorCtr="0" compatLnSpc="1">
            <a:prstTxWarp prst="textNoShape">
              <a:avLst/>
            </a:prstTxWarp>
          </a:bodyPr>
          <a:lstStyle/>
          <a:p>
            <a:pPr algn="ctr" defTabSz="804649" eaLnBrk="0" fontAlgn="base" hangingPunct="0">
              <a:spcBef>
                <a:spcPct val="0"/>
              </a:spcBef>
              <a:spcAft>
                <a:spcPct val="0"/>
              </a:spcAft>
            </a:pPr>
            <a:r>
              <a:rPr lang="en-US" sz="1100" b="1" dirty="0">
                <a:solidFill>
                  <a:schemeClr val="bg1"/>
                </a:solidFill>
                <a:latin typeface="Calibri" panose="020F0502020204030204" pitchFamily="34" charset="0"/>
                <a:cs typeface="Arial" charset="0"/>
              </a:rPr>
              <a:t>Marketing, Customer  &amp; Commerce Management</a:t>
            </a:r>
          </a:p>
        </p:txBody>
      </p:sp>
      <p:sp>
        <p:nvSpPr>
          <p:cNvPr id="158" name="Rounded Rectangle 157"/>
          <p:cNvSpPr>
            <a:spLocks/>
          </p:cNvSpPr>
          <p:nvPr/>
        </p:nvSpPr>
        <p:spPr bwMode="auto">
          <a:xfrm>
            <a:off x="1850571" y="2103933"/>
            <a:ext cx="1993608" cy="1933511"/>
          </a:xfrm>
          <a:prstGeom prst="roundRect">
            <a:avLst>
              <a:gd name="adj" fmla="val 6487"/>
            </a:avLst>
          </a:prstGeom>
          <a:solidFill>
            <a:schemeClr val="accent3">
              <a:lumMod val="75000"/>
            </a:schemeClr>
          </a:solidFill>
          <a:ln>
            <a:headEnd type="none" w="med" len="med"/>
            <a:tailEnd type="none" w="med" len="me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vert="horz" wrap="square" lIns="80465" tIns="120697" rIns="80465" bIns="40232" numCol="1" rtlCol="0" anchor="t" anchorCtr="0" compatLnSpc="1">
            <a:prstTxWarp prst="textNoShape">
              <a:avLst/>
            </a:prstTxWarp>
          </a:bodyPr>
          <a:lstStyle/>
          <a:p>
            <a:pPr algn="ctr" defTabSz="804649" eaLnBrk="0" fontAlgn="base" hangingPunct="0">
              <a:spcBef>
                <a:spcPct val="0"/>
              </a:spcBef>
              <a:spcAft>
                <a:spcPct val="0"/>
              </a:spcAft>
            </a:pPr>
            <a:r>
              <a:rPr lang="en-US" sz="1100" b="1" dirty="0">
                <a:solidFill>
                  <a:schemeClr val="bg1"/>
                </a:solidFill>
                <a:latin typeface="Calibri" panose="020F0502020204030204" pitchFamily="34" charset="0"/>
                <a:cs typeface="Arial" charset="0"/>
              </a:rPr>
              <a:t>Omni Channel Dx</a:t>
            </a:r>
          </a:p>
          <a:p>
            <a:pPr algn="ctr" defTabSz="804649" eaLnBrk="0" fontAlgn="base" hangingPunct="0">
              <a:spcBef>
                <a:spcPct val="0"/>
              </a:spcBef>
              <a:spcAft>
                <a:spcPct val="0"/>
              </a:spcAft>
            </a:pPr>
            <a:r>
              <a:rPr lang="en-US" sz="1100" b="1" dirty="0">
                <a:solidFill>
                  <a:schemeClr val="bg1"/>
                </a:solidFill>
                <a:latin typeface="Calibri" panose="020F0502020204030204" pitchFamily="34" charset="0"/>
                <a:cs typeface="Arial" charset="0"/>
              </a:rPr>
              <a:t>Mobile - Web</a:t>
            </a:r>
          </a:p>
        </p:txBody>
      </p:sp>
      <p:cxnSp>
        <p:nvCxnSpPr>
          <p:cNvPr id="10" name="Straight Connector 9"/>
          <p:cNvCxnSpPr/>
          <p:nvPr/>
        </p:nvCxnSpPr>
        <p:spPr>
          <a:xfrm>
            <a:off x="1654377" y="2078881"/>
            <a:ext cx="0" cy="1873278"/>
          </a:xfrm>
          <a:prstGeom prst="line">
            <a:avLst/>
          </a:prstGeom>
          <a:ln>
            <a:headEnd type="oval"/>
            <a:tailEnd type="oval"/>
          </a:ln>
        </p:spPr>
        <p:style>
          <a:lnRef idx="2">
            <a:schemeClr val="dk1"/>
          </a:lnRef>
          <a:fillRef idx="0">
            <a:schemeClr val="dk1"/>
          </a:fillRef>
          <a:effectRef idx="1">
            <a:schemeClr val="dk1"/>
          </a:effectRef>
          <a:fontRef idx="minor">
            <a:schemeClr val="tx1"/>
          </a:fontRef>
        </p:style>
      </p:cxnSp>
      <p:sp>
        <p:nvSpPr>
          <p:cNvPr id="162" name="TextBox 161"/>
          <p:cNvSpPr txBox="1"/>
          <p:nvPr/>
        </p:nvSpPr>
        <p:spPr>
          <a:xfrm rot="16200000">
            <a:off x="1201661" y="2869020"/>
            <a:ext cx="905435" cy="293000"/>
          </a:xfrm>
          <a:prstGeom prst="rect">
            <a:avLst/>
          </a:prstGeom>
          <a:solidFill>
            <a:schemeClr val="bg1"/>
          </a:solidFill>
        </p:spPr>
        <p:txBody>
          <a:bodyPr wrap="square" lIns="107287" tIns="53643" rIns="107287" bIns="53643" rtlCol="0">
            <a:spAutoFit/>
          </a:bodyPr>
          <a:lstStyle/>
          <a:p>
            <a:pPr algn="ctr"/>
            <a:r>
              <a:rPr lang="en-US" sz="1200" b="1" dirty="0">
                <a:solidFill>
                  <a:schemeClr val="tx2">
                    <a:lumMod val="50000"/>
                  </a:schemeClr>
                </a:solidFill>
                <a:latin typeface="Calibri" panose="020F0502020204030204" pitchFamily="34" charset="0"/>
              </a:rPr>
              <a:t>Domains</a:t>
            </a:r>
          </a:p>
        </p:txBody>
      </p:sp>
      <p:sp>
        <p:nvSpPr>
          <p:cNvPr id="163" name="Rectangle à coins arrondis 27"/>
          <p:cNvSpPr>
            <a:spLocks/>
          </p:cNvSpPr>
          <p:nvPr/>
        </p:nvSpPr>
        <p:spPr>
          <a:xfrm>
            <a:off x="9095679" y="2664417"/>
            <a:ext cx="1554480" cy="292608"/>
          </a:xfrm>
          <a:prstGeom prst="roundRect">
            <a:avLst/>
          </a:prstGeom>
          <a:solidFill>
            <a:schemeClr val="bg1"/>
          </a:solidFill>
          <a:ln w="3175" cap="flat" cmpd="sng" algn="ctr">
            <a:noFill/>
            <a:prstDash val="solid"/>
          </a:ln>
          <a:effectLst/>
        </p:spPr>
        <p:txBody>
          <a:bodyPr lIns="107287" tIns="53643" rIns="107287" bIns="53643" rtlCol="0" anchor="ctr"/>
          <a:lstStyle/>
          <a:p>
            <a:pPr algn="ctr" defTabSz="804558">
              <a:defRPr/>
            </a:pPr>
            <a:r>
              <a:rPr lang="en-GB" sz="1000" kern="0" dirty="0">
                <a:solidFill>
                  <a:schemeClr val="accent5">
                    <a:lumMod val="50000"/>
                  </a:schemeClr>
                </a:solidFill>
                <a:latin typeface="Calibri" panose="020F0502020204030204" pitchFamily="34" charset="0"/>
                <a:cs typeface="Helvetica Light"/>
              </a:rPr>
              <a:t>BPM  Technology</a:t>
            </a:r>
          </a:p>
        </p:txBody>
      </p:sp>
      <p:sp>
        <p:nvSpPr>
          <p:cNvPr id="165" name="Rectangle à coins arrondis 28"/>
          <p:cNvSpPr>
            <a:spLocks/>
          </p:cNvSpPr>
          <p:nvPr/>
        </p:nvSpPr>
        <p:spPr>
          <a:xfrm>
            <a:off x="9095679" y="3311675"/>
            <a:ext cx="1554480" cy="292608"/>
          </a:xfrm>
          <a:prstGeom prst="roundRect">
            <a:avLst/>
          </a:prstGeom>
          <a:solidFill>
            <a:schemeClr val="bg1"/>
          </a:solidFill>
          <a:ln w="3175" cap="flat" cmpd="sng" algn="ctr">
            <a:noFill/>
            <a:prstDash val="solid"/>
          </a:ln>
          <a:effectLst/>
        </p:spPr>
        <p:txBody>
          <a:bodyPr lIns="107287" tIns="53643" rIns="107287" bIns="53643" rtlCol="0" anchor="ctr"/>
          <a:lstStyle/>
          <a:p>
            <a:pPr algn="ctr" defTabSz="804558">
              <a:defRPr/>
            </a:pPr>
            <a:r>
              <a:rPr lang="en-GB" sz="1000" kern="0" dirty="0">
                <a:solidFill>
                  <a:schemeClr val="accent5">
                    <a:lumMod val="50000"/>
                  </a:schemeClr>
                </a:solidFill>
                <a:latin typeface="Calibri" panose="020F0502020204030204" pitchFamily="34" charset="0"/>
                <a:cs typeface="Helvetica Light"/>
              </a:rPr>
              <a:t>Reengineering &amp;  Dev</a:t>
            </a:r>
          </a:p>
        </p:txBody>
      </p:sp>
      <p:sp>
        <p:nvSpPr>
          <p:cNvPr id="166" name="Rectangle à coins arrondis 29"/>
          <p:cNvSpPr>
            <a:spLocks/>
          </p:cNvSpPr>
          <p:nvPr/>
        </p:nvSpPr>
        <p:spPr>
          <a:xfrm>
            <a:off x="9095679" y="2988046"/>
            <a:ext cx="1554480" cy="292608"/>
          </a:xfrm>
          <a:prstGeom prst="roundRect">
            <a:avLst/>
          </a:prstGeom>
          <a:solidFill>
            <a:schemeClr val="bg1"/>
          </a:solidFill>
          <a:ln w="3175" cap="flat" cmpd="sng" algn="ctr">
            <a:noFill/>
            <a:prstDash val="solid"/>
          </a:ln>
          <a:effectLst/>
        </p:spPr>
        <p:txBody>
          <a:bodyPr lIns="31679" tIns="53643" rIns="31679" bIns="53643" rtlCol="0" anchor="ctr"/>
          <a:lstStyle/>
          <a:p>
            <a:pPr algn="ctr" defTabSz="804558">
              <a:defRPr/>
            </a:pPr>
            <a:r>
              <a:rPr lang="en-GB" sz="1000" kern="0" dirty="0">
                <a:solidFill>
                  <a:schemeClr val="accent5">
                    <a:lumMod val="50000"/>
                  </a:schemeClr>
                </a:solidFill>
                <a:latin typeface="Calibri" panose="020F0502020204030204" pitchFamily="34" charset="0"/>
                <a:cs typeface="Helvetica Light"/>
              </a:rPr>
              <a:t>Process  Automation</a:t>
            </a:r>
          </a:p>
        </p:txBody>
      </p:sp>
      <p:grpSp>
        <p:nvGrpSpPr>
          <p:cNvPr id="14" name="Group 13"/>
          <p:cNvGrpSpPr/>
          <p:nvPr/>
        </p:nvGrpSpPr>
        <p:grpSpPr>
          <a:xfrm>
            <a:off x="4238720" y="2664417"/>
            <a:ext cx="4325948" cy="1269408"/>
            <a:chOff x="3095720" y="2664417"/>
            <a:chExt cx="4325948" cy="1010136"/>
          </a:xfrm>
        </p:grpSpPr>
        <p:sp>
          <p:nvSpPr>
            <p:cNvPr id="168" name="Rectangle à coins arrondis 24"/>
            <p:cNvSpPr>
              <a:spLocks/>
            </p:cNvSpPr>
            <p:nvPr/>
          </p:nvSpPr>
          <p:spPr>
            <a:xfrm>
              <a:off x="3095720" y="3025180"/>
              <a:ext cx="1371600" cy="292608"/>
            </a:xfrm>
            <a:prstGeom prst="roundRect">
              <a:avLst/>
            </a:prstGeom>
            <a:solidFill>
              <a:schemeClr val="bg1"/>
            </a:solidFill>
            <a:ln w="3175" cap="flat" cmpd="sng" algn="ctr">
              <a:noFill/>
              <a:prstDash val="solid"/>
            </a:ln>
            <a:effectLst/>
          </p:spPr>
          <p:txBody>
            <a:bodyPr lIns="107287" tIns="53643" rIns="107287" bIns="53643" rtlCol="0" anchor="ctr"/>
            <a:lstStyle/>
            <a:p>
              <a:pPr algn="ctr" defTabSz="804558">
                <a:defRPr/>
              </a:pPr>
              <a:r>
                <a:rPr lang="en-GB" sz="1000" kern="0" dirty="0">
                  <a:latin typeface="Calibri" panose="020F0502020204030204" pitchFamily="34" charset="0"/>
                  <a:cs typeface="Helvetica Light"/>
                </a:rPr>
                <a:t>Social Media Management</a:t>
              </a:r>
            </a:p>
          </p:txBody>
        </p:sp>
        <p:sp>
          <p:nvSpPr>
            <p:cNvPr id="169" name="Rectangle à coins arrondis 25"/>
            <p:cNvSpPr>
              <a:spLocks/>
            </p:cNvSpPr>
            <p:nvPr/>
          </p:nvSpPr>
          <p:spPr>
            <a:xfrm>
              <a:off x="3095720" y="3381945"/>
              <a:ext cx="1371600" cy="292608"/>
            </a:xfrm>
            <a:prstGeom prst="roundRect">
              <a:avLst/>
            </a:prstGeom>
            <a:solidFill>
              <a:schemeClr val="bg1"/>
            </a:solidFill>
            <a:ln w="3175" cap="flat" cmpd="sng" algn="ctr">
              <a:noFill/>
              <a:prstDash val="solid"/>
            </a:ln>
            <a:effectLst/>
          </p:spPr>
          <p:txBody>
            <a:bodyPr lIns="107287" tIns="53643" rIns="107287" bIns="53643" rtlCol="0" anchor="ctr"/>
            <a:lstStyle/>
            <a:p>
              <a:pPr algn="ctr" defTabSz="804558">
                <a:defRPr/>
              </a:pPr>
              <a:r>
                <a:rPr lang="en-GB" sz="1000" kern="0" dirty="0">
                  <a:latin typeface="Calibri" panose="020F0502020204030204" pitchFamily="34" charset="0"/>
                  <a:cs typeface="Helvetica Light"/>
                </a:rPr>
                <a:t>Content Management</a:t>
              </a:r>
            </a:p>
          </p:txBody>
        </p:sp>
        <p:sp>
          <p:nvSpPr>
            <p:cNvPr id="174" name="Rectangle à coins arrondis 18"/>
            <p:cNvSpPr>
              <a:spLocks/>
            </p:cNvSpPr>
            <p:nvPr/>
          </p:nvSpPr>
          <p:spPr>
            <a:xfrm>
              <a:off x="6050068" y="3025180"/>
              <a:ext cx="1371600" cy="292608"/>
            </a:xfrm>
            <a:prstGeom prst="roundRect">
              <a:avLst/>
            </a:prstGeom>
            <a:solidFill>
              <a:schemeClr val="bg1"/>
            </a:solidFill>
            <a:ln w="3175" cap="flat" cmpd="sng" algn="ctr">
              <a:noFill/>
              <a:prstDash val="solid"/>
            </a:ln>
            <a:effectLst/>
          </p:spPr>
          <p:txBody>
            <a:bodyPr lIns="107287" tIns="53643" rIns="107287" bIns="53643" rtlCol="0" anchor="ctr"/>
            <a:lstStyle/>
            <a:p>
              <a:pPr algn="ctr" defTabSz="804558">
                <a:defRPr/>
              </a:pPr>
              <a:r>
                <a:rPr lang="en-GB" sz="1000" kern="0" dirty="0">
                  <a:latin typeface="Calibri" panose="020F0502020204030204" pitchFamily="34" charset="0"/>
                  <a:cs typeface="Helvetica Light"/>
                </a:rPr>
                <a:t>Digital-Humanized Transformation</a:t>
              </a:r>
            </a:p>
          </p:txBody>
        </p:sp>
        <p:sp>
          <p:nvSpPr>
            <p:cNvPr id="175" name="Rectangle à coins arrondis 19"/>
            <p:cNvSpPr>
              <a:spLocks/>
            </p:cNvSpPr>
            <p:nvPr/>
          </p:nvSpPr>
          <p:spPr>
            <a:xfrm>
              <a:off x="6050068" y="3381945"/>
              <a:ext cx="1371600" cy="292608"/>
            </a:xfrm>
            <a:prstGeom prst="roundRect">
              <a:avLst/>
            </a:prstGeom>
            <a:solidFill>
              <a:schemeClr val="bg1"/>
            </a:solidFill>
            <a:ln w="3175" cap="flat" cmpd="sng" algn="ctr">
              <a:noFill/>
              <a:prstDash val="solid"/>
            </a:ln>
            <a:effectLst/>
          </p:spPr>
          <p:txBody>
            <a:bodyPr lIns="107287" tIns="53643" rIns="107287" bIns="53643" rtlCol="0" anchor="ctr"/>
            <a:lstStyle/>
            <a:p>
              <a:pPr algn="ctr" defTabSz="804558">
                <a:defRPr/>
              </a:pPr>
              <a:r>
                <a:rPr lang="en-GB" sz="1000" kern="0" dirty="0">
                  <a:latin typeface="Calibri" panose="020F0502020204030204" pitchFamily="34" charset="0"/>
                  <a:cs typeface="Helvetica Light"/>
                </a:rPr>
                <a:t>Omni Commerce Enablers</a:t>
              </a:r>
            </a:p>
          </p:txBody>
        </p:sp>
        <p:sp>
          <p:nvSpPr>
            <p:cNvPr id="167" name="Rectangle à coins arrondis 23"/>
            <p:cNvSpPr>
              <a:spLocks/>
            </p:cNvSpPr>
            <p:nvPr/>
          </p:nvSpPr>
          <p:spPr>
            <a:xfrm>
              <a:off x="3095720" y="2664417"/>
              <a:ext cx="1371600" cy="292608"/>
            </a:xfrm>
            <a:prstGeom prst="roundRect">
              <a:avLst/>
            </a:prstGeom>
            <a:solidFill>
              <a:schemeClr val="bg1"/>
            </a:solidFill>
            <a:ln w="3175" cap="flat" cmpd="sng" algn="ctr">
              <a:noFill/>
              <a:prstDash val="solid"/>
            </a:ln>
            <a:effectLst/>
          </p:spPr>
          <p:txBody>
            <a:bodyPr lIns="107287" tIns="53643" rIns="107287" bIns="53643" rtlCol="0" anchor="ctr"/>
            <a:lstStyle/>
            <a:p>
              <a:pPr algn="ctr" defTabSz="804558">
                <a:defRPr/>
              </a:pPr>
              <a:r>
                <a:rPr lang="en-GB" sz="1000" kern="0" dirty="0">
                  <a:latin typeface="Calibri" panose="020F0502020204030204" pitchFamily="34" charset="0"/>
                  <a:cs typeface="Helvetica Light"/>
                </a:rPr>
                <a:t>Messaging Management</a:t>
              </a:r>
            </a:p>
          </p:txBody>
        </p:sp>
        <p:sp>
          <p:nvSpPr>
            <p:cNvPr id="170" name="Rectangle à coins arrondis 16"/>
            <p:cNvSpPr>
              <a:spLocks/>
            </p:cNvSpPr>
            <p:nvPr/>
          </p:nvSpPr>
          <p:spPr>
            <a:xfrm>
              <a:off x="6050068" y="2664417"/>
              <a:ext cx="1371600" cy="292608"/>
            </a:xfrm>
            <a:prstGeom prst="roundRect">
              <a:avLst/>
            </a:prstGeom>
            <a:solidFill>
              <a:schemeClr val="bg1"/>
            </a:solidFill>
            <a:ln w="3175" cap="flat" cmpd="sng" algn="ctr">
              <a:noFill/>
              <a:prstDash val="solid"/>
            </a:ln>
            <a:effectLst/>
          </p:spPr>
          <p:txBody>
            <a:bodyPr lIns="107287" tIns="53643" rIns="107287" bIns="53643" rtlCol="0" anchor="ctr"/>
            <a:lstStyle/>
            <a:p>
              <a:pPr algn="ctr" defTabSz="804558">
                <a:defRPr/>
              </a:pPr>
              <a:r>
                <a:rPr lang="en-GB" sz="1000" kern="0" dirty="0">
                  <a:latin typeface="Calibri" panose="020F0502020204030204" pitchFamily="34" charset="0"/>
                  <a:cs typeface="Helvetica Light"/>
                </a:rPr>
                <a:t>Omni-Commerce Transformation</a:t>
              </a:r>
            </a:p>
          </p:txBody>
        </p:sp>
        <p:sp>
          <p:nvSpPr>
            <p:cNvPr id="176" name="Rectangle à coins arrondis 27"/>
            <p:cNvSpPr>
              <a:spLocks/>
            </p:cNvSpPr>
            <p:nvPr/>
          </p:nvSpPr>
          <p:spPr>
            <a:xfrm>
              <a:off x="4572894" y="2664417"/>
              <a:ext cx="1371600" cy="292608"/>
            </a:xfrm>
            <a:prstGeom prst="roundRect">
              <a:avLst/>
            </a:prstGeom>
            <a:solidFill>
              <a:schemeClr val="bg1"/>
            </a:solidFill>
            <a:ln w="3175" cap="flat" cmpd="sng" algn="ctr">
              <a:noFill/>
              <a:prstDash val="solid"/>
            </a:ln>
            <a:effectLst/>
          </p:spPr>
          <p:txBody>
            <a:bodyPr lIns="107287" tIns="53643" rIns="107287" bIns="53643" rtlCol="0" anchor="ctr"/>
            <a:lstStyle/>
            <a:p>
              <a:pPr algn="ctr" defTabSz="804558">
                <a:defRPr/>
              </a:pPr>
              <a:r>
                <a:rPr lang="en-GB" sz="1000" kern="0" dirty="0">
                  <a:latin typeface="Calibri" panose="020F0502020204030204" pitchFamily="34" charset="0"/>
                  <a:cs typeface="Helvetica Light"/>
                </a:rPr>
                <a:t>Sales Transformation</a:t>
              </a:r>
            </a:p>
          </p:txBody>
        </p:sp>
        <p:sp>
          <p:nvSpPr>
            <p:cNvPr id="177" name="Rectangle à coins arrondis 28"/>
            <p:cNvSpPr>
              <a:spLocks/>
            </p:cNvSpPr>
            <p:nvPr/>
          </p:nvSpPr>
          <p:spPr>
            <a:xfrm>
              <a:off x="4572894" y="3025180"/>
              <a:ext cx="1371600" cy="292608"/>
            </a:xfrm>
            <a:prstGeom prst="roundRect">
              <a:avLst/>
            </a:prstGeom>
            <a:solidFill>
              <a:schemeClr val="bg1"/>
            </a:solidFill>
            <a:ln w="3175" cap="flat" cmpd="sng" algn="ctr">
              <a:noFill/>
              <a:prstDash val="solid"/>
            </a:ln>
            <a:effectLst/>
          </p:spPr>
          <p:txBody>
            <a:bodyPr lIns="107287" tIns="53643" rIns="107287" bIns="53643" rtlCol="0" anchor="ctr"/>
            <a:lstStyle/>
            <a:p>
              <a:pPr algn="ctr" defTabSz="804558">
                <a:defRPr/>
              </a:pPr>
              <a:r>
                <a:rPr lang="en-GB" sz="1000" kern="0" dirty="0">
                  <a:latin typeface="Calibri" panose="020F0502020204030204" pitchFamily="34" charset="0"/>
                  <a:cs typeface="Helvetica Light"/>
                </a:rPr>
                <a:t>Service Transformation</a:t>
              </a:r>
            </a:p>
          </p:txBody>
        </p:sp>
        <p:sp>
          <p:nvSpPr>
            <p:cNvPr id="178" name="Rectangle à coins arrondis 29"/>
            <p:cNvSpPr>
              <a:spLocks/>
            </p:cNvSpPr>
            <p:nvPr/>
          </p:nvSpPr>
          <p:spPr>
            <a:xfrm>
              <a:off x="4572894" y="3381945"/>
              <a:ext cx="1371600" cy="292608"/>
            </a:xfrm>
            <a:prstGeom prst="roundRect">
              <a:avLst/>
            </a:prstGeom>
            <a:solidFill>
              <a:schemeClr val="bg1"/>
            </a:solidFill>
            <a:ln w="3175" cap="flat" cmpd="sng" algn="ctr">
              <a:noFill/>
              <a:prstDash val="solid"/>
            </a:ln>
            <a:effectLst/>
          </p:spPr>
          <p:txBody>
            <a:bodyPr lIns="31679" tIns="53643" rIns="31679" bIns="53643" rtlCol="0" anchor="ctr"/>
            <a:lstStyle/>
            <a:p>
              <a:pPr algn="ctr" defTabSz="804558">
                <a:defRPr/>
              </a:pPr>
              <a:r>
                <a:rPr lang="en-GB" sz="1000" kern="0" dirty="0">
                  <a:latin typeface="Calibri" panose="020F0502020204030204" pitchFamily="34" charset="0"/>
                  <a:cs typeface="Helvetica Light"/>
                </a:rPr>
                <a:t>Loyalty Management</a:t>
              </a:r>
            </a:p>
          </p:txBody>
        </p:sp>
      </p:grpSp>
      <p:sp>
        <p:nvSpPr>
          <p:cNvPr id="179" name="Rectangle à coins arrondis 27"/>
          <p:cNvSpPr>
            <a:spLocks/>
          </p:cNvSpPr>
          <p:nvPr/>
        </p:nvSpPr>
        <p:spPr>
          <a:xfrm>
            <a:off x="2077750" y="2664417"/>
            <a:ext cx="1554480" cy="292608"/>
          </a:xfrm>
          <a:prstGeom prst="roundRect">
            <a:avLst/>
          </a:prstGeom>
          <a:solidFill>
            <a:schemeClr val="bg1"/>
          </a:solidFill>
          <a:ln w="3175" cap="flat" cmpd="sng" algn="ctr">
            <a:noFill/>
            <a:prstDash val="solid"/>
          </a:ln>
          <a:effectLst/>
        </p:spPr>
        <p:txBody>
          <a:bodyPr lIns="107287" tIns="53643" rIns="107287" bIns="53643" rtlCol="0" anchor="ctr"/>
          <a:lstStyle/>
          <a:p>
            <a:pPr algn="ctr" defTabSz="804558">
              <a:defRPr/>
            </a:pPr>
            <a:r>
              <a:rPr lang="en-GB" sz="1000" kern="0" dirty="0">
                <a:latin typeface="Calibri" panose="020F0502020204030204" pitchFamily="34" charset="0"/>
                <a:cs typeface="Helvetica Light"/>
              </a:rPr>
              <a:t>User Experience / Visual Design</a:t>
            </a:r>
          </a:p>
        </p:txBody>
      </p:sp>
      <p:sp>
        <p:nvSpPr>
          <p:cNvPr id="180" name="Rectangle à coins arrondis 28"/>
          <p:cNvSpPr>
            <a:spLocks/>
          </p:cNvSpPr>
          <p:nvPr/>
        </p:nvSpPr>
        <p:spPr>
          <a:xfrm>
            <a:off x="2077750" y="3635305"/>
            <a:ext cx="1554480" cy="292608"/>
          </a:xfrm>
          <a:prstGeom prst="roundRect">
            <a:avLst/>
          </a:prstGeom>
          <a:solidFill>
            <a:schemeClr val="bg1"/>
          </a:solidFill>
          <a:ln w="3175" cap="flat" cmpd="sng" algn="ctr">
            <a:noFill/>
            <a:prstDash val="solid"/>
          </a:ln>
          <a:effectLst/>
        </p:spPr>
        <p:txBody>
          <a:bodyPr lIns="107287" tIns="53643" rIns="107287" bIns="53643" rtlCol="0" anchor="ctr"/>
          <a:lstStyle/>
          <a:p>
            <a:pPr algn="ctr" defTabSz="804558">
              <a:defRPr/>
            </a:pPr>
            <a:r>
              <a:rPr lang="en-GB" sz="1000" kern="0" dirty="0">
                <a:latin typeface="Calibri" panose="020F0502020204030204" pitchFamily="34" charset="0"/>
                <a:cs typeface="Helvetica Light"/>
              </a:rPr>
              <a:t>Connected Things</a:t>
            </a:r>
          </a:p>
        </p:txBody>
      </p:sp>
      <p:sp>
        <p:nvSpPr>
          <p:cNvPr id="183" name="Rectangle à coins arrondis 27"/>
          <p:cNvSpPr>
            <a:spLocks/>
          </p:cNvSpPr>
          <p:nvPr/>
        </p:nvSpPr>
        <p:spPr>
          <a:xfrm>
            <a:off x="2077750" y="3311675"/>
            <a:ext cx="1554480" cy="292608"/>
          </a:xfrm>
          <a:prstGeom prst="roundRect">
            <a:avLst/>
          </a:prstGeom>
          <a:solidFill>
            <a:schemeClr val="bg1"/>
          </a:solidFill>
          <a:ln w="3175" cap="flat" cmpd="sng" algn="ctr">
            <a:noFill/>
            <a:prstDash val="solid"/>
          </a:ln>
          <a:effectLst/>
        </p:spPr>
        <p:txBody>
          <a:bodyPr lIns="107287" tIns="53643" rIns="107287" bIns="53643" rtlCol="0" anchor="ctr"/>
          <a:lstStyle/>
          <a:p>
            <a:pPr algn="ctr" defTabSz="804558">
              <a:defRPr/>
            </a:pPr>
            <a:r>
              <a:rPr lang="en-GB" sz="1000" kern="0" dirty="0">
                <a:latin typeface="Calibri" panose="020F0502020204030204" pitchFamily="34" charset="0"/>
                <a:cs typeface="Helvetica Light"/>
              </a:rPr>
              <a:t>Omni Channel Approaches </a:t>
            </a:r>
          </a:p>
        </p:txBody>
      </p:sp>
      <p:sp>
        <p:nvSpPr>
          <p:cNvPr id="187" name="Rectangle à coins arrondis 27"/>
          <p:cNvSpPr>
            <a:spLocks/>
          </p:cNvSpPr>
          <p:nvPr/>
        </p:nvSpPr>
        <p:spPr>
          <a:xfrm>
            <a:off x="2077750" y="2988046"/>
            <a:ext cx="1554480" cy="292608"/>
          </a:xfrm>
          <a:prstGeom prst="roundRect">
            <a:avLst/>
          </a:prstGeom>
          <a:solidFill>
            <a:schemeClr val="bg1"/>
          </a:solidFill>
          <a:ln w="3175" cap="flat" cmpd="sng" algn="ctr">
            <a:noFill/>
            <a:prstDash val="solid"/>
          </a:ln>
          <a:effectLst/>
        </p:spPr>
        <p:txBody>
          <a:bodyPr lIns="107287" tIns="53643" rIns="107287" bIns="53643" rtlCol="0" anchor="ctr"/>
          <a:lstStyle/>
          <a:p>
            <a:pPr algn="ctr" defTabSz="804558">
              <a:defRPr/>
            </a:pPr>
            <a:r>
              <a:rPr lang="en-GB" sz="1000" kern="0" dirty="0">
                <a:latin typeface="Calibri" panose="020F0502020204030204" pitchFamily="34" charset="0"/>
                <a:cs typeface="Helvetica Light"/>
              </a:rPr>
              <a:t>Mobility Platforms</a:t>
            </a:r>
          </a:p>
        </p:txBody>
      </p:sp>
      <p:sp>
        <p:nvSpPr>
          <p:cNvPr id="188" name="Rectangle à coins arrondis 28"/>
          <p:cNvSpPr>
            <a:spLocks/>
          </p:cNvSpPr>
          <p:nvPr/>
        </p:nvSpPr>
        <p:spPr>
          <a:xfrm>
            <a:off x="9095679" y="3635305"/>
            <a:ext cx="1554480" cy="292608"/>
          </a:xfrm>
          <a:prstGeom prst="roundRect">
            <a:avLst/>
          </a:prstGeom>
          <a:solidFill>
            <a:schemeClr val="bg1"/>
          </a:solidFill>
          <a:ln w="3175" cap="flat" cmpd="sng" algn="ctr">
            <a:noFill/>
            <a:prstDash val="solid"/>
          </a:ln>
          <a:effectLst/>
        </p:spPr>
        <p:txBody>
          <a:bodyPr lIns="107287" tIns="53643" rIns="107287" bIns="53643" rtlCol="0" anchor="ctr"/>
          <a:lstStyle/>
          <a:p>
            <a:pPr algn="ctr" defTabSz="804558">
              <a:defRPr/>
            </a:pPr>
            <a:r>
              <a:rPr lang="en-GB" sz="1000" kern="0" dirty="0">
                <a:solidFill>
                  <a:schemeClr val="accent5">
                    <a:lumMod val="50000"/>
                  </a:schemeClr>
                </a:solidFill>
                <a:latin typeface="Calibri" panose="020F0502020204030204" pitchFamily="34" charset="0"/>
                <a:cs typeface="Helvetica Light"/>
              </a:rPr>
              <a:t>APIs &amp; Services</a:t>
            </a:r>
          </a:p>
        </p:txBody>
      </p:sp>
      <p:cxnSp>
        <p:nvCxnSpPr>
          <p:cNvPr id="189" name="Straight Connector 188"/>
          <p:cNvCxnSpPr/>
          <p:nvPr/>
        </p:nvCxnSpPr>
        <p:spPr>
          <a:xfrm>
            <a:off x="1654377" y="4269631"/>
            <a:ext cx="0" cy="1873278"/>
          </a:xfrm>
          <a:prstGeom prst="line">
            <a:avLst/>
          </a:prstGeom>
          <a:ln>
            <a:headEnd type="oval"/>
            <a:tailEnd type="oval"/>
          </a:ln>
        </p:spPr>
        <p:style>
          <a:lnRef idx="2">
            <a:schemeClr val="dk1"/>
          </a:lnRef>
          <a:fillRef idx="0">
            <a:schemeClr val="dk1"/>
          </a:fillRef>
          <a:effectRef idx="1">
            <a:schemeClr val="dk1"/>
          </a:effectRef>
          <a:fontRef idx="minor">
            <a:schemeClr val="tx1"/>
          </a:fontRef>
        </p:style>
      </p:cxnSp>
      <p:sp>
        <p:nvSpPr>
          <p:cNvPr id="190" name="TextBox 189"/>
          <p:cNvSpPr txBox="1"/>
          <p:nvPr/>
        </p:nvSpPr>
        <p:spPr>
          <a:xfrm rot="16200000">
            <a:off x="1058207" y="4875104"/>
            <a:ext cx="1192342" cy="662332"/>
          </a:xfrm>
          <a:prstGeom prst="rect">
            <a:avLst/>
          </a:prstGeom>
          <a:solidFill>
            <a:schemeClr val="bg1"/>
          </a:solidFill>
        </p:spPr>
        <p:txBody>
          <a:bodyPr wrap="square" lIns="107287" tIns="53643" rIns="107287" bIns="53643" rtlCol="0">
            <a:spAutoFit/>
          </a:bodyPr>
          <a:lstStyle/>
          <a:p>
            <a:pPr algn="ctr"/>
            <a:r>
              <a:rPr lang="en-US" sz="1200" b="1" dirty="0">
                <a:solidFill>
                  <a:schemeClr val="tx2">
                    <a:lumMod val="50000"/>
                  </a:schemeClr>
                </a:solidFill>
                <a:latin typeface="Calibri" panose="020F0502020204030204" pitchFamily="34" charset="0"/>
              </a:rPr>
              <a:t> Technology Stack &amp; Approaches</a:t>
            </a:r>
          </a:p>
        </p:txBody>
      </p:sp>
      <p:sp>
        <p:nvSpPr>
          <p:cNvPr id="191" name="Rounded Rectangle 190"/>
          <p:cNvSpPr>
            <a:spLocks/>
          </p:cNvSpPr>
          <p:nvPr/>
        </p:nvSpPr>
        <p:spPr bwMode="auto">
          <a:xfrm>
            <a:off x="1885950" y="4256583"/>
            <a:ext cx="8867775" cy="1933511"/>
          </a:xfrm>
          <a:prstGeom prst="roundRect">
            <a:avLst>
              <a:gd name="adj" fmla="val 6487"/>
            </a:avLst>
          </a:prstGeom>
          <a:solidFill>
            <a:schemeClr val="tx2">
              <a:lumMod val="10000"/>
              <a:lumOff val="90000"/>
            </a:schemeClr>
          </a:solidFill>
          <a:ln>
            <a:headEnd type="none" w="med" len="med"/>
            <a:tailEnd type="none" w="med" len="me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vert="horz" wrap="square" lIns="80465" tIns="120697" rIns="80465" bIns="40232" numCol="1" rtlCol="0" anchor="t" anchorCtr="0" compatLnSpc="1">
            <a:prstTxWarp prst="textNoShape">
              <a:avLst/>
            </a:prstTxWarp>
          </a:bodyPr>
          <a:lstStyle/>
          <a:p>
            <a:pPr algn="ctr" defTabSz="804649" eaLnBrk="0" fontAlgn="base" hangingPunct="0">
              <a:spcBef>
                <a:spcPct val="0"/>
              </a:spcBef>
              <a:spcAft>
                <a:spcPct val="0"/>
              </a:spcAft>
            </a:pPr>
            <a:endParaRPr lang="en-US" sz="1100" b="1" dirty="0">
              <a:solidFill>
                <a:schemeClr val="bg1"/>
              </a:solidFill>
              <a:latin typeface="Calibri" panose="020F0502020204030204" pitchFamily="34" charset="0"/>
              <a:cs typeface="Arial" charset="0"/>
            </a:endParaRPr>
          </a:p>
        </p:txBody>
      </p:sp>
      <p:sp>
        <p:nvSpPr>
          <p:cNvPr id="192" name="Rectangle à coins arrondis 27"/>
          <p:cNvSpPr>
            <a:spLocks/>
          </p:cNvSpPr>
          <p:nvPr/>
        </p:nvSpPr>
        <p:spPr>
          <a:xfrm>
            <a:off x="2030653" y="4374356"/>
            <a:ext cx="1554480" cy="457200"/>
          </a:xfrm>
          <a:prstGeom prst="round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lIns="0" tIns="53643" rIns="0" bIns="53643" rtlCol="0" anchor="ctr"/>
          <a:lstStyle/>
          <a:p>
            <a:pPr algn="ctr" defTabSz="804558">
              <a:defRPr/>
            </a:pPr>
            <a:r>
              <a:rPr lang="en-GB" sz="900" b="1" kern="0" dirty="0">
                <a:solidFill>
                  <a:schemeClr val="accent5">
                    <a:lumMod val="50000"/>
                  </a:schemeClr>
                </a:solidFill>
                <a:latin typeface="Calibri" panose="020F0502020204030204" pitchFamily="34" charset="0"/>
                <a:cs typeface="Helvetica Light"/>
              </a:rPr>
              <a:t>Content Management</a:t>
            </a:r>
          </a:p>
          <a:p>
            <a:pPr algn="ctr" defTabSz="804558">
              <a:defRPr/>
            </a:pPr>
            <a:r>
              <a:rPr lang="en-GB" sz="900" kern="0" dirty="0">
                <a:solidFill>
                  <a:schemeClr val="tx1"/>
                </a:solidFill>
                <a:latin typeface="Calibri" panose="020F0502020204030204" pitchFamily="34" charset="0"/>
                <a:cs typeface="Helvetica Light"/>
              </a:rPr>
              <a:t>Adobe AEM, Drupal, IBM, Oracle,HTMl5, Sitecore</a:t>
            </a:r>
          </a:p>
        </p:txBody>
      </p:sp>
      <p:sp>
        <p:nvSpPr>
          <p:cNvPr id="193" name="Rectangle à coins arrondis 27"/>
          <p:cNvSpPr>
            <a:spLocks/>
          </p:cNvSpPr>
          <p:nvPr/>
        </p:nvSpPr>
        <p:spPr>
          <a:xfrm>
            <a:off x="3788437" y="4374356"/>
            <a:ext cx="1554480" cy="457200"/>
          </a:xfrm>
          <a:prstGeom prst="round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lIns="0" tIns="53643" rIns="0" bIns="53643" rtlCol="0" anchor="ctr"/>
          <a:lstStyle/>
          <a:p>
            <a:pPr algn="ctr" defTabSz="804558">
              <a:defRPr/>
            </a:pPr>
            <a:r>
              <a:rPr lang="en-GB" sz="900" b="1" kern="0" dirty="0">
                <a:solidFill>
                  <a:schemeClr val="accent5">
                    <a:lumMod val="50000"/>
                  </a:schemeClr>
                </a:solidFill>
                <a:latin typeface="Calibri" panose="020F0502020204030204" pitchFamily="34" charset="0"/>
                <a:cs typeface="Helvetica Light"/>
              </a:rPr>
              <a:t>Social Media Management</a:t>
            </a:r>
          </a:p>
          <a:p>
            <a:pPr algn="ctr" defTabSz="804558">
              <a:defRPr/>
            </a:pPr>
            <a:r>
              <a:rPr lang="en-GB" sz="900" kern="0" dirty="0">
                <a:solidFill>
                  <a:schemeClr val="tx1"/>
                </a:solidFill>
                <a:latin typeface="Calibri" panose="020F0502020204030204" pitchFamily="34" charset="0"/>
                <a:cs typeface="Helvetica Light"/>
              </a:rPr>
              <a:t>Adobe, SAP, Salesforce</a:t>
            </a:r>
          </a:p>
        </p:txBody>
      </p:sp>
      <p:sp>
        <p:nvSpPr>
          <p:cNvPr id="194" name="Rectangle à coins arrondis 27"/>
          <p:cNvSpPr>
            <a:spLocks/>
          </p:cNvSpPr>
          <p:nvPr/>
        </p:nvSpPr>
        <p:spPr>
          <a:xfrm>
            <a:off x="5546221" y="4374356"/>
            <a:ext cx="1554480" cy="457200"/>
          </a:xfrm>
          <a:prstGeom prst="round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lIns="0" tIns="53643" rIns="0" bIns="53643" rtlCol="0" anchor="ctr"/>
          <a:lstStyle/>
          <a:p>
            <a:pPr algn="ctr" defTabSz="804558">
              <a:defRPr/>
            </a:pPr>
            <a:r>
              <a:rPr lang="en-GB" sz="900" b="1" kern="0" dirty="0">
                <a:solidFill>
                  <a:schemeClr val="accent5">
                    <a:lumMod val="50000"/>
                  </a:schemeClr>
                </a:solidFill>
                <a:latin typeface="Calibri" panose="020F0502020204030204" pitchFamily="34" charset="0"/>
                <a:cs typeface="Helvetica Light"/>
              </a:rPr>
              <a:t>Messaging Management</a:t>
            </a:r>
          </a:p>
          <a:p>
            <a:pPr algn="ctr" defTabSz="804558">
              <a:defRPr/>
            </a:pPr>
            <a:r>
              <a:rPr lang="en-GB" sz="900" kern="0" dirty="0">
                <a:solidFill>
                  <a:schemeClr val="tx1"/>
                </a:solidFill>
                <a:latin typeface="Calibri" panose="020F0502020204030204" pitchFamily="34" charset="0"/>
                <a:cs typeface="Helvetica Light"/>
              </a:rPr>
              <a:t>Adobe, SAP, IBM, Salesforce, Oracle  Hadoop, Teradata</a:t>
            </a:r>
          </a:p>
        </p:txBody>
      </p:sp>
      <p:sp>
        <p:nvSpPr>
          <p:cNvPr id="195" name="Rectangle à coins arrondis 27"/>
          <p:cNvSpPr>
            <a:spLocks/>
          </p:cNvSpPr>
          <p:nvPr/>
        </p:nvSpPr>
        <p:spPr>
          <a:xfrm>
            <a:off x="7304005" y="4374356"/>
            <a:ext cx="1554480" cy="457200"/>
          </a:xfrm>
          <a:prstGeom prst="round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lIns="0" tIns="53643" rIns="0" bIns="53643" rtlCol="0" anchor="ctr"/>
          <a:lstStyle/>
          <a:p>
            <a:pPr algn="ctr" defTabSz="804558">
              <a:defRPr/>
            </a:pPr>
            <a:r>
              <a:rPr lang="en-GB" sz="900" b="1" kern="0" dirty="0">
                <a:solidFill>
                  <a:schemeClr val="accent5">
                    <a:lumMod val="50000"/>
                  </a:schemeClr>
                </a:solidFill>
                <a:latin typeface="Calibri" panose="020F0502020204030204" pitchFamily="34" charset="0"/>
                <a:cs typeface="Helvetica Light"/>
              </a:rPr>
              <a:t>Sales &amp; Service Transformation</a:t>
            </a:r>
          </a:p>
          <a:p>
            <a:pPr algn="ctr" defTabSz="804558">
              <a:defRPr/>
            </a:pPr>
            <a:r>
              <a:rPr lang="en-GB" sz="900" kern="0" dirty="0">
                <a:solidFill>
                  <a:schemeClr val="tx1"/>
                </a:solidFill>
                <a:latin typeface="Calibri" panose="020F0502020204030204" pitchFamily="34" charset="0"/>
                <a:cs typeface="Helvetica Light"/>
              </a:rPr>
              <a:t>Pega, Odigo, MS, Netsuite,</a:t>
            </a:r>
          </a:p>
          <a:p>
            <a:pPr algn="ctr" defTabSz="804558">
              <a:defRPr/>
            </a:pPr>
            <a:r>
              <a:rPr lang="en-GB" sz="900" kern="0" dirty="0">
                <a:solidFill>
                  <a:schemeClr val="tx1"/>
                </a:solidFill>
                <a:latin typeface="Calibri" panose="020F0502020204030204" pitchFamily="34" charset="0"/>
                <a:cs typeface="Helvetica Light"/>
              </a:rPr>
              <a:t>Salesforce, SAP</a:t>
            </a:r>
          </a:p>
        </p:txBody>
      </p:sp>
      <p:sp>
        <p:nvSpPr>
          <p:cNvPr id="196" name="Rectangle à coins arrondis 27"/>
          <p:cNvSpPr>
            <a:spLocks/>
          </p:cNvSpPr>
          <p:nvPr/>
        </p:nvSpPr>
        <p:spPr>
          <a:xfrm>
            <a:off x="9061790" y="4374356"/>
            <a:ext cx="1554480" cy="457200"/>
          </a:xfrm>
          <a:prstGeom prst="round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lIns="0" tIns="53643" rIns="0" bIns="53643" rtlCol="0" anchor="ctr"/>
          <a:lstStyle/>
          <a:p>
            <a:pPr algn="ctr" defTabSz="804558">
              <a:defRPr/>
            </a:pPr>
            <a:r>
              <a:rPr lang="en-GB" sz="900" b="1" kern="0" dirty="0">
                <a:solidFill>
                  <a:schemeClr val="accent5">
                    <a:lumMod val="50000"/>
                  </a:schemeClr>
                </a:solidFill>
                <a:latin typeface="Calibri" panose="020F0502020204030204" pitchFamily="34" charset="0"/>
                <a:cs typeface="Helvetica Light"/>
              </a:rPr>
              <a:t>Loyalty Management</a:t>
            </a:r>
          </a:p>
          <a:p>
            <a:pPr algn="ctr" defTabSz="804558">
              <a:defRPr/>
            </a:pPr>
            <a:r>
              <a:rPr lang="en-GB" sz="900" kern="0" dirty="0">
                <a:solidFill>
                  <a:schemeClr val="tx1"/>
                </a:solidFill>
                <a:latin typeface="Calibri" panose="020F0502020204030204" pitchFamily="34" charset="0"/>
                <a:cs typeface="Helvetica Light"/>
              </a:rPr>
              <a:t>SAP, Salesforce, Oracle</a:t>
            </a:r>
          </a:p>
          <a:p>
            <a:pPr algn="ctr" defTabSz="804558">
              <a:defRPr/>
            </a:pPr>
            <a:endParaRPr lang="en-GB" sz="900" kern="0" dirty="0">
              <a:solidFill>
                <a:schemeClr val="tx1"/>
              </a:solidFill>
              <a:latin typeface="Calibri" panose="020F0502020204030204" pitchFamily="34" charset="0"/>
              <a:cs typeface="Helvetica Light"/>
            </a:endParaRPr>
          </a:p>
        </p:txBody>
      </p:sp>
      <p:sp>
        <p:nvSpPr>
          <p:cNvPr id="197" name="Rectangle à coins arrondis 27"/>
          <p:cNvSpPr>
            <a:spLocks/>
          </p:cNvSpPr>
          <p:nvPr/>
        </p:nvSpPr>
        <p:spPr>
          <a:xfrm>
            <a:off x="2752725" y="4920957"/>
            <a:ext cx="1711300" cy="457200"/>
          </a:xfrm>
          <a:prstGeom prst="round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lIns="0" tIns="53643" rIns="0" bIns="53643" rtlCol="0" anchor="ctr"/>
          <a:lstStyle/>
          <a:p>
            <a:pPr algn="ctr" defTabSz="804558">
              <a:defRPr/>
            </a:pPr>
            <a:r>
              <a:rPr lang="en-GB" sz="900" b="1" kern="0" dirty="0">
                <a:solidFill>
                  <a:schemeClr val="accent5">
                    <a:lumMod val="50000"/>
                  </a:schemeClr>
                </a:solidFill>
                <a:latin typeface="Calibri" panose="020F0502020204030204" pitchFamily="34" charset="0"/>
                <a:cs typeface="Helvetica Light"/>
              </a:rPr>
              <a:t>Omni Commerce Transformation</a:t>
            </a:r>
          </a:p>
          <a:p>
            <a:pPr algn="ctr" defTabSz="804558">
              <a:defRPr/>
            </a:pPr>
            <a:r>
              <a:rPr lang="en-GB" sz="900" kern="0" dirty="0">
                <a:solidFill>
                  <a:schemeClr val="tx1"/>
                </a:solidFill>
                <a:latin typeface="Calibri" panose="020F0502020204030204" pitchFamily="34" charset="0"/>
                <a:cs typeface="Helvetica Light"/>
              </a:rPr>
              <a:t>SAP-Hybris, IBM -WCS, Oracle –ATG , Netsuite</a:t>
            </a:r>
          </a:p>
        </p:txBody>
      </p:sp>
      <p:sp>
        <p:nvSpPr>
          <p:cNvPr id="198" name="Rectangle à coins arrondis 27"/>
          <p:cNvSpPr>
            <a:spLocks/>
          </p:cNvSpPr>
          <p:nvPr/>
        </p:nvSpPr>
        <p:spPr>
          <a:xfrm>
            <a:off x="4667329" y="4920957"/>
            <a:ext cx="1554480" cy="457200"/>
          </a:xfrm>
          <a:prstGeom prst="round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lIns="0" tIns="53643" rIns="0" bIns="53643" rtlCol="0" anchor="ctr"/>
          <a:lstStyle/>
          <a:p>
            <a:pPr algn="ctr" defTabSz="804558">
              <a:defRPr/>
            </a:pPr>
            <a:r>
              <a:rPr lang="en-GB" sz="900" b="1" kern="0" dirty="0">
                <a:solidFill>
                  <a:schemeClr val="accent5">
                    <a:lumMod val="50000"/>
                  </a:schemeClr>
                </a:solidFill>
                <a:latin typeface="Calibri" panose="020F0502020204030204" pitchFamily="34" charset="0"/>
                <a:cs typeface="Helvetica Light"/>
              </a:rPr>
              <a:t>Digital-Humanized Transformation</a:t>
            </a:r>
          </a:p>
          <a:p>
            <a:pPr algn="ctr" defTabSz="804558">
              <a:defRPr/>
            </a:pPr>
            <a:r>
              <a:rPr lang="en-GB" sz="900" kern="0" dirty="0">
                <a:solidFill>
                  <a:schemeClr val="tx1"/>
                </a:solidFill>
                <a:latin typeface="Calibri" panose="020F0502020204030204" pitchFamily="34" charset="0"/>
                <a:cs typeface="Helvetica Light"/>
              </a:rPr>
              <a:t>SAP, IBM, Salesforce</a:t>
            </a:r>
          </a:p>
        </p:txBody>
      </p:sp>
      <p:sp>
        <p:nvSpPr>
          <p:cNvPr id="199" name="Rectangle à coins arrondis 27"/>
          <p:cNvSpPr>
            <a:spLocks/>
          </p:cNvSpPr>
          <p:nvPr/>
        </p:nvSpPr>
        <p:spPr>
          <a:xfrm>
            <a:off x="6425113" y="4920957"/>
            <a:ext cx="1554480" cy="457200"/>
          </a:xfrm>
          <a:prstGeom prst="round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lIns="0" tIns="53643" rIns="0" bIns="53643" rtlCol="0" anchor="ctr"/>
          <a:lstStyle/>
          <a:p>
            <a:pPr algn="ctr" defTabSz="804558">
              <a:defRPr/>
            </a:pPr>
            <a:r>
              <a:rPr lang="en-GB" sz="900" b="1" kern="0" dirty="0">
                <a:solidFill>
                  <a:schemeClr val="accent5">
                    <a:lumMod val="50000"/>
                  </a:schemeClr>
                </a:solidFill>
                <a:latin typeface="Calibri" panose="020F0502020204030204" pitchFamily="34" charset="0"/>
                <a:cs typeface="Helvetica Light"/>
              </a:rPr>
              <a:t>Omni Commerce Enablers</a:t>
            </a:r>
          </a:p>
          <a:p>
            <a:pPr algn="ctr" defTabSz="804558">
              <a:defRPr/>
            </a:pPr>
            <a:r>
              <a:rPr lang="en-GB" sz="900" kern="0" dirty="0">
                <a:solidFill>
                  <a:schemeClr val="tx1"/>
                </a:solidFill>
                <a:latin typeface="Calibri" panose="020F0502020204030204" pitchFamily="34" charset="0"/>
                <a:cs typeface="Helvetica Light"/>
              </a:rPr>
              <a:t>Adobe, Opentext, SAP,  Oracle</a:t>
            </a:r>
          </a:p>
        </p:txBody>
      </p:sp>
      <p:sp>
        <p:nvSpPr>
          <p:cNvPr id="200" name="Rectangle à coins arrondis 27"/>
          <p:cNvSpPr>
            <a:spLocks/>
          </p:cNvSpPr>
          <p:nvPr/>
        </p:nvSpPr>
        <p:spPr>
          <a:xfrm>
            <a:off x="8182898" y="4920957"/>
            <a:ext cx="1554480" cy="457200"/>
          </a:xfrm>
          <a:prstGeom prst="round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lIns="0" tIns="53643" rIns="0" bIns="53643" rtlCol="0" anchor="ctr"/>
          <a:lstStyle/>
          <a:p>
            <a:pPr algn="ctr" defTabSz="804558">
              <a:defRPr/>
            </a:pPr>
            <a:r>
              <a:rPr lang="en-GB" sz="900" b="1" kern="0" dirty="0">
                <a:solidFill>
                  <a:schemeClr val="accent5">
                    <a:lumMod val="50000"/>
                  </a:schemeClr>
                </a:solidFill>
                <a:latin typeface="Calibri" panose="020F0502020204030204" pitchFamily="34" charset="0"/>
                <a:cs typeface="Helvetica Light"/>
              </a:rPr>
              <a:t>BPM</a:t>
            </a:r>
          </a:p>
          <a:p>
            <a:pPr algn="ctr" defTabSz="804558">
              <a:defRPr/>
            </a:pPr>
            <a:r>
              <a:rPr lang="en-GB" sz="900" kern="0" dirty="0">
                <a:solidFill>
                  <a:schemeClr val="tx1"/>
                </a:solidFill>
                <a:latin typeface="Calibri" panose="020F0502020204030204" pitchFamily="34" charset="0"/>
                <a:cs typeface="Helvetica Light"/>
              </a:rPr>
              <a:t>Oracle, Pega, Mulesoft, Microsoft, IBM</a:t>
            </a:r>
          </a:p>
        </p:txBody>
      </p:sp>
      <p:sp>
        <p:nvSpPr>
          <p:cNvPr id="208" name="Rectangle à coins arrondis 27"/>
          <p:cNvSpPr>
            <a:spLocks/>
          </p:cNvSpPr>
          <p:nvPr/>
        </p:nvSpPr>
        <p:spPr>
          <a:xfrm>
            <a:off x="5651305" y="5477083"/>
            <a:ext cx="1961835" cy="631600"/>
          </a:xfrm>
          <a:prstGeom prst="round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lIns="0" tIns="53643" rIns="0" bIns="53643" rtlCol="0" anchor="ctr"/>
          <a:lstStyle/>
          <a:p>
            <a:pPr algn="ctr" defTabSz="804558">
              <a:defRPr/>
            </a:pPr>
            <a:r>
              <a:rPr lang="en-GB" sz="900" b="1" kern="0" dirty="0">
                <a:solidFill>
                  <a:schemeClr val="accent5">
                    <a:lumMod val="50000"/>
                  </a:schemeClr>
                </a:solidFill>
                <a:latin typeface="Calibri" panose="020F0502020204030204" pitchFamily="34" charset="0"/>
                <a:cs typeface="Helvetica Light"/>
              </a:rPr>
              <a:t>Mobility</a:t>
            </a:r>
          </a:p>
          <a:p>
            <a:pPr algn="ctr" defTabSz="804558">
              <a:defRPr/>
            </a:pPr>
            <a:r>
              <a:rPr lang="en-GB" sz="900" kern="0" dirty="0">
                <a:solidFill>
                  <a:schemeClr val="tx1"/>
                </a:solidFill>
                <a:latin typeface="Calibri" panose="020F0502020204030204" pitchFamily="34" charset="0"/>
                <a:cs typeface="Helvetica Light"/>
              </a:rPr>
              <a:t>iOS,Android, Windows, HTML5, </a:t>
            </a:r>
          </a:p>
          <a:p>
            <a:pPr algn="ctr" defTabSz="804558">
              <a:defRPr/>
            </a:pPr>
            <a:r>
              <a:rPr lang="en-GB" sz="900" kern="0" dirty="0">
                <a:solidFill>
                  <a:schemeClr val="tx1"/>
                </a:solidFill>
                <a:latin typeface="Calibri" panose="020F0502020204030204" pitchFamily="34" charset="0"/>
                <a:cs typeface="Helvetica Light"/>
              </a:rPr>
              <a:t>SAP SMP, FIORI , IBM Mobile First , </a:t>
            </a:r>
          </a:p>
          <a:p>
            <a:pPr algn="ctr" defTabSz="804558">
              <a:defRPr/>
            </a:pPr>
            <a:r>
              <a:rPr lang="en-GB" sz="900" kern="0" dirty="0">
                <a:solidFill>
                  <a:schemeClr val="tx1"/>
                </a:solidFill>
                <a:latin typeface="Calibri" panose="020F0502020204030204" pitchFamily="34" charset="0"/>
                <a:cs typeface="Helvetica Light"/>
              </a:rPr>
              <a:t>Bluemix,  Kony, Airwatch</a:t>
            </a:r>
          </a:p>
        </p:txBody>
      </p:sp>
      <p:sp>
        <p:nvSpPr>
          <p:cNvPr id="211" name="Rectangle à coins arrondis 27"/>
          <p:cNvSpPr>
            <a:spLocks/>
          </p:cNvSpPr>
          <p:nvPr/>
        </p:nvSpPr>
        <p:spPr>
          <a:xfrm>
            <a:off x="7770276" y="5477080"/>
            <a:ext cx="1467098" cy="631603"/>
          </a:xfrm>
          <a:prstGeom prst="round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lIns="0" tIns="53643" rIns="0" bIns="53643" rtlCol="0" anchor="ctr"/>
          <a:lstStyle/>
          <a:p>
            <a:pPr algn="ctr" defTabSz="804558">
              <a:defRPr/>
            </a:pPr>
            <a:r>
              <a:rPr lang="en-GB" sz="900" b="1" kern="0" dirty="0">
                <a:solidFill>
                  <a:schemeClr val="accent5">
                    <a:lumMod val="50000"/>
                  </a:schemeClr>
                </a:solidFill>
                <a:latin typeface="Calibri" panose="020F0502020204030204" pitchFamily="34" charset="0"/>
                <a:cs typeface="Helvetica Light"/>
              </a:rPr>
              <a:t>Web UI </a:t>
            </a:r>
          </a:p>
          <a:p>
            <a:pPr algn="ctr" defTabSz="804558">
              <a:defRPr/>
            </a:pPr>
            <a:r>
              <a:rPr lang="en-GB" sz="900" kern="0" dirty="0">
                <a:solidFill>
                  <a:schemeClr val="tx1"/>
                </a:solidFill>
                <a:latin typeface="Calibri" panose="020F0502020204030204" pitchFamily="34" charset="0"/>
                <a:cs typeface="Helvetica Light"/>
              </a:rPr>
              <a:t>HTML5 , CSS3, Angular, </a:t>
            </a:r>
          </a:p>
          <a:p>
            <a:pPr algn="ctr" defTabSz="804558">
              <a:defRPr/>
            </a:pPr>
            <a:r>
              <a:rPr lang="en-GB" sz="900" kern="0" dirty="0">
                <a:solidFill>
                  <a:schemeClr val="tx1"/>
                </a:solidFill>
                <a:latin typeface="Calibri" panose="020F0502020204030204" pitchFamily="34" charset="0"/>
                <a:cs typeface="Helvetica Light"/>
              </a:rPr>
              <a:t>Knockout, Backbone</a:t>
            </a:r>
          </a:p>
        </p:txBody>
      </p:sp>
      <p:sp>
        <p:nvSpPr>
          <p:cNvPr id="212" name="Rectangle à coins arrondis 27"/>
          <p:cNvSpPr>
            <a:spLocks/>
          </p:cNvSpPr>
          <p:nvPr/>
        </p:nvSpPr>
        <p:spPr>
          <a:xfrm>
            <a:off x="2893841" y="5467558"/>
            <a:ext cx="2600327" cy="641127"/>
          </a:xfrm>
          <a:prstGeom prst="round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lIns="0" tIns="53643" rIns="0" bIns="53643" rtlCol="0" anchor="ctr"/>
          <a:lstStyle/>
          <a:p>
            <a:pPr algn="ctr" defTabSz="804558">
              <a:defRPr/>
            </a:pPr>
            <a:r>
              <a:rPr lang="en-GB" sz="900" b="1" kern="0" dirty="0">
                <a:solidFill>
                  <a:schemeClr val="accent5">
                    <a:lumMod val="50000"/>
                  </a:schemeClr>
                </a:solidFill>
                <a:latin typeface="Calibri" panose="020F0502020204030204" pitchFamily="34" charset="0"/>
                <a:cs typeface="Helvetica Light"/>
              </a:rPr>
              <a:t>UX/ Visual Design</a:t>
            </a:r>
          </a:p>
          <a:p>
            <a:pPr algn="ctr" defTabSz="804558">
              <a:defRPr/>
            </a:pPr>
            <a:r>
              <a:rPr lang="en-GB" sz="900" kern="0" dirty="0">
                <a:solidFill>
                  <a:schemeClr val="tx1"/>
                </a:solidFill>
                <a:latin typeface="Calibri" panose="020F0502020204030204" pitchFamily="34" charset="0"/>
                <a:cs typeface="Helvetica Light"/>
              </a:rPr>
              <a:t>Digital Journey Definition  - Design Thinking  - </a:t>
            </a:r>
          </a:p>
          <a:p>
            <a:pPr algn="ctr" defTabSz="804558">
              <a:defRPr/>
            </a:pPr>
            <a:r>
              <a:rPr lang="en-GB" sz="900" kern="0" dirty="0">
                <a:solidFill>
                  <a:schemeClr val="tx1"/>
                </a:solidFill>
                <a:latin typeface="Calibri" panose="020F0502020204030204" pitchFamily="34" charset="0"/>
                <a:cs typeface="Helvetica Light"/>
              </a:rPr>
              <a:t>Rapid  UX - Responsive Experience   </a:t>
            </a:r>
          </a:p>
        </p:txBody>
      </p:sp>
      <p:sp>
        <p:nvSpPr>
          <p:cNvPr id="213" name="Freeform 611"/>
          <p:cNvSpPr>
            <a:spLocks noEditPoints="1"/>
          </p:cNvSpPr>
          <p:nvPr/>
        </p:nvSpPr>
        <p:spPr bwMode="auto">
          <a:xfrm>
            <a:off x="3254785" y="1414464"/>
            <a:ext cx="356779" cy="271462"/>
          </a:xfrm>
          <a:custGeom>
            <a:avLst/>
            <a:gdLst/>
            <a:ahLst/>
            <a:cxnLst>
              <a:cxn ang="0">
                <a:pos x="101" y="97"/>
              </a:cxn>
              <a:cxn ang="0">
                <a:pos x="117" y="113"/>
              </a:cxn>
              <a:cxn ang="0">
                <a:pos x="101" y="129"/>
              </a:cxn>
              <a:cxn ang="0">
                <a:pos x="57" y="113"/>
              </a:cxn>
              <a:cxn ang="0">
                <a:pos x="113" y="113"/>
              </a:cxn>
              <a:cxn ang="0">
                <a:pos x="56" y="53"/>
              </a:cxn>
              <a:cxn ang="0">
                <a:pos x="71" y="69"/>
              </a:cxn>
              <a:cxn ang="0">
                <a:pos x="56" y="85"/>
              </a:cxn>
              <a:cxn ang="0">
                <a:pos x="0" y="69"/>
              </a:cxn>
              <a:cxn ang="0">
                <a:pos x="55" y="69"/>
              </a:cxn>
              <a:cxn ang="0">
                <a:pos x="140" y="170"/>
              </a:cxn>
              <a:cxn ang="0">
                <a:pos x="140" y="0"/>
              </a:cxn>
              <a:cxn ang="0">
                <a:pos x="56" y="85"/>
              </a:cxn>
              <a:cxn ang="0">
                <a:pos x="225" y="85"/>
              </a:cxn>
              <a:cxn ang="0">
                <a:pos x="94" y="85"/>
              </a:cxn>
              <a:cxn ang="0">
                <a:pos x="140" y="0"/>
              </a:cxn>
              <a:cxn ang="0">
                <a:pos x="186" y="85"/>
              </a:cxn>
              <a:cxn ang="0">
                <a:pos x="140" y="170"/>
              </a:cxn>
              <a:cxn ang="0">
                <a:pos x="101" y="129"/>
              </a:cxn>
              <a:cxn ang="0">
                <a:pos x="205" y="139"/>
              </a:cxn>
              <a:cxn ang="0">
                <a:pos x="140" y="125"/>
              </a:cxn>
              <a:cxn ang="0">
                <a:pos x="75" y="140"/>
              </a:cxn>
              <a:cxn ang="0">
                <a:pos x="75" y="30"/>
              </a:cxn>
              <a:cxn ang="0">
                <a:pos x="140" y="45"/>
              </a:cxn>
              <a:cxn ang="0">
                <a:pos x="205" y="30"/>
              </a:cxn>
              <a:cxn ang="0">
                <a:pos x="75" y="31"/>
              </a:cxn>
              <a:cxn ang="0">
                <a:pos x="140" y="0"/>
              </a:cxn>
              <a:cxn ang="0">
                <a:pos x="205" y="30"/>
              </a:cxn>
              <a:cxn ang="0">
                <a:pos x="75" y="139"/>
              </a:cxn>
              <a:cxn ang="0">
                <a:pos x="140" y="170"/>
              </a:cxn>
              <a:cxn ang="0">
                <a:pos x="205" y="140"/>
              </a:cxn>
              <a:cxn ang="0">
                <a:pos x="225" y="85"/>
              </a:cxn>
              <a:cxn ang="0">
                <a:pos x="205" y="30"/>
              </a:cxn>
            </a:cxnLst>
            <a:rect l="0" t="0" r="r" b="b"/>
            <a:pathLst>
              <a:path w="225" h="170">
                <a:moveTo>
                  <a:pt x="101" y="97"/>
                </a:moveTo>
                <a:cubicBezTo>
                  <a:pt x="117" y="113"/>
                  <a:pt x="117" y="113"/>
                  <a:pt x="117" y="113"/>
                </a:cubicBezTo>
                <a:cubicBezTo>
                  <a:pt x="101" y="129"/>
                  <a:pt x="101" y="129"/>
                  <a:pt x="101" y="129"/>
                </a:cubicBezTo>
                <a:moveTo>
                  <a:pt x="57" y="113"/>
                </a:moveTo>
                <a:cubicBezTo>
                  <a:pt x="113" y="113"/>
                  <a:pt x="113" y="113"/>
                  <a:pt x="113" y="113"/>
                </a:cubicBezTo>
                <a:moveTo>
                  <a:pt x="56" y="53"/>
                </a:moveTo>
                <a:cubicBezTo>
                  <a:pt x="71" y="69"/>
                  <a:pt x="71" y="69"/>
                  <a:pt x="71" y="69"/>
                </a:cubicBezTo>
                <a:cubicBezTo>
                  <a:pt x="56" y="85"/>
                  <a:pt x="56" y="85"/>
                  <a:pt x="56" y="85"/>
                </a:cubicBezTo>
                <a:moveTo>
                  <a:pt x="0" y="69"/>
                </a:moveTo>
                <a:cubicBezTo>
                  <a:pt x="55" y="69"/>
                  <a:pt x="55" y="69"/>
                  <a:pt x="55" y="69"/>
                </a:cubicBezTo>
                <a:moveTo>
                  <a:pt x="140" y="170"/>
                </a:moveTo>
                <a:cubicBezTo>
                  <a:pt x="140" y="0"/>
                  <a:pt x="140" y="0"/>
                  <a:pt x="140" y="0"/>
                </a:cubicBezTo>
                <a:moveTo>
                  <a:pt x="56" y="85"/>
                </a:moveTo>
                <a:cubicBezTo>
                  <a:pt x="225" y="85"/>
                  <a:pt x="225" y="85"/>
                  <a:pt x="225" y="85"/>
                </a:cubicBezTo>
                <a:moveTo>
                  <a:pt x="94" y="85"/>
                </a:moveTo>
                <a:cubicBezTo>
                  <a:pt x="94" y="38"/>
                  <a:pt x="115" y="0"/>
                  <a:pt x="140" y="0"/>
                </a:cubicBezTo>
                <a:cubicBezTo>
                  <a:pt x="165" y="0"/>
                  <a:pt x="186" y="38"/>
                  <a:pt x="186" y="85"/>
                </a:cubicBezTo>
                <a:cubicBezTo>
                  <a:pt x="186" y="132"/>
                  <a:pt x="165" y="170"/>
                  <a:pt x="140" y="170"/>
                </a:cubicBezTo>
                <a:cubicBezTo>
                  <a:pt x="124" y="170"/>
                  <a:pt x="109" y="154"/>
                  <a:pt x="101" y="129"/>
                </a:cubicBezTo>
                <a:moveTo>
                  <a:pt x="205" y="139"/>
                </a:moveTo>
                <a:cubicBezTo>
                  <a:pt x="189" y="130"/>
                  <a:pt x="166" y="125"/>
                  <a:pt x="140" y="125"/>
                </a:cubicBezTo>
                <a:cubicBezTo>
                  <a:pt x="114" y="125"/>
                  <a:pt x="91" y="131"/>
                  <a:pt x="75" y="140"/>
                </a:cubicBezTo>
                <a:moveTo>
                  <a:pt x="75" y="30"/>
                </a:moveTo>
                <a:cubicBezTo>
                  <a:pt x="91" y="39"/>
                  <a:pt x="114" y="45"/>
                  <a:pt x="140" y="45"/>
                </a:cubicBezTo>
                <a:cubicBezTo>
                  <a:pt x="166" y="45"/>
                  <a:pt x="189" y="39"/>
                  <a:pt x="205" y="30"/>
                </a:cubicBezTo>
                <a:moveTo>
                  <a:pt x="75" y="31"/>
                </a:moveTo>
                <a:cubicBezTo>
                  <a:pt x="91" y="12"/>
                  <a:pt x="114" y="0"/>
                  <a:pt x="140" y="0"/>
                </a:cubicBezTo>
                <a:cubicBezTo>
                  <a:pt x="166" y="0"/>
                  <a:pt x="189" y="12"/>
                  <a:pt x="205" y="30"/>
                </a:cubicBezTo>
                <a:moveTo>
                  <a:pt x="75" y="139"/>
                </a:moveTo>
                <a:cubicBezTo>
                  <a:pt x="90" y="158"/>
                  <a:pt x="114" y="170"/>
                  <a:pt x="140" y="170"/>
                </a:cubicBezTo>
                <a:moveTo>
                  <a:pt x="205" y="140"/>
                </a:moveTo>
                <a:cubicBezTo>
                  <a:pt x="217" y="125"/>
                  <a:pt x="225" y="106"/>
                  <a:pt x="225" y="85"/>
                </a:cubicBezTo>
                <a:cubicBezTo>
                  <a:pt x="225" y="64"/>
                  <a:pt x="217" y="45"/>
                  <a:pt x="205" y="3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nvGrpSpPr>
          <p:cNvPr id="224" name="Groupe 394"/>
          <p:cNvGrpSpPr/>
          <p:nvPr/>
        </p:nvGrpSpPr>
        <p:grpSpPr>
          <a:xfrm>
            <a:off x="6863686" y="1412877"/>
            <a:ext cx="289943" cy="292099"/>
            <a:chOff x="431801" y="5376863"/>
            <a:chExt cx="427037" cy="430212"/>
          </a:xfrm>
        </p:grpSpPr>
        <p:sp>
          <p:nvSpPr>
            <p:cNvPr id="225" name="Freeform 147"/>
            <p:cNvSpPr>
              <a:spLocks/>
            </p:cNvSpPr>
            <p:nvPr/>
          </p:nvSpPr>
          <p:spPr bwMode="auto">
            <a:xfrm>
              <a:off x="630238" y="5376863"/>
              <a:ext cx="228600" cy="217487"/>
            </a:xfrm>
            <a:custGeom>
              <a:avLst/>
              <a:gdLst/>
              <a:ahLst/>
              <a:cxnLst>
                <a:cxn ang="0">
                  <a:pos x="89" y="72"/>
                </a:cxn>
                <a:cxn ang="0">
                  <a:pos x="103" y="72"/>
                </a:cxn>
                <a:cxn ang="0">
                  <a:pos x="144" y="30"/>
                </a:cxn>
                <a:cxn ang="0">
                  <a:pos x="116" y="30"/>
                </a:cxn>
                <a:cxn ang="0">
                  <a:pos x="116" y="0"/>
                </a:cxn>
                <a:cxn ang="0">
                  <a:pos x="73" y="43"/>
                </a:cxn>
                <a:cxn ang="0">
                  <a:pos x="73" y="64"/>
                </a:cxn>
                <a:cxn ang="0">
                  <a:pos x="0" y="137"/>
                </a:cxn>
              </a:cxnLst>
              <a:rect l="0" t="0" r="r" b="b"/>
              <a:pathLst>
                <a:path w="144" h="137">
                  <a:moveTo>
                    <a:pt x="89" y="72"/>
                  </a:moveTo>
                  <a:lnTo>
                    <a:pt x="103" y="72"/>
                  </a:lnTo>
                  <a:lnTo>
                    <a:pt x="144" y="30"/>
                  </a:lnTo>
                  <a:lnTo>
                    <a:pt x="116" y="30"/>
                  </a:lnTo>
                  <a:lnTo>
                    <a:pt x="116" y="0"/>
                  </a:lnTo>
                  <a:lnTo>
                    <a:pt x="73" y="43"/>
                  </a:lnTo>
                  <a:lnTo>
                    <a:pt x="73" y="64"/>
                  </a:lnTo>
                  <a:lnTo>
                    <a:pt x="0" y="137"/>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26" name="Freeform 148"/>
            <p:cNvSpPr>
              <a:spLocks/>
            </p:cNvSpPr>
            <p:nvPr/>
          </p:nvSpPr>
          <p:spPr bwMode="auto">
            <a:xfrm>
              <a:off x="762001" y="5521325"/>
              <a:ext cx="1588" cy="1587"/>
            </a:xfrm>
            <a:custGeom>
              <a:avLst/>
              <a:gdLst/>
              <a:ahLst/>
              <a:cxnLst>
                <a:cxn ang="0">
                  <a:pos x="0" y="0"/>
                </a:cxn>
                <a:cxn ang="0">
                  <a:pos x="0" y="0"/>
                </a:cxn>
              </a:cxnLst>
              <a:rect l="0" t="0" r="r" b="b"/>
              <a:pathLst>
                <a:path>
                  <a:moveTo>
                    <a:pt x="0" y="0"/>
                  </a:moveTo>
                  <a:cubicBezTo>
                    <a:pt x="0" y="0"/>
                    <a:pt x="0" y="0"/>
                    <a:pt x="0" y="0"/>
                  </a:cubicBezTo>
                </a:path>
              </a:pathLst>
            </a:custGeom>
            <a:noFill/>
            <a:ln w="12700" cap="rnd">
              <a:solidFill>
                <a:schemeClr val="bg1"/>
              </a:solidFill>
              <a:prstDash val="solid"/>
              <a:bevel/>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27" name="Freeform 149"/>
            <p:cNvSpPr>
              <a:spLocks/>
            </p:cNvSpPr>
            <p:nvPr/>
          </p:nvSpPr>
          <p:spPr bwMode="auto">
            <a:xfrm>
              <a:off x="585788" y="5594350"/>
              <a:ext cx="57150" cy="58737"/>
            </a:xfrm>
            <a:custGeom>
              <a:avLst/>
              <a:gdLst/>
              <a:ahLst/>
              <a:cxnLst>
                <a:cxn ang="0">
                  <a:pos x="16" y="1"/>
                </a:cxn>
                <a:cxn ang="0">
                  <a:pos x="12" y="0"/>
                </a:cxn>
                <a:cxn ang="0">
                  <a:pos x="0" y="11"/>
                </a:cxn>
                <a:cxn ang="0">
                  <a:pos x="12" y="23"/>
                </a:cxn>
                <a:cxn ang="0">
                  <a:pos x="23" y="11"/>
                </a:cxn>
                <a:cxn ang="0">
                  <a:pos x="22" y="7"/>
                </a:cxn>
              </a:cxnLst>
              <a:rect l="0" t="0" r="r" b="b"/>
              <a:pathLst>
                <a:path w="23" h="23">
                  <a:moveTo>
                    <a:pt x="16" y="1"/>
                  </a:moveTo>
                  <a:cubicBezTo>
                    <a:pt x="15" y="0"/>
                    <a:pt x="13" y="0"/>
                    <a:pt x="12" y="0"/>
                  </a:cubicBezTo>
                  <a:cubicBezTo>
                    <a:pt x="5" y="0"/>
                    <a:pt x="0" y="5"/>
                    <a:pt x="0" y="11"/>
                  </a:cubicBezTo>
                  <a:cubicBezTo>
                    <a:pt x="0" y="18"/>
                    <a:pt x="5" y="23"/>
                    <a:pt x="12" y="23"/>
                  </a:cubicBezTo>
                  <a:cubicBezTo>
                    <a:pt x="18" y="23"/>
                    <a:pt x="23" y="18"/>
                    <a:pt x="23" y="11"/>
                  </a:cubicBezTo>
                  <a:cubicBezTo>
                    <a:pt x="23" y="10"/>
                    <a:pt x="23" y="8"/>
                    <a:pt x="22" y="7"/>
                  </a:cubicBezTo>
                </a:path>
              </a:pathLst>
            </a:custGeom>
            <a:noFill/>
            <a:ln w="12700" cap="rnd">
              <a:solidFill>
                <a:schemeClr val="bg1"/>
              </a:solidFill>
              <a:prstDash val="solid"/>
              <a:bevel/>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28" name="Freeform 150"/>
            <p:cNvSpPr>
              <a:spLocks/>
            </p:cNvSpPr>
            <p:nvPr/>
          </p:nvSpPr>
          <p:spPr bwMode="auto">
            <a:xfrm>
              <a:off x="431801" y="5441950"/>
              <a:ext cx="361950" cy="365125"/>
            </a:xfrm>
            <a:custGeom>
              <a:avLst/>
              <a:gdLst/>
              <a:ahLst/>
              <a:cxnLst>
                <a:cxn ang="0">
                  <a:pos x="89" y="38"/>
                </a:cxn>
                <a:cxn ang="0">
                  <a:pos x="72" y="34"/>
                </a:cxn>
                <a:cxn ang="0">
                  <a:pos x="35" y="71"/>
                </a:cxn>
                <a:cxn ang="0">
                  <a:pos x="72" y="109"/>
                </a:cxn>
                <a:cxn ang="0">
                  <a:pos x="109" y="71"/>
                </a:cxn>
                <a:cxn ang="0">
                  <a:pos x="106" y="56"/>
                </a:cxn>
                <a:cxn ang="0">
                  <a:pos x="131" y="31"/>
                </a:cxn>
                <a:cxn ang="0">
                  <a:pos x="144" y="72"/>
                </a:cxn>
                <a:cxn ang="0">
                  <a:pos x="72" y="144"/>
                </a:cxn>
                <a:cxn ang="0">
                  <a:pos x="0" y="72"/>
                </a:cxn>
                <a:cxn ang="0">
                  <a:pos x="72" y="0"/>
                </a:cxn>
                <a:cxn ang="0">
                  <a:pos x="120" y="18"/>
                </a:cxn>
              </a:cxnLst>
              <a:rect l="0" t="0" r="r" b="b"/>
              <a:pathLst>
                <a:path w="144" h="144">
                  <a:moveTo>
                    <a:pt x="89" y="38"/>
                  </a:moveTo>
                  <a:cubicBezTo>
                    <a:pt x="84" y="36"/>
                    <a:pt x="78" y="34"/>
                    <a:pt x="72" y="34"/>
                  </a:cubicBezTo>
                  <a:cubicBezTo>
                    <a:pt x="51" y="34"/>
                    <a:pt x="35" y="51"/>
                    <a:pt x="35" y="71"/>
                  </a:cubicBezTo>
                  <a:cubicBezTo>
                    <a:pt x="35" y="92"/>
                    <a:pt x="51" y="109"/>
                    <a:pt x="72" y="109"/>
                  </a:cubicBezTo>
                  <a:cubicBezTo>
                    <a:pt x="92" y="109"/>
                    <a:pt x="109" y="92"/>
                    <a:pt x="109" y="71"/>
                  </a:cubicBezTo>
                  <a:cubicBezTo>
                    <a:pt x="109" y="66"/>
                    <a:pt x="108" y="61"/>
                    <a:pt x="106" y="56"/>
                  </a:cubicBezTo>
                  <a:cubicBezTo>
                    <a:pt x="131" y="31"/>
                    <a:pt x="131" y="31"/>
                    <a:pt x="131" y="31"/>
                  </a:cubicBezTo>
                  <a:cubicBezTo>
                    <a:pt x="139" y="43"/>
                    <a:pt x="144" y="57"/>
                    <a:pt x="144" y="72"/>
                  </a:cubicBezTo>
                  <a:cubicBezTo>
                    <a:pt x="144" y="112"/>
                    <a:pt x="112" y="144"/>
                    <a:pt x="72" y="144"/>
                  </a:cubicBezTo>
                  <a:cubicBezTo>
                    <a:pt x="32" y="144"/>
                    <a:pt x="0" y="112"/>
                    <a:pt x="0" y="72"/>
                  </a:cubicBezTo>
                  <a:cubicBezTo>
                    <a:pt x="0" y="32"/>
                    <a:pt x="32" y="0"/>
                    <a:pt x="72" y="0"/>
                  </a:cubicBezTo>
                  <a:cubicBezTo>
                    <a:pt x="91" y="0"/>
                    <a:pt x="107" y="7"/>
                    <a:pt x="120" y="18"/>
                  </a:cubicBezTo>
                </a:path>
              </a:pathLst>
            </a:custGeom>
            <a:noFill/>
            <a:ln w="12700" cap="rnd">
              <a:solidFill>
                <a:schemeClr val="bg1"/>
              </a:solidFill>
              <a:prstDash val="solid"/>
              <a:bevel/>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grpSp>
        <p:nvGrpSpPr>
          <p:cNvPr id="233" name="Groupe 398"/>
          <p:cNvGrpSpPr/>
          <p:nvPr/>
        </p:nvGrpSpPr>
        <p:grpSpPr>
          <a:xfrm>
            <a:off x="10323212" y="1489076"/>
            <a:ext cx="365959" cy="206374"/>
            <a:chOff x="4000501" y="5414963"/>
            <a:chExt cx="695325" cy="392112"/>
          </a:xfrm>
        </p:grpSpPr>
        <p:sp>
          <p:nvSpPr>
            <p:cNvPr id="234" name="Freeform 155"/>
            <p:cNvSpPr>
              <a:spLocks/>
            </p:cNvSpPr>
            <p:nvPr/>
          </p:nvSpPr>
          <p:spPr bwMode="auto">
            <a:xfrm>
              <a:off x="4000501" y="5414963"/>
              <a:ext cx="339725" cy="392112"/>
            </a:xfrm>
            <a:custGeom>
              <a:avLst/>
              <a:gdLst/>
              <a:ahLst/>
              <a:cxnLst>
                <a:cxn ang="0">
                  <a:pos x="134" y="101"/>
                </a:cxn>
                <a:cxn ang="0">
                  <a:pos x="113" y="80"/>
                </a:cxn>
                <a:cxn ang="0">
                  <a:pos x="134" y="59"/>
                </a:cxn>
                <a:cxn ang="0">
                  <a:pos x="135" y="59"/>
                </a:cxn>
                <a:cxn ang="0">
                  <a:pos x="135" y="55"/>
                </a:cxn>
                <a:cxn ang="0">
                  <a:pos x="119" y="39"/>
                </a:cxn>
                <a:cxn ang="0">
                  <a:pos x="96" y="39"/>
                </a:cxn>
                <a:cxn ang="0">
                  <a:pos x="96" y="36"/>
                </a:cxn>
                <a:cxn ang="0">
                  <a:pos x="96" y="34"/>
                </a:cxn>
                <a:cxn ang="0">
                  <a:pos x="107" y="18"/>
                </a:cxn>
                <a:cxn ang="0">
                  <a:pos x="89" y="0"/>
                </a:cxn>
                <a:cxn ang="0">
                  <a:pos x="71" y="18"/>
                </a:cxn>
                <a:cxn ang="0">
                  <a:pos x="80" y="33"/>
                </a:cxn>
                <a:cxn ang="0">
                  <a:pos x="79" y="36"/>
                </a:cxn>
                <a:cxn ang="0">
                  <a:pos x="79" y="39"/>
                </a:cxn>
                <a:cxn ang="0">
                  <a:pos x="54" y="39"/>
                </a:cxn>
                <a:cxn ang="0">
                  <a:pos x="39" y="55"/>
                </a:cxn>
                <a:cxn ang="0">
                  <a:pos x="39" y="67"/>
                </a:cxn>
                <a:cxn ang="0">
                  <a:pos x="36" y="67"/>
                </a:cxn>
                <a:cxn ang="0">
                  <a:pos x="35" y="67"/>
                </a:cxn>
                <a:cxn ang="0">
                  <a:pos x="18" y="56"/>
                </a:cxn>
                <a:cxn ang="0">
                  <a:pos x="0" y="74"/>
                </a:cxn>
                <a:cxn ang="0">
                  <a:pos x="18" y="92"/>
                </a:cxn>
                <a:cxn ang="0">
                  <a:pos x="34" y="83"/>
                </a:cxn>
                <a:cxn ang="0">
                  <a:pos x="36" y="84"/>
                </a:cxn>
                <a:cxn ang="0">
                  <a:pos x="39" y="84"/>
                </a:cxn>
                <a:cxn ang="0">
                  <a:pos x="39" y="101"/>
                </a:cxn>
                <a:cxn ang="0">
                  <a:pos x="54" y="117"/>
                </a:cxn>
                <a:cxn ang="0">
                  <a:pos x="100" y="117"/>
                </a:cxn>
                <a:cxn ang="0">
                  <a:pos x="100" y="119"/>
                </a:cxn>
                <a:cxn ang="0">
                  <a:pos x="100" y="120"/>
                </a:cxn>
                <a:cxn ang="0">
                  <a:pos x="89" y="137"/>
                </a:cxn>
                <a:cxn ang="0">
                  <a:pos x="107" y="155"/>
                </a:cxn>
                <a:cxn ang="0">
                  <a:pos x="125" y="137"/>
                </a:cxn>
                <a:cxn ang="0">
                  <a:pos x="116" y="121"/>
                </a:cxn>
                <a:cxn ang="0">
                  <a:pos x="117" y="119"/>
                </a:cxn>
                <a:cxn ang="0">
                  <a:pos x="117" y="117"/>
                </a:cxn>
                <a:cxn ang="0">
                  <a:pos x="119" y="117"/>
                </a:cxn>
                <a:cxn ang="0">
                  <a:pos x="135" y="101"/>
                </a:cxn>
                <a:cxn ang="0">
                  <a:pos x="135" y="101"/>
                </a:cxn>
                <a:cxn ang="0">
                  <a:pos x="134" y="101"/>
                </a:cxn>
              </a:cxnLst>
              <a:rect l="0" t="0" r="r" b="b"/>
              <a:pathLst>
                <a:path w="135" h="155">
                  <a:moveTo>
                    <a:pt x="134" y="101"/>
                  </a:moveTo>
                  <a:cubicBezTo>
                    <a:pt x="122" y="101"/>
                    <a:pt x="113" y="91"/>
                    <a:pt x="113" y="80"/>
                  </a:cubicBezTo>
                  <a:cubicBezTo>
                    <a:pt x="113" y="68"/>
                    <a:pt x="122" y="59"/>
                    <a:pt x="134" y="59"/>
                  </a:cubicBezTo>
                  <a:cubicBezTo>
                    <a:pt x="134" y="59"/>
                    <a:pt x="135" y="59"/>
                    <a:pt x="135" y="59"/>
                  </a:cubicBezTo>
                  <a:cubicBezTo>
                    <a:pt x="135" y="55"/>
                    <a:pt x="135" y="55"/>
                    <a:pt x="135" y="55"/>
                  </a:cubicBezTo>
                  <a:cubicBezTo>
                    <a:pt x="135" y="46"/>
                    <a:pt x="128" y="39"/>
                    <a:pt x="119" y="39"/>
                  </a:cubicBezTo>
                  <a:cubicBezTo>
                    <a:pt x="96" y="39"/>
                    <a:pt x="96" y="39"/>
                    <a:pt x="96" y="39"/>
                  </a:cubicBezTo>
                  <a:cubicBezTo>
                    <a:pt x="96" y="36"/>
                    <a:pt x="96" y="36"/>
                    <a:pt x="96" y="36"/>
                  </a:cubicBezTo>
                  <a:cubicBezTo>
                    <a:pt x="96" y="35"/>
                    <a:pt x="96" y="35"/>
                    <a:pt x="96" y="34"/>
                  </a:cubicBezTo>
                  <a:cubicBezTo>
                    <a:pt x="102" y="32"/>
                    <a:pt x="107" y="25"/>
                    <a:pt x="107" y="18"/>
                  </a:cubicBezTo>
                  <a:cubicBezTo>
                    <a:pt x="107" y="8"/>
                    <a:pt x="99" y="0"/>
                    <a:pt x="89" y="0"/>
                  </a:cubicBezTo>
                  <a:cubicBezTo>
                    <a:pt x="79" y="0"/>
                    <a:pt x="71" y="8"/>
                    <a:pt x="71" y="18"/>
                  </a:cubicBezTo>
                  <a:cubicBezTo>
                    <a:pt x="71" y="24"/>
                    <a:pt x="74" y="30"/>
                    <a:pt x="80" y="33"/>
                  </a:cubicBezTo>
                  <a:cubicBezTo>
                    <a:pt x="80" y="34"/>
                    <a:pt x="79" y="35"/>
                    <a:pt x="79" y="36"/>
                  </a:cubicBezTo>
                  <a:cubicBezTo>
                    <a:pt x="79" y="39"/>
                    <a:pt x="79" y="39"/>
                    <a:pt x="79" y="39"/>
                  </a:cubicBezTo>
                  <a:cubicBezTo>
                    <a:pt x="54" y="39"/>
                    <a:pt x="54" y="39"/>
                    <a:pt x="54" y="39"/>
                  </a:cubicBezTo>
                  <a:cubicBezTo>
                    <a:pt x="46" y="39"/>
                    <a:pt x="39" y="46"/>
                    <a:pt x="39" y="55"/>
                  </a:cubicBezTo>
                  <a:cubicBezTo>
                    <a:pt x="39" y="67"/>
                    <a:pt x="39" y="67"/>
                    <a:pt x="39" y="67"/>
                  </a:cubicBezTo>
                  <a:cubicBezTo>
                    <a:pt x="36" y="67"/>
                    <a:pt x="36" y="67"/>
                    <a:pt x="36" y="67"/>
                  </a:cubicBezTo>
                  <a:cubicBezTo>
                    <a:pt x="36" y="67"/>
                    <a:pt x="35" y="67"/>
                    <a:pt x="35" y="67"/>
                  </a:cubicBezTo>
                  <a:cubicBezTo>
                    <a:pt x="32" y="61"/>
                    <a:pt x="25" y="56"/>
                    <a:pt x="18" y="56"/>
                  </a:cubicBezTo>
                  <a:cubicBezTo>
                    <a:pt x="8" y="56"/>
                    <a:pt x="0" y="64"/>
                    <a:pt x="0" y="74"/>
                  </a:cubicBezTo>
                  <a:cubicBezTo>
                    <a:pt x="0" y="84"/>
                    <a:pt x="8" y="92"/>
                    <a:pt x="18" y="92"/>
                  </a:cubicBezTo>
                  <a:cubicBezTo>
                    <a:pt x="25" y="92"/>
                    <a:pt x="30" y="89"/>
                    <a:pt x="34" y="83"/>
                  </a:cubicBezTo>
                  <a:cubicBezTo>
                    <a:pt x="34" y="83"/>
                    <a:pt x="35" y="84"/>
                    <a:pt x="36" y="84"/>
                  </a:cubicBezTo>
                  <a:cubicBezTo>
                    <a:pt x="39" y="84"/>
                    <a:pt x="39" y="84"/>
                    <a:pt x="39" y="84"/>
                  </a:cubicBezTo>
                  <a:cubicBezTo>
                    <a:pt x="39" y="101"/>
                    <a:pt x="39" y="101"/>
                    <a:pt x="39" y="101"/>
                  </a:cubicBezTo>
                  <a:cubicBezTo>
                    <a:pt x="39" y="110"/>
                    <a:pt x="46" y="117"/>
                    <a:pt x="54" y="117"/>
                  </a:cubicBezTo>
                  <a:cubicBezTo>
                    <a:pt x="100" y="117"/>
                    <a:pt x="100" y="117"/>
                    <a:pt x="100" y="117"/>
                  </a:cubicBezTo>
                  <a:cubicBezTo>
                    <a:pt x="100" y="119"/>
                    <a:pt x="100" y="119"/>
                    <a:pt x="100" y="119"/>
                  </a:cubicBezTo>
                  <a:cubicBezTo>
                    <a:pt x="100" y="119"/>
                    <a:pt x="100" y="120"/>
                    <a:pt x="100" y="120"/>
                  </a:cubicBezTo>
                  <a:cubicBezTo>
                    <a:pt x="94" y="123"/>
                    <a:pt x="89" y="129"/>
                    <a:pt x="89" y="137"/>
                  </a:cubicBezTo>
                  <a:cubicBezTo>
                    <a:pt x="89" y="147"/>
                    <a:pt x="97" y="155"/>
                    <a:pt x="107" y="155"/>
                  </a:cubicBezTo>
                  <a:cubicBezTo>
                    <a:pt x="117" y="155"/>
                    <a:pt x="125" y="147"/>
                    <a:pt x="125" y="137"/>
                  </a:cubicBezTo>
                  <a:cubicBezTo>
                    <a:pt x="125" y="130"/>
                    <a:pt x="122" y="124"/>
                    <a:pt x="116" y="121"/>
                  </a:cubicBezTo>
                  <a:cubicBezTo>
                    <a:pt x="117" y="121"/>
                    <a:pt x="117" y="120"/>
                    <a:pt x="117" y="119"/>
                  </a:cubicBezTo>
                  <a:cubicBezTo>
                    <a:pt x="117" y="117"/>
                    <a:pt x="117" y="117"/>
                    <a:pt x="117" y="117"/>
                  </a:cubicBezTo>
                  <a:cubicBezTo>
                    <a:pt x="119" y="117"/>
                    <a:pt x="119" y="117"/>
                    <a:pt x="119" y="117"/>
                  </a:cubicBezTo>
                  <a:cubicBezTo>
                    <a:pt x="128" y="117"/>
                    <a:pt x="135" y="110"/>
                    <a:pt x="135" y="101"/>
                  </a:cubicBezTo>
                  <a:cubicBezTo>
                    <a:pt x="135" y="101"/>
                    <a:pt x="135" y="101"/>
                    <a:pt x="135" y="101"/>
                  </a:cubicBezTo>
                  <a:cubicBezTo>
                    <a:pt x="135" y="101"/>
                    <a:pt x="134" y="101"/>
                    <a:pt x="134" y="101"/>
                  </a:cubicBezTo>
                  <a:close/>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35" name="Freeform 156"/>
            <p:cNvSpPr>
              <a:spLocks/>
            </p:cNvSpPr>
            <p:nvPr/>
          </p:nvSpPr>
          <p:spPr bwMode="auto">
            <a:xfrm>
              <a:off x="4357688" y="5429250"/>
              <a:ext cx="338138" cy="296862"/>
            </a:xfrm>
            <a:custGeom>
              <a:avLst/>
              <a:gdLst/>
              <a:ahLst/>
              <a:cxnLst>
                <a:cxn ang="0">
                  <a:pos x="119" y="39"/>
                </a:cxn>
                <a:cxn ang="0">
                  <a:pos x="96" y="39"/>
                </a:cxn>
                <a:cxn ang="0">
                  <a:pos x="96" y="36"/>
                </a:cxn>
                <a:cxn ang="0">
                  <a:pos x="96" y="34"/>
                </a:cxn>
                <a:cxn ang="0">
                  <a:pos x="107" y="18"/>
                </a:cxn>
                <a:cxn ang="0">
                  <a:pos x="89" y="0"/>
                </a:cxn>
                <a:cxn ang="0">
                  <a:pos x="71" y="18"/>
                </a:cxn>
                <a:cxn ang="0">
                  <a:pos x="80" y="33"/>
                </a:cxn>
                <a:cxn ang="0">
                  <a:pos x="79" y="36"/>
                </a:cxn>
                <a:cxn ang="0">
                  <a:pos x="79" y="39"/>
                </a:cxn>
                <a:cxn ang="0">
                  <a:pos x="54" y="39"/>
                </a:cxn>
                <a:cxn ang="0">
                  <a:pos x="39" y="54"/>
                </a:cxn>
                <a:cxn ang="0">
                  <a:pos x="39" y="67"/>
                </a:cxn>
                <a:cxn ang="0">
                  <a:pos x="36" y="67"/>
                </a:cxn>
                <a:cxn ang="0">
                  <a:pos x="35" y="67"/>
                </a:cxn>
                <a:cxn ang="0">
                  <a:pos x="18" y="56"/>
                </a:cxn>
                <a:cxn ang="0">
                  <a:pos x="0" y="74"/>
                </a:cxn>
                <a:cxn ang="0">
                  <a:pos x="18" y="92"/>
                </a:cxn>
                <a:cxn ang="0">
                  <a:pos x="34" y="83"/>
                </a:cxn>
                <a:cxn ang="0">
                  <a:pos x="36" y="84"/>
                </a:cxn>
                <a:cxn ang="0">
                  <a:pos x="39" y="84"/>
                </a:cxn>
                <a:cxn ang="0">
                  <a:pos x="39" y="101"/>
                </a:cxn>
                <a:cxn ang="0">
                  <a:pos x="54" y="117"/>
                </a:cxn>
                <a:cxn ang="0">
                  <a:pos x="58" y="117"/>
                </a:cxn>
                <a:cxn ang="0">
                  <a:pos x="54" y="104"/>
                </a:cxn>
                <a:cxn ang="0">
                  <a:pos x="75" y="83"/>
                </a:cxn>
                <a:cxn ang="0">
                  <a:pos x="97" y="104"/>
                </a:cxn>
                <a:cxn ang="0">
                  <a:pos x="93" y="117"/>
                </a:cxn>
                <a:cxn ang="0">
                  <a:pos x="119" y="117"/>
                </a:cxn>
                <a:cxn ang="0">
                  <a:pos x="135" y="101"/>
                </a:cxn>
                <a:cxn ang="0">
                  <a:pos x="135" y="54"/>
                </a:cxn>
                <a:cxn ang="0">
                  <a:pos x="119" y="39"/>
                </a:cxn>
              </a:cxnLst>
              <a:rect l="0" t="0" r="r" b="b"/>
              <a:pathLst>
                <a:path w="135" h="117">
                  <a:moveTo>
                    <a:pt x="119" y="39"/>
                  </a:moveTo>
                  <a:cubicBezTo>
                    <a:pt x="96" y="39"/>
                    <a:pt x="96" y="39"/>
                    <a:pt x="96" y="39"/>
                  </a:cubicBezTo>
                  <a:cubicBezTo>
                    <a:pt x="96" y="36"/>
                    <a:pt x="96" y="36"/>
                    <a:pt x="96" y="36"/>
                  </a:cubicBezTo>
                  <a:cubicBezTo>
                    <a:pt x="96" y="35"/>
                    <a:pt x="96" y="35"/>
                    <a:pt x="96" y="34"/>
                  </a:cubicBezTo>
                  <a:cubicBezTo>
                    <a:pt x="102" y="32"/>
                    <a:pt x="107" y="25"/>
                    <a:pt x="107" y="18"/>
                  </a:cubicBezTo>
                  <a:cubicBezTo>
                    <a:pt x="107" y="8"/>
                    <a:pt x="99" y="0"/>
                    <a:pt x="89" y="0"/>
                  </a:cubicBezTo>
                  <a:cubicBezTo>
                    <a:pt x="79" y="0"/>
                    <a:pt x="71" y="8"/>
                    <a:pt x="71" y="18"/>
                  </a:cubicBezTo>
                  <a:cubicBezTo>
                    <a:pt x="71" y="24"/>
                    <a:pt x="75" y="30"/>
                    <a:pt x="80" y="33"/>
                  </a:cubicBezTo>
                  <a:cubicBezTo>
                    <a:pt x="80" y="34"/>
                    <a:pt x="79" y="35"/>
                    <a:pt x="79" y="36"/>
                  </a:cubicBezTo>
                  <a:cubicBezTo>
                    <a:pt x="79" y="39"/>
                    <a:pt x="79" y="39"/>
                    <a:pt x="79" y="39"/>
                  </a:cubicBezTo>
                  <a:cubicBezTo>
                    <a:pt x="54" y="39"/>
                    <a:pt x="54" y="39"/>
                    <a:pt x="54" y="39"/>
                  </a:cubicBezTo>
                  <a:cubicBezTo>
                    <a:pt x="46" y="39"/>
                    <a:pt x="39" y="46"/>
                    <a:pt x="39" y="54"/>
                  </a:cubicBezTo>
                  <a:cubicBezTo>
                    <a:pt x="39" y="67"/>
                    <a:pt x="39" y="67"/>
                    <a:pt x="39" y="67"/>
                  </a:cubicBezTo>
                  <a:cubicBezTo>
                    <a:pt x="36" y="67"/>
                    <a:pt x="36" y="67"/>
                    <a:pt x="36" y="67"/>
                  </a:cubicBezTo>
                  <a:cubicBezTo>
                    <a:pt x="36" y="67"/>
                    <a:pt x="35" y="67"/>
                    <a:pt x="35" y="67"/>
                  </a:cubicBezTo>
                  <a:cubicBezTo>
                    <a:pt x="32" y="61"/>
                    <a:pt x="26" y="56"/>
                    <a:pt x="18" y="56"/>
                  </a:cubicBezTo>
                  <a:cubicBezTo>
                    <a:pt x="8" y="56"/>
                    <a:pt x="0" y="64"/>
                    <a:pt x="0" y="74"/>
                  </a:cubicBezTo>
                  <a:cubicBezTo>
                    <a:pt x="0" y="84"/>
                    <a:pt x="8" y="92"/>
                    <a:pt x="18" y="92"/>
                  </a:cubicBezTo>
                  <a:cubicBezTo>
                    <a:pt x="25" y="92"/>
                    <a:pt x="31" y="88"/>
                    <a:pt x="34" y="83"/>
                  </a:cubicBezTo>
                  <a:cubicBezTo>
                    <a:pt x="34" y="83"/>
                    <a:pt x="35" y="84"/>
                    <a:pt x="36" y="84"/>
                  </a:cubicBezTo>
                  <a:cubicBezTo>
                    <a:pt x="39" y="84"/>
                    <a:pt x="39" y="84"/>
                    <a:pt x="39" y="84"/>
                  </a:cubicBezTo>
                  <a:cubicBezTo>
                    <a:pt x="39" y="101"/>
                    <a:pt x="39" y="101"/>
                    <a:pt x="39" y="101"/>
                  </a:cubicBezTo>
                  <a:cubicBezTo>
                    <a:pt x="39" y="110"/>
                    <a:pt x="46" y="117"/>
                    <a:pt x="54" y="117"/>
                  </a:cubicBezTo>
                  <a:cubicBezTo>
                    <a:pt x="58" y="117"/>
                    <a:pt x="58" y="117"/>
                    <a:pt x="58" y="117"/>
                  </a:cubicBezTo>
                  <a:cubicBezTo>
                    <a:pt x="56" y="113"/>
                    <a:pt x="54" y="109"/>
                    <a:pt x="54" y="104"/>
                  </a:cubicBezTo>
                  <a:cubicBezTo>
                    <a:pt x="54" y="93"/>
                    <a:pt x="64" y="83"/>
                    <a:pt x="75" y="83"/>
                  </a:cubicBezTo>
                  <a:cubicBezTo>
                    <a:pt x="87" y="83"/>
                    <a:pt x="97" y="93"/>
                    <a:pt x="97" y="104"/>
                  </a:cubicBezTo>
                  <a:cubicBezTo>
                    <a:pt x="97" y="109"/>
                    <a:pt x="95" y="113"/>
                    <a:pt x="93" y="117"/>
                  </a:cubicBezTo>
                  <a:cubicBezTo>
                    <a:pt x="119" y="117"/>
                    <a:pt x="119" y="117"/>
                    <a:pt x="119" y="117"/>
                  </a:cubicBezTo>
                  <a:cubicBezTo>
                    <a:pt x="128" y="117"/>
                    <a:pt x="135" y="110"/>
                    <a:pt x="135" y="101"/>
                  </a:cubicBezTo>
                  <a:cubicBezTo>
                    <a:pt x="135" y="54"/>
                    <a:pt x="135" y="54"/>
                    <a:pt x="135" y="54"/>
                  </a:cubicBezTo>
                  <a:cubicBezTo>
                    <a:pt x="135" y="46"/>
                    <a:pt x="128" y="39"/>
                    <a:pt x="119" y="39"/>
                  </a:cubicBezTo>
                  <a:close/>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spTree>
    <p:extLst>
      <p:ext uri="{BB962C8B-B14F-4D97-AF65-F5344CB8AC3E}">
        <p14:creationId xmlns:p14="http://schemas.microsoft.com/office/powerpoint/2010/main" val="1436725750"/>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Object 92" hidden="1"/>
          <p:cNvGraphicFramePr>
            <a:graphicFrameLocks noChangeAspect="1"/>
          </p:cNvGraphicFramePr>
          <p:nvPr>
            <p:custDataLst>
              <p:tags r:id="rId2"/>
            </p:custDataLst>
          </p:nvPr>
        </p:nvGraphicFramePr>
        <p:xfrm>
          <a:off x="1144588" y="1589"/>
          <a:ext cx="1587" cy="1587"/>
        </p:xfrm>
        <a:graphic>
          <a:graphicData uri="http://schemas.openxmlformats.org/presentationml/2006/ole">
            <mc:AlternateContent xmlns:mc="http://schemas.openxmlformats.org/markup-compatibility/2006">
              <mc:Choice xmlns:v="urn:schemas-microsoft-com:vml" Requires="v">
                <p:oleObj spid="_x0000_s159758" name="think-cell Slide" r:id="rId5" imgW="216" imgH="216" progId="">
                  <p:embed/>
                </p:oleObj>
              </mc:Choice>
              <mc:Fallback>
                <p:oleObj name="think-cell Slide" r:id="rId5" imgW="216" imgH="216"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4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GB" dirty="0">
                <a:latin typeface="+mj-lt"/>
                <a:sym typeface="Calibri"/>
              </a:rPr>
              <a:t>OmniChannel Digital Experience – </a:t>
            </a:r>
            <a:r>
              <a:rPr lang="en-GB" b="1" dirty="0">
                <a:latin typeface="+mj-lt"/>
                <a:sym typeface="Calibri"/>
              </a:rPr>
              <a:t>The Vision </a:t>
            </a:r>
          </a:p>
        </p:txBody>
      </p:sp>
      <p:grpSp>
        <p:nvGrpSpPr>
          <p:cNvPr id="5" name="Group 4"/>
          <p:cNvGrpSpPr/>
          <p:nvPr/>
        </p:nvGrpSpPr>
        <p:grpSpPr>
          <a:xfrm>
            <a:off x="8077201" y="1390681"/>
            <a:ext cx="2655661" cy="4803290"/>
            <a:chOff x="7195911" y="1390681"/>
            <a:chExt cx="2393950" cy="4250809"/>
          </a:xfrm>
        </p:grpSpPr>
        <p:sp>
          <p:nvSpPr>
            <p:cNvPr id="89" name="Rectangle 88"/>
            <p:cNvSpPr/>
            <p:nvPr/>
          </p:nvSpPr>
          <p:spPr>
            <a:xfrm>
              <a:off x="7195911" y="4590870"/>
              <a:ext cx="2393950" cy="1050620"/>
            </a:xfrm>
            <a:prstGeom prst="rect">
              <a:avLst/>
            </a:prstGeom>
            <a:solidFill>
              <a:schemeClr val="tx1"/>
            </a:solidFill>
          </p:spPr>
          <p:style>
            <a:lnRef idx="2">
              <a:schemeClr val="lt1">
                <a:hueOff val="0"/>
                <a:satOff val="0"/>
                <a:lumOff val="0"/>
                <a:alphaOff val="0"/>
              </a:schemeClr>
            </a:lnRef>
            <a:fillRef idx="1">
              <a:schemeClr val="accent3">
                <a:shade val="80000"/>
                <a:hueOff val="0"/>
                <a:satOff val="0"/>
                <a:lumOff val="0"/>
                <a:alphaOff val="0"/>
              </a:schemeClr>
            </a:fillRef>
            <a:effectRef idx="0">
              <a:schemeClr val="accent3">
                <a:shade val="80000"/>
                <a:hueOff val="0"/>
                <a:satOff val="0"/>
                <a:lumOff val="0"/>
                <a:alphaOff val="0"/>
              </a:schemeClr>
            </a:effectRef>
            <a:fontRef idx="minor">
              <a:schemeClr val="lt1"/>
            </a:fontRef>
          </p:style>
        </p:sp>
        <p:sp>
          <p:nvSpPr>
            <p:cNvPr id="90" name="Rectangle 89"/>
            <p:cNvSpPr/>
            <p:nvPr/>
          </p:nvSpPr>
          <p:spPr>
            <a:xfrm>
              <a:off x="7195911" y="4590870"/>
              <a:ext cx="2393950" cy="56733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6680" tIns="106680" rIns="106680" bIns="106680" numCol="1" spcCol="1270" anchor="ctr" anchorCtr="0">
              <a:noAutofit/>
            </a:bodyPr>
            <a:lstStyle/>
            <a:p>
              <a:pPr algn="ctr" defTabSz="666750">
                <a:lnSpc>
                  <a:spcPct val="90000"/>
                </a:lnSpc>
                <a:spcBef>
                  <a:spcPct val="0"/>
                </a:spcBef>
                <a:spcAft>
                  <a:spcPct val="35000"/>
                </a:spcAft>
              </a:pPr>
              <a:r>
                <a:rPr lang="en-US" sz="1500" dirty="0">
                  <a:ln/>
                  <a:latin typeface="+mj-lt"/>
                </a:rPr>
                <a:t>Industry Friendly</a:t>
              </a:r>
            </a:p>
          </p:txBody>
        </p:sp>
        <p:grpSp>
          <p:nvGrpSpPr>
            <p:cNvPr id="4" name="Group 3"/>
            <p:cNvGrpSpPr/>
            <p:nvPr/>
          </p:nvGrpSpPr>
          <p:grpSpPr>
            <a:xfrm>
              <a:off x="7277100" y="5135880"/>
              <a:ext cx="2247900" cy="426721"/>
              <a:chOff x="7277100" y="5248409"/>
              <a:chExt cx="2018211" cy="314192"/>
            </a:xfrm>
          </p:grpSpPr>
          <p:sp>
            <p:nvSpPr>
              <p:cNvPr id="88" name="Rectangle 87"/>
              <p:cNvSpPr/>
              <p:nvPr/>
            </p:nvSpPr>
            <p:spPr>
              <a:xfrm>
                <a:off x="7277100" y="5256029"/>
                <a:ext cx="637162" cy="306572"/>
              </a:xfrm>
              <a:prstGeom prst="rect">
                <a:avLst/>
              </a:prstGeom>
              <a:solidFill>
                <a:schemeClr val="bg1"/>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4008" tIns="11430" rIns="64008" bIns="11430" numCol="1" spcCol="1270" anchor="ctr" anchorCtr="0">
                <a:noAutofit/>
              </a:bodyPr>
              <a:lstStyle/>
              <a:p>
                <a:pPr algn="ctr" defTabSz="400050">
                  <a:lnSpc>
                    <a:spcPct val="90000"/>
                  </a:lnSpc>
                  <a:spcBef>
                    <a:spcPct val="0"/>
                  </a:spcBef>
                  <a:spcAft>
                    <a:spcPct val="35000"/>
                  </a:spcAft>
                </a:pPr>
                <a:r>
                  <a:rPr lang="en-US" sz="800" dirty="0">
                    <a:ln/>
                    <a:latin typeface="+mj-lt"/>
                  </a:rPr>
                  <a:t>Adapt</a:t>
                </a:r>
              </a:p>
            </p:txBody>
          </p:sp>
          <p:sp>
            <p:nvSpPr>
              <p:cNvPr id="86" name="Rectangle 85"/>
              <p:cNvSpPr/>
              <p:nvPr/>
            </p:nvSpPr>
            <p:spPr>
              <a:xfrm>
                <a:off x="7967625" y="5256029"/>
                <a:ext cx="637162" cy="306572"/>
              </a:xfrm>
              <a:prstGeom prst="rect">
                <a:avLst/>
              </a:prstGeom>
              <a:solidFill>
                <a:schemeClr val="bg1"/>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4008" tIns="11430" rIns="64008" bIns="11430" numCol="1" spcCol="1270" anchor="ctr" anchorCtr="0">
                <a:noAutofit/>
              </a:bodyPr>
              <a:lstStyle/>
              <a:p>
                <a:pPr algn="ctr" defTabSz="400050">
                  <a:lnSpc>
                    <a:spcPct val="90000"/>
                  </a:lnSpc>
                  <a:spcBef>
                    <a:spcPct val="0"/>
                  </a:spcBef>
                  <a:spcAft>
                    <a:spcPct val="35000"/>
                  </a:spcAft>
                </a:pPr>
                <a:r>
                  <a:rPr lang="en-US" sz="800" dirty="0">
                    <a:ln/>
                    <a:latin typeface="+mj-lt"/>
                  </a:rPr>
                  <a:t>Enrich </a:t>
                </a:r>
              </a:p>
            </p:txBody>
          </p:sp>
          <p:sp>
            <p:nvSpPr>
              <p:cNvPr id="84" name="Rectangle 83"/>
              <p:cNvSpPr/>
              <p:nvPr/>
            </p:nvSpPr>
            <p:spPr>
              <a:xfrm>
                <a:off x="8658149" y="5248409"/>
                <a:ext cx="637162" cy="306572"/>
              </a:xfrm>
              <a:prstGeom prst="rect">
                <a:avLst/>
              </a:prstGeom>
              <a:solidFill>
                <a:schemeClr val="bg1"/>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4008" tIns="11430" rIns="64008" bIns="11430" numCol="1" spcCol="1270" anchor="ctr" anchorCtr="0">
                <a:noAutofit/>
              </a:bodyPr>
              <a:lstStyle/>
              <a:p>
                <a:pPr algn="ctr" defTabSz="400050">
                  <a:lnSpc>
                    <a:spcPct val="90000"/>
                  </a:lnSpc>
                  <a:spcBef>
                    <a:spcPct val="0"/>
                  </a:spcBef>
                  <a:spcAft>
                    <a:spcPct val="35000"/>
                  </a:spcAft>
                </a:pPr>
                <a:r>
                  <a:rPr lang="en-US" sz="800" dirty="0">
                    <a:ln/>
                    <a:latin typeface="+mj-lt"/>
                  </a:rPr>
                  <a:t>Disrupt</a:t>
                </a:r>
              </a:p>
            </p:txBody>
          </p:sp>
        </p:grpSp>
        <p:sp>
          <p:nvSpPr>
            <p:cNvPr id="81" name="Up Arrow Callout 80"/>
            <p:cNvSpPr/>
            <p:nvPr/>
          </p:nvSpPr>
          <p:spPr>
            <a:xfrm rot="10800000">
              <a:off x="7195911" y="2990775"/>
              <a:ext cx="2393950" cy="1615853"/>
            </a:xfrm>
            <a:prstGeom prst="upArrowCallout">
              <a:avLst/>
            </a:prstGeom>
            <a:solidFill>
              <a:schemeClr val="accent1">
                <a:lumMod val="50000"/>
              </a:schemeClr>
            </a:solidFill>
          </p:spPr>
          <p:style>
            <a:lnRef idx="2">
              <a:schemeClr val="lt1">
                <a:hueOff val="0"/>
                <a:satOff val="0"/>
                <a:lumOff val="0"/>
                <a:alphaOff val="0"/>
              </a:schemeClr>
            </a:lnRef>
            <a:fillRef idx="1">
              <a:schemeClr val="accent3">
                <a:shade val="80000"/>
                <a:hueOff val="277013"/>
                <a:satOff val="-22134"/>
                <a:lumOff val="17726"/>
                <a:alphaOff val="0"/>
              </a:schemeClr>
            </a:fillRef>
            <a:effectRef idx="0">
              <a:schemeClr val="accent3">
                <a:shade val="80000"/>
                <a:hueOff val="277013"/>
                <a:satOff val="-22134"/>
                <a:lumOff val="17726"/>
                <a:alphaOff val="0"/>
              </a:schemeClr>
            </a:effectRef>
            <a:fontRef idx="minor">
              <a:schemeClr val="lt1"/>
            </a:fontRef>
          </p:style>
        </p:sp>
        <p:sp>
          <p:nvSpPr>
            <p:cNvPr id="82" name="Up Arrow Callout 12"/>
            <p:cNvSpPr/>
            <p:nvPr/>
          </p:nvSpPr>
          <p:spPr>
            <a:xfrm>
              <a:off x="7195911" y="2990775"/>
              <a:ext cx="2393950" cy="56716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6680" tIns="106680" rIns="106680" bIns="106680" numCol="1" spcCol="1270" anchor="ctr" anchorCtr="0">
              <a:noAutofit/>
            </a:bodyPr>
            <a:lstStyle/>
            <a:p>
              <a:pPr algn="ctr" defTabSz="666750">
                <a:lnSpc>
                  <a:spcPct val="90000"/>
                </a:lnSpc>
                <a:spcBef>
                  <a:spcPct val="0"/>
                </a:spcBef>
                <a:spcAft>
                  <a:spcPct val="35000"/>
                </a:spcAft>
              </a:pPr>
              <a:r>
                <a:rPr lang="en-US" sz="1500" dirty="0">
                  <a:ln/>
                  <a:latin typeface="+mj-lt"/>
                </a:rPr>
                <a:t>Digital ways</a:t>
              </a:r>
            </a:p>
          </p:txBody>
        </p:sp>
        <p:sp>
          <p:nvSpPr>
            <p:cNvPr id="75" name="Up Arrow Callout 74"/>
            <p:cNvSpPr/>
            <p:nvPr/>
          </p:nvSpPr>
          <p:spPr>
            <a:xfrm rot="10800000">
              <a:off x="7195911" y="1390681"/>
              <a:ext cx="2393950" cy="1615853"/>
            </a:xfrm>
            <a:prstGeom prst="upArrowCallout">
              <a:avLst/>
            </a:prstGeom>
            <a:solidFill>
              <a:schemeClr val="accent1"/>
            </a:solidFill>
          </p:spPr>
          <p:style>
            <a:lnRef idx="2">
              <a:schemeClr val="lt1">
                <a:hueOff val="0"/>
                <a:satOff val="0"/>
                <a:lumOff val="0"/>
                <a:alphaOff val="0"/>
              </a:schemeClr>
            </a:lnRef>
            <a:fillRef idx="1">
              <a:schemeClr val="accent3">
                <a:shade val="80000"/>
                <a:hueOff val="554026"/>
                <a:satOff val="-44267"/>
                <a:lumOff val="35452"/>
                <a:alphaOff val="0"/>
              </a:schemeClr>
            </a:fillRef>
            <a:effectRef idx="0">
              <a:schemeClr val="accent3">
                <a:shade val="80000"/>
                <a:hueOff val="554026"/>
                <a:satOff val="-44267"/>
                <a:lumOff val="35452"/>
                <a:alphaOff val="0"/>
              </a:schemeClr>
            </a:effectRef>
            <a:fontRef idx="minor">
              <a:schemeClr val="lt1"/>
            </a:fontRef>
          </p:style>
        </p:sp>
        <p:sp>
          <p:nvSpPr>
            <p:cNvPr id="76" name="Up Arrow Callout 18"/>
            <p:cNvSpPr/>
            <p:nvPr/>
          </p:nvSpPr>
          <p:spPr>
            <a:xfrm>
              <a:off x="7195911" y="1428781"/>
              <a:ext cx="2393950" cy="3666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6680" tIns="106680" rIns="106680" bIns="106680" numCol="1" spcCol="1270" anchor="ctr" anchorCtr="0">
              <a:noAutofit/>
            </a:bodyPr>
            <a:lstStyle/>
            <a:p>
              <a:pPr algn="ctr" defTabSz="666750">
                <a:lnSpc>
                  <a:spcPct val="90000"/>
                </a:lnSpc>
                <a:spcBef>
                  <a:spcPct val="0"/>
                </a:spcBef>
                <a:spcAft>
                  <a:spcPct val="35000"/>
                </a:spcAft>
              </a:pPr>
              <a:r>
                <a:rPr lang="en-US" sz="1500" dirty="0">
                  <a:ln/>
                  <a:latin typeface="+mj-lt"/>
                </a:rPr>
                <a:t>Standardized Experience</a:t>
              </a:r>
            </a:p>
          </p:txBody>
        </p:sp>
        <p:grpSp>
          <p:nvGrpSpPr>
            <p:cNvPr id="3" name="Group 2"/>
            <p:cNvGrpSpPr/>
            <p:nvPr/>
          </p:nvGrpSpPr>
          <p:grpSpPr>
            <a:xfrm>
              <a:off x="7250634" y="1919288"/>
              <a:ext cx="2284504" cy="464548"/>
              <a:chOff x="7286625" y="1900696"/>
              <a:chExt cx="2236879" cy="483140"/>
            </a:xfrm>
          </p:grpSpPr>
          <p:sp>
            <p:nvSpPr>
              <p:cNvPr id="74" name="Rectangle 73"/>
              <p:cNvSpPr/>
              <p:nvPr/>
            </p:nvSpPr>
            <p:spPr>
              <a:xfrm>
                <a:off x="7286625" y="1900696"/>
                <a:ext cx="1097280" cy="483140"/>
              </a:xfrm>
              <a:prstGeom prst="rect">
                <a:avLst/>
              </a:prstGeom>
              <a:solidFill>
                <a:schemeClr val="bg1"/>
              </a:solid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4008" tIns="11430" rIns="64008" bIns="11430" numCol="1" spcCol="1270" anchor="ctr" anchorCtr="0">
                <a:noAutofit/>
              </a:bodyPr>
              <a:lstStyle/>
              <a:p>
                <a:pPr algn="ctr" defTabSz="400050">
                  <a:spcBef>
                    <a:spcPct val="0"/>
                  </a:spcBef>
                  <a:spcAft>
                    <a:spcPct val="35000"/>
                  </a:spcAft>
                </a:pPr>
                <a:r>
                  <a:rPr lang="en-US" sz="800" dirty="0">
                    <a:ln/>
                    <a:latin typeface="+mj-lt"/>
                  </a:rPr>
                  <a:t>Experience Design – User Worflows first </a:t>
                </a:r>
              </a:p>
            </p:txBody>
          </p:sp>
          <p:grpSp>
            <p:nvGrpSpPr>
              <p:cNvPr id="70" name="Group 69"/>
              <p:cNvGrpSpPr/>
              <p:nvPr/>
            </p:nvGrpSpPr>
            <p:grpSpPr>
              <a:xfrm>
                <a:off x="8426224" y="1900696"/>
                <a:ext cx="1097280" cy="483140"/>
                <a:chOff x="1196975" y="567916"/>
                <a:chExt cx="1196974" cy="483140"/>
              </a:xfrm>
              <a:solidFill>
                <a:schemeClr val="bg1"/>
              </a:solidFill>
            </p:grpSpPr>
            <p:sp>
              <p:nvSpPr>
                <p:cNvPr id="71" name="Rectangle 70"/>
                <p:cNvSpPr/>
                <p:nvPr/>
              </p:nvSpPr>
              <p:spPr>
                <a:xfrm>
                  <a:off x="1196975" y="567916"/>
                  <a:ext cx="1196974" cy="483140"/>
                </a:xfrm>
                <a:prstGeom prst="rect">
                  <a:avLst/>
                </a:prstGeom>
                <a:grp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sp>
            <p:sp>
              <p:nvSpPr>
                <p:cNvPr id="72" name="Rectangle 71"/>
                <p:cNvSpPr/>
                <p:nvPr/>
              </p:nvSpPr>
              <p:spPr>
                <a:xfrm>
                  <a:off x="1196975" y="567916"/>
                  <a:ext cx="1196974" cy="483140"/>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4008" tIns="11430" rIns="64008" bIns="11430" numCol="1" spcCol="1270" anchor="ctr" anchorCtr="0">
                  <a:noAutofit/>
                </a:bodyPr>
                <a:lstStyle/>
                <a:p>
                  <a:pPr algn="ctr" defTabSz="400050">
                    <a:spcBef>
                      <a:spcPct val="0"/>
                    </a:spcBef>
                    <a:spcAft>
                      <a:spcPct val="35000"/>
                    </a:spcAft>
                  </a:pPr>
                  <a:r>
                    <a:rPr lang="en-US" sz="800" dirty="0">
                      <a:ln/>
                      <a:latin typeface="+mj-lt"/>
                    </a:rPr>
                    <a:t>Converged Web, Mobile, Wearable experience</a:t>
                  </a:r>
                </a:p>
              </p:txBody>
            </p:sp>
          </p:grpSp>
        </p:grpSp>
        <p:grpSp>
          <p:nvGrpSpPr>
            <p:cNvPr id="92" name="Group 91"/>
            <p:cNvGrpSpPr/>
            <p:nvPr/>
          </p:nvGrpSpPr>
          <p:grpSpPr>
            <a:xfrm>
              <a:off x="7250634" y="3519488"/>
              <a:ext cx="2284504" cy="464548"/>
              <a:chOff x="7286625" y="1900696"/>
              <a:chExt cx="2236879" cy="483140"/>
            </a:xfrm>
          </p:grpSpPr>
          <p:sp>
            <p:nvSpPr>
              <p:cNvPr id="94" name="Rectangle 93"/>
              <p:cNvSpPr/>
              <p:nvPr/>
            </p:nvSpPr>
            <p:spPr>
              <a:xfrm>
                <a:off x="7286625" y="1900696"/>
                <a:ext cx="1097280" cy="483140"/>
              </a:xfrm>
              <a:prstGeom prst="rect">
                <a:avLst/>
              </a:prstGeom>
              <a:solidFill>
                <a:schemeClr val="bg1"/>
              </a:solid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4008" tIns="11430" rIns="64008" bIns="11430" numCol="1" spcCol="1270" anchor="ctr" anchorCtr="0">
                <a:noAutofit/>
              </a:bodyPr>
              <a:lstStyle/>
              <a:p>
                <a:pPr algn="ctr" defTabSz="400050">
                  <a:spcBef>
                    <a:spcPct val="0"/>
                  </a:spcBef>
                  <a:spcAft>
                    <a:spcPct val="35000"/>
                  </a:spcAft>
                </a:pPr>
                <a:r>
                  <a:rPr lang="en-US" sz="800" dirty="0">
                    <a:ln/>
                    <a:latin typeface="+mj-lt"/>
                  </a:rPr>
                  <a:t>Reference channel implementation for digital stacks 3C+B</a:t>
                </a:r>
              </a:p>
            </p:txBody>
          </p:sp>
          <p:grpSp>
            <p:nvGrpSpPr>
              <p:cNvPr id="95" name="Group 94"/>
              <p:cNvGrpSpPr/>
              <p:nvPr/>
            </p:nvGrpSpPr>
            <p:grpSpPr>
              <a:xfrm>
                <a:off x="8426224" y="1900696"/>
                <a:ext cx="1097280" cy="483140"/>
                <a:chOff x="1196975" y="567916"/>
                <a:chExt cx="1196974" cy="483140"/>
              </a:xfrm>
              <a:solidFill>
                <a:schemeClr val="bg1"/>
              </a:solidFill>
            </p:grpSpPr>
            <p:sp>
              <p:nvSpPr>
                <p:cNvPr id="96" name="Rectangle 95"/>
                <p:cNvSpPr/>
                <p:nvPr/>
              </p:nvSpPr>
              <p:spPr>
                <a:xfrm>
                  <a:off x="1196975" y="567916"/>
                  <a:ext cx="1196974" cy="483140"/>
                </a:xfrm>
                <a:prstGeom prst="rect">
                  <a:avLst/>
                </a:prstGeom>
                <a:grp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sp>
            <p:sp>
              <p:nvSpPr>
                <p:cNvPr id="97" name="Rectangle 96"/>
                <p:cNvSpPr/>
                <p:nvPr/>
              </p:nvSpPr>
              <p:spPr>
                <a:xfrm>
                  <a:off x="1196975" y="567916"/>
                  <a:ext cx="1196974" cy="483140"/>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4008" tIns="11430" rIns="64008" bIns="11430" numCol="1" spcCol="1270" anchor="ctr" anchorCtr="0">
                  <a:noAutofit/>
                </a:bodyPr>
                <a:lstStyle/>
                <a:p>
                  <a:pPr algn="ctr" defTabSz="400050">
                    <a:spcBef>
                      <a:spcPct val="0"/>
                    </a:spcBef>
                    <a:spcAft>
                      <a:spcPct val="35000"/>
                    </a:spcAft>
                  </a:pPr>
                  <a:r>
                    <a:rPr lang="en-US" sz="800" dirty="0">
                      <a:ln/>
                      <a:latin typeface="+mj-lt"/>
                    </a:rPr>
                    <a:t>Innovation Friendly Experience design</a:t>
                  </a:r>
                </a:p>
              </p:txBody>
            </p:sp>
          </p:grpSp>
        </p:grpSp>
      </p:grpSp>
      <p:cxnSp>
        <p:nvCxnSpPr>
          <p:cNvPr id="7" name="Straight Connector 6"/>
          <p:cNvCxnSpPr/>
          <p:nvPr/>
        </p:nvCxnSpPr>
        <p:spPr>
          <a:xfrm>
            <a:off x="1447800" y="1364383"/>
            <a:ext cx="6335486" cy="0"/>
          </a:xfrm>
          <a:prstGeom prst="line">
            <a:avLst/>
          </a:prstGeom>
          <a:ln>
            <a:headEnd type="oval"/>
            <a:tailEnd type="oval"/>
          </a:ln>
        </p:spPr>
        <p:style>
          <a:lnRef idx="2">
            <a:schemeClr val="dk1"/>
          </a:lnRef>
          <a:fillRef idx="0">
            <a:schemeClr val="dk1"/>
          </a:fillRef>
          <a:effectRef idx="1">
            <a:schemeClr val="dk1"/>
          </a:effectRef>
          <a:fontRef idx="minor">
            <a:schemeClr val="tx1"/>
          </a:fontRef>
        </p:style>
      </p:cxnSp>
      <p:sp>
        <p:nvSpPr>
          <p:cNvPr id="60" name="TextBox 59"/>
          <p:cNvSpPr txBox="1"/>
          <p:nvPr/>
        </p:nvSpPr>
        <p:spPr>
          <a:xfrm>
            <a:off x="2664099" y="1080807"/>
            <a:ext cx="3902888" cy="584775"/>
          </a:xfrm>
          <a:prstGeom prst="rect">
            <a:avLst/>
          </a:prstGeom>
          <a:solidFill>
            <a:schemeClr val="bg1"/>
          </a:solidFill>
        </p:spPr>
        <p:txBody>
          <a:bodyPr wrap="square" rtlCol="0">
            <a:spAutoFit/>
          </a:bodyPr>
          <a:lstStyle/>
          <a:p>
            <a:pPr algn="ctr"/>
            <a:r>
              <a:rPr lang="en-US" sz="1600" b="1" dirty="0">
                <a:latin typeface="+mj-lt"/>
              </a:rPr>
              <a:t>Crafting Context Aware Digital Experiences</a:t>
            </a:r>
          </a:p>
        </p:txBody>
      </p:sp>
      <p:sp>
        <p:nvSpPr>
          <p:cNvPr id="104" name="Rounded Rectangle 103"/>
          <p:cNvSpPr/>
          <p:nvPr/>
        </p:nvSpPr>
        <p:spPr bwMode="auto">
          <a:xfrm>
            <a:off x="1523427" y="2857859"/>
            <a:ext cx="1923157" cy="1107084"/>
          </a:xfrm>
          <a:prstGeom prst="roundRect">
            <a:avLst/>
          </a:prstGeom>
          <a:solidFill>
            <a:schemeClr val="accent3">
              <a:lumMod val="75000"/>
            </a:schemeClr>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100" b="1" dirty="0">
                <a:solidFill>
                  <a:schemeClr val="bg1"/>
                </a:solidFill>
                <a:latin typeface="+mj-lt"/>
                <a:cs typeface="Arial" charset="0"/>
              </a:rPr>
              <a:t>The Any Channel </a:t>
            </a:r>
          </a:p>
          <a:p>
            <a:pPr algn="ctr" eaLnBrk="0" fontAlgn="base" hangingPunct="0">
              <a:spcBef>
                <a:spcPct val="0"/>
              </a:spcBef>
              <a:spcAft>
                <a:spcPct val="0"/>
              </a:spcAft>
            </a:pPr>
            <a:r>
              <a:rPr lang="en-US" sz="1100" b="1" dirty="0">
                <a:solidFill>
                  <a:schemeClr val="bg1"/>
                </a:solidFill>
                <a:latin typeface="+mj-lt"/>
                <a:cs typeface="Arial" charset="0"/>
              </a:rPr>
              <a:t>Full Stack Problem</a:t>
            </a:r>
          </a:p>
          <a:p>
            <a:pPr algn="ctr" eaLnBrk="0" fontAlgn="base" hangingPunct="0">
              <a:spcBef>
                <a:spcPct val="0"/>
              </a:spcBef>
              <a:spcAft>
                <a:spcPct val="0"/>
              </a:spcAft>
            </a:pPr>
            <a:r>
              <a:rPr lang="en-US" sz="1100" b="1" dirty="0">
                <a:solidFill>
                  <a:schemeClr val="bg1"/>
                </a:solidFill>
                <a:latin typeface="+mj-lt"/>
                <a:cs typeface="Arial" charset="0"/>
              </a:rPr>
              <a:t> Solving</a:t>
            </a:r>
          </a:p>
          <a:p>
            <a:pPr algn="ctr" eaLnBrk="0" fontAlgn="base" hangingPunct="0">
              <a:spcBef>
                <a:spcPct val="0"/>
              </a:spcBef>
              <a:spcAft>
                <a:spcPct val="0"/>
              </a:spcAft>
            </a:pPr>
            <a:r>
              <a:rPr lang="en-US" sz="900" dirty="0">
                <a:solidFill>
                  <a:schemeClr val="bg1"/>
                </a:solidFill>
                <a:latin typeface="+mj-lt"/>
                <a:cs typeface="Arial" charset="0"/>
              </a:rPr>
              <a:t>AnyWhere,AnyWare,</a:t>
            </a:r>
          </a:p>
          <a:p>
            <a:pPr algn="ctr" eaLnBrk="0" fontAlgn="base" hangingPunct="0">
              <a:spcBef>
                <a:spcPct val="0"/>
              </a:spcBef>
              <a:spcAft>
                <a:spcPct val="0"/>
              </a:spcAft>
            </a:pPr>
            <a:r>
              <a:rPr lang="en-US" sz="900" dirty="0">
                <a:solidFill>
                  <a:schemeClr val="bg1"/>
                </a:solidFill>
                <a:latin typeface="+mj-lt"/>
                <a:cs typeface="Arial" charset="0"/>
              </a:rPr>
              <a:t>AnyWear</a:t>
            </a:r>
          </a:p>
        </p:txBody>
      </p:sp>
      <p:sp>
        <p:nvSpPr>
          <p:cNvPr id="105" name="TextBox 104"/>
          <p:cNvSpPr txBox="1"/>
          <p:nvPr/>
        </p:nvSpPr>
        <p:spPr>
          <a:xfrm>
            <a:off x="1534887" y="2410237"/>
            <a:ext cx="1905000" cy="461665"/>
          </a:xfrm>
          <a:prstGeom prst="rect">
            <a:avLst/>
          </a:prstGeom>
          <a:noFill/>
        </p:spPr>
        <p:txBody>
          <a:bodyPr wrap="square" rtlCol="0">
            <a:spAutoFit/>
          </a:bodyPr>
          <a:lstStyle/>
          <a:p>
            <a:pPr algn="ctr"/>
            <a:r>
              <a:rPr lang="en-US" sz="1200" b="1" dirty="0">
                <a:latin typeface="+mj-lt"/>
              </a:rPr>
              <a:t>Mobiity+Wearable+IOT</a:t>
            </a:r>
          </a:p>
        </p:txBody>
      </p:sp>
      <p:sp>
        <p:nvSpPr>
          <p:cNvPr id="106" name="Rounded Rectangle 105"/>
          <p:cNvSpPr/>
          <p:nvPr/>
        </p:nvSpPr>
        <p:spPr bwMode="auto">
          <a:xfrm>
            <a:off x="3759300" y="2859409"/>
            <a:ext cx="1920815" cy="1107084"/>
          </a:xfrm>
          <a:prstGeom prst="roundRect">
            <a:avLst/>
          </a:prstGeom>
          <a:solidFill>
            <a:schemeClr val="accent4">
              <a:alpha val="99000"/>
            </a:schemeClr>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100" b="1" dirty="0">
                <a:solidFill>
                  <a:schemeClr val="bg1"/>
                </a:solidFill>
                <a:latin typeface="+mj-lt"/>
                <a:cs typeface="Arial" charset="0"/>
              </a:rPr>
              <a:t>The OmniChannel </a:t>
            </a:r>
          </a:p>
          <a:p>
            <a:pPr algn="ctr" eaLnBrk="0" fontAlgn="base" hangingPunct="0">
              <a:spcBef>
                <a:spcPct val="0"/>
              </a:spcBef>
              <a:spcAft>
                <a:spcPct val="0"/>
              </a:spcAft>
            </a:pPr>
            <a:r>
              <a:rPr lang="en-US" sz="1100" b="1" dirty="0">
                <a:solidFill>
                  <a:schemeClr val="bg1"/>
                </a:solidFill>
                <a:latin typeface="+mj-lt"/>
                <a:cs typeface="Arial" charset="0"/>
              </a:rPr>
              <a:t>WebDev</a:t>
            </a:r>
            <a:endParaRPr lang="en-US" sz="1000" b="1" dirty="0">
              <a:solidFill>
                <a:schemeClr val="bg1"/>
              </a:solidFill>
              <a:latin typeface="+mj-lt"/>
              <a:cs typeface="Arial" charset="0"/>
            </a:endParaRPr>
          </a:p>
        </p:txBody>
      </p:sp>
      <p:sp>
        <p:nvSpPr>
          <p:cNvPr id="107" name="TextBox 106"/>
          <p:cNvSpPr txBox="1"/>
          <p:nvPr/>
        </p:nvSpPr>
        <p:spPr>
          <a:xfrm>
            <a:off x="3730755" y="2410237"/>
            <a:ext cx="1905000" cy="276999"/>
          </a:xfrm>
          <a:prstGeom prst="rect">
            <a:avLst/>
          </a:prstGeom>
          <a:noFill/>
        </p:spPr>
        <p:txBody>
          <a:bodyPr wrap="square" rtlCol="0">
            <a:spAutoFit/>
          </a:bodyPr>
          <a:lstStyle/>
          <a:p>
            <a:pPr algn="ctr"/>
            <a:r>
              <a:rPr lang="en-US" sz="1200" b="1" dirty="0">
                <a:latin typeface="+mj-lt"/>
              </a:rPr>
              <a:t>The Web</a:t>
            </a:r>
          </a:p>
        </p:txBody>
      </p:sp>
      <p:sp>
        <p:nvSpPr>
          <p:cNvPr id="108" name="Rounded Rectangle 107"/>
          <p:cNvSpPr/>
          <p:nvPr/>
        </p:nvSpPr>
        <p:spPr bwMode="auto">
          <a:xfrm>
            <a:off x="5992832" y="2873049"/>
            <a:ext cx="1920815" cy="1107084"/>
          </a:xfrm>
          <a:prstGeom prst="roundRect">
            <a:avLst/>
          </a:prstGeom>
          <a:solidFill>
            <a:schemeClr val="accent6">
              <a:lumMod val="75000"/>
              <a:alpha val="99000"/>
            </a:schemeClr>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100" b="1" dirty="0">
                <a:solidFill>
                  <a:schemeClr val="bg1"/>
                </a:solidFill>
                <a:latin typeface="+mj-lt"/>
                <a:cs typeface="Arial" charset="0"/>
              </a:rPr>
              <a:t>The Digital Craft</a:t>
            </a:r>
            <a:endParaRPr lang="en-US" sz="1000" b="1" dirty="0">
              <a:solidFill>
                <a:schemeClr val="bg1"/>
              </a:solidFill>
              <a:latin typeface="+mj-lt"/>
              <a:cs typeface="Arial" charset="0"/>
            </a:endParaRPr>
          </a:p>
        </p:txBody>
      </p:sp>
      <p:sp>
        <p:nvSpPr>
          <p:cNvPr id="109" name="TextBox 108"/>
          <p:cNvSpPr txBox="1"/>
          <p:nvPr/>
        </p:nvSpPr>
        <p:spPr>
          <a:xfrm>
            <a:off x="5946263" y="2410237"/>
            <a:ext cx="1905000" cy="461665"/>
          </a:xfrm>
          <a:prstGeom prst="rect">
            <a:avLst/>
          </a:prstGeom>
          <a:noFill/>
        </p:spPr>
        <p:txBody>
          <a:bodyPr wrap="square" rtlCol="0">
            <a:spAutoFit/>
          </a:bodyPr>
          <a:lstStyle/>
          <a:p>
            <a:pPr algn="ctr"/>
            <a:r>
              <a:rPr lang="en-US" sz="1200" b="1" dirty="0">
                <a:latin typeface="+mj-lt"/>
              </a:rPr>
              <a:t>The User Experience</a:t>
            </a:r>
          </a:p>
        </p:txBody>
      </p:sp>
      <p:sp>
        <p:nvSpPr>
          <p:cNvPr id="110" name="TextBox 109"/>
          <p:cNvSpPr txBox="1"/>
          <p:nvPr/>
        </p:nvSpPr>
        <p:spPr>
          <a:xfrm>
            <a:off x="1587137" y="4045993"/>
            <a:ext cx="1863635" cy="1754326"/>
          </a:xfrm>
          <a:prstGeom prst="rect">
            <a:avLst/>
          </a:prstGeom>
          <a:noFill/>
          <a:ln>
            <a:solidFill>
              <a:schemeClr val="bg1"/>
            </a:solidFill>
          </a:ln>
        </p:spPr>
        <p:txBody>
          <a:bodyPr wrap="square" rtlCol="0">
            <a:spAutoFit/>
          </a:bodyPr>
          <a:lstStyle/>
          <a:p>
            <a:r>
              <a:rPr lang="en-US" sz="1200" dirty="0">
                <a:solidFill>
                  <a:schemeClr val="accent3">
                    <a:lumMod val="75000"/>
                  </a:schemeClr>
                </a:solidFill>
                <a:latin typeface="+mj-lt"/>
              </a:rPr>
              <a:t>Create next generation Mobile first full stack digital transformation recipes. Extend solutions to take advantage of all possibilities of any points of engagement</a:t>
            </a:r>
          </a:p>
        </p:txBody>
      </p:sp>
      <p:sp>
        <p:nvSpPr>
          <p:cNvPr id="111" name="TextBox 110"/>
          <p:cNvSpPr txBox="1"/>
          <p:nvPr/>
        </p:nvSpPr>
        <p:spPr>
          <a:xfrm>
            <a:off x="3777344" y="4045993"/>
            <a:ext cx="1915887" cy="1384995"/>
          </a:xfrm>
          <a:prstGeom prst="rect">
            <a:avLst/>
          </a:prstGeom>
          <a:noFill/>
          <a:ln>
            <a:solidFill>
              <a:schemeClr val="bg1"/>
            </a:solidFill>
          </a:ln>
        </p:spPr>
        <p:txBody>
          <a:bodyPr wrap="square" rtlCol="0">
            <a:spAutoFit/>
          </a:bodyPr>
          <a:lstStyle/>
          <a:p>
            <a:r>
              <a:rPr lang="en-US" sz="1200" dirty="0">
                <a:solidFill>
                  <a:schemeClr val="accent4"/>
                </a:solidFill>
                <a:latin typeface="+mj-lt"/>
              </a:rPr>
              <a:t>Create WebCentric Points of engagement acceleration. Create the next generation adaptive theme based approaches for usability</a:t>
            </a:r>
          </a:p>
        </p:txBody>
      </p:sp>
      <p:sp>
        <p:nvSpPr>
          <p:cNvPr id="112" name="TextBox 111"/>
          <p:cNvSpPr txBox="1"/>
          <p:nvPr/>
        </p:nvSpPr>
        <p:spPr>
          <a:xfrm>
            <a:off x="6019802" y="4045992"/>
            <a:ext cx="1904999" cy="1384995"/>
          </a:xfrm>
          <a:prstGeom prst="rect">
            <a:avLst/>
          </a:prstGeom>
          <a:noFill/>
          <a:ln>
            <a:solidFill>
              <a:schemeClr val="bg1"/>
            </a:solidFill>
          </a:ln>
        </p:spPr>
        <p:txBody>
          <a:bodyPr wrap="square" rtlCol="0">
            <a:spAutoFit/>
          </a:bodyPr>
          <a:lstStyle/>
          <a:p>
            <a:r>
              <a:rPr lang="en-US" sz="1200" dirty="0">
                <a:solidFill>
                  <a:schemeClr val="accent6">
                    <a:lumMod val="75000"/>
                  </a:schemeClr>
                </a:solidFill>
                <a:latin typeface="+mj-lt"/>
              </a:rPr>
              <a:t>Create the next generation experience that disrupts traditional approaches yet create tangible delightful transformations</a:t>
            </a:r>
          </a:p>
        </p:txBody>
      </p:sp>
      <p:sp>
        <p:nvSpPr>
          <p:cNvPr id="113" name="Freeform 407"/>
          <p:cNvSpPr>
            <a:spLocks/>
          </p:cNvSpPr>
          <p:nvPr/>
        </p:nvSpPr>
        <p:spPr bwMode="auto">
          <a:xfrm>
            <a:off x="4330696" y="1936130"/>
            <a:ext cx="486755" cy="350312"/>
          </a:xfrm>
          <a:custGeom>
            <a:avLst/>
            <a:gdLst/>
            <a:ahLst/>
            <a:cxnLst>
              <a:cxn ang="0">
                <a:pos x="242" y="136"/>
              </a:cxn>
              <a:cxn ang="0">
                <a:pos x="242" y="136"/>
              </a:cxn>
              <a:cxn ang="0">
                <a:pos x="240" y="142"/>
              </a:cxn>
              <a:cxn ang="0">
                <a:pos x="238" y="147"/>
              </a:cxn>
              <a:cxn ang="0">
                <a:pos x="231" y="151"/>
              </a:cxn>
              <a:cxn ang="0">
                <a:pos x="225" y="152"/>
              </a:cxn>
              <a:cxn ang="0">
                <a:pos x="16" y="152"/>
              </a:cxn>
              <a:cxn ang="0">
                <a:pos x="16" y="152"/>
              </a:cxn>
              <a:cxn ang="0">
                <a:pos x="10" y="151"/>
              </a:cxn>
              <a:cxn ang="0">
                <a:pos x="5" y="147"/>
              </a:cxn>
              <a:cxn ang="0">
                <a:pos x="1" y="142"/>
              </a:cxn>
              <a:cxn ang="0">
                <a:pos x="0" y="136"/>
              </a:cxn>
              <a:cxn ang="0">
                <a:pos x="220" y="136"/>
              </a:cxn>
              <a:cxn ang="0">
                <a:pos x="220" y="0"/>
              </a:cxn>
              <a:cxn ang="0">
                <a:pos x="21" y="0"/>
              </a:cxn>
              <a:cxn ang="0">
                <a:pos x="21" y="117"/>
              </a:cxn>
            </a:cxnLst>
            <a:rect l="0" t="0" r="r" b="b"/>
            <a:pathLst>
              <a:path w="242" h="152">
                <a:moveTo>
                  <a:pt x="242" y="136"/>
                </a:moveTo>
                <a:lnTo>
                  <a:pt x="242" y="136"/>
                </a:lnTo>
                <a:lnTo>
                  <a:pt x="240" y="142"/>
                </a:lnTo>
                <a:lnTo>
                  <a:pt x="238" y="147"/>
                </a:lnTo>
                <a:lnTo>
                  <a:pt x="231" y="151"/>
                </a:lnTo>
                <a:lnTo>
                  <a:pt x="225" y="152"/>
                </a:lnTo>
                <a:lnTo>
                  <a:pt x="16" y="152"/>
                </a:lnTo>
                <a:lnTo>
                  <a:pt x="16" y="152"/>
                </a:lnTo>
                <a:lnTo>
                  <a:pt x="10" y="151"/>
                </a:lnTo>
                <a:lnTo>
                  <a:pt x="5" y="147"/>
                </a:lnTo>
                <a:lnTo>
                  <a:pt x="1" y="142"/>
                </a:lnTo>
                <a:lnTo>
                  <a:pt x="0" y="136"/>
                </a:lnTo>
                <a:lnTo>
                  <a:pt x="220" y="136"/>
                </a:lnTo>
                <a:lnTo>
                  <a:pt x="220" y="0"/>
                </a:lnTo>
                <a:lnTo>
                  <a:pt x="21" y="0"/>
                </a:lnTo>
                <a:lnTo>
                  <a:pt x="21" y="117"/>
                </a:lnTo>
              </a:path>
            </a:pathLst>
          </a:custGeom>
          <a:noFill/>
          <a:ln w="12700">
            <a:solidFill>
              <a:srgbClr val="ED791D"/>
            </a:solidFill>
            <a:prstDash val="solid"/>
            <a:round/>
            <a:headEnd/>
            <a:tailEnd/>
          </a:ln>
        </p:spPr>
        <p:txBody>
          <a:bodyPr vert="horz" wrap="square" lIns="83969" tIns="41985" rIns="83969" bIns="41985" numCol="1" anchor="t" anchorCtr="0" compatLnSpc="1">
            <a:prstTxWarp prst="textNoShape">
              <a:avLst/>
            </a:prstTxWarp>
          </a:bodyPr>
          <a:lstStyle/>
          <a:p>
            <a:endParaRPr lang="en-US" dirty="0">
              <a:latin typeface="+mj-lt"/>
            </a:endParaRPr>
          </a:p>
        </p:txBody>
      </p:sp>
      <p:grpSp>
        <p:nvGrpSpPr>
          <p:cNvPr id="114" name="Group 92"/>
          <p:cNvGrpSpPr/>
          <p:nvPr/>
        </p:nvGrpSpPr>
        <p:grpSpPr>
          <a:xfrm>
            <a:off x="7091984" y="1809809"/>
            <a:ext cx="286716" cy="529396"/>
            <a:chOff x="8045451" y="2687638"/>
            <a:chExt cx="250825" cy="469900"/>
          </a:xfrm>
          <a:noFill/>
        </p:grpSpPr>
        <p:sp>
          <p:nvSpPr>
            <p:cNvPr id="246" name="Freeform 59"/>
            <p:cNvSpPr>
              <a:spLocks/>
            </p:cNvSpPr>
            <p:nvPr/>
          </p:nvSpPr>
          <p:spPr bwMode="auto">
            <a:xfrm>
              <a:off x="8045451" y="2744788"/>
              <a:ext cx="250825" cy="412750"/>
            </a:xfrm>
            <a:custGeom>
              <a:avLst/>
              <a:gdLst/>
              <a:ahLst/>
              <a:cxnLst>
                <a:cxn ang="0">
                  <a:pos x="52" y="108"/>
                </a:cxn>
                <a:cxn ang="0">
                  <a:pos x="59" y="108"/>
                </a:cxn>
                <a:cxn ang="0">
                  <a:pos x="58" y="98"/>
                </a:cxn>
                <a:cxn ang="0">
                  <a:pos x="65" y="82"/>
                </a:cxn>
                <a:cxn ang="0">
                  <a:pos x="65" y="58"/>
                </a:cxn>
                <a:cxn ang="0">
                  <a:pos x="56" y="50"/>
                </a:cxn>
                <a:cxn ang="0">
                  <a:pos x="43" y="44"/>
                </a:cxn>
                <a:cxn ang="0">
                  <a:pos x="31" y="42"/>
                </a:cxn>
                <a:cxn ang="0">
                  <a:pos x="29" y="29"/>
                </a:cxn>
                <a:cxn ang="0">
                  <a:pos x="28" y="9"/>
                </a:cxn>
                <a:cxn ang="0">
                  <a:pos x="17" y="11"/>
                </a:cxn>
                <a:cxn ang="0">
                  <a:pos x="17" y="27"/>
                </a:cxn>
                <a:cxn ang="0">
                  <a:pos x="15" y="54"/>
                </a:cxn>
                <a:cxn ang="0">
                  <a:pos x="8" y="50"/>
                </a:cxn>
                <a:cxn ang="0">
                  <a:pos x="0" y="53"/>
                </a:cxn>
                <a:cxn ang="0">
                  <a:pos x="7" y="67"/>
                </a:cxn>
                <a:cxn ang="0">
                  <a:pos x="14" y="84"/>
                </a:cxn>
                <a:cxn ang="0">
                  <a:pos x="22" y="103"/>
                </a:cxn>
                <a:cxn ang="0">
                  <a:pos x="27" y="109"/>
                </a:cxn>
              </a:cxnLst>
              <a:rect l="0" t="0" r="r" b="b"/>
              <a:pathLst>
                <a:path w="67" h="110">
                  <a:moveTo>
                    <a:pt x="52" y="108"/>
                  </a:moveTo>
                  <a:cubicBezTo>
                    <a:pt x="54" y="108"/>
                    <a:pt x="57" y="108"/>
                    <a:pt x="59" y="108"/>
                  </a:cubicBezTo>
                  <a:cubicBezTo>
                    <a:pt x="59" y="108"/>
                    <a:pt x="58" y="100"/>
                    <a:pt x="58" y="98"/>
                  </a:cubicBezTo>
                  <a:cubicBezTo>
                    <a:pt x="59" y="96"/>
                    <a:pt x="63" y="87"/>
                    <a:pt x="65" y="82"/>
                  </a:cubicBezTo>
                  <a:cubicBezTo>
                    <a:pt x="67" y="78"/>
                    <a:pt x="66" y="64"/>
                    <a:pt x="65" y="58"/>
                  </a:cubicBezTo>
                  <a:cubicBezTo>
                    <a:pt x="65" y="51"/>
                    <a:pt x="58" y="49"/>
                    <a:pt x="56" y="50"/>
                  </a:cubicBezTo>
                  <a:cubicBezTo>
                    <a:pt x="55" y="44"/>
                    <a:pt x="47" y="40"/>
                    <a:pt x="43" y="44"/>
                  </a:cubicBezTo>
                  <a:cubicBezTo>
                    <a:pt x="40" y="37"/>
                    <a:pt x="32" y="38"/>
                    <a:pt x="31" y="42"/>
                  </a:cubicBezTo>
                  <a:cubicBezTo>
                    <a:pt x="31" y="44"/>
                    <a:pt x="29" y="31"/>
                    <a:pt x="29" y="29"/>
                  </a:cubicBezTo>
                  <a:cubicBezTo>
                    <a:pt x="29" y="27"/>
                    <a:pt x="28" y="13"/>
                    <a:pt x="28" y="9"/>
                  </a:cubicBezTo>
                  <a:cubicBezTo>
                    <a:pt x="28" y="2"/>
                    <a:pt x="17" y="0"/>
                    <a:pt x="17" y="11"/>
                  </a:cubicBezTo>
                  <a:cubicBezTo>
                    <a:pt x="17" y="15"/>
                    <a:pt x="17" y="24"/>
                    <a:pt x="17" y="27"/>
                  </a:cubicBezTo>
                  <a:cubicBezTo>
                    <a:pt x="16" y="29"/>
                    <a:pt x="15" y="51"/>
                    <a:pt x="15" y="54"/>
                  </a:cubicBezTo>
                  <a:cubicBezTo>
                    <a:pt x="15" y="56"/>
                    <a:pt x="12" y="51"/>
                    <a:pt x="8" y="50"/>
                  </a:cubicBezTo>
                  <a:cubicBezTo>
                    <a:pt x="5" y="48"/>
                    <a:pt x="0" y="49"/>
                    <a:pt x="0" y="53"/>
                  </a:cubicBezTo>
                  <a:cubicBezTo>
                    <a:pt x="0" y="56"/>
                    <a:pt x="5" y="63"/>
                    <a:pt x="7" y="67"/>
                  </a:cubicBezTo>
                  <a:cubicBezTo>
                    <a:pt x="9" y="72"/>
                    <a:pt x="13" y="75"/>
                    <a:pt x="14" y="84"/>
                  </a:cubicBezTo>
                  <a:cubicBezTo>
                    <a:pt x="16" y="93"/>
                    <a:pt x="23" y="97"/>
                    <a:pt x="22" y="103"/>
                  </a:cubicBezTo>
                  <a:cubicBezTo>
                    <a:pt x="22" y="110"/>
                    <a:pt x="26" y="109"/>
                    <a:pt x="27" y="109"/>
                  </a:cubicBezTo>
                </a:path>
              </a:pathLst>
            </a:custGeom>
            <a:grpFill/>
            <a:ln w="12700" cap="rnd">
              <a:solidFill>
                <a:srgbClr val="DAA904"/>
              </a:solidFill>
              <a:prstDash val="solid"/>
              <a:round/>
              <a:headEnd/>
              <a:tailEnd/>
            </a:ln>
          </p:spPr>
          <p:txBody>
            <a:bodyPr vert="horz" wrap="square" lIns="84406" tIns="42203" rIns="84406" bIns="42203" numCol="1" anchor="t" anchorCtr="0" compatLnSpc="1">
              <a:prstTxWarp prst="textNoShape">
                <a:avLst/>
              </a:prstTxWarp>
            </a:bodyPr>
            <a:lstStyle/>
            <a:p>
              <a:endParaRPr lang="en-US" sz="1662" dirty="0">
                <a:latin typeface="+mj-lt"/>
              </a:endParaRPr>
            </a:p>
          </p:txBody>
        </p:sp>
        <p:sp>
          <p:nvSpPr>
            <p:cNvPr id="247" name="Freeform 60"/>
            <p:cNvSpPr>
              <a:spLocks/>
            </p:cNvSpPr>
            <p:nvPr/>
          </p:nvSpPr>
          <p:spPr bwMode="auto">
            <a:xfrm>
              <a:off x="8064501" y="2687638"/>
              <a:ext cx="134938" cy="131763"/>
            </a:xfrm>
            <a:custGeom>
              <a:avLst/>
              <a:gdLst/>
              <a:ahLst/>
              <a:cxnLst>
                <a:cxn ang="0">
                  <a:pos x="11" y="35"/>
                </a:cxn>
                <a:cxn ang="0">
                  <a:pos x="0" y="18"/>
                </a:cxn>
                <a:cxn ang="0">
                  <a:pos x="18" y="0"/>
                </a:cxn>
                <a:cxn ang="0">
                  <a:pos x="36" y="18"/>
                </a:cxn>
                <a:cxn ang="0">
                  <a:pos x="26" y="34"/>
                </a:cxn>
              </a:cxnLst>
              <a:rect l="0" t="0" r="r" b="b"/>
              <a:pathLst>
                <a:path w="36" h="35">
                  <a:moveTo>
                    <a:pt x="11" y="35"/>
                  </a:moveTo>
                  <a:cubicBezTo>
                    <a:pt x="5" y="32"/>
                    <a:pt x="0" y="26"/>
                    <a:pt x="0" y="18"/>
                  </a:cubicBezTo>
                  <a:cubicBezTo>
                    <a:pt x="0" y="8"/>
                    <a:pt x="8" y="0"/>
                    <a:pt x="18" y="0"/>
                  </a:cubicBezTo>
                  <a:cubicBezTo>
                    <a:pt x="28" y="0"/>
                    <a:pt x="36" y="8"/>
                    <a:pt x="36" y="18"/>
                  </a:cubicBezTo>
                  <a:cubicBezTo>
                    <a:pt x="36" y="25"/>
                    <a:pt x="32" y="32"/>
                    <a:pt x="26" y="34"/>
                  </a:cubicBezTo>
                </a:path>
              </a:pathLst>
            </a:custGeom>
            <a:grpFill/>
            <a:ln w="12700" cap="rnd">
              <a:solidFill>
                <a:srgbClr val="DAA904"/>
              </a:solidFill>
              <a:prstDash val="solid"/>
              <a:round/>
              <a:headEnd/>
              <a:tailEnd/>
            </a:ln>
          </p:spPr>
          <p:txBody>
            <a:bodyPr vert="horz" wrap="square" lIns="84406" tIns="42203" rIns="84406" bIns="42203" numCol="1" anchor="t" anchorCtr="0" compatLnSpc="1">
              <a:prstTxWarp prst="textNoShape">
                <a:avLst/>
              </a:prstTxWarp>
            </a:bodyPr>
            <a:lstStyle/>
            <a:p>
              <a:endParaRPr lang="en-US" sz="1662" dirty="0">
                <a:latin typeface="+mj-lt"/>
              </a:endParaRPr>
            </a:p>
          </p:txBody>
        </p:sp>
      </p:grpSp>
      <p:grpSp>
        <p:nvGrpSpPr>
          <p:cNvPr id="115" name="Groupe 670"/>
          <p:cNvGrpSpPr/>
          <p:nvPr/>
        </p:nvGrpSpPr>
        <p:grpSpPr>
          <a:xfrm>
            <a:off x="2188731" y="1971693"/>
            <a:ext cx="484122" cy="307274"/>
            <a:chOff x="1747814" y="4959152"/>
            <a:chExt cx="290512" cy="184150"/>
          </a:xfrm>
        </p:grpSpPr>
        <p:sp>
          <p:nvSpPr>
            <p:cNvPr id="222" name="Freeform 672"/>
            <p:cNvSpPr>
              <a:spLocks/>
            </p:cNvSpPr>
            <p:nvPr/>
          </p:nvSpPr>
          <p:spPr bwMode="auto">
            <a:xfrm>
              <a:off x="1828776" y="5094089"/>
              <a:ext cx="168275" cy="49213"/>
            </a:xfrm>
            <a:custGeom>
              <a:avLst/>
              <a:gdLst/>
              <a:ahLst/>
              <a:cxnLst>
                <a:cxn ang="0">
                  <a:pos x="0" y="0"/>
                </a:cxn>
                <a:cxn ang="0">
                  <a:pos x="0" y="0"/>
                </a:cxn>
                <a:cxn ang="0">
                  <a:pos x="13" y="1"/>
                </a:cxn>
                <a:cxn ang="0">
                  <a:pos x="13" y="1"/>
                </a:cxn>
                <a:cxn ang="0">
                  <a:pos x="18" y="2"/>
                </a:cxn>
                <a:cxn ang="0">
                  <a:pos x="25" y="6"/>
                </a:cxn>
                <a:cxn ang="0">
                  <a:pos x="40" y="16"/>
                </a:cxn>
                <a:cxn ang="0">
                  <a:pos x="49" y="23"/>
                </a:cxn>
                <a:cxn ang="0">
                  <a:pos x="58" y="26"/>
                </a:cxn>
                <a:cxn ang="0">
                  <a:pos x="66" y="30"/>
                </a:cxn>
                <a:cxn ang="0">
                  <a:pos x="77" y="31"/>
                </a:cxn>
                <a:cxn ang="0">
                  <a:pos x="77" y="31"/>
                </a:cxn>
                <a:cxn ang="0">
                  <a:pos x="87" y="30"/>
                </a:cxn>
                <a:cxn ang="0">
                  <a:pos x="93" y="29"/>
                </a:cxn>
                <a:cxn ang="0">
                  <a:pos x="98" y="28"/>
                </a:cxn>
                <a:cxn ang="0">
                  <a:pos x="102" y="25"/>
                </a:cxn>
                <a:cxn ang="0">
                  <a:pos x="106" y="23"/>
                </a:cxn>
                <a:cxn ang="0">
                  <a:pos x="106" y="20"/>
                </a:cxn>
              </a:cxnLst>
              <a:rect l="0" t="0" r="r" b="b"/>
              <a:pathLst>
                <a:path w="106" h="31">
                  <a:moveTo>
                    <a:pt x="0" y="0"/>
                  </a:moveTo>
                  <a:lnTo>
                    <a:pt x="0" y="0"/>
                  </a:lnTo>
                  <a:lnTo>
                    <a:pt x="13" y="1"/>
                  </a:lnTo>
                  <a:lnTo>
                    <a:pt x="13" y="1"/>
                  </a:lnTo>
                  <a:lnTo>
                    <a:pt x="18" y="2"/>
                  </a:lnTo>
                  <a:lnTo>
                    <a:pt x="25" y="6"/>
                  </a:lnTo>
                  <a:lnTo>
                    <a:pt x="40" y="16"/>
                  </a:lnTo>
                  <a:lnTo>
                    <a:pt x="49" y="23"/>
                  </a:lnTo>
                  <a:lnTo>
                    <a:pt x="58" y="26"/>
                  </a:lnTo>
                  <a:lnTo>
                    <a:pt x="66" y="30"/>
                  </a:lnTo>
                  <a:lnTo>
                    <a:pt x="77" y="31"/>
                  </a:lnTo>
                  <a:lnTo>
                    <a:pt x="77" y="31"/>
                  </a:lnTo>
                  <a:lnTo>
                    <a:pt x="87" y="30"/>
                  </a:lnTo>
                  <a:lnTo>
                    <a:pt x="93" y="29"/>
                  </a:lnTo>
                  <a:lnTo>
                    <a:pt x="98" y="28"/>
                  </a:lnTo>
                  <a:lnTo>
                    <a:pt x="102" y="25"/>
                  </a:lnTo>
                  <a:lnTo>
                    <a:pt x="106" y="23"/>
                  </a:lnTo>
                  <a:lnTo>
                    <a:pt x="106" y="20"/>
                  </a:lnTo>
                </a:path>
              </a:pathLst>
            </a:custGeom>
            <a:noFill/>
            <a:ln w="1270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23" name="Freeform 673"/>
            <p:cNvSpPr>
              <a:spLocks/>
            </p:cNvSpPr>
            <p:nvPr/>
          </p:nvSpPr>
          <p:spPr bwMode="auto">
            <a:xfrm>
              <a:off x="1758926" y="5094089"/>
              <a:ext cx="31750" cy="1588"/>
            </a:xfrm>
            <a:custGeom>
              <a:avLst/>
              <a:gdLst/>
              <a:ahLst/>
              <a:cxnLst>
                <a:cxn ang="0">
                  <a:pos x="20" y="0"/>
                </a:cxn>
                <a:cxn ang="0">
                  <a:pos x="20" y="0"/>
                </a:cxn>
                <a:cxn ang="0">
                  <a:pos x="0" y="1"/>
                </a:cxn>
              </a:cxnLst>
              <a:rect l="0" t="0" r="r" b="b"/>
              <a:pathLst>
                <a:path w="20" h="1">
                  <a:moveTo>
                    <a:pt x="20" y="0"/>
                  </a:moveTo>
                  <a:lnTo>
                    <a:pt x="20" y="0"/>
                  </a:lnTo>
                  <a:lnTo>
                    <a:pt x="0" y="1"/>
                  </a:lnTo>
                </a:path>
              </a:pathLst>
            </a:custGeom>
            <a:noFill/>
            <a:ln w="1270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29" name="Freeform 674"/>
            <p:cNvSpPr>
              <a:spLocks/>
            </p:cNvSpPr>
            <p:nvPr/>
          </p:nvSpPr>
          <p:spPr bwMode="auto">
            <a:xfrm>
              <a:off x="1828776" y="4959152"/>
              <a:ext cx="187325" cy="22225"/>
            </a:xfrm>
            <a:custGeom>
              <a:avLst/>
              <a:gdLst/>
              <a:ahLst/>
              <a:cxnLst>
                <a:cxn ang="0">
                  <a:pos x="118" y="7"/>
                </a:cxn>
                <a:cxn ang="0">
                  <a:pos x="118" y="7"/>
                </a:cxn>
                <a:cxn ang="0">
                  <a:pos x="107" y="4"/>
                </a:cxn>
                <a:cxn ang="0">
                  <a:pos x="92" y="1"/>
                </a:cxn>
                <a:cxn ang="0">
                  <a:pos x="92" y="1"/>
                </a:cxn>
                <a:cxn ang="0">
                  <a:pos x="80" y="0"/>
                </a:cxn>
                <a:cxn ang="0">
                  <a:pos x="69" y="1"/>
                </a:cxn>
                <a:cxn ang="0">
                  <a:pos x="60" y="4"/>
                </a:cxn>
                <a:cxn ang="0">
                  <a:pos x="51" y="6"/>
                </a:cxn>
                <a:cxn ang="0">
                  <a:pos x="36" y="11"/>
                </a:cxn>
                <a:cxn ang="0">
                  <a:pos x="30" y="12"/>
                </a:cxn>
                <a:cxn ang="0">
                  <a:pos x="25" y="14"/>
                </a:cxn>
                <a:cxn ang="0">
                  <a:pos x="25" y="14"/>
                </a:cxn>
                <a:cxn ang="0">
                  <a:pos x="0" y="14"/>
                </a:cxn>
              </a:cxnLst>
              <a:rect l="0" t="0" r="r" b="b"/>
              <a:pathLst>
                <a:path w="118" h="14">
                  <a:moveTo>
                    <a:pt x="118" y="7"/>
                  </a:moveTo>
                  <a:lnTo>
                    <a:pt x="118" y="7"/>
                  </a:lnTo>
                  <a:lnTo>
                    <a:pt x="107" y="4"/>
                  </a:lnTo>
                  <a:lnTo>
                    <a:pt x="92" y="1"/>
                  </a:lnTo>
                  <a:lnTo>
                    <a:pt x="92" y="1"/>
                  </a:lnTo>
                  <a:lnTo>
                    <a:pt x="80" y="0"/>
                  </a:lnTo>
                  <a:lnTo>
                    <a:pt x="69" y="1"/>
                  </a:lnTo>
                  <a:lnTo>
                    <a:pt x="60" y="4"/>
                  </a:lnTo>
                  <a:lnTo>
                    <a:pt x="51" y="6"/>
                  </a:lnTo>
                  <a:lnTo>
                    <a:pt x="36" y="11"/>
                  </a:lnTo>
                  <a:lnTo>
                    <a:pt x="30" y="12"/>
                  </a:lnTo>
                  <a:lnTo>
                    <a:pt x="25" y="14"/>
                  </a:lnTo>
                  <a:lnTo>
                    <a:pt x="25" y="14"/>
                  </a:lnTo>
                  <a:lnTo>
                    <a:pt x="0" y="14"/>
                  </a:lnTo>
                </a:path>
              </a:pathLst>
            </a:custGeom>
            <a:noFill/>
            <a:ln w="1270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30" name="Line 675"/>
            <p:cNvSpPr>
              <a:spLocks noChangeShapeType="1"/>
            </p:cNvSpPr>
            <p:nvPr/>
          </p:nvSpPr>
          <p:spPr bwMode="auto">
            <a:xfrm flipH="1">
              <a:off x="1747814" y="4981377"/>
              <a:ext cx="42863" cy="1588"/>
            </a:xfrm>
            <a:prstGeom prst="line">
              <a:avLst/>
            </a:prstGeom>
            <a:noFill/>
            <a:ln w="1270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31" name="Line 676"/>
            <p:cNvSpPr>
              <a:spLocks noChangeShapeType="1"/>
            </p:cNvSpPr>
            <p:nvPr/>
          </p:nvSpPr>
          <p:spPr bwMode="auto">
            <a:xfrm>
              <a:off x="1790676" y="4981377"/>
              <a:ext cx="1588" cy="17463"/>
            </a:xfrm>
            <a:prstGeom prst="line">
              <a:avLst/>
            </a:prstGeom>
            <a:noFill/>
            <a:ln w="1270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32" name="Line 677"/>
            <p:cNvSpPr>
              <a:spLocks noChangeShapeType="1"/>
            </p:cNvSpPr>
            <p:nvPr/>
          </p:nvSpPr>
          <p:spPr bwMode="auto">
            <a:xfrm flipV="1">
              <a:off x="1828776" y="4981377"/>
              <a:ext cx="1588" cy="17463"/>
            </a:xfrm>
            <a:prstGeom prst="line">
              <a:avLst/>
            </a:prstGeom>
            <a:noFill/>
            <a:ln w="1270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36" name="Freeform 678"/>
            <p:cNvSpPr>
              <a:spLocks/>
            </p:cNvSpPr>
            <p:nvPr/>
          </p:nvSpPr>
          <p:spPr bwMode="auto">
            <a:xfrm>
              <a:off x="1790676" y="4976614"/>
              <a:ext cx="38100" cy="4763"/>
            </a:xfrm>
            <a:custGeom>
              <a:avLst/>
              <a:gdLst/>
              <a:ahLst/>
              <a:cxnLst>
                <a:cxn ang="0">
                  <a:pos x="0" y="3"/>
                </a:cxn>
                <a:cxn ang="0">
                  <a:pos x="0" y="0"/>
                </a:cxn>
                <a:cxn ang="0">
                  <a:pos x="24" y="0"/>
                </a:cxn>
                <a:cxn ang="0">
                  <a:pos x="24" y="3"/>
                </a:cxn>
              </a:cxnLst>
              <a:rect l="0" t="0" r="r" b="b"/>
              <a:pathLst>
                <a:path w="24" h="3">
                  <a:moveTo>
                    <a:pt x="0" y="3"/>
                  </a:moveTo>
                  <a:lnTo>
                    <a:pt x="0" y="0"/>
                  </a:lnTo>
                  <a:lnTo>
                    <a:pt x="24" y="0"/>
                  </a:lnTo>
                  <a:lnTo>
                    <a:pt x="24" y="3"/>
                  </a:lnTo>
                </a:path>
              </a:pathLst>
            </a:custGeom>
            <a:noFill/>
            <a:ln w="1270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37" name="Line 679"/>
            <p:cNvSpPr>
              <a:spLocks noChangeShapeType="1"/>
            </p:cNvSpPr>
            <p:nvPr/>
          </p:nvSpPr>
          <p:spPr bwMode="auto">
            <a:xfrm flipV="1">
              <a:off x="1790676" y="5073452"/>
              <a:ext cx="1588" cy="20638"/>
            </a:xfrm>
            <a:prstGeom prst="line">
              <a:avLst/>
            </a:prstGeom>
            <a:noFill/>
            <a:ln w="1270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38" name="Freeform 680"/>
            <p:cNvSpPr>
              <a:spLocks/>
            </p:cNvSpPr>
            <p:nvPr/>
          </p:nvSpPr>
          <p:spPr bwMode="auto">
            <a:xfrm>
              <a:off x="1790676" y="5094089"/>
              <a:ext cx="38100" cy="1588"/>
            </a:xfrm>
            <a:custGeom>
              <a:avLst/>
              <a:gdLst/>
              <a:ahLst/>
              <a:cxnLst>
                <a:cxn ang="0">
                  <a:pos x="0" y="0"/>
                </a:cxn>
                <a:cxn ang="0">
                  <a:pos x="0" y="1"/>
                </a:cxn>
                <a:cxn ang="0">
                  <a:pos x="24" y="1"/>
                </a:cxn>
                <a:cxn ang="0">
                  <a:pos x="24" y="0"/>
                </a:cxn>
              </a:cxnLst>
              <a:rect l="0" t="0" r="r" b="b"/>
              <a:pathLst>
                <a:path w="24" h="1">
                  <a:moveTo>
                    <a:pt x="0" y="0"/>
                  </a:moveTo>
                  <a:lnTo>
                    <a:pt x="0" y="1"/>
                  </a:lnTo>
                  <a:lnTo>
                    <a:pt x="24" y="1"/>
                  </a:lnTo>
                  <a:lnTo>
                    <a:pt x="24" y="0"/>
                  </a:lnTo>
                </a:path>
              </a:pathLst>
            </a:custGeom>
            <a:noFill/>
            <a:ln w="1270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39" name="Line 681"/>
            <p:cNvSpPr>
              <a:spLocks noChangeShapeType="1"/>
            </p:cNvSpPr>
            <p:nvPr/>
          </p:nvSpPr>
          <p:spPr bwMode="auto">
            <a:xfrm flipV="1">
              <a:off x="1828776" y="5073452"/>
              <a:ext cx="1588" cy="20638"/>
            </a:xfrm>
            <a:prstGeom prst="line">
              <a:avLst/>
            </a:prstGeom>
            <a:noFill/>
            <a:ln w="1270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40" name="Freeform 682"/>
            <p:cNvSpPr>
              <a:spLocks/>
            </p:cNvSpPr>
            <p:nvPr/>
          </p:nvSpPr>
          <p:spPr bwMode="auto">
            <a:xfrm>
              <a:off x="1768451" y="4998839"/>
              <a:ext cx="22225" cy="74613"/>
            </a:xfrm>
            <a:custGeom>
              <a:avLst/>
              <a:gdLst/>
              <a:ahLst/>
              <a:cxnLst>
                <a:cxn ang="0">
                  <a:pos x="14" y="47"/>
                </a:cxn>
                <a:cxn ang="0">
                  <a:pos x="14" y="47"/>
                </a:cxn>
                <a:cxn ang="0">
                  <a:pos x="9" y="43"/>
                </a:cxn>
                <a:cxn ang="0">
                  <a:pos x="4" y="38"/>
                </a:cxn>
                <a:cxn ang="0">
                  <a:pos x="2" y="31"/>
                </a:cxn>
                <a:cxn ang="0">
                  <a:pos x="0" y="24"/>
                </a:cxn>
                <a:cxn ang="0">
                  <a:pos x="0" y="24"/>
                </a:cxn>
                <a:cxn ang="0">
                  <a:pos x="2" y="17"/>
                </a:cxn>
                <a:cxn ang="0">
                  <a:pos x="4" y="10"/>
                </a:cxn>
                <a:cxn ang="0">
                  <a:pos x="9" y="4"/>
                </a:cxn>
                <a:cxn ang="0">
                  <a:pos x="14" y="0"/>
                </a:cxn>
              </a:cxnLst>
              <a:rect l="0" t="0" r="r" b="b"/>
              <a:pathLst>
                <a:path w="14" h="47">
                  <a:moveTo>
                    <a:pt x="14" y="47"/>
                  </a:moveTo>
                  <a:lnTo>
                    <a:pt x="14" y="47"/>
                  </a:lnTo>
                  <a:lnTo>
                    <a:pt x="9" y="43"/>
                  </a:lnTo>
                  <a:lnTo>
                    <a:pt x="4" y="38"/>
                  </a:lnTo>
                  <a:lnTo>
                    <a:pt x="2" y="31"/>
                  </a:lnTo>
                  <a:lnTo>
                    <a:pt x="0" y="24"/>
                  </a:lnTo>
                  <a:lnTo>
                    <a:pt x="0" y="24"/>
                  </a:lnTo>
                  <a:lnTo>
                    <a:pt x="2" y="17"/>
                  </a:lnTo>
                  <a:lnTo>
                    <a:pt x="4" y="10"/>
                  </a:lnTo>
                  <a:lnTo>
                    <a:pt x="9" y="4"/>
                  </a:lnTo>
                  <a:lnTo>
                    <a:pt x="14" y="0"/>
                  </a:lnTo>
                </a:path>
              </a:pathLst>
            </a:custGeom>
            <a:noFill/>
            <a:ln w="1270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41" name="Freeform 683"/>
            <p:cNvSpPr>
              <a:spLocks/>
            </p:cNvSpPr>
            <p:nvPr/>
          </p:nvSpPr>
          <p:spPr bwMode="auto">
            <a:xfrm>
              <a:off x="1790676" y="4995664"/>
              <a:ext cx="38100" cy="3175"/>
            </a:xfrm>
            <a:custGeom>
              <a:avLst/>
              <a:gdLst/>
              <a:ahLst/>
              <a:cxnLst>
                <a:cxn ang="0">
                  <a:pos x="0" y="2"/>
                </a:cxn>
                <a:cxn ang="0">
                  <a:pos x="0" y="2"/>
                </a:cxn>
                <a:cxn ang="0">
                  <a:pos x="7" y="0"/>
                </a:cxn>
                <a:cxn ang="0">
                  <a:pos x="13" y="0"/>
                </a:cxn>
                <a:cxn ang="0">
                  <a:pos x="13" y="0"/>
                </a:cxn>
                <a:cxn ang="0">
                  <a:pos x="19" y="0"/>
                </a:cxn>
                <a:cxn ang="0">
                  <a:pos x="24" y="2"/>
                </a:cxn>
              </a:cxnLst>
              <a:rect l="0" t="0" r="r" b="b"/>
              <a:pathLst>
                <a:path w="24" h="2">
                  <a:moveTo>
                    <a:pt x="0" y="2"/>
                  </a:moveTo>
                  <a:lnTo>
                    <a:pt x="0" y="2"/>
                  </a:lnTo>
                  <a:lnTo>
                    <a:pt x="7" y="0"/>
                  </a:lnTo>
                  <a:lnTo>
                    <a:pt x="13" y="0"/>
                  </a:lnTo>
                  <a:lnTo>
                    <a:pt x="13" y="0"/>
                  </a:lnTo>
                  <a:lnTo>
                    <a:pt x="19" y="0"/>
                  </a:lnTo>
                  <a:lnTo>
                    <a:pt x="24" y="2"/>
                  </a:lnTo>
                </a:path>
              </a:pathLst>
            </a:custGeom>
            <a:noFill/>
            <a:ln w="1270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42" name="Freeform 684"/>
            <p:cNvSpPr>
              <a:spLocks/>
            </p:cNvSpPr>
            <p:nvPr/>
          </p:nvSpPr>
          <p:spPr bwMode="auto">
            <a:xfrm>
              <a:off x="1828776" y="4998839"/>
              <a:ext cx="22225" cy="74613"/>
            </a:xfrm>
            <a:custGeom>
              <a:avLst/>
              <a:gdLst/>
              <a:ahLst/>
              <a:cxnLst>
                <a:cxn ang="0">
                  <a:pos x="0" y="47"/>
                </a:cxn>
                <a:cxn ang="0">
                  <a:pos x="0" y="47"/>
                </a:cxn>
                <a:cxn ang="0">
                  <a:pos x="7" y="43"/>
                </a:cxn>
                <a:cxn ang="0">
                  <a:pos x="11" y="38"/>
                </a:cxn>
                <a:cxn ang="0">
                  <a:pos x="14" y="31"/>
                </a:cxn>
                <a:cxn ang="0">
                  <a:pos x="14" y="24"/>
                </a:cxn>
                <a:cxn ang="0">
                  <a:pos x="14" y="24"/>
                </a:cxn>
                <a:cxn ang="0">
                  <a:pos x="14" y="17"/>
                </a:cxn>
                <a:cxn ang="0">
                  <a:pos x="11" y="10"/>
                </a:cxn>
                <a:cxn ang="0">
                  <a:pos x="7" y="4"/>
                </a:cxn>
                <a:cxn ang="0">
                  <a:pos x="0" y="0"/>
                </a:cxn>
              </a:cxnLst>
              <a:rect l="0" t="0" r="r" b="b"/>
              <a:pathLst>
                <a:path w="14" h="47">
                  <a:moveTo>
                    <a:pt x="0" y="47"/>
                  </a:moveTo>
                  <a:lnTo>
                    <a:pt x="0" y="47"/>
                  </a:lnTo>
                  <a:lnTo>
                    <a:pt x="7" y="43"/>
                  </a:lnTo>
                  <a:lnTo>
                    <a:pt x="11" y="38"/>
                  </a:lnTo>
                  <a:lnTo>
                    <a:pt x="14" y="31"/>
                  </a:lnTo>
                  <a:lnTo>
                    <a:pt x="14" y="24"/>
                  </a:lnTo>
                  <a:lnTo>
                    <a:pt x="14" y="24"/>
                  </a:lnTo>
                  <a:lnTo>
                    <a:pt x="14" y="17"/>
                  </a:lnTo>
                  <a:lnTo>
                    <a:pt x="11" y="10"/>
                  </a:lnTo>
                  <a:lnTo>
                    <a:pt x="7" y="4"/>
                  </a:lnTo>
                  <a:lnTo>
                    <a:pt x="0" y="0"/>
                  </a:lnTo>
                </a:path>
              </a:pathLst>
            </a:custGeom>
            <a:noFill/>
            <a:ln w="1270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43" name="Freeform 685"/>
            <p:cNvSpPr>
              <a:spLocks/>
            </p:cNvSpPr>
            <p:nvPr/>
          </p:nvSpPr>
          <p:spPr bwMode="auto">
            <a:xfrm>
              <a:off x="1790676" y="5073452"/>
              <a:ext cx="38100" cy="4763"/>
            </a:xfrm>
            <a:custGeom>
              <a:avLst/>
              <a:gdLst/>
              <a:ahLst/>
              <a:cxnLst>
                <a:cxn ang="0">
                  <a:pos x="0" y="0"/>
                </a:cxn>
                <a:cxn ang="0">
                  <a:pos x="0" y="0"/>
                </a:cxn>
                <a:cxn ang="0">
                  <a:pos x="7" y="3"/>
                </a:cxn>
                <a:cxn ang="0">
                  <a:pos x="13" y="3"/>
                </a:cxn>
                <a:cxn ang="0">
                  <a:pos x="13" y="3"/>
                </a:cxn>
                <a:cxn ang="0">
                  <a:pos x="19" y="3"/>
                </a:cxn>
                <a:cxn ang="0">
                  <a:pos x="24" y="0"/>
                </a:cxn>
              </a:cxnLst>
              <a:rect l="0" t="0" r="r" b="b"/>
              <a:pathLst>
                <a:path w="24" h="3">
                  <a:moveTo>
                    <a:pt x="0" y="0"/>
                  </a:moveTo>
                  <a:lnTo>
                    <a:pt x="0" y="0"/>
                  </a:lnTo>
                  <a:lnTo>
                    <a:pt x="7" y="3"/>
                  </a:lnTo>
                  <a:lnTo>
                    <a:pt x="13" y="3"/>
                  </a:lnTo>
                  <a:lnTo>
                    <a:pt x="13" y="3"/>
                  </a:lnTo>
                  <a:lnTo>
                    <a:pt x="19" y="3"/>
                  </a:lnTo>
                  <a:lnTo>
                    <a:pt x="24" y="0"/>
                  </a:lnTo>
                </a:path>
              </a:pathLst>
            </a:custGeom>
            <a:noFill/>
            <a:ln w="1270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44" name="Freeform 686"/>
            <p:cNvSpPr>
              <a:spLocks/>
            </p:cNvSpPr>
            <p:nvPr/>
          </p:nvSpPr>
          <p:spPr bwMode="auto">
            <a:xfrm>
              <a:off x="1809726" y="5006777"/>
              <a:ext cx="19050" cy="30163"/>
            </a:xfrm>
            <a:custGeom>
              <a:avLst/>
              <a:gdLst/>
              <a:ahLst/>
              <a:cxnLst>
                <a:cxn ang="0">
                  <a:pos x="0" y="0"/>
                </a:cxn>
                <a:cxn ang="0">
                  <a:pos x="0" y="19"/>
                </a:cxn>
                <a:cxn ang="0">
                  <a:pos x="12" y="19"/>
                </a:cxn>
              </a:cxnLst>
              <a:rect l="0" t="0" r="r" b="b"/>
              <a:pathLst>
                <a:path w="12" h="19">
                  <a:moveTo>
                    <a:pt x="0" y="0"/>
                  </a:moveTo>
                  <a:lnTo>
                    <a:pt x="0" y="19"/>
                  </a:lnTo>
                  <a:lnTo>
                    <a:pt x="12" y="19"/>
                  </a:lnTo>
                </a:path>
              </a:pathLst>
            </a:custGeom>
            <a:noFill/>
            <a:ln w="1270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45" name="Freeform 687"/>
            <p:cNvSpPr>
              <a:spLocks/>
            </p:cNvSpPr>
            <p:nvPr/>
          </p:nvSpPr>
          <p:spPr bwMode="auto">
            <a:xfrm>
              <a:off x="1971651" y="4973439"/>
              <a:ext cx="66675" cy="150813"/>
            </a:xfrm>
            <a:custGeom>
              <a:avLst/>
              <a:gdLst/>
              <a:ahLst/>
              <a:cxnLst>
                <a:cxn ang="0">
                  <a:pos x="30" y="0"/>
                </a:cxn>
                <a:cxn ang="0">
                  <a:pos x="30" y="0"/>
                </a:cxn>
                <a:cxn ang="0">
                  <a:pos x="35" y="2"/>
                </a:cxn>
                <a:cxn ang="0">
                  <a:pos x="37" y="6"/>
                </a:cxn>
                <a:cxn ang="0">
                  <a:pos x="40" y="10"/>
                </a:cxn>
                <a:cxn ang="0">
                  <a:pos x="40" y="10"/>
                </a:cxn>
                <a:cxn ang="0">
                  <a:pos x="40" y="14"/>
                </a:cxn>
                <a:cxn ang="0">
                  <a:pos x="38" y="16"/>
                </a:cxn>
                <a:cxn ang="0">
                  <a:pos x="36" y="19"/>
                </a:cxn>
                <a:cxn ang="0">
                  <a:pos x="36" y="22"/>
                </a:cxn>
                <a:cxn ang="0">
                  <a:pos x="36" y="22"/>
                </a:cxn>
                <a:cxn ang="0">
                  <a:pos x="37" y="26"/>
                </a:cxn>
                <a:cxn ang="0">
                  <a:pos x="40" y="29"/>
                </a:cxn>
                <a:cxn ang="0">
                  <a:pos x="41" y="31"/>
                </a:cxn>
                <a:cxn ang="0">
                  <a:pos x="42" y="35"/>
                </a:cxn>
                <a:cxn ang="0">
                  <a:pos x="42" y="35"/>
                </a:cxn>
                <a:cxn ang="0">
                  <a:pos x="42" y="39"/>
                </a:cxn>
                <a:cxn ang="0">
                  <a:pos x="40" y="41"/>
                </a:cxn>
                <a:cxn ang="0">
                  <a:pos x="37" y="44"/>
                </a:cxn>
                <a:cxn ang="0">
                  <a:pos x="37" y="48"/>
                </a:cxn>
                <a:cxn ang="0">
                  <a:pos x="37" y="48"/>
                </a:cxn>
                <a:cxn ang="0">
                  <a:pos x="37" y="52"/>
                </a:cxn>
                <a:cxn ang="0">
                  <a:pos x="40" y="54"/>
                </a:cxn>
                <a:cxn ang="0">
                  <a:pos x="41" y="57"/>
                </a:cxn>
                <a:cxn ang="0">
                  <a:pos x="41" y="62"/>
                </a:cxn>
                <a:cxn ang="0">
                  <a:pos x="41" y="62"/>
                </a:cxn>
                <a:cxn ang="0">
                  <a:pos x="40" y="64"/>
                </a:cxn>
                <a:cxn ang="0">
                  <a:pos x="36" y="67"/>
                </a:cxn>
                <a:cxn ang="0">
                  <a:pos x="33" y="69"/>
                </a:cxn>
                <a:cxn ang="0">
                  <a:pos x="31" y="72"/>
                </a:cxn>
                <a:cxn ang="0">
                  <a:pos x="31" y="72"/>
                </a:cxn>
                <a:cxn ang="0">
                  <a:pos x="32" y="77"/>
                </a:cxn>
                <a:cxn ang="0">
                  <a:pos x="33" y="81"/>
                </a:cxn>
                <a:cxn ang="0">
                  <a:pos x="35" y="85"/>
                </a:cxn>
                <a:cxn ang="0">
                  <a:pos x="33" y="88"/>
                </a:cxn>
                <a:cxn ang="0">
                  <a:pos x="33" y="88"/>
                </a:cxn>
                <a:cxn ang="0">
                  <a:pos x="32" y="91"/>
                </a:cxn>
                <a:cxn ang="0">
                  <a:pos x="28" y="92"/>
                </a:cxn>
                <a:cxn ang="0">
                  <a:pos x="19" y="93"/>
                </a:cxn>
                <a:cxn ang="0">
                  <a:pos x="9" y="93"/>
                </a:cxn>
                <a:cxn ang="0">
                  <a:pos x="0" y="95"/>
                </a:cxn>
              </a:cxnLst>
              <a:rect l="0" t="0" r="r" b="b"/>
              <a:pathLst>
                <a:path w="42" h="95">
                  <a:moveTo>
                    <a:pt x="30" y="0"/>
                  </a:moveTo>
                  <a:lnTo>
                    <a:pt x="30" y="0"/>
                  </a:lnTo>
                  <a:lnTo>
                    <a:pt x="35" y="2"/>
                  </a:lnTo>
                  <a:lnTo>
                    <a:pt x="37" y="6"/>
                  </a:lnTo>
                  <a:lnTo>
                    <a:pt x="40" y="10"/>
                  </a:lnTo>
                  <a:lnTo>
                    <a:pt x="40" y="10"/>
                  </a:lnTo>
                  <a:lnTo>
                    <a:pt x="40" y="14"/>
                  </a:lnTo>
                  <a:lnTo>
                    <a:pt x="38" y="16"/>
                  </a:lnTo>
                  <a:lnTo>
                    <a:pt x="36" y="19"/>
                  </a:lnTo>
                  <a:lnTo>
                    <a:pt x="36" y="22"/>
                  </a:lnTo>
                  <a:lnTo>
                    <a:pt x="36" y="22"/>
                  </a:lnTo>
                  <a:lnTo>
                    <a:pt x="37" y="26"/>
                  </a:lnTo>
                  <a:lnTo>
                    <a:pt x="40" y="29"/>
                  </a:lnTo>
                  <a:lnTo>
                    <a:pt x="41" y="31"/>
                  </a:lnTo>
                  <a:lnTo>
                    <a:pt x="42" y="35"/>
                  </a:lnTo>
                  <a:lnTo>
                    <a:pt x="42" y="35"/>
                  </a:lnTo>
                  <a:lnTo>
                    <a:pt x="42" y="39"/>
                  </a:lnTo>
                  <a:lnTo>
                    <a:pt x="40" y="41"/>
                  </a:lnTo>
                  <a:lnTo>
                    <a:pt x="37" y="44"/>
                  </a:lnTo>
                  <a:lnTo>
                    <a:pt x="37" y="48"/>
                  </a:lnTo>
                  <a:lnTo>
                    <a:pt x="37" y="48"/>
                  </a:lnTo>
                  <a:lnTo>
                    <a:pt x="37" y="52"/>
                  </a:lnTo>
                  <a:lnTo>
                    <a:pt x="40" y="54"/>
                  </a:lnTo>
                  <a:lnTo>
                    <a:pt x="41" y="57"/>
                  </a:lnTo>
                  <a:lnTo>
                    <a:pt x="41" y="62"/>
                  </a:lnTo>
                  <a:lnTo>
                    <a:pt x="41" y="62"/>
                  </a:lnTo>
                  <a:lnTo>
                    <a:pt x="40" y="64"/>
                  </a:lnTo>
                  <a:lnTo>
                    <a:pt x="36" y="67"/>
                  </a:lnTo>
                  <a:lnTo>
                    <a:pt x="33" y="69"/>
                  </a:lnTo>
                  <a:lnTo>
                    <a:pt x="31" y="72"/>
                  </a:lnTo>
                  <a:lnTo>
                    <a:pt x="31" y="72"/>
                  </a:lnTo>
                  <a:lnTo>
                    <a:pt x="32" y="77"/>
                  </a:lnTo>
                  <a:lnTo>
                    <a:pt x="33" y="81"/>
                  </a:lnTo>
                  <a:lnTo>
                    <a:pt x="35" y="85"/>
                  </a:lnTo>
                  <a:lnTo>
                    <a:pt x="33" y="88"/>
                  </a:lnTo>
                  <a:lnTo>
                    <a:pt x="33" y="88"/>
                  </a:lnTo>
                  <a:lnTo>
                    <a:pt x="32" y="91"/>
                  </a:lnTo>
                  <a:lnTo>
                    <a:pt x="28" y="92"/>
                  </a:lnTo>
                  <a:lnTo>
                    <a:pt x="19" y="93"/>
                  </a:lnTo>
                  <a:lnTo>
                    <a:pt x="9" y="93"/>
                  </a:lnTo>
                  <a:lnTo>
                    <a:pt x="0" y="95"/>
                  </a:lnTo>
                </a:path>
              </a:pathLst>
            </a:custGeom>
            <a:noFill/>
            <a:ln w="1270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grpSp>
      <p:grpSp>
        <p:nvGrpSpPr>
          <p:cNvPr id="118" name="Groupe 793"/>
          <p:cNvGrpSpPr/>
          <p:nvPr/>
        </p:nvGrpSpPr>
        <p:grpSpPr>
          <a:xfrm>
            <a:off x="6426877" y="1830418"/>
            <a:ext cx="461440" cy="472586"/>
            <a:chOff x="698475" y="7029261"/>
            <a:chExt cx="260352" cy="327024"/>
          </a:xfrm>
        </p:grpSpPr>
        <p:sp>
          <p:nvSpPr>
            <p:cNvPr id="143" name="Freeform 536"/>
            <p:cNvSpPr>
              <a:spLocks/>
            </p:cNvSpPr>
            <p:nvPr/>
          </p:nvSpPr>
          <p:spPr bwMode="auto">
            <a:xfrm>
              <a:off x="890563" y="7157849"/>
              <a:ext cx="68263" cy="114300"/>
            </a:xfrm>
            <a:custGeom>
              <a:avLst/>
              <a:gdLst/>
              <a:ahLst/>
              <a:cxnLst>
                <a:cxn ang="0">
                  <a:pos x="0" y="72"/>
                </a:cxn>
                <a:cxn ang="0">
                  <a:pos x="0" y="72"/>
                </a:cxn>
                <a:cxn ang="0">
                  <a:pos x="12" y="63"/>
                </a:cxn>
                <a:cxn ang="0">
                  <a:pos x="24" y="53"/>
                </a:cxn>
                <a:cxn ang="0">
                  <a:pos x="24" y="53"/>
                </a:cxn>
                <a:cxn ang="0">
                  <a:pos x="31" y="42"/>
                </a:cxn>
                <a:cxn ang="0">
                  <a:pos x="38" y="29"/>
                </a:cxn>
                <a:cxn ang="0">
                  <a:pos x="42" y="15"/>
                </a:cxn>
                <a:cxn ang="0">
                  <a:pos x="43" y="0"/>
                </a:cxn>
              </a:cxnLst>
              <a:rect l="0" t="0" r="r" b="b"/>
              <a:pathLst>
                <a:path w="43" h="72">
                  <a:moveTo>
                    <a:pt x="0" y="72"/>
                  </a:moveTo>
                  <a:lnTo>
                    <a:pt x="0" y="72"/>
                  </a:lnTo>
                  <a:lnTo>
                    <a:pt x="12" y="63"/>
                  </a:lnTo>
                  <a:lnTo>
                    <a:pt x="24" y="53"/>
                  </a:lnTo>
                  <a:lnTo>
                    <a:pt x="24" y="53"/>
                  </a:lnTo>
                  <a:lnTo>
                    <a:pt x="31" y="42"/>
                  </a:lnTo>
                  <a:lnTo>
                    <a:pt x="38" y="29"/>
                  </a:lnTo>
                  <a:lnTo>
                    <a:pt x="42" y="15"/>
                  </a:lnTo>
                  <a:lnTo>
                    <a:pt x="43" y="0"/>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44" name="Freeform 537"/>
            <p:cNvSpPr>
              <a:spLocks/>
            </p:cNvSpPr>
            <p:nvPr/>
          </p:nvSpPr>
          <p:spPr bwMode="auto">
            <a:xfrm>
              <a:off x="927075" y="7075299"/>
              <a:ext cx="31750" cy="82550"/>
            </a:xfrm>
            <a:custGeom>
              <a:avLst/>
              <a:gdLst/>
              <a:ahLst/>
              <a:cxnLst>
                <a:cxn ang="0">
                  <a:pos x="20" y="52"/>
                </a:cxn>
                <a:cxn ang="0">
                  <a:pos x="20" y="52"/>
                </a:cxn>
                <a:cxn ang="0">
                  <a:pos x="19" y="38"/>
                </a:cxn>
                <a:cxn ang="0">
                  <a:pos x="15" y="24"/>
                </a:cxn>
                <a:cxn ang="0">
                  <a:pos x="8" y="11"/>
                </a:cxn>
                <a:cxn ang="0">
                  <a:pos x="0" y="0"/>
                </a:cxn>
              </a:cxnLst>
              <a:rect l="0" t="0" r="r" b="b"/>
              <a:pathLst>
                <a:path w="20" h="52">
                  <a:moveTo>
                    <a:pt x="20" y="52"/>
                  </a:moveTo>
                  <a:lnTo>
                    <a:pt x="20" y="52"/>
                  </a:lnTo>
                  <a:lnTo>
                    <a:pt x="19" y="38"/>
                  </a:lnTo>
                  <a:lnTo>
                    <a:pt x="15" y="24"/>
                  </a:lnTo>
                  <a:lnTo>
                    <a:pt x="8" y="11"/>
                  </a:lnTo>
                  <a:lnTo>
                    <a:pt x="0" y="0"/>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45" name="Freeform 538"/>
            <p:cNvSpPr>
              <a:spLocks/>
            </p:cNvSpPr>
            <p:nvPr/>
          </p:nvSpPr>
          <p:spPr bwMode="auto">
            <a:xfrm>
              <a:off x="698475" y="7075299"/>
              <a:ext cx="30163" cy="82550"/>
            </a:xfrm>
            <a:custGeom>
              <a:avLst/>
              <a:gdLst/>
              <a:ahLst/>
              <a:cxnLst>
                <a:cxn ang="0">
                  <a:pos x="19" y="0"/>
                </a:cxn>
                <a:cxn ang="0">
                  <a:pos x="19" y="0"/>
                </a:cxn>
                <a:cxn ang="0">
                  <a:pos x="12" y="11"/>
                </a:cxn>
                <a:cxn ang="0">
                  <a:pos x="5" y="24"/>
                </a:cxn>
                <a:cxn ang="0">
                  <a:pos x="2" y="38"/>
                </a:cxn>
                <a:cxn ang="0">
                  <a:pos x="0" y="52"/>
                </a:cxn>
              </a:cxnLst>
              <a:rect l="0" t="0" r="r" b="b"/>
              <a:pathLst>
                <a:path w="19" h="52">
                  <a:moveTo>
                    <a:pt x="19" y="0"/>
                  </a:moveTo>
                  <a:lnTo>
                    <a:pt x="19" y="0"/>
                  </a:lnTo>
                  <a:lnTo>
                    <a:pt x="12" y="11"/>
                  </a:lnTo>
                  <a:lnTo>
                    <a:pt x="5" y="24"/>
                  </a:lnTo>
                  <a:lnTo>
                    <a:pt x="2" y="38"/>
                  </a:lnTo>
                  <a:lnTo>
                    <a:pt x="0" y="52"/>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46" name="Freeform 539"/>
            <p:cNvSpPr>
              <a:spLocks/>
            </p:cNvSpPr>
            <p:nvPr/>
          </p:nvSpPr>
          <p:spPr bwMode="auto">
            <a:xfrm>
              <a:off x="698475" y="7157849"/>
              <a:ext cx="79375" cy="120650"/>
            </a:xfrm>
            <a:custGeom>
              <a:avLst/>
              <a:gdLst/>
              <a:ahLst/>
              <a:cxnLst>
                <a:cxn ang="0">
                  <a:pos x="50" y="76"/>
                </a:cxn>
                <a:cxn ang="0">
                  <a:pos x="50" y="76"/>
                </a:cxn>
                <a:cxn ang="0">
                  <a:pos x="40" y="69"/>
                </a:cxn>
                <a:cxn ang="0">
                  <a:pos x="30" y="63"/>
                </a:cxn>
                <a:cxn ang="0">
                  <a:pos x="22" y="55"/>
                </a:cxn>
                <a:cxn ang="0">
                  <a:pos x="14" y="45"/>
                </a:cxn>
                <a:cxn ang="0">
                  <a:pos x="8" y="35"/>
                </a:cxn>
                <a:cxn ang="0">
                  <a:pos x="4" y="25"/>
                </a:cxn>
                <a:cxn ang="0">
                  <a:pos x="2" y="12"/>
                </a:cxn>
                <a:cxn ang="0">
                  <a:pos x="0" y="0"/>
                </a:cxn>
              </a:cxnLst>
              <a:rect l="0" t="0" r="r" b="b"/>
              <a:pathLst>
                <a:path w="50" h="76">
                  <a:moveTo>
                    <a:pt x="50" y="76"/>
                  </a:moveTo>
                  <a:lnTo>
                    <a:pt x="50" y="76"/>
                  </a:lnTo>
                  <a:lnTo>
                    <a:pt x="40" y="69"/>
                  </a:lnTo>
                  <a:lnTo>
                    <a:pt x="30" y="63"/>
                  </a:lnTo>
                  <a:lnTo>
                    <a:pt x="22" y="55"/>
                  </a:lnTo>
                  <a:lnTo>
                    <a:pt x="14" y="45"/>
                  </a:lnTo>
                  <a:lnTo>
                    <a:pt x="8" y="35"/>
                  </a:lnTo>
                  <a:lnTo>
                    <a:pt x="4" y="25"/>
                  </a:lnTo>
                  <a:lnTo>
                    <a:pt x="2" y="12"/>
                  </a:lnTo>
                  <a:lnTo>
                    <a:pt x="0" y="0"/>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47" name="Freeform 540"/>
            <p:cNvSpPr>
              <a:spLocks/>
            </p:cNvSpPr>
            <p:nvPr/>
          </p:nvSpPr>
          <p:spPr bwMode="auto">
            <a:xfrm>
              <a:off x="828650" y="7029261"/>
              <a:ext cx="98425" cy="46037"/>
            </a:xfrm>
            <a:custGeom>
              <a:avLst/>
              <a:gdLst/>
              <a:ahLst/>
              <a:cxnLst>
                <a:cxn ang="0">
                  <a:pos x="0" y="0"/>
                </a:cxn>
                <a:cxn ang="0">
                  <a:pos x="0" y="0"/>
                </a:cxn>
                <a:cxn ang="0">
                  <a:pos x="10" y="1"/>
                </a:cxn>
                <a:cxn ang="0">
                  <a:pos x="19" y="2"/>
                </a:cxn>
                <a:cxn ang="0">
                  <a:pos x="26" y="5"/>
                </a:cxn>
                <a:cxn ang="0">
                  <a:pos x="35" y="7"/>
                </a:cxn>
                <a:cxn ang="0">
                  <a:pos x="43" y="12"/>
                </a:cxn>
                <a:cxn ang="0">
                  <a:pos x="50" y="17"/>
                </a:cxn>
                <a:cxn ang="0">
                  <a:pos x="57" y="22"/>
                </a:cxn>
                <a:cxn ang="0">
                  <a:pos x="62" y="29"/>
                </a:cxn>
              </a:cxnLst>
              <a:rect l="0" t="0" r="r" b="b"/>
              <a:pathLst>
                <a:path w="62" h="29">
                  <a:moveTo>
                    <a:pt x="0" y="0"/>
                  </a:moveTo>
                  <a:lnTo>
                    <a:pt x="0" y="0"/>
                  </a:lnTo>
                  <a:lnTo>
                    <a:pt x="10" y="1"/>
                  </a:lnTo>
                  <a:lnTo>
                    <a:pt x="19" y="2"/>
                  </a:lnTo>
                  <a:lnTo>
                    <a:pt x="26" y="5"/>
                  </a:lnTo>
                  <a:lnTo>
                    <a:pt x="35" y="7"/>
                  </a:lnTo>
                  <a:lnTo>
                    <a:pt x="43" y="12"/>
                  </a:lnTo>
                  <a:lnTo>
                    <a:pt x="50" y="17"/>
                  </a:lnTo>
                  <a:lnTo>
                    <a:pt x="57" y="22"/>
                  </a:lnTo>
                  <a:lnTo>
                    <a:pt x="62" y="29"/>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48" name="Freeform 541"/>
            <p:cNvSpPr>
              <a:spLocks/>
            </p:cNvSpPr>
            <p:nvPr/>
          </p:nvSpPr>
          <p:spPr bwMode="auto">
            <a:xfrm>
              <a:off x="728638" y="7029261"/>
              <a:ext cx="100013" cy="46037"/>
            </a:xfrm>
            <a:custGeom>
              <a:avLst/>
              <a:gdLst/>
              <a:ahLst/>
              <a:cxnLst>
                <a:cxn ang="0">
                  <a:pos x="63" y="0"/>
                </a:cxn>
                <a:cxn ang="0">
                  <a:pos x="63" y="0"/>
                </a:cxn>
                <a:cxn ang="0">
                  <a:pos x="54" y="1"/>
                </a:cxn>
                <a:cxn ang="0">
                  <a:pos x="45" y="2"/>
                </a:cxn>
                <a:cxn ang="0">
                  <a:pos x="36" y="5"/>
                </a:cxn>
                <a:cxn ang="0">
                  <a:pos x="28" y="7"/>
                </a:cxn>
                <a:cxn ang="0">
                  <a:pos x="19" y="12"/>
                </a:cxn>
                <a:cxn ang="0">
                  <a:pos x="13" y="17"/>
                </a:cxn>
                <a:cxn ang="0">
                  <a:pos x="7" y="22"/>
                </a:cxn>
                <a:cxn ang="0">
                  <a:pos x="0" y="29"/>
                </a:cxn>
              </a:cxnLst>
              <a:rect l="0" t="0" r="r" b="b"/>
              <a:pathLst>
                <a:path w="63" h="29">
                  <a:moveTo>
                    <a:pt x="63" y="0"/>
                  </a:moveTo>
                  <a:lnTo>
                    <a:pt x="63" y="0"/>
                  </a:lnTo>
                  <a:lnTo>
                    <a:pt x="54" y="1"/>
                  </a:lnTo>
                  <a:lnTo>
                    <a:pt x="45" y="2"/>
                  </a:lnTo>
                  <a:lnTo>
                    <a:pt x="36" y="5"/>
                  </a:lnTo>
                  <a:lnTo>
                    <a:pt x="28" y="7"/>
                  </a:lnTo>
                  <a:lnTo>
                    <a:pt x="19" y="12"/>
                  </a:lnTo>
                  <a:lnTo>
                    <a:pt x="13" y="17"/>
                  </a:lnTo>
                  <a:lnTo>
                    <a:pt x="7" y="22"/>
                  </a:lnTo>
                  <a:lnTo>
                    <a:pt x="0" y="29"/>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49" name="Freeform 542"/>
            <p:cNvSpPr>
              <a:spLocks/>
            </p:cNvSpPr>
            <p:nvPr/>
          </p:nvSpPr>
          <p:spPr bwMode="auto">
            <a:xfrm>
              <a:off x="728638" y="7075299"/>
              <a:ext cx="1588" cy="1587"/>
            </a:xfrm>
            <a:custGeom>
              <a:avLst/>
              <a:gdLst/>
              <a:ahLst/>
              <a:cxnLst>
                <a:cxn ang="0">
                  <a:pos x="0" y="0"/>
                </a:cxn>
                <a:cxn ang="0">
                  <a:pos x="0" y="0"/>
                </a:cxn>
                <a:cxn ang="0">
                  <a:pos x="0" y="0"/>
                </a:cxn>
              </a:cxnLst>
              <a:rect l="0" t="0" r="r" b="b"/>
              <a:pathLst>
                <a:path>
                  <a:moveTo>
                    <a:pt x="0" y="0"/>
                  </a:moveTo>
                  <a:lnTo>
                    <a:pt x="0" y="0"/>
                  </a:lnTo>
                  <a:lnTo>
                    <a:pt x="0" y="0"/>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50" name="Freeform 543"/>
            <p:cNvSpPr>
              <a:spLocks/>
            </p:cNvSpPr>
            <p:nvPr/>
          </p:nvSpPr>
          <p:spPr bwMode="auto">
            <a:xfrm>
              <a:off x="728638" y="7075299"/>
              <a:ext cx="41275" cy="15875"/>
            </a:xfrm>
            <a:custGeom>
              <a:avLst/>
              <a:gdLst/>
              <a:ahLst/>
              <a:cxnLst>
                <a:cxn ang="0">
                  <a:pos x="0" y="0"/>
                </a:cxn>
                <a:cxn ang="0">
                  <a:pos x="0" y="0"/>
                </a:cxn>
                <a:cxn ang="0">
                  <a:pos x="12" y="5"/>
                </a:cxn>
                <a:cxn ang="0">
                  <a:pos x="26" y="10"/>
                </a:cxn>
              </a:cxnLst>
              <a:rect l="0" t="0" r="r" b="b"/>
              <a:pathLst>
                <a:path w="26" h="10">
                  <a:moveTo>
                    <a:pt x="0" y="0"/>
                  </a:moveTo>
                  <a:lnTo>
                    <a:pt x="0" y="0"/>
                  </a:lnTo>
                  <a:lnTo>
                    <a:pt x="12" y="5"/>
                  </a:lnTo>
                  <a:lnTo>
                    <a:pt x="26" y="10"/>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51" name="Freeform 544"/>
            <p:cNvSpPr>
              <a:spLocks/>
            </p:cNvSpPr>
            <p:nvPr/>
          </p:nvSpPr>
          <p:spPr bwMode="auto">
            <a:xfrm>
              <a:off x="828650" y="7091174"/>
              <a:ext cx="60325" cy="6350"/>
            </a:xfrm>
            <a:custGeom>
              <a:avLst/>
              <a:gdLst/>
              <a:ahLst/>
              <a:cxnLst>
                <a:cxn ang="0">
                  <a:pos x="38" y="0"/>
                </a:cxn>
                <a:cxn ang="0">
                  <a:pos x="38" y="0"/>
                </a:cxn>
                <a:cxn ang="0">
                  <a:pos x="20" y="2"/>
                </a:cxn>
                <a:cxn ang="0">
                  <a:pos x="0" y="4"/>
                </a:cxn>
              </a:cxnLst>
              <a:rect l="0" t="0" r="r" b="b"/>
              <a:pathLst>
                <a:path w="38" h="4">
                  <a:moveTo>
                    <a:pt x="38" y="0"/>
                  </a:moveTo>
                  <a:lnTo>
                    <a:pt x="38" y="0"/>
                  </a:lnTo>
                  <a:lnTo>
                    <a:pt x="20" y="2"/>
                  </a:lnTo>
                  <a:lnTo>
                    <a:pt x="0" y="4"/>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52" name="Freeform 545"/>
            <p:cNvSpPr>
              <a:spLocks/>
            </p:cNvSpPr>
            <p:nvPr/>
          </p:nvSpPr>
          <p:spPr bwMode="auto">
            <a:xfrm>
              <a:off x="888975" y="7075299"/>
              <a:ext cx="38100" cy="15875"/>
            </a:xfrm>
            <a:custGeom>
              <a:avLst/>
              <a:gdLst/>
              <a:ahLst/>
              <a:cxnLst>
                <a:cxn ang="0">
                  <a:pos x="0" y="10"/>
                </a:cxn>
                <a:cxn ang="0">
                  <a:pos x="0" y="10"/>
                </a:cxn>
                <a:cxn ang="0">
                  <a:pos x="12" y="5"/>
                </a:cxn>
                <a:cxn ang="0">
                  <a:pos x="24" y="0"/>
                </a:cxn>
              </a:cxnLst>
              <a:rect l="0" t="0" r="r" b="b"/>
              <a:pathLst>
                <a:path w="24" h="10">
                  <a:moveTo>
                    <a:pt x="0" y="10"/>
                  </a:moveTo>
                  <a:lnTo>
                    <a:pt x="0" y="10"/>
                  </a:lnTo>
                  <a:lnTo>
                    <a:pt x="12" y="5"/>
                  </a:lnTo>
                  <a:lnTo>
                    <a:pt x="24" y="0"/>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53" name="Freeform 546"/>
            <p:cNvSpPr>
              <a:spLocks/>
            </p:cNvSpPr>
            <p:nvPr/>
          </p:nvSpPr>
          <p:spPr bwMode="auto">
            <a:xfrm>
              <a:off x="728638" y="7075299"/>
              <a:ext cx="1588" cy="1587"/>
            </a:xfrm>
            <a:custGeom>
              <a:avLst/>
              <a:gdLst/>
              <a:ahLst/>
              <a:cxnLst>
                <a:cxn ang="0">
                  <a:pos x="0" y="0"/>
                </a:cxn>
                <a:cxn ang="0">
                  <a:pos x="0" y="0"/>
                </a:cxn>
                <a:cxn ang="0">
                  <a:pos x="0" y="0"/>
                </a:cxn>
              </a:cxnLst>
              <a:rect l="0" t="0" r="r" b="b"/>
              <a:pathLst>
                <a:path>
                  <a:moveTo>
                    <a:pt x="0" y="0"/>
                  </a:moveTo>
                  <a:lnTo>
                    <a:pt x="0" y="0"/>
                  </a:lnTo>
                  <a:lnTo>
                    <a:pt x="0" y="0"/>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54" name="Freeform 547"/>
            <p:cNvSpPr>
              <a:spLocks/>
            </p:cNvSpPr>
            <p:nvPr/>
          </p:nvSpPr>
          <p:spPr bwMode="auto">
            <a:xfrm>
              <a:off x="769913" y="7091174"/>
              <a:ext cx="58738" cy="6350"/>
            </a:xfrm>
            <a:custGeom>
              <a:avLst/>
              <a:gdLst/>
              <a:ahLst/>
              <a:cxnLst>
                <a:cxn ang="0">
                  <a:pos x="37" y="4"/>
                </a:cxn>
                <a:cxn ang="0">
                  <a:pos x="37" y="4"/>
                </a:cxn>
                <a:cxn ang="0">
                  <a:pos x="37" y="4"/>
                </a:cxn>
                <a:cxn ang="0">
                  <a:pos x="37" y="4"/>
                </a:cxn>
                <a:cxn ang="0">
                  <a:pos x="17" y="2"/>
                </a:cxn>
                <a:cxn ang="0">
                  <a:pos x="0" y="0"/>
                </a:cxn>
              </a:cxnLst>
              <a:rect l="0" t="0" r="r" b="b"/>
              <a:pathLst>
                <a:path w="37" h="4">
                  <a:moveTo>
                    <a:pt x="37" y="4"/>
                  </a:moveTo>
                  <a:lnTo>
                    <a:pt x="37" y="4"/>
                  </a:lnTo>
                  <a:lnTo>
                    <a:pt x="37" y="4"/>
                  </a:lnTo>
                  <a:lnTo>
                    <a:pt x="37" y="4"/>
                  </a:lnTo>
                  <a:lnTo>
                    <a:pt x="17" y="2"/>
                  </a:lnTo>
                  <a:lnTo>
                    <a:pt x="0" y="0"/>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57" name="Freeform 548"/>
            <p:cNvSpPr>
              <a:spLocks/>
            </p:cNvSpPr>
            <p:nvPr/>
          </p:nvSpPr>
          <p:spPr bwMode="auto">
            <a:xfrm>
              <a:off x="728638" y="7226111"/>
              <a:ext cx="41275" cy="15875"/>
            </a:xfrm>
            <a:custGeom>
              <a:avLst/>
              <a:gdLst/>
              <a:ahLst/>
              <a:cxnLst>
                <a:cxn ang="0">
                  <a:pos x="26" y="0"/>
                </a:cxn>
                <a:cxn ang="0">
                  <a:pos x="26" y="0"/>
                </a:cxn>
                <a:cxn ang="0">
                  <a:pos x="12" y="4"/>
                </a:cxn>
                <a:cxn ang="0">
                  <a:pos x="0" y="10"/>
                </a:cxn>
              </a:cxnLst>
              <a:rect l="0" t="0" r="r" b="b"/>
              <a:pathLst>
                <a:path w="26" h="10">
                  <a:moveTo>
                    <a:pt x="26" y="0"/>
                  </a:moveTo>
                  <a:lnTo>
                    <a:pt x="26" y="0"/>
                  </a:lnTo>
                  <a:lnTo>
                    <a:pt x="12" y="4"/>
                  </a:lnTo>
                  <a:lnTo>
                    <a:pt x="0" y="10"/>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59" name="Freeform 549"/>
            <p:cNvSpPr>
              <a:spLocks/>
            </p:cNvSpPr>
            <p:nvPr/>
          </p:nvSpPr>
          <p:spPr bwMode="auto">
            <a:xfrm>
              <a:off x="769913" y="7221349"/>
              <a:ext cx="25400" cy="4762"/>
            </a:xfrm>
            <a:custGeom>
              <a:avLst/>
              <a:gdLst/>
              <a:ahLst/>
              <a:cxnLst>
                <a:cxn ang="0">
                  <a:pos x="0" y="3"/>
                </a:cxn>
                <a:cxn ang="0">
                  <a:pos x="0" y="3"/>
                </a:cxn>
                <a:cxn ang="0">
                  <a:pos x="16" y="0"/>
                </a:cxn>
              </a:cxnLst>
              <a:rect l="0" t="0" r="r" b="b"/>
              <a:pathLst>
                <a:path w="16" h="3">
                  <a:moveTo>
                    <a:pt x="0" y="3"/>
                  </a:moveTo>
                  <a:lnTo>
                    <a:pt x="0" y="3"/>
                  </a:lnTo>
                  <a:lnTo>
                    <a:pt x="16" y="0"/>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60" name="Freeform 550"/>
            <p:cNvSpPr>
              <a:spLocks/>
            </p:cNvSpPr>
            <p:nvPr/>
          </p:nvSpPr>
          <p:spPr bwMode="auto">
            <a:xfrm>
              <a:off x="858813" y="7219761"/>
              <a:ext cx="30163" cy="6350"/>
            </a:xfrm>
            <a:custGeom>
              <a:avLst/>
              <a:gdLst/>
              <a:ahLst/>
              <a:cxnLst>
                <a:cxn ang="0">
                  <a:pos x="0" y="0"/>
                </a:cxn>
                <a:cxn ang="0">
                  <a:pos x="0" y="0"/>
                </a:cxn>
                <a:cxn ang="0">
                  <a:pos x="19" y="4"/>
                </a:cxn>
              </a:cxnLst>
              <a:rect l="0" t="0" r="r" b="b"/>
              <a:pathLst>
                <a:path w="19" h="4">
                  <a:moveTo>
                    <a:pt x="0" y="0"/>
                  </a:moveTo>
                  <a:lnTo>
                    <a:pt x="0" y="0"/>
                  </a:lnTo>
                  <a:lnTo>
                    <a:pt x="19" y="4"/>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61" name="Freeform 551"/>
            <p:cNvSpPr>
              <a:spLocks/>
            </p:cNvSpPr>
            <p:nvPr/>
          </p:nvSpPr>
          <p:spPr bwMode="auto">
            <a:xfrm>
              <a:off x="888975" y="7226111"/>
              <a:ext cx="38100" cy="15875"/>
            </a:xfrm>
            <a:custGeom>
              <a:avLst/>
              <a:gdLst/>
              <a:ahLst/>
              <a:cxnLst>
                <a:cxn ang="0">
                  <a:pos x="0" y="0"/>
                </a:cxn>
                <a:cxn ang="0">
                  <a:pos x="0" y="0"/>
                </a:cxn>
                <a:cxn ang="0">
                  <a:pos x="12" y="4"/>
                </a:cxn>
                <a:cxn ang="0">
                  <a:pos x="24" y="10"/>
                </a:cxn>
              </a:cxnLst>
              <a:rect l="0" t="0" r="r" b="b"/>
              <a:pathLst>
                <a:path w="24" h="10">
                  <a:moveTo>
                    <a:pt x="0" y="0"/>
                  </a:moveTo>
                  <a:lnTo>
                    <a:pt x="0" y="0"/>
                  </a:lnTo>
                  <a:lnTo>
                    <a:pt x="12" y="4"/>
                  </a:lnTo>
                  <a:lnTo>
                    <a:pt x="24" y="10"/>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64" name="Freeform 552"/>
            <p:cNvSpPr>
              <a:spLocks/>
            </p:cNvSpPr>
            <p:nvPr/>
          </p:nvSpPr>
          <p:spPr bwMode="auto">
            <a:xfrm>
              <a:off x="769913" y="7226111"/>
              <a:ext cx="17463" cy="38100"/>
            </a:xfrm>
            <a:custGeom>
              <a:avLst/>
              <a:gdLst/>
              <a:ahLst/>
              <a:cxnLst>
                <a:cxn ang="0">
                  <a:pos x="11" y="24"/>
                </a:cxn>
                <a:cxn ang="0">
                  <a:pos x="11" y="24"/>
                </a:cxn>
                <a:cxn ang="0">
                  <a:pos x="5" y="12"/>
                </a:cxn>
                <a:cxn ang="0">
                  <a:pos x="0" y="0"/>
                </a:cxn>
              </a:cxnLst>
              <a:rect l="0" t="0" r="r" b="b"/>
              <a:pathLst>
                <a:path w="11" h="24">
                  <a:moveTo>
                    <a:pt x="11" y="24"/>
                  </a:moveTo>
                  <a:lnTo>
                    <a:pt x="11" y="24"/>
                  </a:lnTo>
                  <a:lnTo>
                    <a:pt x="5" y="12"/>
                  </a:lnTo>
                  <a:lnTo>
                    <a:pt x="0" y="0"/>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71" name="Freeform 553"/>
            <p:cNvSpPr>
              <a:spLocks/>
            </p:cNvSpPr>
            <p:nvPr/>
          </p:nvSpPr>
          <p:spPr bwMode="auto">
            <a:xfrm>
              <a:off x="757213" y="7091174"/>
              <a:ext cx="12700" cy="66675"/>
            </a:xfrm>
            <a:custGeom>
              <a:avLst/>
              <a:gdLst/>
              <a:ahLst/>
              <a:cxnLst>
                <a:cxn ang="0">
                  <a:pos x="8" y="0"/>
                </a:cxn>
                <a:cxn ang="0">
                  <a:pos x="8" y="0"/>
                </a:cxn>
                <a:cxn ang="0">
                  <a:pos x="4" y="9"/>
                </a:cxn>
                <a:cxn ang="0">
                  <a:pos x="3" y="20"/>
                </a:cxn>
                <a:cxn ang="0">
                  <a:pos x="1" y="30"/>
                </a:cxn>
                <a:cxn ang="0">
                  <a:pos x="0" y="42"/>
                </a:cxn>
              </a:cxnLst>
              <a:rect l="0" t="0" r="r" b="b"/>
              <a:pathLst>
                <a:path w="8" h="42">
                  <a:moveTo>
                    <a:pt x="8" y="0"/>
                  </a:moveTo>
                  <a:lnTo>
                    <a:pt x="8" y="0"/>
                  </a:lnTo>
                  <a:lnTo>
                    <a:pt x="4" y="9"/>
                  </a:lnTo>
                  <a:lnTo>
                    <a:pt x="3" y="20"/>
                  </a:lnTo>
                  <a:lnTo>
                    <a:pt x="1" y="30"/>
                  </a:lnTo>
                  <a:lnTo>
                    <a:pt x="0" y="42"/>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72" name="Freeform 554"/>
            <p:cNvSpPr>
              <a:spLocks/>
            </p:cNvSpPr>
            <p:nvPr/>
          </p:nvSpPr>
          <p:spPr bwMode="auto">
            <a:xfrm>
              <a:off x="868338" y="7226111"/>
              <a:ext cx="20638" cy="39687"/>
            </a:xfrm>
            <a:custGeom>
              <a:avLst/>
              <a:gdLst/>
              <a:ahLst/>
              <a:cxnLst>
                <a:cxn ang="0">
                  <a:pos x="13" y="0"/>
                </a:cxn>
                <a:cxn ang="0">
                  <a:pos x="13" y="0"/>
                </a:cxn>
                <a:cxn ang="0">
                  <a:pos x="6" y="14"/>
                </a:cxn>
                <a:cxn ang="0">
                  <a:pos x="0" y="25"/>
                </a:cxn>
              </a:cxnLst>
              <a:rect l="0" t="0" r="r" b="b"/>
              <a:pathLst>
                <a:path w="13" h="25">
                  <a:moveTo>
                    <a:pt x="13" y="0"/>
                  </a:moveTo>
                  <a:lnTo>
                    <a:pt x="13" y="0"/>
                  </a:lnTo>
                  <a:lnTo>
                    <a:pt x="6" y="14"/>
                  </a:lnTo>
                  <a:lnTo>
                    <a:pt x="0" y="25"/>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73" name="Freeform 555"/>
            <p:cNvSpPr>
              <a:spLocks/>
            </p:cNvSpPr>
            <p:nvPr/>
          </p:nvSpPr>
          <p:spPr bwMode="auto">
            <a:xfrm>
              <a:off x="769913" y="7029261"/>
              <a:ext cx="58738" cy="61912"/>
            </a:xfrm>
            <a:custGeom>
              <a:avLst/>
              <a:gdLst/>
              <a:ahLst/>
              <a:cxnLst>
                <a:cxn ang="0">
                  <a:pos x="37" y="0"/>
                </a:cxn>
                <a:cxn ang="0">
                  <a:pos x="37" y="0"/>
                </a:cxn>
                <a:cxn ang="0">
                  <a:pos x="31" y="1"/>
                </a:cxn>
                <a:cxn ang="0">
                  <a:pos x="25" y="2"/>
                </a:cxn>
                <a:cxn ang="0">
                  <a:pos x="20" y="6"/>
                </a:cxn>
                <a:cxn ang="0">
                  <a:pos x="15" y="11"/>
                </a:cxn>
                <a:cxn ang="0">
                  <a:pos x="10" y="16"/>
                </a:cxn>
                <a:cxn ang="0">
                  <a:pos x="6" y="22"/>
                </a:cxn>
                <a:cxn ang="0">
                  <a:pos x="2" y="30"/>
                </a:cxn>
                <a:cxn ang="0">
                  <a:pos x="0" y="39"/>
                </a:cxn>
              </a:cxnLst>
              <a:rect l="0" t="0" r="r" b="b"/>
              <a:pathLst>
                <a:path w="37" h="39">
                  <a:moveTo>
                    <a:pt x="37" y="0"/>
                  </a:moveTo>
                  <a:lnTo>
                    <a:pt x="37" y="0"/>
                  </a:lnTo>
                  <a:lnTo>
                    <a:pt x="31" y="1"/>
                  </a:lnTo>
                  <a:lnTo>
                    <a:pt x="25" y="2"/>
                  </a:lnTo>
                  <a:lnTo>
                    <a:pt x="20" y="6"/>
                  </a:lnTo>
                  <a:lnTo>
                    <a:pt x="15" y="11"/>
                  </a:lnTo>
                  <a:lnTo>
                    <a:pt x="10" y="16"/>
                  </a:lnTo>
                  <a:lnTo>
                    <a:pt x="6" y="22"/>
                  </a:lnTo>
                  <a:lnTo>
                    <a:pt x="2" y="30"/>
                  </a:lnTo>
                  <a:lnTo>
                    <a:pt x="0" y="39"/>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81" name="Freeform 556"/>
            <p:cNvSpPr>
              <a:spLocks/>
            </p:cNvSpPr>
            <p:nvPr/>
          </p:nvSpPr>
          <p:spPr bwMode="auto">
            <a:xfrm>
              <a:off x="828650" y="7029261"/>
              <a:ext cx="60325" cy="61912"/>
            </a:xfrm>
            <a:custGeom>
              <a:avLst/>
              <a:gdLst/>
              <a:ahLst/>
              <a:cxnLst>
                <a:cxn ang="0">
                  <a:pos x="0" y="0"/>
                </a:cxn>
                <a:cxn ang="0">
                  <a:pos x="0" y="0"/>
                </a:cxn>
                <a:cxn ang="0">
                  <a:pos x="6" y="1"/>
                </a:cxn>
                <a:cxn ang="0">
                  <a:pos x="11" y="2"/>
                </a:cxn>
                <a:cxn ang="0">
                  <a:pos x="16" y="6"/>
                </a:cxn>
                <a:cxn ang="0">
                  <a:pos x="21" y="11"/>
                </a:cxn>
                <a:cxn ang="0">
                  <a:pos x="26" y="16"/>
                </a:cxn>
                <a:cxn ang="0">
                  <a:pos x="30" y="22"/>
                </a:cxn>
                <a:cxn ang="0">
                  <a:pos x="34" y="30"/>
                </a:cxn>
                <a:cxn ang="0">
                  <a:pos x="38" y="39"/>
                </a:cxn>
              </a:cxnLst>
              <a:rect l="0" t="0" r="r" b="b"/>
              <a:pathLst>
                <a:path w="38" h="39">
                  <a:moveTo>
                    <a:pt x="0" y="0"/>
                  </a:moveTo>
                  <a:lnTo>
                    <a:pt x="0" y="0"/>
                  </a:lnTo>
                  <a:lnTo>
                    <a:pt x="6" y="1"/>
                  </a:lnTo>
                  <a:lnTo>
                    <a:pt x="11" y="2"/>
                  </a:lnTo>
                  <a:lnTo>
                    <a:pt x="16" y="6"/>
                  </a:lnTo>
                  <a:lnTo>
                    <a:pt x="21" y="11"/>
                  </a:lnTo>
                  <a:lnTo>
                    <a:pt x="26" y="16"/>
                  </a:lnTo>
                  <a:lnTo>
                    <a:pt x="30" y="22"/>
                  </a:lnTo>
                  <a:lnTo>
                    <a:pt x="34" y="30"/>
                  </a:lnTo>
                  <a:lnTo>
                    <a:pt x="38" y="39"/>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82" name="Freeform 557"/>
            <p:cNvSpPr>
              <a:spLocks/>
            </p:cNvSpPr>
            <p:nvPr/>
          </p:nvSpPr>
          <p:spPr bwMode="auto">
            <a:xfrm>
              <a:off x="888975" y="7157849"/>
              <a:ext cx="9525" cy="68262"/>
            </a:xfrm>
            <a:custGeom>
              <a:avLst/>
              <a:gdLst/>
              <a:ahLst/>
              <a:cxnLst>
                <a:cxn ang="0">
                  <a:pos x="0" y="43"/>
                </a:cxn>
                <a:cxn ang="0">
                  <a:pos x="0" y="43"/>
                </a:cxn>
                <a:cxn ang="0">
                  <a:pos x="2" y="33"/>
                </a:cxn>
                <a:cxn ang="0">
                  <a:pos x="5" y="23"/>
                </a:cxn>
                <a:cxn ang="0">
                  <a:pos x="6" y="12"/>
                </a:cxn>
                <a:cxn ang="0">
                  <a:pos x="6" y="0"/>
                </a:cxn>
              </a:cxnLst>
              <a:rect l="0" t="0" r="r" b="b"/>
              <a:pathLst>
                <a:path w="6" h="43">
                  <a:moveTo>
                    <a:pt x="0" y="43"/>
                  </a:moveTo>
                  <a:lnTo>
                    <a:pt x="0" y="43"/>
                  </a:lnTo>
                  <a:lnTo>
                    <a:pt x="2" y="33"/>
                  </a:lnTo>
                  <a:lnTo>
                    <a:pt x="5" y="23"/>
                  </a:lnTo>
                  <a:lnTo>
                    <a:pt x="6" y="12"/>
                  </a:lnTo>
                  <a:lnTo>
                    <a:pt x="6" y="0"/>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84" name="Freeform 558"/>
            <p:cNvSpPr>
              <a:spLocks/>
            </p:cNvSpPr>
            <p:nvPr/>
          </p:nvSpPr>
          <p:spPr bwMode="auto">
            <a:xfrm>
              <a:off x="888975" y="7091174"/>
              <a:ext cx="9525" cy="66675"/>
            </a:xfrm>
            <a:custGeom>
              <a:avLst/>
              <a:gdLst/>
              <a:ahLst/>
              <a:cxnLst>
                <a:cxn ang="0">
                  <a:pos x="0" y="0"/>
                </a:cxn>
                <a:cxn ang="0">
                  <a:pos x="0" y="0"/>
                </a:cxn>
                <a:cxn ang="0">
                  <a:pos x="2" y="9"/>
                </a:cxn>
                <a:cxn ang="0">
                  <a:pos x="5" y="20"/>
                </a:cxn>
                <a:cxn ang="0">
                  <a:pos x="6" y="30"/>
                </a:cxn>
                <a:cxn ang="0">
                  <a:pos x="6" y="42"/>
                </a:cxn>
              </a:cxnLst>
              <a:rect l="0" t="0" r="r" b="b"/>
              <a:pathLst>
                <a:path w="6" h="42">
                  <a:moveTo>
                    <a:pt x="0" y="0"/>
                  </a:moveTo>
                  <a:lnTo>
                    <a:pt x="0" y="0"/>
                  </a:lnTo>
                  <a:lnTo>
                    <a:pt x="2" y="9"/>
                  </a:lnTo>
                  <a:lnTo>
                    <a:pt x="5" y="20"/>
                  </a:lnTo>
                  <a:lnTo>
                    <a:pt x="6" y="30"/>
                  </a:lnTo>
                  <a:lnTo>
                    <a:pt x="6" y="42"/>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85" name="Freeform 559"/>
            <p:cNvSpPr>
              <a:spLocks/>
            </p:cNvSpPr>
            <p:nvPr/>
          </p:nvSpPr>
          <p:spPr bwMode="auto">
            <a:xfrm>
              <a:off x="757213" y="7157849"/>
              <a:ext cx="12700" cy="68262"/>
            </a:xfrm>
            <a:custGeom>
              <a:avLst/>
              <a:gdLst/>
              <a:ahLst/>
              <a:cxnLst>
                <a:cxn ang="0">
                  <a:pos x="8" y="43"/>
                </a:cxn>
                <a:cxn ang="0">
                  <a:pos x="8" y="43"/>
                </a:cxn>
                <a:cxn ang="0">
                  <a:pos x="4" y="33"/>
                </a:cxn>
                <a:cxn ang="0">
                  <a:pos x="3" y="23"/>
                </a:cxn>
                <a:cxn ang="0">
                  <a:pos x="1" y="12"/>
                </a:cxn>
                <a:cxn ang="0">
                  <a:pos x="0" y="0"/>
                </a:cxn>
              </a:cxnLst>
              <a:rect l="0" t="0" r="r" b="b"/>
              <a:pathLst>
                <a:path w="8" h="43">
                  <a:moveTo>
                    <a:pt x="8" y="43"/>
                  </a:moveTo>
                  <a:lnTo>
                    <a:pt x="8" y="43"/>
                  </a:lnTo>
                  <a:lnTo>
                    <a:pt x="4" y="33"/>
                  </a:lnTo>
                  <a:lnTo>
                    <a:pt x="3" y="23"/>
                  </a:lnTo>
                  <a:lnTo>
                    <a:pt x="1" y="12"/>
                  </a:lnTo>
                  <a:lnTo>
                    <a:pt x="0" y="0"/>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86" name="Line 560"/>
            <p:cNvSpPr>
              <a:spLocks noChangeShapeType="1"/>
            </p:cNvSpPr>
            <p:nvPr/>
          </p:nvSpPr>
          <p:spPr bwMode="auto">
            <a:xfrm>
              <a:off x="698476" y="7157849"/>
              <a:ext cx="58738" cy="1587"/>
            </a:xfrm>
            <a:prstGeom prst="line">
              <a:avLst/>
            </a:pr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01" name="Line 561"/>
            <p:cNvSpPr>
              <a:spLocks noChangeShapeType="1"/>
            </p:cNvSpPr>
            <p:nvPr/>
          </p:nvSpPr>
          <p:spPr bwMode="auto">
            <a:xfrm>
              <a:off x="828651" y="7157849"/>
              <a:ext cx="69850" cy="1587"/>
            </a:xfrm>
            <a:prstGeom prst="line">
              <a:avLst/>
            </a:pr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02" name="Line 562"/>
            <p:cNvSpPr>
              <a:spLocks noChangeShapeType="1"/>
            </p:cNvSpPr>
            <p:nvPr/>
          </p:nvSpPr>
          <p:spPr bwMode="auto">
            <a:xfrm flipH="1">
              <a:off x="898502" y="7157849"/>
              <a:ext cx="60325" cy="1587"/>
            </a:xfrm>
            <a:prstGeom prst="line">
              <a:avLst/>
            </a:pr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03" name="Line 563"/>
            <p:cNvSpPr>
              <a:spLocks noChangeShapeType="1"/>
            </p:cNvSpPr>
            <p:nvPr/>
          </p:nvSpPr>
          <p:spPr bwMode="auto">
            <a:xfrm>
              <a:off x="757216" y="7157849"/>
              <a:ext cx="71438" cy="1587"/>
            </a:xfrm>
            <a:prstGeom prst="line">
              <a:avLst/>
            </a:pr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04" name="Line 564"/>
            <p:cNvSpPr>
              <a:spLocks noChangeShapeType="1"/>
            </p:cNvSpPr>
            <p:nvPr/>
          </p:nvSpPr>
          <p:spPr bwMode="auto">
            <a:xfrm>
              <a:off x="828653" y="7097524"/>
              <a:ext cx="1588" cy="60325"/>
            </a:xfrm>
            <a:prstGeom prst="line">
              <a:avLst/>
            </a:pr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05" name="Line 565"/>
            <p:cNvSpPr>
              <a:spLocks noChangeShapeType="1"/>
            </p:cNvSpPr>
            <p:nvPr/>
          </p:nvSpPr>
          <p:spPr bwMode="auto">
            <a:xfrm flipV="1">
              <a:off x="828653" y="7157849"/>
              <a:ext cx="1588" cy="17462"/>
            </a:xfrm>
            <a:prstGeom prst="line">
              <a:avLst/>
            </a:pr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06" name="Line 566"/>
            <p:cNvSpPr>
              <a:spLocks noChangeShapeType="1"/>
            </p:cNvSpPr>
            <p:nvPr/>
          </p:nvSpPr>
          <p:spPr bwMode="auto">
            <a:xfrm>
              <a:off x="828653" y="7029261"/>
              <a:ext cx="1588" cy="68262"/>
            </a:xfrm>
            <a:prstGeom prst="line">
              <a:avLst/>
            </a:pr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07" name="Freeform 567"/>
            <p:cNvSpPr>
              <a:spLocks/>
            </p:cNvSpPr>
            <p:nvPr/>
          </p:nvSpPr>
          <p:spPr bwMode="auto">
            <a:xfrm>
              <a:off x="795316" y="7176899"/>
              <a:ext cx="20638" cy="34925"/>
            </a:xfrm>
            <a:custGeom>
              <a:avLst/>
              <a:gdLst/>
              <a:ahLst/>
              <a:cxnLst>
                <a:cxn ang="0">
                  <a:pos x="13" y="0"/>
                </a:cxn>
                <a:cxn ang="0">
                  <a:pos x="13" y="0"/>
                </a:cxn>
                <a:cxn ang="0">
                  <a:pos x="8" y="3"/>
                </a:cxn>
                <a:cxn ang="0">
                  <a:pos x="4" y="8"/>
                </a:cxn>
                <a:cxn ang="0">
                  <a:pos x="1" y="14"/>
                </a:cxn>
                <a:cxn ang="0">
                  <a:pos x="0" y="22"/>
                </a:cxn>
              </a:cxnLst>
              <a:rect l="0" t="0" r="r" b="b"/>
              <a:pathLst>
                <a:path w="13" h="22">
                  <a:moveTo>
                    <a:pt x="13" y="0"/>
                  </a:moveTo>
                  <a:lnTo>
                    <a:pt x="13" y="0"/>
                  </a:lnTo>
                  <a:lnTo>
                    <a:pt x="8" y="3"/>
                  </a:lnTo>
                  <a:lnTo>
                    <a:pt x="4" y="8"/>
                  </a:lnTo>
                  <a:lnTo>
                    <a:pt x="1" y="14"/>
                  </a:lnTo>
                  <a:lnTo>
                    <a:pt x="0" y="22"/>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09" name="Freeform 568"/>
            <p:cNvSpPr>
              <a:spLocks/>
            </p:cNvSpPr>
            <p:nvPr/>
          </p:nvSpPr>
          <p:spPr bwMode="auto">
            <a:xfrm>
              <a:off x="777853" y="7264211"/>
              <a:ext cx="9525" cy="14287"/>
            </a:xfrm>
            <a:custGeom>
              <a:avLst/>
              <a:gdLst/>
              <a:ahLst/>
              <a:cxnLst>
                <a:cxn ang="0">
                  <a:pos x="0" y="9"/>
                </a:cxn>
                <a:cxn ang="0">
                  <a:pos x="0" y="9"/>
                </a:cxn>
                <a:cxn ang="0">
                  <a:pos x="6" y="0"/>
                </a:cxn>
              </a:cxnLst>
              <a:rect l="0" t="0" r="r" b="b"/>
              <a:pathLst>
                <a:path w="6" h="9">
                  <a:moveTo>
                    <a:pt x="0" y="9"/>
                  </a:moveTo>
                  <a:lnTo>
                    <a:pt x="0" y="9"/>
                  </a:lnTo>
                  <a:lnTo>
                    <a:pt x="6" y="0"/>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10" name="Freeform 569"/>
            <p:cNvSpPr>
              <a:spLocks/>
            </p:cNvSpPr>
            <p:nvPr/>
          </p:nvSpPr>
          <p:spPr bwMode="auto">
            <a:xfrm>
              <a:off x="795316" y="7211824"/>
              <a:ext cx="1588" cy="9525"/>
            </a:xfrm>
            <a:custGeom>
              <a:avLst/>
              <a:gdLst/>
              <a:ahLst/>
              <a:cxnLst>
                <a:cxn ang="0">
                  <a:pos x="0" y="6"/>
                </a:cxn>
                <a:cxn ang="0">
                  <a:pos x="0" y="6"/>
                </a:cxn>
                <a:cxn ang="0">
                  <a:pos x="0" y="1"/>
                </a:cxn>
                <a:cxn ang="0">
                  <a:pos x="0" y="1"/>
                </a:cxn>
                <a:cxn ang="0">
                  <a:pos x="0" y="0"/>
                </a:cxn>
              </a:cxnLst>
              <a:rect l="0" t="0" r="r" b="b"/>
              <a:pathLst>
                <a:path h="6">
                  <a:moveTo>
                    <a:pt x="0" y="6"/>
                  </a:moveTo>
                  <a:lnTo>
                    <a:pt x="0" y="6"/>
                  </a:lnTo>
                  <a:lnTo>
                    <a:pt x="0" y="1"/>
                  </a:lnTo>
                  <a:lnTo>
                    <a:pt x="0" y="1"/>
                  </a:lnTo>
                  <a:lnTo>
                    <a:pt x="0" y="0"/>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14" name="Freeform 570"/>
            <p:cNvSpPr>
              <a:spLocks/>
            </p:cNvSpPr>
            <p:nvPr/>
          </p:nvSpPr>
          <p:spPr bwMode="auto">
            <a:xfrm>
              <a:off x="787378" y="7221349"/>
              <a:ext cx="23813" cy="42862"/>
            </a:xfrm>
            <a:custGeom>
              <a:avLst/>
              <a:gdLst/>
              <a:ahLst/>
              <a:cxnLst>
                <a:cxn ang="0">
                  <a:pos x="0" y="27"/>
                </a:cxn>
                <a:cxn ang="0">
                  <a:pos x="0" y="27"/>
                </a:cxn>
                <a:cxn ang="0">
                  <a:pos x="8" y="22"/>
                </a:cxn>
                <a:cxn ang="0">
                  <a:pos x="15" y="18"/>
                </a:cxn>
                <a:cxn ang="0">
                  <a:pos x="15" y="18"/>
                </a:cxn>
                <a:cxn ang="0">
                  <a:pos x="9" y="10"/>
                </a:cxn>
                <a:cxn ang="0">
                  <a:pos x="6" y="5"/>
                </a:cxn>
                <a:cxn ang="0">
                  <a:pos x="5" y="0"/>
                </a:cxn>
              </a:cxnLst>
              <a:rect l="0" t="0" r="r" b="b"/>
              <a:pathLst>
                <a:path w="15" h="27">
                  <a:moveTo>
                    <a:pt x="0" y="27"/>
                  </a:moveTo>
                  <a:lnTo>
                    <a:pt x="0" y="27"/>
                  </a:lnTo>
                  <a:lnTo>
                    <a:pt x="8" y="22"/>
                  </a:lnTo>
                  <a:lnTo>
                    <a:pt x="15" y="18"/>
                  </a:lnTo>
                  <a:lnTo>
                    <a:pt x="15" y="18"/>
                  </a:lnTo>
                  <a:lnTo>
                    <a:pt x="9" y="10"/>
                  </a:lnTo>
                  <a:lnTo>
                    <a:pt x="6" y="5"/>
                  </a:lnTo>
                  <a:lnTo>
                    <a:pt x="5" y="0"/>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15" name="Freeform 571"/>
            <p:cNvSpPr>
              <a:spLocks/>
            </p:cNvSpPr>
            <p:nvPr/>
          </p:nvSpPr>
          <p:spPr bwMode="auto">
            <a:xfrm>
              <a:off x="761977" y="7278499"/>
              <a:ext cx="15875" cy="71437"/>
            </a:xfrm>
            <a:custGeom>
              <a:avLst/>
              <a:gdLst/>
              <a:ahLst/>
              <a:cxnLst>
                <a:cxn ang="0">
                  <a:pos x="10" y="0"/>
                </a:cxn>
                <a:cxn ang="0">
                  <a:pos x="10" y="0"/>
                </a:cxn>
                <a:cxn ang="0">
                  <a:pos x="6" y="9"/>
                </a:cxn>
                <a:cxn ang="0">
                  <a:pos x="2" y="20"/>
                </a:cxn>
                <a:cxn ang="0">
                  <a:pos x="1" y="33"/>
                </a:cxn>
                <a:cxn ang="0">
                  <a:pos x="0" y="45"/>
                </a:cxn>
              </a:cxnLst>
              <a:rect l="0" t="0" r="r" b="b"/>
              <a:pathLst>
                <a:path w="10" h="45">
                  <a:moveTo>
                    <a:pt x="10" y="0"/>
                  </a:moveTo>
                  <a:lnTo>
                    <a:pt x="10" y="0"/>
                  </a:lnTo>
                  <a:lnTo>
                    <a:pt x="6" y="9"/>
                  </a:lnTo>
                  <a:lnTo>
                    <a:pt x="2" y="20"/>
                  </a:lnTo>
                  <a:lnTo>
                    <a:pt x="1" y="33"/>
                  </a:lnTo>
                  <a:lnTo>
                    <a:pt x="0" y="45"/>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16" name="Freeform 572"/>
            <p:cNvSpPr>
              <a:spLocks/>
            </p:cNvSpPr>
            <p:nvPr/>
          </p:nvSpPr>
          <p:spPr bwMode="auto">
            <a:xfrm>
              <a:off x="866752" y="7265799"/>
              <a:ext cx="1588" cy="1587"/>
            </a:xfrm>
            <a:custGeom>
              <a:avLst/>
              <a:gdLst/>
              <a:ahLst/>
              <a:cxnLst>
                <a:cxn ang="0">
                  <a:pos x="0" y="0"/>
                </a:cxn>
                <a:cxn ang="0">
                  <a:pos x="0" y="0"/>
                </a:cxn>
                <a:cxn ang="0">
                  <a:pos x="1" y="0"/>
                </a:cxn>
              </a:cxnLst>
              <a:rect l="0" t="0" r="r" b="b"/>
              <a:pathLst>
                <a:path w="1">
                  <a:moveTo>
                    <a:pt x="0" y="0"/>
                  </a:moveTo>
                  <a:lnTo>
                    <a:pt x="0" y="0"/>
                  </a:lnTo>
                  <a:lnTo>
                    <a:pt x="1" y="0"/>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17" name="Freeform 573"/>
            <p:cNvSpPr>
              <a:spLocks/>
            </p:cNvSpPr>
            <p:nvPr/>
          </p:nvSpPr>
          <p:spPr bwMode="auto">
            <a:xfrm>
              <a:off x="801665" y="7265798"/>
              <a:ext cx="88900" cy="90487"/>
            </a:xfrm>
            <a:custGeom>
              <a:avLst/>
              <a:gdLst/>
              <a:ahLst/>
              <a:cxnLst>
                <a:cxn ang="0">
                  <a:pos x="0" y="57"/>
                </a:cxn>
                <a:cxn ang="0">
                  <a:pos x="0" y="57"/>
                </a:cxn>
                <a:cxn ang="0">
                  <a:pos x="19" y="57"/>
                </a:cxn>
                <a:cxn ang="0">
                  <a:pos x="37" y="57"/>
                </a:cxn>
                <a:cxn ang="0">
                  <a:pos x="51" y="56"/>
                </a:cxn>
                <a:cxn ang="0">
                  <a:pos x="55" y="55"/>
                </a:cxn>
                <a:cxn ang="0">
                  <a:pos x="56" y="53"/>
                </a:cxn>
                <a:cxn ang="0">
                  <a:pos x="56" y="53"/>
                </a:cxn>
                <a:cxn ang="0">
                  <a:pos x="56" y="37"/>
                </a:cxn>
                <a:cxn ang="0">
                  <a:pos x="53" y="23"/>
                </a:cxn>
                <a:cxn ang="0">
                  <a:pos x="48" y="10"/>
                </a:cxn>
                <a:cxn ang="0">
                  <a:pos x="44" y="5"/>
                </a:cxn>
                <a:cxn ang="0">
                  <a:pos x="42" y="0"/>
                </a:cxn>
              </a:cxnLst>
              <a:rect l="0" t="0" r="r" b="b"/>
              <a:pathLst>
                <a:path w="56" h="57">
                  <a:moveTo>
                    <a:pt x="0" y="57"/>
                  </a:moveTo>
                  <a:lnTo>
                    <a:pt x="0" y="57"/>
                  </a:lnTo>
                  <a:lnTo>
                    <a:pt x="19" y="57"/>
                  </a:lnTo>
                  <a:lnTo>
                    <a:pt x="37" y="57"/>
                  </a:lnTo>
                  <a:lnTo>
                    <a:pt x="51" y="56"/>
                  </a:lnTo>
                  <a:lnTo>
                    <a:pt x="55" y="55"/>
                  </a:lnTo>
                  <a:lnTo>
                    <a:pt x="56" y="53"/>
                  </a:lnTo>
                  <a:lnTo>
                    <a:pt x="56" y="53"/>
                  </a:lnTo>
                  <a:lnTo>
                    <a:pt x="56" y="37"/>
                  </a:lnTo>
                  <a:lnTo>
                    <a:pt x="53" y="23"/>
                  </a:lnTo>
                  <a:lnTo>
                    <a:pt x="48" y="10"/>
                  </a:lnTo>
                  <a:lnTo>
                    <a:pt x="44" y="5"/>
                  </a:lnTo>
                  <a:lnTo>
                    <a:pt x="42" y="0"/>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18" name="Freeform 574"/>
            <p:cNvSpPr>
              <a:spLocks/>
            </p:cNvSpPr>
            <p:nvPr/>
          </p:nvSpPr>
          <p:spPr bwMode="auto">
            <a:xfrm>
              <a:off x="828651" y="7175310"/>
              <a:ext cx="25400" cy="20637"/>
            </a:xfrm>
            <a:custGeom>
              <a:avLst/>
              <a:gdLst/>
              <a:ahLst/>
              <a:cxnLst>
                <a:cxn ang="0">
                  <a:pos x="16" y="13"/>
                </a:cxn>
                <a:cxn ang="0">
                  <a:pos x="16" y="13"/>
                </a:cxn>
                <a:cxn ang="0">
                  <a:pos x="13" y="8"/>
                </a:cxn>
                <a:cxn ang="0">
                  <a:pos x="10" y="4"/>
                </a:cxn>
                <a:cxn ang="0">
                  <a:pos x="5" y="1"/>
                </a:cxn>
                <a:cxn ang="0">
                  <a:pos x="0" y="0"/>
                </a:cxn>
              </a:cxnLst>
              <a:rect l="0" t="0" r="r" b="b"/>
              <a:pathLst>
                <a:path w="16" h="13">
                  <a:moveTo>
                    <a:pt x="16" y="13"/>
                  </a:moveTo>
                  <a:lnTo>
                    <a:pt x="16" y="13"/>
                  </a:lnTo>
                  <a:lnTo>
                    <a:pt x="13" y="8"/>
                  </a:lnTo>
                  <a:lnTo>
                    <a:pt x="10" y="4"/>
                  </a:lnTo>
                  <a:lnTo>
                    <a:pt x="5" y="1"/>
                  </a:lnTo>
                  <a:lnTo>
                    <a:pt x="0" y="0"/>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19" name="Freeform 575"/>
            <p:cNvSpPr>
              <a:spLocks/>
            </p:cNvSpPr>
            <p:nvPr/>
          </p:nvSpPr>
          <p:spPr bwMode="auto">
            <a:xfrm>
              <a:off x="815955" y="7175292"/>
              <a:ext cx="12700" cy="1587"/>
            </a:xfrm>
            <a:custGeom>
              <a:avLst/>
              <a:gdLst/>
              <a:ahLst/>
              <a:cxnLst>
                <a:cxn ang="0">
                  <a:pos x="8" y="0"/>
                </a:cxn>
                <a:cxn ang="0">
                  <a:pos x="8" y="0"/>
                </a:cxn>
                <a:cxn ang="0">
                  <a:pos x="6" y="0"/>
                </a:cxn>
                <a:cxn ang="0">
                  <a:pos x="6" y="0"/>
                </a:cxn>
                <a:cxn ang="0">
                  <a:pos x="0" y="1"/>
                </a:cxn>
              </a:cxnLst>
              <a:rect l="0" t="0" r="r" b="b"/>
              <a:pathLst>
                <a:path w="8" h="1">
                  <a:moveTo>
                    <a:pt x="8" y="0"/>
                  </a:moveTo>
                  <a:lnTo>
                    <a:pt x="8" y="0"/>
                  </a:lnTo>
                  <a:lnTo>
                    <a:pt x="6" y="0"/>
                  </a:lnTo>
                  <a:lnTo>
                    <a:pt x="6" y="0"/>
                  </a:lnTo>
                  <a:lnTo>
                    <a:pt x="0" y="1"/>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20" name="Freeform 576"/>
            <p:cNvSpPr>
              <a:spLocks/>
            </p:cNvSpPr>
            <p:nvPr/>
          </p:nvSpPr>
          <p:spPr bwMode="auto">
            <a:xfrm>
              <a:off x="854055" y="7195928"/>
              <a:ext cx="4763" cy="23812"/>
            </a:xfrm>
            <a:custGeom>
              <a:avLst/>
              <a:gdLst/>
              <a:ahLst/>
              <a:cxnLst>
                <a:cxn ang="0">
                  <a:pos x="3" y="15"/>
                </a:cxn>
                <a:cxn ang="0">
                  <a:pos x="3" y="15"/>
                </a:cxn>
                <a:cxn ang="0">
                  <a:pos x="3" y="11"/>
                </a:cxn>
                <a:cxn ang="0">
                  <a:pos x="3" y="11"/>
                </a:cxn>
                <a:cxn ang="0">
                  <a:pos x="3" y="5"/>
                </a:cxn>
                <a:cxn ang="0">
                  <a:pos x="0" y="0"/>
                </a:cxn>
              </a:cxnLst>
              <a:rect l="0" t="0" r="r" b="b"/>
              <a:pathLst>
                <a:path w="3" h="15">
                  <a:moveTo>
                    <a:pt x="3" y="15"/>
                  </a:moveTo>
                  <a:lnTo>
                    <a:pt x="3" y="15"/>
                  </a:lnTo>
                  <a:lnTo>
                    <a:pt x="3" y="11"/>
                  </a:lnTo>
                  <a:lnTo>
                    <a:pt x="3" y="11"/>
                  </a:lnTo>
                  <a:lnTo>
                    <a:pt x="3" y="5"/>
                  </a:lnTo>
                  <a:lnTo>
                    <a:pt x="0" y="0"/>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21" name="Freeform 577"/>
            <p:cNvSpPr>
              <a:spLocks/>
            </p:cNvSpPr>
            <p:nvPr/>
          </p:nvSpPr>
          <p:spPr bwMode="auto">
            <a:xfrm>
              <a:off x="841351" y="7219751"/>
              <a:ext cx="25400" cy="46037"/>
            </a:xfrm>
            <a:custGeom>
              <a:avLst/>
              <a:gdLst/>
              <a:ahLst/>
              <a:cxnLst>
                <a:cxn ang="0">
                  <a:pos x="11" y="0"/>
                </a:cxn>
                <a:cxn ang="0">
                  <a:pos x="11" y="0"/>
                </a:cxn>
                <a:cxn ang="0">
                  <a:pos x="9" y="6"/>
                </a:cxn>
                <a:cxn ang="0">
                  <a:pos x="7" y="11"/>
                </a:cxn>
                <a:cxn ang="0">
                  <a:pos x="0" y="19"/>
                </a:cxn>
                <a:cxn ang="0">
                  <a:pos x="0" y="19"/>
                </a:cxn>
                <a:cxn ang="0">
                  <a:pos x="9" y="23"/>
                </a:cxn>
                <a:cxn ang="0">
                  <a:pos x="16" y="29"/>
                </a:cxn>
              </a:cxnLst>
              <a:rect l="0" t="0" r="r" b="b"/>
              <a:pathLst>
                <a:path w="16" h="29">
                  <a:moveTo>
                    <a:pt x="11" y="0"/>
                  </a:moveTo>
                  <a:lnTo>
                    <a:pt x="11" y="0"/>
                  </a:lnTo>
                  <a:lnTo>
                    <a:pt x="9" y="6"/>
                  </a:lnTo>
                  <a:lnTo>
                    <a:pt x="7" y="11"/>
                  </a:lnTo>
                  <a:lnTo>
                    <a:pt x="0" y="19"/>
                  </a:lnTo>
                  <a:lnTo>
                    <a:pt x="0" y="19"/>
                  </a:lnTo>
                  <a:lnTo>
                    <a:pt x="9" y="23"/>
                  </a:lnTo>
                  <a:lnTo>
                    <a:pt x="16" y="29"/>
                  </a:lnTo>
                </a:path>
              </a:pathLst>
            </a:custGeom>
            <a:noFill/>
            <a:ln w="12700">
              <a:solidFill>
                <a:srgbClr val="DAA90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grpSp>
      <p:grpSp>
        <p:nvGrpSpPr>
          <p:cNvPr id="119" name="Groupe 397"/>
          <p:cNvGrpSpPr/>
          <p:nvPr/>
        </p:nvGrpSpPr>
        <p:grpSpPr>
          <a:xfrm>
            <a:off x="3853477" y="1802176"/>
            <a:ext cx="343688" cy="526388"/>
            <a:chOff x="5040289" y="1306314"/>
            <a:chExt cx="161925" cy="303212"/>
          </a:xfrm>
        </p:grpSpPr>
        <p:sp>
          <p:nvSpPr>
            <p:cNvPr id="141" name="Freeform 99"/>
            <p:cNvSpPr>
              <a:spLocks/>
            </p:cNvSpPr>
            <p:nvPr/>
          </p:nvSpPr>
          <p:spPr bwMode="auto">
            <a:xfrm>
              <a:off x="5040289" y="1306314"/>
              <a:ext cx="161925" cy="303212"/>
            </a:xfrm>
            <a:custGeom>
              <a:avLst/>
              <a:gdLst/>
              <a:ahLst/>
              <a:cxnLst>
                <a:cxn ang="0">
                  <a:pos x="80" y="191"/>
                </a:cxn>
                <a:cxn ang="0">
                  <a:pos x="22" y="191"/>
                </a:cxn>
                <a:cxn ang="0">
                  <a:pos x="22" y="191"/>
                </a:cxn>
                <a:cxn ang="0">
                  <a:pos x="17" y="190"/>
                </a:cxn>
                <a:cxn ang="0">
                  <a:pos x="14" y="189"/>
                </a:cxn>
                <a:cxn ang="0">
                  <a:pos x="10" y="187"/>
                </a:cxn>
                <a:cxn ang="0">
                  <a:pos x="6" y="183"/>
                </a:cxn>
                <a:cxn ang="0">
                  <a:pos x="3" y="181"/>
                </a:cxn>
                <a:cxn ang="0">
                  <a:pos x="1" y="177"/>
                </a:cxn>
                <a:cxn ang="0">
                  <a:pos x="0" y="172"/>
                </a:cxn>
                <a:cxn ang="0">
                  <a:pos x="0" y="167"/>
                </a:cxn>
                <a:cxn ang="0">
                  <a:pos x="0" y="23"/>
                </a:cxn>
                <a:cxn ang="0">
                  <a:pos x="0" y="23"/>
                </a:cxn>
                <a:cxn ang="0">
                  <a:pos x="0" y="19"/>
                </a:cxn>
                <a:cxn ang="0">
                  <a:pos x="1" y="14"/>
                </a:cxn>
                <a:cxn ang="0">
                  <a:pos x="3" y="10"/>
                </a:cxn>
                <a:cxn ang="0">
                  <a:pos x="6" y="6"/>
                </a:cxn>
                <a:cxn ang="0">
                  <a:pos x="10" y="4"/>
                </a:cxn>
                <a:cxn ang="0">
                  <a:pos x="14" y="1"/>
                </a:cxn>
                <a:cxn ang="0">
                  <a:pos x="17" y="0"/>
                </a:cxn>
                <a:cxn ang="0">
                  <a:pos x="22" y="0"/>
                </a:cxn>
                <a:cxn ang="0">
                  <a:pos x="80" y="0"/>
                </a:cxn>
                <a:cxn ang="0">
                  <a:pos x="80" y="0"/>
                </a:cxn>
                <a:cxn ang="0">
                  <a:pos x="83" y="0"/>
                </a:cxn>
                <a:cxn ang="0">
                  <a:pos x="88" y="1"/>
                </a:cxn>
                <a:cxn ang="0">
                  <a:pos x="92" y="4"/>
                </a:cxn>
                <a:cxn ang="0">
                  <a:pos x="96" y="6"/>
                </a:cxn>
                <a:cxn ang="0">
                  <a:pos x="99" y="10"/>
                </a:cxn>
                <a:cxn ang="0">
                  <a:pos x="101" y="14"/>
                </a:cxn>
                <a:cxn ang="0">
                  <a:pos x="102" y="19"/>
                </a:cxn>
                <a:cxn ang="0">
                  <a:pos x="102" y="23"/>
                </a:cxn>
                <a:cxn ang="0">
                  <a:pos x="102" y="190"/>
                </a:cxn>
              </a:cxnLst>
              <a:rect l="0" t="0" r="r" b="b"/>
              <a:pathLst>
                <a:path w="102" h="191">
                  <a:moveTo>
                    <a:pt x="80" y="191"/>
                  </a:moveTo>
                  <a:lnTo>
                    <a:pt x="22" y="191"/>
                  </a:lnTo>
                  <a:lnTo>
                    <a:pt x="22" y="191"/>
                  </a:lnTo>
                  <a:lnTo>
                    <a:pt x="17" y="190"/>
                  </a:lnTo>
                  <a:lnTo>
                    <a:pt x="14" y="189"/>
                  </a:lnTo>
                  <a:lnTo>
                    <a:pt x="10" y="187"/>
                  </a:lnTo>
                  <a:lnTo>
                    <a:pt x="6" y="183"/>
                  </a:lnTo>
                  <a:lnTo>
                    <a:pt x="3" y="181"/>
                  </a:lnTo>
                  <a:lnTo>
                    <a:pt x="1" y="177"/>
                  </a:lnTo>
                  <a:lnTo>
                    <a:pt x="0" y="172"/>
                  </a:lnTo>
                  <a:lnTo>
                    <a:pt x="0" y="167"/>
                  </a:lnTo>
                  <a:lnTo>
                    <a:pt x="0" y="23"/>
                  </a:lnTo>
                  <a:lnTo>
                    <a:pt x="0" y="23"/>
                  </a:lnTo>
                  <a:lnTo>
                    <a:pt x="0" y="19"/>
                  </a:lnTo>
                  <a:lnTo>
                    <a:pt x="1" y="14"/>
                  </a:lnTo>
                  <a:lnTo>
                    <a:pt x="3" y="10"/>
                  </a:lnTo>
                  <a:lnTo>
                    <a:pt x="6" y="6"/>
                  </a:lnTo>
                  <a:lnTo>
                    <a:pt x="10" y="4"/>
                  </a:lnTo>
                  <a:lnTo>
                    <a:pt x="14" y="1"/>
                  </a:lnTo>
                  <a:lnTo>
                    <a:pt x="17" y="0"/>
                  </a:lnTo>
                  <a:lnTo>
                    <a:pt x="22" y="0"/>
                  </a:lnTo>
                  <a:lnTo>
                    <a:pt x="80" y="0"/>
                  </a:lnTo>
                  <a:lnTo>
                    <a:pt x="80" y="0"/>
                  </a:lnTo>
                  <a:lnTo>
                    <a:pt x="83" y="0"/>
                  </a:lnTo>
                  <a:lnTo>
                    <a:pt x="88" y="1"/>
                  </a:lnTo>
                  <a:lnTo>
                    <a:pt x="92" y="4"/>
                  </a:lnTo>
                  <a:lnTo>
                    <a:pt x="96" y="6"/>
                  </a:lnTo>
                  <a:lnTo>
                    <a:pt x="99" y="10"/>
                  </a:lnTo>
                  <a:lnTo>
                    <a:pt x="101" y="14"/>
                  </a:lnTo>
                  <a:lnTo>
                    <a:pt x="102" y="19"/>
                  </a:lnTo>
                  <a:lnTo>
                    <a:pt x="102" y="23"/>
                  </a:lnTo>
                  <a:lnTo>
                    <a:pt x="102" y="190"/>
                  </a:lnTo>
                </a:path>
              </a:pathLst>
            </a:custGeom>
            <a:noFill/>
            <a:ln w="12700">
              <a:solidFill>
                <a:srgbClr val="ED791D"/>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42" name="Freeform 100"/>
            <p:cNvSpPr>
              <a:spLocks/>
            </p:cNvSpPr>
            <p:nvPr/>
          </p:nvSpPr>
          <p:spPr bwMode="auto">
            <a:xfrm>
              <a:off x="5064101" y="1330126"/>
              <a:ext cx="114300" cy="279400"/>
            </a:xfrm>
            <a:custGeom>
              <a:avLst/>
              <a:gdLst/>
              <a:ahLst/>
              <a:cxnLst>
                <a:cxn ang="0">
                  <a:pos x="25" y="156"/>
                </a:cxn>
                <a:cxn ang="0">
                  <a:pos x="25" y="156"/>
                </a:cxn>
                <a:cxn ang="0">
                  <a:pos x="27" y="160"/>
                </a:cxn>
                <a:cxn ang="0">
                  <a:pos x="28" y="162"/>
                </a:cxn>
                <a:cxn ang="0">
                  <a:pos x="32" y="165"/>
                </a:cxn>
                <a:cxn ang="0">
                  <a:pos x="35" y="166"/>
                </a:cxn>
                <a:cxn ang="0">
                  <a:pos x="35" y="166"/>
                </a:cxn>
                <a:cxn ang="0">
                  <a:pos x="39" y="165"/>
                </a:cxn>
                <a:cxn ang="0">
                  <a:pos x="43" y="162"/>
                </a:cxn>
                <a:cxn ang="0">
                  <a:pos x="46" y="160"/>
                </a:cxn>
                <a:cxn ang="0">
                  <a:pos x="46" y="156"/>
                </a:cxn>
                <a:cxn ang="0">
                  <a:pos x="46" y="156"/>
                </a:cxn>
                <a:cxn ang="0">
                  <a:pos x="46" y="151"/>
                </a:cxn>
                <a:cxn ang="0">
                  <a:pos x="43" y="148"/>
                </a:cxn>
                <a:cxn ang="0">
                  <a:pos x="39" y="146"/>
                </a:cxn>
                <a:cxn ang="0">
                  <a:pos x="35" y="144"/>
                </a:cxn>
                <a:cxn ang="0">
                  <a:pos x="7" y="144"/>
                </a:cxn>
                <a:cxn ang="0">
                  <a:pos x="7" y="144"/>
                </a:cxn>
                <a:cxn ang="0">
                  <a:pos x="5" y="144"/>
                </a:cxn>
                <a:cxn ang="0">
                  <a:pos x="2" y="143"/>
                </a:cxn>
                <a:cxn ang="0">
                  <a:pos x="0" y="141"/>
                </a:cxn>
                <a:cxn ang="0">
                  <a:pos x="0" y="137"/>
                </a:cxn>
                <a:cxn ang="0">
                  <a:pos x="0" y="8"/>
                </a:cxn>
                <a:cxn ang="0">
                  <a:pos x="0" y="8"/>
                </a:cxn>
                <a:cxn ang="0">
                  <a:pos x="0" y="5"/>
                </a:cxn>
                <a:cxn ang="0">
                  <a:pos x="2" y="3"/>
                </a:cxn>
                <a:cxn ang="0">
                  <a:pos x="5" y="1"/>
                </a:cxn>
                <a:cxn ang="0">
                  <a:pos x="7" y="0"/>
                </a:cxn>
                <a:cxn ang="0">
                  <a:pos x="65" y="0"/>
                </a:cxn>
                <a:cxn ang="0">
                  <a:pos x="65" y="0"/>
                </a:cxn>
                <a:cxn ang="0">
                  <a:pos x="67" y="1"/>
                </a:cxn>
                <a:cxn ang="0">
                  <a:pos x="70" y="3"/>
                </a:cxn>
                <a:cxn ang="0">
                  <a:pos x="71" y="5"/>
                </a:cxn>
                <a:cxn ang="0">
                  <a:pos x="72" y="8"/>
                </a:cxn>
                <a:cxn ang="0">
                  <a:pos x="72" y="168"/>
                </a:cxn>
                <a:cxn ang="0">
                  <a:pos x="72" y="168"/>
                </a:cxn>
                <a:cxn ang="0">
                  <a:pos x="71" y="171"/>
                </a:cxn>
                <a:cxn ang="0">
                  <a:pos x="70" y="174"/>
                </a:cxn>
                <a:cxn ang="0">
                  <a:pos x="67" y="175"/>
                </a:cxn>
                <a:cxn ang="0">
                  <a:pos x="65" y="176"/>
                </a:cxn>
              </a:cxnLst>
              <a:rect l="0" t="0" r="r" b="b"/>
              <a:pathLst>
                <a:path w="72" h="176">
                  <a:moveTo>
                    <a:pt x="25" y="156"/>
                  </a:moveTo>
                  <a:lnTo>
                    <a:pt x="25" y="156"/>
                  </a:lnTo>
                  <a:lnTo>
                    <a:pt x="27" y="160"/>
                  </a:lnTo>
                  <a:lnTo>
                    <a:pt x="28" y="162"/>
                  </a:lnTo>
                  <a:lnTo>
                    <a:pt x="32" y="165"/>
                  </a:lnTo>
                  <a:lnTo>
                    <a:pt x="35" y="166"/>
                  </a:lnTo>
                  <a:lnTo>
                    <a:pt x="35" y="166"/>
                  </a:lnTo>
                  <a:lnTo>
                    <a:pt x="39" y="165"/>
                  </a:lnTo>
                  <a:lnTo>
                    <a:pt x="43" y="162"/>
                  </a:lnTo>
                  <a:lnTo>
                    <a:pt x="46" y="160"/>
                  </a:lnTo>
                  <a:lnTo>
                    <a:pt x="46" y="156"/>
                  </a:lnTo>
                  <a:lnTo>
                    <a:pt x="46" y="156"/>
                  </a:lnTo>
                  <a:lnTo>
                    <a:pt x="46" y="151"/>
                  </a:lnTo>
                  <a:lnTo>
                    <a:pt x="43" y="148"/>
                  </a:lnTo>
                  <a:lnTo>
                    <a:pt x="39" y="146"/>
                  </a:lnTo>
                  <a:lnTo>
                    <a:pt x="35" y="144"/>
                  </a:lnTo>
                  <a:lnTo>
                    <a:pt x="7" y="144"/>
                  </a:lnTo>
                  <a:lnTo>
                    <a:pt x="7" y="144"/>
                  </a:lnTo>
                  <a:lnTo>
                    <a:pt x="5" y="144"/>
                  </a:lnTo>
                  <a:lnTo>
                    <a:pt x="2" y="143"/>
                  </a:lnTo>
                  <a:lnTo>
                    <a:pt x="0" y="141"/>
                  </a:lnTo>
                  <a:lnTo>
                    <a:pt x="0" y="137"/>
                  </a:lnTo>
                  <a:lnTo>
                    <a:pt x="0" y="8"/>
                  </a:lnTo>
                  <a:lnTo>
                    <a:pt x="0" y="8"/>
                  </a:lnTo>
                  <a:lnTo>
                    <a:pt x="0" y="5"/>
                  </a:lnTo>
                  <a:lnTo>
                    <a:pt x="2" y="3"/>
                  </a:lnTo>
                  <a:lnTo>
                    <a:pt x="5" y="1"/>
                  </a:lnTo>
                  <a:lnTo>
                    <a:pt x="7" y="0"/>
                  </a:lnTo>
                  <a:lnTo>
                    <a:pt x="65" y="0"/>
                  </a:lnTo>
                  <a:lnTo>
                    <a:pt x="65" y="0"/>
                  </a:lnTo>
                  <a:lnTo>
                    <a:pt x="67" y="1"/>
                  </a:lnTo>
                  <a:lnTo>
                    <a:pt x="70" y="3"/>
                  </a:lnTo>
                  <a:lnTo>
                    <a:pt x="71" y="5"/>
                  </a:lnTo>
                  <a:lnTo>
                    <a:pt x="72" y="8"/>
                  </a:lnTo>
                  <a:lnTo>
                    <a:pt x="72" y="168"/>
                  </a:lnTo>
                  <a:lnTo>
                    <a:pt x="72" y="168"/>
                  </a:lnTo>
                  <a:lnTo>
                    <a:pt x="71" y="171"/>
                  </a:lnTo>
                  <a:lnTo>
                    <a:pt x="70" y="174"/>
                  </a:lnTo>
                  <a:lnTo>
                    <a:pt x="67" y="175"/>
                  </a:lnTo>
                  <a:lnTo>
                    <a:pt x="65" y="176"/>
                  </a:lnTo>
                </a:path>
              </a:pathLst>
            </a:custGeom>
            <a:noFill/>
            <a:ln w="12700">
              <a:solidFill>
                <a:srgbClr val="ED791D"/>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grpSp>
      <p:sp>
        <p:nvSpPr>
          <p:cNvPr id="120" name="Freeform 119"/>
          <p:cNvSpPr>
            <a:spLocks noChangeAspect="1" noEditPoints="1"/>
          </p:cNvSpPr>
          <p:nvPr/>
        </p:nvSpPr>
        <p:spPr bwMode="auto">
          <a:xfrm>
            <a:off x="2856514" y="1943761"/>
            <a:ext cx="458187" cy="360538"/>
          </a:xfrm>
          <a:custGeom>
            <a:avLst/>
            <a:gdLst/>
            <a:ahLst/>
            <a:cxnLst>
              <a:cxn ang="0">
                <a:pos x="352" y="234"/>
              </a:cxn>
              <a:cxn ang="0">
                <a:pos x="298" y="231"/>
              </a:cxn>
              <a:cxn ang="0">
                <a:pos x="288" y="283"/>
              </a:cxn>
              <a:cxn ang="0">
                <a:pos x="303" y="297"/>
              </a:cxn>
              <a:cxn ang="0">
                <a:pos x="357" y="290"/>
              </a:cxn>
              <a:cxn ang="0">
                <a:pos x="324" y="226"/>
              </a:cxn>
              <a:cxn ang="0">
                <a:pos x="307" y="212"/>
              </a:cxn>
              <a:cxn ang="0">
                <a:pos x="22" y="248"/>
              </a:cxn>
              <a:cxn ang="0">
                <a:pos x="38" y="234"/>
              </a:cxn>
              <a:cxn ang="0">
                <a:pos x="90" y="243"/>
              </a:cxn>
              <a:cxn ang="0">
                <a:pos x="88" y="300"/>
              </a:cxn>
              <a:cxn ang="0">
                <a:pos x="31" y="302"/>
              </a:cxn>
              <a:cxn ang="0">
                <a:pos x="22" y="248"/>
              </a:cxn>
              <a:cxn ang="0">
                <a:pos x="59" y="219"/>
              </a:cxn>
              <a:cxn ang="0">
                <a:pos x="154" y="217"/>
              </a:cxn>
              <a:cxn ang="0">
                <a:pos x="67" y="63"/>
              </a:cxn>
              <a:cxn ang="0">
                <a:pos x="10" y="68"/>
              </a:cxn>
              <a:cxn ang="0">
                <a:pos x="0" y="14"/>
              </a:cxn>
              <a:cxn ang="0">
                <a:pos x="15" y="0"/>
              </a:cxn>
              <a:cxn ang="0">
                <a:pos x="69" y="7"/>
              </a:cxn>
              <a:cxn ang="0">
                <a:pos x="418" y="82"/>
              </a:cxn>
              <a:cxn ang="0">
                <a:pos x="402" y="96"/>
              </a:cxn>
              <a:cxn ang="0">
                <a:pos x="350" y="89"/>
              </a:cxn>
              <a:cxn ang="0">
                <a:pos x="352" y="33"/>
              </a:cxn>
              <a:cxn ang="0">
                <a:pos x="409" y="28"/>
              </a:cxn>
              <a:cxn ang="0">
                <a:pos x="418" y="82"/>
              </a:cxn>
              <a:cxn ang="0">
                <a:pos x="36" y="68"/>
              </a:cxn>
              <a:cxn ang="0">
                <a:pos x="41" y="82"/>
              </a:cxn>
              <a:cxn ang="0">
                <a:pos x="383" y="99"/>
              </a:cxn>
              <a:cxn ang="0">
                <a:pos x="369" y="115"/>
              </a:cxn>
              <a:cxn ang="0">
                <a:pos x="251" y="141"/>
              </a:cxn>
              <a:cxn ang="0">
                <a:pos x="236" y="156"/>
              </a:cxn>
              <a:cxn ang="0">
                <a:pos x="133" y="153"/>
              </a:cxn>
              <a:cxn ang="0">
                <a:pos x="192" y="248"/>
              </a:cxn>
              <a:cxn ang="0">
                <a:pos x="156" y="238"/>
              </a:cxn>
              <a:cxn ang="0">
                <a:pos x="161" y="182"/>
              </a:cxn>
              <a:cxn ang="0">
                <a:pos x="215" y="179"/>
              </a:cxn>
              <a:cxn ang="0">
                <a:pos x="225" y="234"/>
              </a:cxn>
              <a:cxn ang="0">
                <a:pos x="279" y="137"/>
              </a:cxn>
              <a:cxn ang="0">
                <a:pos x="222" y="139"/>
              </a:cxn>
              <a:cxn ang="0">
                <a:pos x="213" y="87"/>
              </a:cxn>
              <a:cxn ang="0">
                <a:pos x="227" y="70"/>
              </a:cxn>
              <a:cxn ang="0">
                <a:pos x="281" y="80"/>
              </a:cxn>
              <a:cxn ang="0">
                <a:pos x="166" y="125"/>
              </a:cxn>
              <a:cxn ang="0">
                <a:pos x="151" y="139"/>
              </a:cxn>
              <a:cxn ang="0">
                <a:pos x="97" y="132"/>
              </a:cxn>
              <a:cxn ang="0">
                <a:pos x="102" y="75"/>
              </a:cxn>
              <a:cxn ang="0">
                <a:pos x="159" y="70"/>
              </a:cxn>
              <a:cxn ang="0">
                <a:pos x="166" y="125"/>
              </a:cxn>
            </a:cxnLst>
            <a:rect l="0" t="0" r="r" b="b"/>
            <a:pathLst>
              <a:path w="418" h="302">
                <a:moveTo>
                  <a:pt x="359" y="245"/>
                </a:moveTo>
                <a:lnTo>
                  <a:pt x="359" y="245"/>
                </a:lnTo>
                <a:lnTo>
                  <a:pt x="357" y="238"/>
                </a:lnTo>
                <a:lnTo>
                  <a:pt x="352" y="234"/>
                </a:lnTo>
                <a:lnTo>
                  <a:pt x="347" y="231"/>
                </a:lnTo>
                <a:lnTo>
                  <a:pt x="343" y="231"/>
                </a:lnTo>
                <a:lnTo>
                  <a:pt x="303" y="231"/>
                </a:lnTo>
                <a:lnTo>
                  <a:pt x="298" y="231"/>
                </a:lnTo>
                <a:lnTo>
                  <a:pt x="293" y="234"/>
                </a:lnTo>
                <a:lnTo>
                  <a:pt x="288" y="238"/>
                </a:lnTo>
                <a:lnTo>
                  <a:pt x="288" y="245"/>
                </a:lnTo>
                <a:lnTo>
                  <a:pt x="288" y="283"/>
                </a:lnTo>
                <a:lnTo>
                  <a:pt x="288" y="290"/>
                </a:lnTo>
                <a:lnTo>
                  <a:pt x="293" y="295"/>
                </a:lnTo>
                <a:lnTo>
                  <a:pt x="298" y="297"/>
                </a:lnTo>
                <a:lnTo>
                  <a:pt x="303" y="297"/>
                </a:lnTo>
                <a:lnTo>
                  <a:pt x="343" y="297"/>
                </a:lnTo>
                <a:lnTo>
                  <a:pt x="347" y="297"/>
                </a:lnTo>
                <a:lnTo>
                  <a:pt x="352" y="295"/>
                </a:lnTo>
                <a:lnTo>
                  <a:pt x="357" y="290"/>
                </a:lnTo>
                <a:lnTo>
                  <a:pt x="359" y="283"/>
                </a:lnTo>
                <a:lnTo>
                  <a:pt x="359" y="245"/>
                </a:lnTo>
                <a:moveTo>
                  <a:pt x="324" y="226"/>
                </a:moveTo>
                <a:lnTo>
                  <a:pt x="324" y="226"/>
                </a:lnTo>
                <a:lnTo>
                  <a:pt x="324" y="222"/>
                </a:lnTo>
                <a:lnTo>
                  <a:pt x="319" y="217"/>
                </a:lnTo>
                <a:lnTo>
                  <a:pt x="314" y="215"/>
                </a:lnTo>
                <a:lnTo>
                  <a:pt x="307" y="212"/>
                </a:lnTo>
                <a:lnTo>
                  <a:pt x="262" y="212"/>
                </a:lnTo>
                <a:lnTo>
                  <a:pt x="225" y="212"/>
                </a:lnTo>
                <a:moveTo>
                  <a:pt x="22" y="248"/>
                </a:moveTo>
                <a:lnTo>
                  <a:pt x="22" y="248"/>
                </a:lnTo>
                <a:lnTo>
                  <a:pt x="24" y="243"/>
                </a:lnTo>
                <a:lnTo>
                  <a:pt x="26" y="238"/>
                </a:lnTo>
                <a:lnTo>
                  <a:pt x="31" y="234"/>
                </a:lnTo>
                <a:lnTo>
                  <a:pt x="38" y="234"/>
                </a:lnTo>
                <a:lnTo>
                  <a:pt x="78" y="234"/>
                </a:lnTo>
                <a:lnTo>
                  <a:pt x="83" y="234"/>
                </a:lnTo>
                <a:lnTo>
                  <a:pt x="88" y="238"/>
                </a:lnTo>
                <a:lnTo>
                  <a:pt x="90" y="243"/>
                </a:lnTo>
                <a:lnTo>
                  <a:pt x="92" y="248"/>
                </a:lnTo>
                <a:lnTo>
                  <a:pt x="92" y="288"/>
                </a:lnTo>
                <a:lnTo>
                  <a:pt x="90" y="295"/>
                </a:lnTo>
                <a:lnTo>
                  <a:pt x="88" y="300"/>
                </a:lnTo>
                <a:lnTo>
                  <a:pt x="83" y="302"/>
                </a:lnTo>
                <a:lnTo>
                  <a:pt x="78" y="302"/>
                </a:lnTo>
                <a:lnTo>
                  <a:pt x="38" y="302"/>
                </a:lnTo>
                <a:lnTo>
                  <a:pt x="31" y="302"/>
                </a:lnTo>
                <a:lnTo>
                  <a:pt x="26" y="300"/>
                </a:lnTo>
                <a:lnTo>
                  <a:pt x="24" y="295"/>
                </a:lnTo>
                <a:lnTo>
                  <a:pt x="22" y="288"/>
                </a:lnTo>
                <a:lnTo>
                  <a:pt x="22" y="248"/>
                </a:lnTo>
                <a:moveTo>
                  <a:pt x="57" y="231"/>
                </a:moveTo>
                <a:lnTo>
                  <a:pt x="57" y="231"/>
                </a:lnTo>
                <a:lnTo>
                  <a:pt x="57" y="224"/>
                </a:lnTo>
                <a:lnTo>
                  <a:pt x="59" y="219"/>
                </a:lnTo>
                <a:lnTo>
                  <a:pt x="64" y="219"/>
                </a:lnTo>
                <a:lnTo>
                  <a:pt x="71" y="217"/>
                </a:lnTo>
                <a:lnTo>
                  <a:pt x="118" y="217"/>
                </a:lnTo>
                <a:lnTo>
                  <a:pt x="154" y="217"/>
                </a:lnTo>
                <a:moveTo>
                  <a:pt x="71" y="52"/>
                </a:moveTo>
                <a:lnTo>
                  <a:pt x="71" y="52"/>
                </a:lnTo>
                <a:lnTo>
                  <a:pt x="69" y="59"/>
                </a:lnTo>
                <a:lnTo>
                  <a:pt x="67" y="63"/>
                </a:lnTo>
                <a:lnTo>
                  <a:pt x="59" y="68"/>
                </a:lnTo>
                <a:lnTo>
                  <a:pt x="55" y="68"/>
                </a:lnTo>
                <a:lnTo>
                  <a:pt x="15" y="68"/>
                </a:lnTo>
                <a:lnTo>
                  <a:pt x="10" y="68"/>
                </a:lnTo>
                <a:lnTo>
                  <a:pt x="5" y="63"/>
                </a:lnTo>
                <a:lnTo>
                  <a:pt x="0" y="59"/>
                </a:lnTo>
                <a:lnTo>
                  <a:pt x="0" y="52"/>
                </a:lnTo>
                <a:lnTo>
                  <a:pt x="0" y="14"/>
                </a:lnTo>
                <a:lnTo>
                  <a:pt x="0" y="7"/>
                </a:lnTo>
                <a:lnTo>
                  <a:pt x="5" y="2"/>
                </a:lnTo>
                <a:lnTo>
                  <a:pt x="10" y="0"/>
                </a:lnTo>
                <a:lnTo>
                  <a:pt x="15" y="0"/>
                </a:lnTo>
                <a:lnTo>
                  <a:pt x="55" y="0"/>
                </a:lnTo>
                <a:lnTo>
                  <a:pt x="59" y="0"/>
                </a:lnTo>
                <a:lnTo>
                  <a:pt x="67" y="2"/>
                </a:lnTo>
                <a:lnTo>
                  <a:pt x="69" y="7"/>
                </a:lnTo>
                <a:lnTo>
                  <a:pt x="71" y="14"/>
                </a:lnTo>
                <a:lnTo>
                  <a:pt x="71" y="52"/>
                </a:lnTo>
                <a:moveTo>
                  <a:pt x="418" y="82"/>
                </a:moveTo>
                <a:lnTo>
                  <a:pt x="418" y="82"/>
                </a:lnTo>
                <a:lnTo>
                  <a:pt x="416" y="89"/>
                </a:lnTo>
                <a:lnTo>
                  <a:pt x="414" y="94"/>
                </a:lnTo>
                <a:lnTo>
                  <a:pt x="409" y="96"/>
                </a:lnTo>
                <a:lnTo>
                  <a:pt x="402" y="96"/>
                </a:lnTo>
                <a:lnTo>
                  <a:pt x="362" y="96"/>
                </a:lnTo>
                <a:lnTo>
                  <a:pt x="357" y="96"/>
                </a:lnTo>
                <a:lnTo>
                  <a:pt x="352" y="94"/>
                </a:lnTo>
                <a:lnTo>
                  <a:pt x="350" y="89"/>
                </a:lnTo>
                <a:lnTo>
                  <a:pt x="347" y="82"/>
                </a:lnTo>
                <a:lnTo>
                  <a:pt x="347" y="44"/>
                </a:lnTo>
                <a:lnTo>
                  <a:pt x="350" y="37"/>
                </a:lnTo>
                <a:lnTo>
                  <a:pt x="352" y="33"/>
                </a:lnTo>
                <a:lnTo>
                  <a:pt x="357" y="28"/>
                </a:lnTo>
                <a:lnTo>
                  <a:pt x="362" y="28"/>
                </a:lnTo>
                <a:lnTo>
                  <a:pt x="402" y="28"/>
                </a:lnTo>
                <a:lnTo>
                  <a:pt x="409" y="28"/>
                </a:lnTo>
                <a:lnTo>
                  <a:pt x="414" y="33"/>
                </a:lnTo>
                <a:lnTo>
                  <a:pt x="416" y="37"/>
                </a:lnTo>
                <a:lnTo>
                  <a:pt x="418" y="44"/>
                </a:lnTo>
                <a:lnTo>
                  <a:pt x="418" y="82"/>
                </a:lnTo>
                <a:moveTo>
                  <a:pt x="189" y="177"/>
                </a:moveTo>
                <a:lnTo>
                  <a:pt x="189" y="156"/>
                </a:lnTo>
                <a:moveTo>
                  <a:pt x="36" y="68"/>
                </a:moveTo>
                <a:lnTo>
                  <a:pt x="36" y="68"/>
                </a:lnTo>
                <a:lnTo>
                  <a:pt x="36" y="73"/>
                </a:lnTo>
                <a:lnTo>
                  <a:pt x="36" y="78"/>
                </a:lnTo>
                <a:lnTo>
                  <a:pt x="38" y="80"/>
                </a:lnTo>
                <a:lnTo>
                  <a:pt x="41" y="82"/>
                </a:lnTo>
                <a:lnTo>
                  <a:pt x="55" y="82"/>
                </a:lnTo>
                <a:lnTo>
                  <a:pt x="97" y="82"/>
                </a:lnTo>
                <a:moveTo>
                  <a:pt x="383" y="99"/>
                </a:moveTo>
                <a:lnTo>
                  <a:pt x="383" y="99"/>
                </a:lnTo>
                <a:lnTo>
                  <a:pt x="383" y="106"/>
                </a:lnTo>
                <a:lnTo>
                  <a:pt x="381" y="111"/>
                </a:lnTo>
                <a:lnTo>
                  <a:pt x="376" y="113"/>
                </a:lnTo>
                <a:lnTo>
                  <a:pt x="369" y="115"/>
                </a:lnTo>
                <a:lnTo>
                  <a:pt x="321" y="115"/>
                </a:lnTo>
                <a:lnTo>
                  <a:pt x="286" y="115"/>
                </a:lnTo>
                <a:moveTo>
                  <a:pt x="251" y="141"/>
                </a:moveTo>
                <a:lnTo>
                  <a:pt x="251" y="141"/>
                </a:lnTo>
                <a:lnTo>
                  <a:pt x="251" y="148"/>
                </a:lnTo>
                <a:lnTo>
                  <a:pt x="246" y="153"/>
                </a:lnTo>
                <a:lnTo>
                  <a:pt x="241" y="153"/>
                </a:lnTo>
                <a:lnTo>
                  <a:pt x="236" y="156"/>
                </a:lnTo>
                <a:lnTo>
                  <a:pt x="189" y="156"/>
                </a:lnTo>
                <a:lnTo>
                  <a:pt x="144" y="156"/>
                </a:lnTo>
                <a:lnTo>
                  <a:pt x="140" y="153"/>
                </a:lnTo>
                <a:lnTo>
                  <a:pt x="133" y="153"/>
                </a:lnTo>
                <a:lnTo>
                  <a:pt x="130" y="148"/>
                </a:lnTo>
                <a:lnTo>
                  <a:pt x="128" y="141"/>
                </a:lnTo>
                <a:moveTo>
                  <a:pt x="203" y="248"/>
                </a:moveTo>
                <a:lnTo>
                  <a:pt x="192" y="248"/>
                </a:lnTo>
                <a:lnTo>
                  <a:pt x="170" y="248"/>
                </a:lnTo>
                <a:lnTo>
                  <a:pt x="166" y="245"/>
                </a:lnTo>
                <a:lnTo>
                  <a:pt x="161" y="243"/>
                </a:lnTo>
                <a:lnTo>
                  <a:pt x="156" y="238"/>
                </a:lnTo>
                <a:lnTo>
                  <a:pt x="154" y="234"/>
                </a:lnTo>
                <a:lnTo>
                  <a:pt x="154" y="193"/>
                </a:lnTo>
                <a:lnTo>
                  <a:pt x="156" y="186"/>
                </a:lnTo>
                <a:lnTo>
                  <a:pt x="161" y="182"/>
                </a:lnTo>
                <a:lnTo>
                  <a:pt x="166" y="179"/>
                </a:lnTo>
                <a:lnTo>
                  <a:pt x="170" y="177"/>
                </a:lnTo>
                <a:lnTo>
                  <a:pt x="208" y="177"/>
                </a:lnTo>
                <a:lnTo>
                  <a:pt x="215" y="179"/>
                </a:lnTo>
                <a:lnTo>
                  <a:pt x="220" y="182"/>
                </a:lnTo>
                <a:lnTo>
                  <a:pt x="225" y="186"/>
                </a:lnTo>
                <a:lnTo>
                  <a:pt x="225" y="193"/>
                </a:lnTo>
                <a:lnTo>
                  <a:pt x="225" y="234"/>
                </a:lnTo>
                <a:moveTo>
                  <a:pt x="284" y="125"/>
                </a:moveTo>
                <a:lnTo>
                  <a:pt x="284" y="125"/>
                </a:lnTo>
                <a:lnTo>
                  <a:pt x="281" y="132"/>
                </a:lnTo>
                <a:lnTo>
                  <a:pt x="279" y="137"/>
                </a:lnTo>
                <a:lnTo>
                  <a:pt x="274" y="139"/>
                </a:lnTo>
                <a:lnTo>
                  <a:pt x="267" y="139"/>
                </a:lnTo>
                <a:lnTo>
                  <a:pt x="227" y="139"/>
                </a:lnTo>
                <a:lnTo>
                  <a:pt x="222" y="139"/>
                </a:lnTo>
                <a:lnTo>
                  <a:pt x="218" y="137"/>
                </a:lnTo>
                <a:lnTo>
                  <a:pt x="213" y="132"/>
                </a:lnTo>
                <a:lnTo>
                  <a:pt x="213" y="125"/>
                </a:lnTo>
                <a:lnTo>
                  <a:pt x="213" y="87"/>
                </a:lnTo>
                <a:lnTo>
                  <a:pt x="213" y="80"/>
                </a:lnTo>
                <a:lnTo>
                  <a:pt x="218" y="75"/>
                </a:lnTo>
                <a:lnTo>
                  <a:pt x="222" y="70"/>
                </a:lnTo>
                <a:lnTo>
                  <a:pt x="227" y="70"/>
                </a:lnTo>
                <a:lnTo>
                  <a:pt x="267" y="70"/>
                </a:lnTo>
                <a:lnTo>
                  <a:pt x="274" y="70"/>
                </a:lnTo>
                <a:lnTo>
                  <a:pt x="279" y="75"/>
                </a:lnTo>
                <a:lnTo>
                  <a:pt x="281" y="80"/>
                </a:lnTo>
                <a:lnTo>
                  <a:pt x="284" y="87"/>
                </a:lnTo>
                <a:lnTo>
                  <a:pt x="284" y="125"/>
                </a:lnTo>
                <a:moveTo>
                  <a:pt x="166" y="125"/>
                </a:moveTo>
                <a:lnTo>
                  <a:pt x="166" y="125"/>
                </a:lnTo>
                <a:lnTo>
                  <a:pt x="166" y="132"/>
                </a:lnTo>
                <a:lnTo>
                  <a:pt x="163" y="137"/>
                </a:lnTo>
                <a:lnTo>
                  <a:pt x="159" y="139"/>
                </a:lnTo>
                <a:lnTo>
                  <a:pt x="151" y="139"/>
                </a:lnTo>
                <a:lnTo>
                  <a:pt x="111" y="139"/>
                </a:lnTo>
                <a:lnTo>
                  <a:pt x="107" y="139"/>
                </a:lnTo>
                <a:lnTo>
                  <a:pt x="102" y="137"/>
                </a:lnTo>
                <a:lnTo>
                  <a:pt x="97" y="132"/>
                </a:lnTo>
                <a:lnTo>
                  <a:pt x="97" y="125"/>
                </a:lnTo>
                <a:lnTo>
                  <a:pt x="97" y="87"/>
                </a:lnTo>
                <a:lnTo>
                  <a:pt x="97" y="80"/>
                </a:lnTo>
                <a:lnTo>
                  <a:pt x="102" y="75"/>
                </a:lnTo>
                <a:lnTo>
                  <a:pt x="107" y="70"/>
                </a:lnTo>
                <a:lnTo>
                  <a:pt x="111" y="70"/>
                </a:lnTo>
                <a:lnTo>
                  <a:pt x="151" y="70"/>
                </a:lnTo>
                <a:lnTo>
                  <a:pt x="159" y="70"/>
                </a:lnTo>
                <a:lnTo>
                  <a:pt x="163" y="75"/>
                </a:lnTo>
                <a:lnTo>
                  <a:pt x="166" y="80"/>
                </a:lnTo>
                <a:lnTo>
                  <a:pt x="166" y="87"/>
                </a:lnTo>
                <a:lnTo>
                  <a:pt x="166" y="125"/>
                </a:ln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endParaRPr lang="en-US" dirty="0">
              <a:latin typeface="+mj-lt"/>
            </a:endParaRPr>
          </a:p>
        </p:txBody>
      </p:sp>
      <p:grpSp>
        <p:nvGrpSpPr>
          <p:cNvPr id="121" name="Groupe 836"/>
          <p:cNvGrpSpPr/>
          <p:nvPr/>
        </p:nvGrpSpPr>
        <p:grpSpPr>
          <a:xfrm>
            <a:off x="4950981" y="1823936"/>
            <a:ext cx="611620" cy="506845"/>
            <a:chOff x="1163614" y="7062589"/>
            <a:chExt cx="344488" cy="260350"/>
          </a:xfrm>
        </p:grpSpPr>
        <p:sp>
          <p:nvSpPr>
            <p:cNvPr id="125" name="Freeform 578"/>
            <p:cNvSpPr>
              <a:spLocks/>
            </p:cNvSpPr>
            <p:nvPr/>
          </p:nvSpPr>
          <p:spPr bwMode="auto">
            <a:xfrm>
              <a:off x="1477939" y="7108626"/>
              <a:ext cx="30163" cy="166687"/>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ln w="12700">
              <a:solidFill>
                <a:srgbClr val="ED791D"/>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27" name="Freeform 579"/>
            <p:cNvSpPr>
              <a:spLocks/>
            </p:cNvSpPr>
            <p:nvPr/>
          </p:nvSpPr>
          <p:spPr bwMode="auto">
            <a:xfrm>
              <a:off x="1277914" y="7273726"/>
              <a:ext cx="101600" cy="49212"/>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ln w="12700">
              <a:solidFill>
                <a:srgbClr val="ED791D"/>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29" name="Line 580"/>
            <p:cNvSpPr>
              <a:spLocks noChangeShapeType="1"/>
            </p:cNvSpPr>
            <p:nvPr/>
          </p:nvSpPr>
          <p:spPr bwMode="auto">
            <a:xfrm>
              <a:off x="1247751" y="7191176"/>
              <a:ext cx="1588" cy="1587"/>
            </a:xfrm>
            <a:prstGeom prst="line">
              <a:avLst/>
            </a:prstGeom>
            <a:ln w="12700">
              <a:solidFill>
                <a:srgbClr val="ED791D"/>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30" name="Line 581"/>
            <p:cNvSpPr>
              <a:spLocks noChangeShapeType="1"/>
            </p:cNvSpPr>
            <p:nvPr/>
          </p:nvSpPr>
          <p:spPr bwMode="auto">
            <a:xfrm>
              <a:off x="1277914" y="7108626"/>
              <a:ext cx="1588" cy="1587"/>
            </a:xfrm>
            <a:prstGeom prst="line">
              <a:avLst/>
            </a:prstGeom>
            <a:ln w="12700">
              <a:solidFill>
                <a:srgbClr val="ED791D"/>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31" name="Freeform 582"/>
            <p:cNvSpPr>
              <a:spLocks/>
            </p:cNvSpPr>
            <p:nvPr/>
          </p:nvSpPr>
          <p:spPr bwMode="auto">
            <a:xfrm>
              <a:off x="1277914" y="7062589"/>
              <a:ext cx="200025" cy="46037"/>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ln w="12700">
              <a:solidFill>
                <a:srgbClr val="ED791D"/>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32" name="Freeform 583"/>
            <p:cNvSpPr>
              <a:spLocks/>
            </p:cNvSpPr>
            <p:nvPr/>
          </p:nvSpPr>
          <p:spPr bwMode="auto">
            <a:xfrm>
              <a:off x="1277914" y="7108626"/>
              <a:ext cx="200025" cy="22225"/>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ln w="12700">
              <a:solidFill>
                <a:srgbClr val="ED791D"/>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33" name="Freeform 584"/>
            <p:cNvSpPr>
              <a:spLocks/>
            </p:cNvSpPr>
            <p:nvPr/>
          </p:nvSpPr>
          <p:spPr bwMode="auto">
            <a:xfrm>
              <a:off x="1277914" y="7251501"/>
              <a:ext cx="200025" cy="23812"/>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ln w="12700">
              <a:solidFill>
                <a:srgbClr val="ED791D"/>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34" name="Freeform 585"/>
            <p:cNvSpPr>
              <a:spLocks/>
            </p:cNvSpPr>
            <p:nvPr/>
          </p:nvSpPr>
          <p:spPr bwMode="auto">
            <a:xfrm>
              <a:off x="1308076" y="7062589"/>
              <a:ext cx="141288" cy="260350"/>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ln w="12700">
              <a:solidFill>
                <a:srgbClr val="ED791D"/>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35" name="Line 586"/>
            <p:cNvSpPr>
              <a:spLocks noChangeShapeType="1"/>
            </p:cNvSpPr>
            <p:nvPr/>
          </p:nvSpPr>
          <p:spPr bwMode="auto">
            <a:xfrm>
              <a:off x="1247751" y="7191176"/>
              <a:ext cx="260350" cy="1587"/>
            </a:xfrm>
            <a:prstGeom prst="line">
              <a:avLst/>
            </a:prstGeom>
            <a:ln w="12700">
              <a:solidFill>
                <a:srgbClr val="ED791D"/>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36" name="Line 587"/>
            <p:cNvSpPr>
              <a:spLocks noChangeShapeType="1"/>
            </p:cNvSpPr>
            <p:nvPr/>
          </p:nvSpPr>
          <p:spPr bwMode="auto">
            <a:xfrm flipV="1">
              <a:off x="1379514" y="7062589"/>
              <a:ext cx="1588" cy="260350"/>
            </a:xfrm>
            <a:prstGeom prst="line">
              <a:avLst/>
            </a:prstGeom>
            <a:ln w="12700">
              <a:solidFill>
                <a:srgbClr val="ED791D"/>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37" name="Line 588"/>
            <p:cNvSpPr>
              <a:spLocks noChangeShapeType="1"/>
            </p:cNvSpPr>
            <p:nvPr/>
          </p:nvSpPr>
          <p:spPr bwMode="auto">
            <a:xfrm>
              <a:off x="1163614" y="7167364"/>
              <a:ext cx="84138" cy="1587"/>
            </a:xfrm>
            <a:prstGeom prst="line">
              <a:avLst/>
            </a:prstGeom>
            <a:ln w="12700">
              <a:solidFill>
                <a:srgbClr val="ED791D"/>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38" name="Freeform 589"/>
            <p:cNvSpPr>
              <a:spLocks/>
            </p:cNvSpPr>
            <p:nvPr/>
          </p:nvSpPr>
          <p:spPr bwMode="auto">
            <a:xfrm>
              <a:off x="1247751" y="7143551"/>
              <a:ext cx="25400" cy="47625"/>
            </a:xfrm>
            <a:custGeom>
              <a:avLst/>
              <a:gdLst/>
              <a:ahLst/>
              <a:cxnLst>
                <a:cxn ang="0">
                  <a:pos x="0" y="0"/>
                </a:cxn>
                <a:cxn ang="0">
                  <a:pos x="16" y="15"/>
                </a:cxn>
                <a:cxn ang="0">
                  <a:pos x="0" y="30"/>
                </a:cxn>
              </a:cxnLst>
              <a:rect l="0" t="0" r="r" b="b"/>
              <a:pathLst>
                <a:path w="16" h="30">
                  <a:moveTo>
                    <a:pt x="0" y="0"/>
                  </a:moveTo>
                  <a:lnTo>
                    <a:pt x="16" y="15"/>
                  </a:lnTo>
                  <a:lnTo>
                    <a:pt x="0" y="30"/>
                  </a:lnTo>
                </a:path>
              </a:pathLst>
            </a:custGeom>
            <a:ln w="12700">
              <a:solidFill>
                <a:srgbClr val="ED791D"/>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39" name="Line 590"/>
            <p:cNvSpPr>
              <a:spLocks noChangeShapeType="1"/>
            </p:cNvSpPr>
            <p:nvPr/>
          </p:nvSpPr>
          <p:spPr bwMode="auto">
            <a:xfrm>
              <a:off x="1231876" y="7235626"/>
              <a:ext cx="87313" cy="1587"/>
            </a:xfrm>
            <a:prstGeom prst="line">
              <a:avLst/>
            </a:prstGeom>
            <a:ln w="12700">
              <a:solidFill>
                <a:srgbClr val="ED791D"/>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40" name="Freeform 591"/>
            <p:cNvSpPr>
              <a:spLocks/>
            </p:cNvSpPr>
            <p:nvPr/>
          </p:nvSpPr>
          <p:spPr bwMode="auto">
            <a:xfrm>
              <a:off x="1319189" y="7210226"/>
              <a:ext cx="23813" cy="49212"/>
            </a:xfrm>
            <a:custGeom>
              <a:avLst/>
              <a:gdLst/>
              <a:ahLst/>
              <a:cxnLst>
                <a:cxn ang="0">
                  <a:pos x="0" y="0"/>
                </a:cxn>
                <a:cxn ang="0">
                  <a:pos x="15" y="16"/>
                </a:cxn>
                <a:cxn ang="0">
                  <a:pos x="0" y="31"/>
                </a:cxn>
              </a:cxnLst>
              <a:rect l="0" t="0" r="r" b="b"/>
              <a:pathLst>
                <a:path w="15" h="31">
                  <a:moveTo>
                    <a:pt x="0" y="0"/>
                  </a:moveTo>
                  <a:lnTo>
                    <a:pt x="15" y="16"/>
                  </a:lnTo>
                  <a:lnTo>
                    <a:pt x="0" y="31"/>
                  </a:lnTo>
                </a:path>
              </a:pathLst>
            </a:custGeom>
            <a:ln w="12700">
              <a:solidFill>
                <a:srgbClr val="ED791D"/>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latin typeface="+mj-lt"/>
              </a:endParaRPr>
            </a:p>
          </p:txBody>
        </p:sp>
      </p:grpSp>
      <p:grpSp>
        <p:nvGrpSpPr>
          <p:cNvPr id="8" name="Group 7"/>
          <p:cNvGrpSpPr/>
          <p:nvPr/>
        </p:nvGrpSpPr>
        <p:grpSpPr>
          <a:xfrm>
            <a:off x="1669183" y="1820672"/>
            <a:ext cx="335889" cy="506845"/>
            <a:chOff x="526182" y="1820671"/>
            <a:chExt cx="335889" cy="506845"/>
          </a:xfrm>
        </p:grpSpPr>
        <p:sp>
          <p:nvSpPr>
            <p:cNvPr id="122" name="Freeform 121"/>
            <p:cNvSpPr/>
            <p:nvPr/>
          </p:nvSpPr>
          <p:spPr bwMode="auto">
            <a:xfrm>
              <a:off x="526182" y="1820671"/>
              <a:ext cx="335889" cy="506845"/>
            </a:xfrm>
            <a:custGeom>
              <a:avLst/>
              <a:gdLst>
                <a:gd name="connsiteX0" fmla="*/ 0 w 750094"/>
                <a:gd name="connsiteY0" fmla="*/ 110736 h 1004888"/>
                <a:gd name="connsiteX1" fmla="*/ 32434 w 750094"/>
                <a:gd name="connsiteY1" fmla="*/ 32434 h 1004888"/>
                <a:gd name="connsiteX2" fmla="*/ 110736 w 750094"/>
                <a:gd name="connsiteY2" fmla="*/ 0 h 1004888"/>
                <a:gd name="connsiteX3" fmla="*/ 639358 w 750094"/>
                <a:gd name="connsiteY3" fmla="*/ 0 h 1004888"/>
                <a:gd name="connsiteX4" fmla="*/ 717660 w 750094"/>
                <a:gd name="connsiteY4" fmla="*/ 32434 h 1004888"/>
                <a:gd name="connsiteX5" fmla="*/ 750094 w 750094"/>
                <a:gd name="connsiteY5" fmla="*/ 110736 h 1004888"/>
                <a:gd name="connsiteX6" fmla="*/ 750094 w 750094"/>
                <a:gd name="connsiteY6" fmla="*/ 894152 h 1004888"/>
                <a:gd name="connsiteX7" fmla="*/ 717660 w 750094"/>
                <a:gd name="connsiteY7" fmla="*/ 972454 h 1004888"/>
                <a:gd name="connsiteX8" fmla="*/ 639358 w 750094"/>
                <a:gd name="connsiteY8" fmla="*/ 1004888 h 1004888"/>
                <a:gd name="connsiteX9" fmla="*/ 110736 w 750094"/>
                <a:gd name="connsiteY9" fmla="*/ 1004888 h 1004888"/>
                <a:gd name="connsiteX10" fmla="*/ 32434 w 750094"/>
                <a:gd name="connsiteY10" fmla="*/ 972454 h 1004888"/>
                <a:gd name="connsiteX11" fmla="*/ 0 w 750094"/>
                <a:gd name="connsiteY11" fmla="*/ 894152 h 1004888"/>
                <a:gd name="connsiteX12" fmla="*/ 0 w 750094"/>
                <a:gd name="connsiteY12" fmla="*/ 110736 h 1004888"/>
                <a:gd name="connsiteX0" fmla="*/ 639358 w 750094"/>
                <a:gd name="connsiteY0" fmla="*/ 1004888 h 1096328"/>
                <a:gd name="connsiteX1" fmla="*/ 110736 w 750094"/>
                <a:gd name="connsiteY1" fmla="*/ 1004888 h 1096328"/>
                <a:gd name="connsiteX2" fmla="*/ 32434 w 750094"/>
                <a:gd name="connsiteY2" fmla="*/ 972454 h 1096328"/>
                <a:gd name="connsiteX3" fmla="*/ 0 w 750094"/>
                <a:gd name="connsiteY3" fmla="*/ 894152 h 1096328"/>
                <a:gd name="connsiteX4" fmla="*/ 0 w 750094"/>
                <a:gd name="connsiteY4" fmla="*/ 110736 h 1096328"/>
                <a:gd name="connsiteX5" fmla="*/ 32434 w 750094"/>
                <a:gd name="connsiteY5" fmla="*/ 32434 h 1096328"/>
                <a:gd name="connsiteX6" fmla="*/ 110736 w 750094"/>
                <a:gd name="connsiteY6" fmla="*/ 0 h 1096328"/>
                <a:gd name="connsiteX7" fmla="*/ 639358 w 750094"/>
                <a:gd name="connsiteY7" fmla="*/ 0 h 1096328"/>
                <a:gd name="connsiteX8" fmla="*/ 717660 w 750094"/>
                <a:gd name="connsiteY8" fmla="*/ 32434 h 1096328"/>
                <a:gd name="connsiteX9" fmla="*/ 750094 w 750094"/>
                <a:gd name="connsiteY9" fmla="*/ 110736 h 1096328"/>
                <a:gd name="connsiteX10" fmla="*/ 750094 w 750094"/>
                <a:gd name="connsiteY10" fmla="*/ 894152 h 1096328"/>
                <a:gd name="connsiteX11" fmla="*/ 717660 w 750094"/>
                <a:gd name="connsiteY11" fmla="*/ 972454 h 1096328"/>
                <a:gd name="connsiteX12" fmla="*/ 730798 w 750094"/>
                <a:gd name="connsiteY12" fmla="*/ 1096328 h 1096328"/>
                <a:gd name="connsiteX0" fmla="*/ 639358 w 750094"/>
                <a:gd name="connsiteY0" fmla="*/ 1004888 h 1004888"/>
                <a:gd name="connsiteX1" fmla="*/ 110736 w 750094"/>
                <a:gd name="connsiteY1" fmla="*/ 1004888 h 1004888"/>
                <a:gd name="connsiteX2" fmla="*/ 32434 w 750094"/>
                <a:gd name="connsiteY2" fmla="*/ 972454 h 1004888"/>
                <a:gd name="connsiteX3" fmla="*/ 0 w 750094"/>
                <a:gd name="connsiteY3" fmla="*/ 894152 h 1004888"/>
                <a:gd name="connsiteX4" fmla="*/ 0 w 750094"/>
                <a:gd name="connsiteY4" fmla="*/ 110736 h 1004888"/>
                <a:gd name="connsiteX5" fmla="*/ 32434 w 750094"/>
                <a:gd name="connsiteY5" fmla="*/ 32434 h 1004888"/>
                <a:gd name="connsiteX6" fmla="*/ 110736 w 750094"/>
                <a:gd name="connsiteY6" fmla="*/ 0 h 1004888"/>
                <a:gd name="connsiteX7" fmla="*/ 639358 w 750094"/>
                <a:gd name="connsiteY7" fmla="*/ 0 h 1004888"/>
                <a:gd name="connsiteX8" fmla="*/ 717660 w 750094"/>
                <a:gd name="connsiteY8" fmla="*/ 32434 h 1004888"/>
                <a:gd name="connsiteX9" fmla="*/ 750094 w 750094"/>
                <a:gd name="connsiteY9" fmla="*/ 110736 h 1004888"/>
                <a:gd name="connsiteX10" fmla="*/ 750094 w 750094"/>
                <a:gd name="connsiteY10" fmla="*/ 894152 h 1004888"/>
                <a:gd name="connsiteX11" fmla="*/ 717660 w 750094"/>
                <a:gd name="connsiteY11" fmla="*/ 972454 h 1004888"/>
                <a:gd name="connsiteX0" fmla="*/ 639358 w 750094"/>
                <a:gd name="connsiteY0" fmla="*/ 1004888 h 1004888"/>
                <a:gd name="connsiteX1" fmla="*/ 110736 w 750094"/>
                <a:gd name="connsiteY1" fmla="*/ 1004888 h 1004888"/>
                <a:gd name="connsiteX2" fmla="*/ 32434 w 750094"/>
                <a:gd name="connsiteY2" fmla="*/ 972454 h 1004888"/>
                <a:gd name="connsiteX3" fmla="*/ 0 w 750094"/>
                <a:gd name="connsiteY3" fmla="*/ 894152 h 1004888"/>
                <a:gd name="connsiteX4" fmla="*/ 0 w 750094"/>
                <a:gd name="connsiteY4" fmla="*/ 110736 h 1004888"/>
                <a:gd name="connsiteX5" fmla="*/ 32434 w 750094"/>
                <a:gd name="connsiteY5" fmla="*/ 32434 h 1004888"/>
                <a:gd name="connsiteX6" fmla="*/ 110736 w 750094"/>
                <a:gd name="connsiteY6" fmla="*/ 0 h 1004888"/>
                <a:gd name="connsiteX7" fmla="*/ 639358 w 750094"/>
                <a:gd name="connsiteY7" fmla="*/ 0 h 1004888"/>
                <a:gd name="connsiteX8" fmla="*/ 717660 w 750094"/>
                <a:gd name="connsiteY8" fmla="*/ 32434 h 1004888"/>
                <a:gd name="connsiteX9" fmla="*/ 750094 w 750094"/>
                <a:gd name="connsiteY9" fmla="*/ 110736 h 1004888"/>
                <a:gd name="connsiteX10" fmla="*/ 750094 w 750094"/>
                <a:gd name="connsiteY10" fmla="*/ 894152 h 1004888"/>
                <a:gd name="connsiteX11" fmla="*/ 717660 w 750094"/>
                <a:gd name="connsiteY11" fmla="*/ 972454 h 1004888"/>
                <a:gd name="connsiteX0" fmla="*/ 639358 w 750997"/>
                <a:gd name="connsiteY0" fmla="*/ 1004888 h 1004888"/>
                <a:gd name="connsiteX1" fmla="*/ 110736 w 750997"/>
                <a:gd name="connsiteY1" fmla="*/ 1004888 h 1004888"/>
                <a:gd name="connsiteX2" fmla="*/ 32434 w 750997"/>
                <a:gd name="connsiteY2" fmla="*/ 972454 h 1004888"/>
                <a:gd name="connsiteX3" fmla="*/ 0 w 750997"/>
                <a:gd name="connsiteY3" fmla="*/ 894152 h 1004888"/>
                <a:gd name="connsiteX4" fmla="*/ 0 w 750997"/>
                <a:gd name="connsiteY4" fmla="*/ 110736 h 1004888"/>
                <a:gd name="connsiteX5" fmla="*/ 32434 w 750997"/>
                <a:gd name="connsiteY5" fmla="*/ 32434 h 1004888"/>
                <a:gd name="connsiteX6" fmla="*/ 110736 w 750997"/>
                <a:gd name="connsiteY6" fmla="*/ 0 h 1004888"/>
                <a:gd name="connsiteX7" fmla="*/ 639358 w 750997"/>
                <a:gd name="connsiteY7" fmla="*/ 0 h 1004888"/>
                <a:gd name="connsiteX8" fmla="*/ 717660 w 750997"/>
                <a:gd name="connsiteY8" fmla="*/ 32434 h 1004888"/>
                <a:gd name="connsiteX9" fmla="*/ 750094 w 750997"/>
                <a:gd name="connsiteY9" fmla="*/ 110736 h 1004888"/>
                <a:gd name="connsiteX10" fmla="*/ 750094 w 750997"/>
                <a:gd name="connsiteY10" fmla="*/ 894152 h 1004888"/>
                <a:gd name="connsiteX11" fmla="*/ 750997 w 750997"/>
                <a:gd name="connsiteY11" fmla="*/ 996267 h 1004888"/>
                <a:gd name="connsiteX0" fmla="*/ 639358 w 750997"/>
                <a:gd name="connsiteY0" fmla="*/ 1004888 h 1004888"/>
                <a:gd name="connsiteX1" fmla="*/ 110736 w 750997"/>
                <a:gd name="connsiteY1" fmla="*/ 1004888 h 1004888"/>
                <a:gd name="connsiteX2" fmla="*/ 32434 w 750997"/>
                <a:gd name="connsiteY2" fmla="*/ 972454 h 1004888"/>
                <a:gd name="connsiteX3" fmla="*/ 0 w 750997"/>
                <a:gd name="connsiteY3" fmla="*/ 894152 h 1004888"/>
                <a:gd name="connsiteX4" fmla="*/ 0 w 750997"/>
                <a:gd name="connsiteY4" fmla="*/ 110736 h 1004888"/>
                <a:gd name="connsiteX5" fmla="*/ 32434 w 750997"/>
                <a:gd name="connsiteY5" fmla="*/ 32434 h 1004888"/>
                <a:gd name="connsiteX6" fmla="*/ 110736 w 750997"/>
                <a:gd name="connsiteY6" fmla="*/ 0 h 1004888"/>
                <a:gd name="connsiteX7" fmla="*/ 639358 w 750997"/>
                <a:gd name="connsiteY7" fmla="*/ 0 h 1004888"/>
                <a:gd name="connsiteX8" fmla="*/ 717660 w 750997"/>
                <a:gd name="connsiteY8" fmla="*/ 32434 h 1004888"/>
                <a:gd name="connsiteX9" fmla="*/ 750094 w 750997"/>
                <a:gd name="connsiteY9" fmla="*/ 110736 h 1004888"/>
                <a:gd name="connsiteX10" fmla="*/ 750094 w 750997"/>
                <a:gd name="connsiteY10" fmla="*/ 894152 h 1004888"/>
                <a:gd name="connsiteX11" fmla="*/ 750997 w 750997"/>
                <a:gd name="connsiteY11" fmla="*/ 1003410 h 1004888"/>
                <a:gd name="connsiteX0" fmla="*/ 639358 w 750997"/>
                <a:gd name="connsiteY0" fmla="*/ 1004888 h 1004888"/>
                <a:gd name="connsiteX1" fmla="*/ 621507 w 750997"/>
                <a:gd name="connsiteY1" fmla="*/ 1002506 h 1004888"/>
                <a:gd name="connsiteX2" fmla="*/ 110736 w 750997"/>
                <a:gd name="connsiteY2" fmla="*/ 1004888 h 1004888"/>
                <a:gd name="connsiteX3" fmla="*/ 32434 w 750997"/>
                <a:gd name="connsiteY3" fmla="*/ 972454 h 1004888"/>
                <a:gd name="connsiteX4" fmla="*/ 0 w 750997"/>
                <a:gd name="connsiteY4" fmla="*/ 894152 h 1004888"/>
                <a:gd name="connsiteX5" fmla="*/ 0 w 750997"/>
                <a:gd name="connsiteY5" fmla="*/ 110736 h 1004888"/>
                <a:gd name="connsiteX6" fmla="*/ 32434 w 750997"/>
                <a:gd name="connsiteY6" fmla="*/ 32434 h 1004888"/>
                <a:gd name="connsiteX7" fmla="*/ 110736 w 750997"/>
                <a:gd name="connsiteY7" fmla="*/ 0 h 1004888"/>
                <a:gd name="connsiteX8" fmla="*/ 639358 w 750997"/>
                <a:gd name="connsiteY8" fmla="*/ 0 h 1004888"/>
                <a:gd name="connsiteX9" fmla="*/ 717660 w 750997"/>
                <a:gd name="connsiteY9" fmla="*/ 32434 h 1004888"/>
                <a:gd name="connsiteX10" fmla="*/ 750094 w 750997"/>
                <a:gd name="connsiteY10" fmla="*/ 110736 h 1004888"/>
                <a:gd name="connsiteX11" fmla="*/ 750094 w 750997"/>
                <a:gd name="connsiteY11" fmla="*/ 894152 h 1004888"/>
                <a:gd name="connsiteX12" fmla="*/ 750997 w 750997"/>
                <a:gd name="connsiteY12" fmla="*/ 1003410 h 1004888"/>
                <a:gd name="connsiteX0" fmla="*/ 639358 w 750997"/>
                <a:gd name="connsiteY0" fmla="*/ 1004888 h 1004888"/>
                <a:gd name="connsiteX1" fmla="*/ 671512 w 750997"/>
                <a:gd name="connsiteY1" fmla="*/ 957263 h 1004888"/>
                <a:gd name="connsiteX2" fmla="*/ 621507 w 750997"/>
                <a:gd name="connsiteY2" fmla="*/ 1002506 h 1004888"/>
                <a:gd name="connsiteX3" fmla="*/ 110736 w 750997"/>
                <a:gd name="connsiteY3" fmla="*/ 1004888 h 1004888"/>
                <a:gd name="connsiteX4" fmla="*/ 32434 w 750997"/>
                <a:gd name="connsiteY4" fmla="*/ 972454 h 1004888"/>
                <a:gd name="connsiteX5" fmla="*/ 0 w 750997"/>
                <a:gd name="connsiteY5" fmla="*/ 894152 h 1004888"/>
                <a:gd name="connsiteX6" fmla="*/ 0 w 750997"/>
                <a:gd name="connsiteY6" fmla="*/ 110736 h 1004888"/>
                <a:gd name="connsiteX7" fmla="*/ 32434 w 750997"/>
                <a:gd name="connsiteY7" fmla="*/ 32434 h 1004888"/>
                <a:gd name="connsiteX8" fmla="*/ 110736 w 750997"/>
                <a:gd name="connsiteY8" fmla="*/ 0 h 1004888"/>
                <a:gd name="connsiteX9" fmla="*/ 639358 w 750997"/>
                <a:gd name="connsiteY9" fmla="*/ 0 h 1004888"/>
                <a:gd name="connsiteX10" fmla="*/ 717660 w 750997"/>
                <a:gd name="connsiteY10" fmla="*/ 32434 h 1004888"/>
                <a:gd name="connsiteX11" fmla="*/ 750094 w 750997"/>
                <a:gd name="connsiteY11" fmla="*/ 110736 h 1004888"/>
                <a:gd name="connsiteX12" fmla="*/ 750094 w 750997"/>
                <a:gd name="connsiteY12" fmla="*/ 894152 h 1004888"/>
                <a:gd name="connsiteX13" fmla="*/ 750997 w 750997"/>
                <a:gd name="connsiteY13" fmla="*/ 1003410 h 1004888"/>
                <a:gd name="connsiteX0" fmla="*/ 675076 w 750997"/>
                <a:gd name="connsiteY0" fmla="*/ 685800 h 1004888"/>
                <a:gd name="connsiteX1" fmla="*/ 671512 w 750997"/>
                <a:gd name="connsiteY1" fmla="*/ 957263 h 1004888"/>
                <a:gd name="connsiteX2" fmla="*/ 621507 w 750997"/>
                <a:gd name="connsiteY2" fmla="*/ 1002506 h 1004888"/>
                <a:gd name="connsiteX3" fmla="*/ 110736 w 750997"/>
                <a:gd name="connsiteY3" fmla="*/ 1004888 h 1004888"/>
                <a:gd name="connsiteX4" fmla="*/ 32434 w 750997"/>
                <a:gd name="connsiteY4" fmla="*/ 972454 h 1004888"/>
                <a:gd name="connsiteX5" fmla="*/ 0 w 750997"/>
                <a:gd name="connsiteY5" fmla="*/ 894152 h 1004888"/>
                <a:gd name="connsiteX6" fmla="*/ 0 w 750997"/>
                <a:gd name="connsiteY6" fmla="*/ 110736 h 1004888"/>
                <a:gd name="connsiteX7" fmla="*/ 32434 w 750997"/>
                <a:gd name="connsiteY7" fmla="*/ 32434 h 1004888"/>
                <a:gd name="connsiteX8" fmla="*/ 110736 w 750997"/>
                <a:gd name="connsiteY8" fmla="*/ 0 h 1004888"/>
                <a:gd name="connsiteX9" fmla="*/ 639358 w 750997"/>
                <a:gd name="connsiteY9" fmla="*/ 0 h 1004888"/>
                <a:gd name="connsiteX10" fmla="*/ 717660 w 750997"/>
                <a:gd name="connsiteY10" fmla="*/ 32434 h 1004888"/>
                <a:gd name="connsiteX11" fmla="*/ 750094 w 750997"/>
                <a:gd name="connsiteY11" fmla="*/ 110736 h 1004888"/>
                <a:gd name="connsiteX12" fmla="*/ 750094 w 750997"/>
                <a:gd name="connsiteY12" fmla="*/ 894152 h 1004888"/>
                <a:gd name="connsiteX13" fmla="*/ 750997 w 750997"/>
                <a:gd name="connsiteY13" fmla="*/ 1003410 h 1004888"/>
                <a:gd name="connsiteX0" fmla="*/ 101195 w 750997"/>
                <a:gd name="connsiteY0" fmla="*/ 90488 h 1004888"/>
                <a:gd name="connsiteX1" fmla="*/ 671512 w 750997"/>
                <a:gd name="connsiteY1" fmla="*/ 957263 h 1004888"/>
                <a:gd name="connsiteX2" fmla="*/ 621507 w 750997"/>
                <a:gd name="connsiteY2" fmla="*/ 1002506 h 1004888"/>
                <a:gd name="connsiteX3" fmla="*/ 110736 w 750997"/>
                <a:gd name="connsiteY3" fmla="*/ 1004888 h 1004888"/>
                <a:gd name="connsiteX4" fmla="*/ 32434 w 750997"/>
                <a:gd name="connsiteY4" fmla="*/ 972454 h 1004888"/>
                <a:gd name="connsiteX5" fmla="*/ 0 w 750997"/>
                <a:gd name="connsiteY5" fmla="*/ 894152 h 1004888"/>
                <a:gd name="connsiteX6" fmla="*/ 0 w 750997"/>
                <a:gd name="connsiteY6" fmla="*/ 110736 h 1004888"/>
                <a:gd name="connsiteX7" fmla="*/ 32434 w 750997"/>
                <a:gd name="connsiteY7" fmla="*/ 32434 h 1004888"/>
                <a:gd name="connsiteX8" fmla="*/ 110736 w 750997"/>
                <a:gd name="connsiteY8" fmla="*/ 0 h 1004888"/>
                <a:gd name="connsiteX9" fmla="*/ 639358 w 750997"/>
                <a:gd name="connsiteY9" fmla="*/ 0 h 1004888"/>
                <a:gd name="connsiteX10" fmla="*/ 717660 w 750997"/>
                <a:gd name="connsiteY10" fmla="*/ 32434 h 1004888"/>
                <a:gd name="connsiteX11" fmla="*/ 750094 w 750997"/>
                <a:gd name="connsiteY11" fmla="*/ 110736 h 1004888"/>
                <a:gd name="connsiteX12" fmla="*/ 750094 w 750997"/>
                <a:gd name="connsiteY12" fmla="*/ 894152 h 1004888"/>
                <a:gd name="connsiteX13" fmla="*/ 750997 w 750997"/>
                <a:gd name="connsiteY13" fmla="*/ 1003410 h 1004888"/>
                <a:gd name="connsiteX0" fmla="*/ 101195 w 750997"/>
                <a:gd name="connsiteY0" fmla="*/ 90488 h 1004888"/>
                <a:gd name="connsiteX1" fmla="*/ 209550 w 750997"/>
                <a:gd name="connsiteY1" fmla="*/ 254794 h 1004888"/>
                <a:gd name="connsiteX2" fmla="*/ 671512 w 750997"/>
                <a:gd name="connsiteY2" fmla="*/ 957263 h 1004888"/>
                <a:gd name="connsiteX3" fmla="*/ 621507 w 750997"/>
                <a:gd name="connsiteY3" fmla="*/ 1002506 h 1004888"/>
                <a:gd name="connsiteX4" fmla="*/ 110736 w 750997"/>
                <a:gd name="connsiteY4" fmla="*/ 1004888 h 1004888"/>
                <a:gd name="connsiteX5" fmla="*/ 32434 w 750997"/>
                <a:gd name="connsiteY5" fmla="*/ 972454 h 1004888"/>
                <a:gd name="connsiteX6" fmla="*/ 0 w 750997"/>
                <a:gd name="connsiteY6" fmla="*/ 894152 h 1004888"/>
                <a:gd name="connsiteX7" fmla="*/ 0 w 750997"/>
                <a:gd name="connsiteY7" fmla="*/ 110736 h 1004888"/>
                <a:gd name="connsiteX8" fmla="*/ 32434 w 750997"/>
                <a:gd name="connsiteY8" fmla="*/ 32434 h 1004888"/>
                <a:gd name="connsiteX9" fmla="*/ 110736 w 750997"/>
                <a:gd name="connsiteY9" fmla="*/ 0 h 1004888"/>
                <a:gd name="connsiteX10" fmla="*/ 639358 w 750997"/>
                <a:gd name="connsiteY10" fmla="*/ 0 h 1004888"/>
                <a:gd name="connsiteX11" fmla="*/ 717660 w 750997"/>
                <a:gd name="connsiteY11" fmla="*/ 32434 h 1004888"/>
                <a:gd name="connsiteX12" fmla="*/ 750094 w 750997"/>
                <a:gd name="connsiteY12" fmla="*/ 110736 h 1004888"/>
                <a:gd name="connsiteX13" fmla="*/ 750094 w 750997"/>
                <a:gd name="connsiteY13" fmla="*/ 894152 h 1004888"/>
                <a:gd name="connsiteX14" fmla="*/ 750997 w 750997"/>
                <a:gd name="connsiteY14" fmla="*/ 1003410 h 1004888"/>
                <a:gd name="connsiteX0" fmla="*/ 101195 w 750997"/>
                <a:gd name="connsiteY0" fmla="*/ 90488 h 1004888"/>
                <a:gd name="connsiteX1" fmla="*/ 673894 w 750997"/>
                <a:gd name="connsiteY1" fmla="*/ 76201 h 1004888"/>
                <a:gd name="connsiteX2" fmla="*/ 671512 w 750997"/>
                <a:gd name="connsiteY2" fmla="*/ 957263 h 1004888"/>
                <a:gd name="connsiteX3" fmla="*/ 621507 w 750997"/>
                <a:gd name="connsiteY3" fmla="*/ 1002506 h 1004888"/>
                <a:gd name="connsiteX4" fmla="*/ 110736 w 750997"/>
                <a:gd name="connsiteY4" fmla="*/ 1004888 h 1004888"/>
                <a:gd name="connsiteX5" fmla="*/ 32434 w 750997"/>
                <a:gd name="connsiteY5" fmla="*/ 972454 h 1004888"/>
                <a:gd name="connsiteX6" fmla="*/ 0 w 750997"/>
                <a:gd name="connsiteY6" fmla="*/ 894152 h 1004888"/>
                <a:gd name="connsiteX7" fmla="*/ 0 w 750997"/>
                <a:gd name="connsiteY7" fmla="*/ 110736 h 1004888"/>
                <a:gd name="connsiteX8" fmla="*/ 32434 w 750997"/>
                <a:gd name="connsiteY8" fmla="*/ 32434 h 1004888"/>
                <a:gd name="connsiteX9" fmla="*/ 110736 w 750997"/>
                <a:gd name="connsiteY9" fmla="*/ 0 h 1004888"/>
                <a:gd name="connsiteX10" fmla="*/ 639358 w 750997"/>
                <a:gd name="connsiteY10" fmla="*/ 0 h 1004888"/>
                <a:gd name="connsiteX11" fmla="*/ 717660 w 750997"/>
                <a:gd name="connsiteY11" fmla="*/ 32434 h 1004888"/>
                <a:gd name="connsiteX12" fmla="*/ 750094 w 750997"/>
                <a:gd name="connsiteY12" fmla="*/ 110736 h 1004888"/>
                <a:gd name="connsiteX13" fmla="*/ 750094 w 750997"/>
                <a:gd name="connsiteY13" fmla="*/ 894152 h 1004888"/>
                <a:gd name="connsiteX14" fmla="*/ 750997 w 750997"/>
                <a:gd name="connsiteY14" fmla="*/ 1003410 h 1004888"/>
                <a:gd name="connsiteX0" fmla="*/ 96432 w 750997"/>
                <a:gd name="connsiteY0" fmla="*/ 79375 h 1004888"/>
                <a:gd name="connsiteX1" fmla="*/ 673894 w 750997"/>
                <a:gd name="connsiteY1" fmla="*/ 76201 h 1004888"/>
                <a:gd name="connsiteX2" fmla="*/ 671512 w 750997"/>
                <a:gd name="connsiteY2" fmla="*/ 957263 h 1004888"/>
                <a:gd name="connsiteX3" fmla="*/ 621507 w 750997"/>
                <a:gd name="connsiteY3" fmla="*/ 1002506 h 1004888"/>
                <a:gd name="connsiteX4" fmla="*/ 110736 w 750997"/>
                <a:gd name="connsiteY4" fmla="*/ 1004888 h 1004888"/>
                <a:gd name="connsiteX5" fmla="*/ 32434 w 750997"/>
                <a:gd name="connsiteY5" fmla="*/ 972454 h 1004888"/>
                <a:gd name="connsiteX6" fmla="*/ 0 w 750997"/>
                <a:gd name="connsiteY6" fmla="*/ 894152 h 1004888"/>
                <a:gd name="connsiteX7" fmla="*/ 0 w 750997"/>
                <a:gd name="connsiteY7" fmla="*/ 110736 h 1004888"/>
                <a:gd name="connsiteX8" fmla="*/ 32434 w 750997"/>
                <a:gd name="connsiteY8" fmla="*/ 32434 h 1004888"/>
                <a:gd name="connsiteX9" fmla="*/ 110736 w 750997"/>
                <a:gd name="connsiteY9" fmla="*/ 0 h 1004888"/>
                <a:gd name="connsiteX10" fmla="*/ 639358 w 750997"/>
                <a:gd name="connsiteY10" fmla="*/ 0 h 1004888"/>
                <a:gd name="connsiteX11" fmla="*/ 717660 w 750997"/>
                <a:gd name="connsiteY11" fmla="*/ 32434 h 1004888"/>
                <a:gd name="connsiteX12" fmla="*/ 750094 w 750997"/>
                <a:gd name="connsiteY12" fmla="*/ 110736 h 1004888"/>
                <a:gd name="connsiteX13" fmla="*/ 750094 w 750997"/>
                <a:gd name="connsiteY13" fmla="*/ 894152 h 1004888"/>
                <a:gd name="connsiteX14" fmla="*/ 750997 w 750997"/>
                <a:gd name="connsiteY14" fmla="*/ 1003410 h 1004888"/>
                <a:gd name="connsiteX0" fmla="*/ 96432 w 750997"/>
                <a:gd name="connsiteY0" fmla="*/ 79375 h 1004888"/>
                <a:gd name="connsiteX1" fmla="*/ 673894 w 750997"/>
                <a:gd name="connsiteY1" fmla="*/ 79375 h 1004888"/>
                <a:gd name="connsiteX2" fmla="*/ 671512 w 750997"/>
                <a:gd name="connsiteY2" fmla="*/ 957263 h 1004888"/>
                <a:gd name="connsiteX3" fmla="*/ 621507 w 750997"/>
                <a:gd name="connsiteY3" fmla="*/ 1002506 h 1004888"/>
                <a:gd name="connsiteX4" fmla="*/ 110736 w 750997"/>
                <a:gd name="connsiteY4" fmla="*/ 1004888 h 1004888"/>
                <a:gd name="connsiteX5" fmla="*/ 32434 w 750997"/>
                <a:gd name="connsiteY5" fmla="*/ 972454 h 1004888"/>
                <a:gd name="connsiteX6" fmla="*/ 0 w 750997"/>
                <a:gd name="connsiteY6" fmla="*/ 894152 h 1004888"/>
                <a:gd name="connsiteX7" fmla="*/ 0 w 750997"/>
                <a:gd name="connsiteY7" fmla="*/ 110736 h 1004888"/>
                <a:gd name="connsiteX8" fmla="*/ 32434 w 750997"/>
                <a:gd name="connsiteY8" fmla="*/ 32434 h 1004888"/>
                <a:gd name="connsiteX9" fmla="*/ 110736 w 750997"/>
                <a:gd name="connsiteY9" fmla="*/ 0 h 1004888"/>
                <a:gd name="connsiteX10" fmla="*/ 639358 w 750997"/>
                <a:gd name="connsiteY10" fmla="*/ 0 h 1004888"/>
                <a:gd name="connsiteX11" fmla="*/ 717660 w 750997"/>
                <a:gd name="connsiteY11" fmla="*/ 32434 h 1004888"/>
                <a:gd name="connsiteX12" fmla="*/ 750094 w 750997"/>
                <a:gd name="connsiteY12" fmla="*/ 110736 h 1004888"/>
                <a:gd name="connsiteX13" fmla="*/ 750094 w 750997"/>
                <a:gd name="connsiteY13" fmla="*/ 894152 h 1004888"/>
                <a:gd name="connsiteX14" fmla="*/ 750997 w 750997"/>
                <a:gd name="connsiteY14" fmla="*/ 1003410 h 1004888"/>
                <a:gd name="connsiteX0" fmla="*/ 86519 w 750997"/>
                <a:gd name="connsiteY0" fmla="*/ 79375 h 1004888"/>
                <a:gd name="connsiteX1" fmla="*/ 673894 w 750997"/>
                <a:gd name="connsiteY1" fmla="*/ 79375 h 1004888"/>
                <a:gd name="connsiteX2" fmla="*/ 671512 w 750997"/>
                <a:gd name="connsiteY2" fmla="*/ 957263 h 1004888"/>
                <a:gd name="connsiteX3" fmla="*/ 621507 w 750997"/>
                <a:gd name="connsiteY3" fmla="*/ 1002506 h 1004888"/>
                <a:gd name="connsiteX4" fmla="*/ 110736 w 750997"/>
                <a:gd name="connsiteY4" fmla="*/ 1004888 h 1004888"/>
                <a:gd name="connsiteX5" fmla="*/ 32434 w 750997"/>
                <a:gd name="connsiteY5" fmla="*/ 972454 h 1004888"/>
                <a:gd name="connsiteX6" fmla="*/ 0 w 750997"/>
                <a:gd name="connsiteY6" fmla="*/ 894152 h 1004888"/>
                <a:gd name="connsiteX7" fmla="*/ 0 w 750997"/>
                <a:gd name="connsiteY7" fmla="*/ 110736 h 1004888"/>
                <a:gd name="connsiteX8" fmla="*/ 32434 w 750997"/>
                <a:gd name="connsiteY8" fmla="*/ 32434 h 1004888"/>
                <a:gd name="connsiteX9" fmla="*/ 110736 w 750997"/>
                <a:gd name="connsiteY9" fmla="*/ 0 h 1004888"/>
                <a:gd name="connsiteX10" fmla="*/ 639358 w 750997"/>
                <a:gd name="connsiteY10" fmla="*/ 0 h 1004888"/>
                <a:gd name="connsiteX11" fmla="*/ 717660 w 750997"/>
                <a:gd name="connsiteY11" fmla="*/ 32434 h 1004888"/>
                <a:gd name="connsiteX12" fmla="*/ 750094 w 750997"/>
                <a:gd name="connsiteY12" fmla="*/ 110736 h 1004888"/>
                <a:gd name="connsiteX13" fmla="*/ 750094 w 750997"/>
                <a:gd name="connsiteY13" fmla="*/ 894152 h 1004888"/>
                <a:gd name="connsiteX14" fmla="*/ 750997 w 750997"/>
                <a:gd name="connsiteY14" fmla="*/ 1003410 h 1004888"/>
                <a:gd name="connsiteX0" fmla="*/ 86519 w 750997"/>
                <a:gd name="connsiteY0" fmla="*/ 79375 h 1004888"/>
                <a:gd name="connsiteX1" fmla="*/ 138113 w 750997"/>
                <a:gd name="connsiteY1" fmla="*/ 76200 h 1004888"/>
                <a:gd name="connsiteX2" fmla="*/ 673894 w 750997"/>
                <a:gd name="connsiteY2" fmla="*/ 79375 h 1004888"/>
                <a:gd name="connsiteX3" fmla="*/ 671512 w 750997"/>
                <a:gd name="connsiteY3" fmla="*/ 957263 h 1004888"/>
                <a:gd name="connsiteX4" fmla="*/ 621507 w 750997"/>
                <a:gd name="connsiteY4" fmla="*/ 1002506 h 1004888"/>
                <a:gd name="connsiteX5" fmla="*/ 110736 w 750997"/>
                <a:gd name="connsiteY5" fmla="*/ 1004888 h 1004888"/>
                <a:gd name="connsiteX6" fmla="*/ 32434 w 750997"/>
                <a:gd name="connsiteY6" fmla="*/ 972454 h 1004888"/>
                <a:gd name="connsiteX7" fmla="*/ 0 w 750997"/>
                <a:gd name="connsiteY7" fmla="*/ 894152 h 1004888"/>
                <a:gd name="connsiteX8" fmla="*/ 0 w 750997"/>
                <a:gd name="connsiteY8" fmla="*/ 110736 h 1004888"/>
                <a:gd name="connsiteX9" fmla="*/ 32434 w 750997"/>
                <a:gd name="connsiteY9" fmla="*/ 32434 h 1004888"/>
                <a:gd name="connsiteX10" fmla="*/ 110736 w 750997"/>
                <a:gd name="connsiteY10" fmla="*/ 0 h 1004888"/>
                <a:gd name="connsiteX11" fmla="*/ 639358 w 750997"/>
                <a:gd name="connsiteY11" fmla="*/ 0 h 1004888"/>
                <a:gd name="connsiteX12" fmla="*/ 717660 w 750997"/>
                <a:gd name="connsiteY12" fmla="*/ 32434 h 1004888"/>
                <a:gd name="connsiteX13" fmla="*/ 750094 w 750997"/>
                <a:gd name="connsiteY13" fmla="*/ 110736 h 1004888"/>
                <a:gd name="connsiteX14" fmla="*/ 750094 w 750997"/>
                <a:gd name="connsiteY14" fmla="*/ 894152 h 1004888"/>
                <a:gd name="connsiteX15" fmla="*/ 750997 w 750997"/>
                <a:gd name="connsiteY15" fmla="*/ 1003410 h 1004888"/>
                <a:gd name="connsiteX0" fmla="*/ 86519 w 750997"/>
                <a:gd name="connsiteY0" fmla="*/ 839788 h 1004888"/>
                <a:gd name="connsiteX1" fmla="*/ 138113 w 750997"/>
                <a:gd name="connsiteY1" fmla="*/ 76200 h 1004888"/>
                <a:gd name="connsiteX2" fmla="*/ 673894 w 750997"/>
                <a:gd name="connsiteY2" fmla="*/ 79375 h 1004888"/>
                <a:gd name="connsiteX3" fmla="*/ 671512 w 750997"/>
                <a:gd name="connsiteY3" fmla="*/ 957263 h 1004888"/>
                <a:gd name="connsiteX4" fmla="*/ 621507 w 750997"/>
                <a:gd name="connsiteY4" fmla="*/ 1002506 h 1004888"/>
                <a:gd name="connsiteX5" fmla="*/ 110736 w 750997"/>
                <a:gd name="connsiteY5" fmla="*/ 1004888 h 1004888"/>
                <a:gd name="connsiteX6" fmla="*/ 32434 w 750997"/>
                <a:gd name="connsiteY6" fmla="*/ 972454 h 1004888"/>
                <a:gd name="connsiteX7" fmla="*/ 0 w 750997"/>
                <a:gd name="connsiteY7" fmla="*/ 894152 h 1004888"/>
                <a:gd name="connsiteX8" fmla="*/ 0 w 750997"/>
                <a:gd name="connsiteY8" fmla="*/ 110736 h 1004888"/>
                <a:gd name="connsiteX9" fmla="*/ 32434 w 750997"/>
                <a:gd name="connsiteY9" fmla="*/ 32434 h 1004888"/>
                <a:gd name="connsiteX10" fmla="*/ 110736 w 750997"/>
                <a:gd name="connsiteY10" fmla="*/ 0 h 1004888"/>
                <a:gd name="connsiteX11" fmla="*/ 639358 w 750997"/>
                <a:gd name="connsiteY11" fmla="*/ 0 h 1004888"/>
                <a:gd name="connsiteX12" fmla="*/ 717660 w 750997"/>
                <a:gd name="connsiteY12" fmla="*/ 32434 h 1004888"/>
                <a:gd name="connsiteX13" fmla="*/ 750094 w 750997"/>
                <a:gd name="connsiteY13" fmla="*/ 110736 h 1004888"/>
                <a:gd name="connsiteX14" fmla="*/ 750094 w 750997"/>
                <a:gd name="connsiteY14" fmla="*/ 894152 h 1004888"/>
                <a:gd name="connsiteX15" fmla="*/ 750997 w 750997"/>
                <a:gd name="connsiteY15" fmla="*/ 1003410 h 1004888"/>
                <a:gd name="connsiteX0" fmla="*/ 86519 w 750997"/>
                <a:gd name="connsiteY0" fmla="*/ 839788 h 1004888"/>
                <a:gd name="connsiteX1" fmla="*/ 86519 w 750997"/>
                <a:gd name="connsiteY1" fmla="*/ 79375 h 1004888"/>
                <a:gd name="connsiteX2" fmla="*/ 673894 w 750997"/>
                <a:gd name="connsiteY2" fmla="*/ 79375 h 1004888"/>
                <a:gd name="connsiteX3" fmla="*/ 671512 w 750997"/>
                <a:gd name="connsiteY3" fmla="*/ 957263 h 1004888"/>
                <a:gd name="connsiteX4" fmla="*/ 621507 w 750997"/>
                <a:gd name="connsiteY4" fmla="*/ 1002506 h 1004888"/>
                <a:gd name="connsiteX5" fmla="*/ 110736 w 750997"/>
                <a:gd name="connsiteY5" fmla="*/ 1004888 h 1004888"/>
                <a:gd name="connsiteX6" fmla="*/ 32434 w 750997"/>
                <a:gd name="connsiteY6" fmla="*/ 972454 h 1004888"/>
                <a:gd name="connsiteX7" fmla="*/ 0 w 750997"/>
                <a:gd name="connsiteY7" fmla="*/ 894152 h 1004888"/>
                <a:gd name="connsiteX8" fmla="*/ 0 w 750997"/>
                <a:gd name="connsiteY8" fmla="*/ 110736 h 1004888"/>
                <a:gd name="connsiteX9" fmla="*/ 32434 w 750997"/>
                <a:gd name="connsiteY9" fmla="*/ 32434 h 1004888"/>
                <a:gd name="connsiteX10" fmla="*/ 110736 w 750997"/>
                <a:gd name="connsiteY10" fmla="*/ 0 h 1004888"/>
                <a:gd name="connsiteX11" fmla="*/ 639358 w 750997"/>
                <a:gd name="connsiteY11" fmla="*/ 0 h 1004888"/>
                <a:gd name="connsiteX12" fmla="*/ 717660 w 750997"/>
                <a:gd name="connsiteY12" fmla="*/ 32434 h 1004888"/>
                <a:gd name="connsiteX13" fmla="*/ 750094 w 750997"/>
                <a:gd name="connsiteY13" fmla="*/ 110736 h 1004888"/>
                <a:gd name="connsiteX14" fmla="*/ 750094 w 750997"/>
                <a:gd name="connsiteY14" fmla="*/ 894152 h 1004888"/>
                <a:gd name="connsiteX15" fmla="*/ 750997 w 750997"/>
                <a:gd name="connsiteY15" fmla="*/ 1003410 h 1004888"/>
                <a:gd name="connsiteX0" fmla="*/ 86519 w 750997"/>
                <a:gd name="connsiteY0" fmla="*/ 839788 h 1004888"/>
                <a:gd name="connsiteX1" fmla="*/ 83344 w 750997"/>
                <a:gd name="connsiteY1" fmla="*/ 769144 h 1004888"/>
                <a:gd name="connsiteX2" fmla="*/ 86519 w 750997"/>
                <a:gd name="connsiteY2" fmla="*/ 79375 h 1004888"/>
                <a:gd name="connsiteX3" fmla="*/ 673894 w 750997"/>
                <a:gd name="connsiteY3" fmla="*/ 79375 h 1004888"/>
                <a:gd name="connsiteX4" fmla="*/ 671512 w 750997"/>
                <a:gd name="connsiteY4" fmla="*/ 957263 h 1004888"/>
                <a:gd name="connsiteX5" fmla="*/ 621507 w 750997"/>
                <a:gd name="connsiteY5" fmla="*/ 1002506 h 1004888"/>
                <a:gd name="connsiteX6" fmla="*/ 110736 w 750997"/>
                <a:gd name="connsiteY6" fmla="*/ 1004888 h 1004888"/>
                <a:gd name="connsiteX7" fmla="*/ 32434 w 750997"/>
                <a:gd name="connsiteY7" fmla="*/ 972454 h 1004888"/>
                <a:gd name="connsiteX8" fmla="*/ 0 w 750997"/>
                <a:gd name="connsiteY8" fmla="*/ 894152 h 1004888"/>
                <a:gd name="connsiteX9" fmla="*/ 0 w 750997"/>
                <a:gd name="connsiteY9" fmla="*/ 110736 h 1004888"/>
                <a:gd name="connsiteX10" fmla="*/ 32434 w 750997"/>
                <a:gd name="connsiteY10" fmla="*/ 32434 h 1004888"/>
                <a:gd name="connsiteX11" fmla="*/ 110736 w 750997"/>
                <a:gd name="connsiteY11" fmla="*/ 0 h 1004888"/>
                <a:gd name="connsiteX12" fmla="*/ 639358 w 750997"/>
                <a:gd name="connsiteY12" fmla="*/ 0 h 1004888"/>
                <a:gd name="connsiteX13" fmla="*/ 717660 w 750997"/>
                <a:gd name="connsiteY13" fmla="*/ 32434 h 1004888"/>
                <a:gd name="connsiteX14" fmla="*/ 750094 w 750997"/>
                <a:gd name="connsiteY14" fmla="*/ 110736 h 1004888"/>
                <a:gd name="connsiteX15" fmla="*/ 750094 w 750997"/>
                <a:gd name="connsiteY15" fmla="*/ 894152 h 1004888"/>
                <a:gd name="connsiteX16" fmla="*/ 750997 w 750997"/>
                <a:gd name="connsiteY16" fmla="*/ 1003410 h 1004888"/>
                <a:gd name="connsiteX0" fmla="*/ 347663 w 750997"/>
                <a:gd name="connsiteY0" fmla="*/ 839788 h 1004888"/>
                <a:gd name="connsiteX1" fmla="*/ 83344 w 750997"/>
                <a:gd name="connsiteY1" fmla="*/ 769144 h 1004888"/>
                <a:gd name="connsiteX2" fmla="*/ 86519 w 750997"/>
                <a:gd name="connsiteY2" fmla="*/ 79375 h 1004888"/>
                <a:gd name="connsiteX3" fmla="*/ 673894 w 750997"/>
                <a:gd name="connsiteY3" fmla="*/ 79375 h 1004888"/>
                <a:gd name="connsiteX4" fmla="*/ 671512 w 750997"/>
                <a:gd name="connsiteY4" fmla="*/ 957263 h 1004888"/>
                <a:gd name="connsiteX5" fmla="*/ 621507 w 750997"/>
                <a:gd name="connsiteY5" fmla="*/ 1002506 h 1004888"/>
                <a:gd name="connsiteX6" fmla="*/ 110736 w 750997"/>
                <a:gd name="connsiteY6" fmla="*/ 1004888 h 1004888"/>
                <a:gd name="connsiteX7" fmla="*/ 32434 w 750997"/>
                <a:gd name="connsiteY7" fmla="*/ 972454 h 1004888"/>
                <a:gd name="connsiteX8" fmla="*/ 0 w 750997"/>
                <a:gd name="connsiteY8" fmla="*/ 894152 h 1004888"/>
                <a:gd name="connsiteX9" fmla="*/ 0 w 750997"/>
                <a:gd name="connsiteY9" fmla="*/ 110736 h 1004888"/>
                <a:gd name="connsiteX10" fmla="*/ 32434 w 750997"/>
                <a:gd name="connsiteY10" fmla="*/ 32434 h 1004888"/>
                <a:gd name="connsiteX11" fmla="*/ 110736 w 750997"/>
                <a:gd name="connsiteY11" fmla="*/ 0 h 1004888"/>
                <a:gd name="connsiteX12" fmla="*/ 639358 w 750997"/>
                <a:gd name="connsiteY12" fmla="*/ 0 h 1004888"/>
                <a:gd name="connsiteX13" fmla="*/ 717660 w 750997"/>
                <a:gd name="connsiteY13" fmla="*/ 32434 h 1004888"/>
                <a:gd name="connsiteX14" fmla="*/ 750094 w 750997"/>
                <a:gd name="connsiteY14" fmla="*/ 110736 h 1004888"/>
                <a:gd name="connsiteX15" fmla="*/ 750094 w 750997"/>
                <a:gd name="connsiteY15" fmla="*/ 894152 h 1004888"/>
                <a:gd name="connsiteX16" fmla="*/ 750997 w 750997"/>
                <a:gd name="connsiteY16" fmla="*/ 1003410 h 1004888"/>
                <a:gd name="connsiteX0" fmla="*/ 347663 w 750997"/>
                <a:gd name="connsiteY0" fmla="*/ 839788 h 1004888"/>
                <a:gd name="connsiteX1" fmla="*/ 86519 w 750997"/>
                <a:gd name="connsiteY1" fmla="*/ 839788 h 1004888"/>
                <a:gd name="connsiteX2" fmla="*/ 86519 w 750997"/>
                <a:gd name="connsiteY2" fmla="*/ 79375 h 1004888"/>
                <a:gd name="connsiteX3" fmla="*/ 673894 w 750997"/>
                <a:gd name="connsiteY3" fmla="*/ 79375 h 1004888"/>
                <a:gd name="connsiteX4" fmla="*/ 671512 w 750997"/>
                <a:gd name="connsiteY4" fmla="*/ 957263 h 1004888"/>
                <a:gd name="connsiteX5" fmla="*/ 621507 w 750997"/>
                <a:gd name="connsiteY5" fmla="*/ 1002506 h 1004888"/>
                <a:gd name="connsiteX6" fmla="*/ 110736 w 750997"/>
                <a:gd name="connsiteY6" fmla="*/ 1004888 h 1004888"/>
                <a:gd name="connsiteX7" fmla="*/ 32434 w 750997"/>
                <a:gd name="connsiteY7" fmla="*/ 972454 h 1004888"/>
                <a:gd name="connsiteX8" fmla="*/ 0 w 750997"/>
                <a:gd name="connsiteY8" fmla="*/ 894152 h 1004888"/>
                <a:gd name="connsiteX9" fmla="*/ 0 w 750997"/>
                <a:gd name="connsiteY9" fmla="*/ 110736 h 1004888"/>
                <a:gd name="connsiteX10" fmla="*/ 32434 w 750997"/>
                <a:gd name="connsiteY10" fmla="*/ 32434 h 1004888"/>
                <a:gd name="connsiteX11" fmla="*/ 110736 w 750997"/>
                <a:gd name="connsiteY11" fmla="*/ 0 h 1004888"/>
                <a:gd name="connsiteX12" fmla="*/ 639358 w 750997"/>
                <a:gd name="connsiteY12" fmla="*/ 0 h 1004888"/>
                <a:gd name="connsiteX13" fmla="*/ 717660 w 750997"/>
                <a:gd name="connsiteY13" fmla="*/ 32434 h 1004888"/>
                <a:gd name="connsiteX14" fmla="*/ 750094 w 750997"/>
                <a:gd name="connsiteY14" fmla="*/ 110736 h 1004888"/>
                <a:gd name="connsiteX15" fmla="*/ 750094 w 750997"/>
                <a:gd name="connsiteY15" fmla="*/ 894152 h 1004888"/>
                <a:gd name="connsiteX16" fmla="*/ 750997 w 750997"/>
                <a:gd name="connsiteY16" fmla="*/ 1003410 h 1004888"/>
                <a:gd name="connsiteX0" fmla="*/ 347663 w 750997"/>
                <a:gd name="connsiteY0" fmla="*/ 839788 h 1004888"/>
                <a:gd name="connsiteX1" fmla="*/ 86519 w 750997"/>
                <a:gd name="connsiteY1" fmla="*/ 839788 h 1004888"/>
                <a:gd name="connsiteX2" fmla="*/ 86519 w 750997"/>
                <a:gd name="connsiteY2" fmla="*/ 79375 h 1004888"/>
                <a:gd name="connsiteX3" fmla="*/ 673894 w 750997"/>
                <a:gd name="connsiteY3" fmla="*/ 79375 h 1004888"/>
                <a:gd name="connsiteX4" fmla="*/ 671513 w 750997"/>
                <a:gd name="connsiteY4" fmla="*/ 128588 h 1004888"/>
                <a:gd name="connsiteX5" fmla="*/ 671512 w 750997"/>
                <a:gd name="connsiteY5" fmla="*/ 957263 h 1004888"/>
                <a:gd name="connsiteX6" fmla="*/ 621507 w 750997"/>
                <a:gd name="connsiteY6" fmla="*/ 1002506 h 1004888"/>
                <a:gd name="connsiteX7" fmla="*/ 110736 w 750997"/>
                <a:gd name="connsiteY7" fmla="*/ 1004888 h 1004888"/>
                <a:gd name="connsiteX8" fmla="*/ 32434 w 750997"/>
                <a:gd name="connsiteY8" fmla="*/ 972454 h 1004888"/>
                <a:gd name="connsiteX9" fmla="*/ 0 w 750997"/>
                <a:gd name="connsiteY9" fmla="*/ 894152 h 1004888"/>
                <a:gd name="connsiteX10" fmla="*/ 0 w 750997"/>
                <a:gd name="connsiteY10" fmla="*/ 110736 h 1004888"/>
                <a:gd name="connsiteX11" fmla="*/ 32434 w 750997"/>
                <a:gd name="connsiteY11" fmla="*/ 32434 h 1004888"/>
                <a:gd name="connsiteX12" fmla="*/ 110736 w 750997"/>
                <a:gd name="connsiteY12" fmla="*/ 0 h 1004888"/>
                <a:gd name="connsiteX13" fmla="*/ 639358 w 750997"/>
                <a:gd name="connsiteY13" fmla="*/ 0 h 1004888"/>
                <a:gd name="connsiteX14" fmla="*/ 717660 w 750997"/>
                <a:gd name="connsiteY14" fmla="*/ 32434 h 1004888"/>
                <a:gd name="connsiteX15" fmla="*/ 750094 w 750997"/>
                <a:gd name="connsiteY15" fmla="*/ 110736 h 1004888"/>
                <a:gd name="connsiteX16" fmla="*/ 750094 w 750997"/>
                <a:gd name="connsiteY16" fmla="*/ 894152 h 1004888"/>
                <a:gd name="connsiteX17" fmla="*/ 750997 w 750997"/>
                <a:gd name="connsiteY17" fmla="*/ 1003410 h 1004888"/>
                <a:gd name="connsiteX0" fmla="*/ 347663 w 750997"/>
                <a:gd name="connsiteY0" fmla="*/ 839788 h 1004888"/>
                <a:gd name="connsiteX1" fmla="*/ 86519 w 750997"/>
                <a:gd name="connsiteY1" fmla="*/ 839788 h 1004888"/>
                <a:gd name="connsiteX2" fmla="*/ 86519 w 750997"/>
                <a:gd name="connsiteY2" fmla="*/ 79375 h 1004888"/>
                <a:gd name="connsiteX3" fmla="*/ 619125 w 750997"/>
                <a:gd name="connsiteY3" fmla="*/ 76200 h 1004888"/>
                <a:gd name="connsiteX4" fmla="*/ 673894 w 750997"/>
                <a:gd name="connsiteY4" fmla="*/ 79375 h 1004888"/>
                <a:gd name="connsiteX5" fmla="*/ 671513 w 750997"/>
                <a:gd name="connsiteY5" fmla="*/ 128588 h 1004888"/>
                <a:gd name="connsiteX6" fmla="*/ 671512 w 750997"/>
                <a:gd name="connsiteY6" fmla="*/ 957263 h 1004888"/>
                <a:gd name="connsiteX7" fmla="*/ 621507 w 750997"/>
                <a:gd name="connsiteY7" fmla="*/ 1002506 h 1004888"/>
                <a:gd name="connsiteX8" fmla="*/ 110736 w 750997"/>
                <a:gd name="connsiteY8" fmla="*/ 1004888 h 1004888"/>
                <a:gd name="connsiteX9" fmla="*/ 32434 w 750997"/>
                <a:gd name="connsiteY9" fmla="*/ 972454 h 1004888"/>
                <a:gd name="connsiteX10" fmla="*/ 0 w 750997"/>
                <a:gd name="connsiteY10" fmla="*/ 894152 h 1004888"/>
                <a:gd name="connsiteX11" fmla="*/ 0 w 750997"/>
                <a:gd name="connsiteY11" fmla="*/ 110736 h 1004888"/>
                <a:gd name="connsiteX12" fmla="*/ 32434 w 750997"/>
                <a:gd name="connsiteY12" fmla="*/ 32434 h 1004888"/>
                <a:gd name="connsiteX13" fmla="*/ 110736 w 750997"/>
                <a:gd name="connsiteY13" fmla="*/ 0 h 1004888"/>
                <a:gd name="connsiteX14" fmla="*/ 639358 w 750997"/>
                <a:gd name="connsiteY14" fmla="*/ 0 h 1004888"/>
                <a:gd name="connsiteX15" fmla="*/ 717660 w 750997"/>
                <a:gd name="connsiteY15" fmla="*/ 32434 h 1004888"/>
                <a:gd name="connsiteX16" fmla="*/ 750094 w 750997"/>
                <a:gd name="connsiteY16" fmla="*/ 110736 h 1004888"/>
                <a:gd name="connsiteX17" fmla="*/ 750094 w 750997"/>
                <a:gd name="connsiteY17" fmla="*/ 894152 h 1004888"/>
                <a:gd name="connsiteX18" fmla="*/ 750997 w 750997"/>
                <a:gd name="connsiteY18" fmla="*/ 1003410 h 1004888"/>
                <a:gd name="connsiteX0" fmla="*/ 347663 w 750997"/>
                <a:gd name="connsiteY0" fmla="*/ 839788 h 1004888"/>
                <a:gd name="connsiteX1" fmla="*/ 86519 w 750997"/>
                <a:gd name="connsiteY1" fmla="*/ 839788 h 1004888"/>
                <a:gd name="connsiteX2" fmla="*/ 86519 w 750997"/>
                <a:gd name="connsiteY2" fmla="*/ 79375 h 1004888"/>
                <a:gd name="connsiteX3" fmla="*/ 619125 w 750997"/>
                <a:gd name="connsiteY3" fmla="*/ 76200 h 1004888"/>
                <a:gd name="connsiteX4" fmla="*/ 673894 w 750997"/>
                <a:gd name="connsiteY4" fmla="*/ 79375 h 1004888"/>
                <a:gd name="connsiteX5" fmla="*/ 671513 w 750997"/>
                <a:gd name="connsiteY5" fmla="*/ 128588 h 1004888"/>
                <a:gd name="connsiteX6" fmla="*/ 671512 w 750997"/>
                <a:gd name="connsiteY6" fmla="*/ 957263 h 1004888"/>
                <a:gd name="connsiteX7" fmla="*/ 669131 w 750997"/>
                <a:gd name="connsiteY7" fmla="*/ 9953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004888"/>
                <a:gd name="connsiteX1" fmla="*/ 86519 w 750997"/>
                <a:gd name="connsiteY1" fmla="*/ 839788 h 1004888"/>
                <a:gd name="connsiteX2" fmla="*/ 86519 w 750997"/>
                <a:gd name="connsiteY2" fmla="*/ 79375 h 1004888"/>
                <a:gd name="connsiteX3" fmla="*/ 121444 w 750997"/>
                <a:gd name="connsiteY3" fmla="*/ 78581 h 1004888"/>
                <a:gd name="connsiteX4" fmla="*/ 619125 w 750997"/>
                <a:gd name="connsiteY4" fmla="*/ 76200 h 1004888"/>
                <a:gd name="connsiteX5" fmla="*/ 673894 w 750997"/>
                <a:gd name="connsiteY5" fmla="*/ 79375 h 1004888"/>
                <a:gd name="connsiteX6" fmla="*/ 671513 w 750997"/>
                <a:gd name="connsiteY6" fmla="*/ 128588 h 1004888"/>
                <a:gd name="connsiteX7" fmla="*/ 671512 w 750997"/>
                <a:gd name="connsiteY7" fmla="*/ 957263 h 1004888"/>
                <a:gd name="connsiteX8" fmla="*/ 669131 w 750997"/>
                <a:gd name="connsiteY8" fmla="*/ 9953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52223 h 1017323"/>
                <a:gd name="connsiteX1" fmla="*/ 86519 w 750997"/>
                <a:gd name="connsiteY1" fmla="*/ 852223 h 1017323"/>
                <a:gd name="connsiteX2" fmla="*/ 86519 w 750997"/>
                <a:gd name="connsiteY2" fmla="*/ 126735 h 1017323"/>
                <a:gd name="connsiteX3" fmla="*/ 86519 w 750997"/>
                <a:gd name="connsiteY3" fmla="*/ 91810 h 1017323"/>
                <a:gd name="connsiteX4" fmla="*/ 121444 w 750997"/>
                <a:gd name="connsiteY4" fmla="*/ 91016 h 1017323"/>
                <a:gd name="connsiteX5" fmla="*/ 619125 w 750997"/>
                <a:gd name="connsiteY5" fmla="*/ 88635 h 1017323"/>
                <a:gd name="connsiteX6" fmla="*/ 673894 w 750997"/>
                <a:gd name="connsiteY6" fmla="*/ 91810 h 1017323"/>
                <a:gd name="connsiteX7" fmla="*/ 671513 w 750997"/>
                <a:gd name="connsiteY7" fmla="*/ 141023 h 1017323"/>
                <a:gd name="connsiteX8" fmla="*/ 671512 w 750997"/>
                <a:gd name="connsiteY8" fmla="*/ 969698 h 1017323"/>
                <a:gd name="connsiteX9" fmla="*/ 669131 w 750997"/>
                <a:gd name="connsiteY9" fmla="*/ 1007798 h 1017323"/>
                <a:gd name="connsiteX10" fmla="*/ 621507 w 750997"/>
                <a:gd name="connsiteY10" fmla="*/ 1014941 h 1017323"/>
                <a:gd name="connsiteX11" fmla="*/ 110736 w 750997"/>
                <a:gd name="connsiteY11" fmla="*/ 1017323 h 1017323"/>
                <a:gd name="connsiteX12" fmla="*/ 32434 w 750997"/>
                <a:gd name="connsiteY12" fmla="*/ 984889 h 1017323"/>
                <a:gd name="connsiteX13" fmla="*/ 0 w 750997"/>
                <a:gd name="connsiteY13" fmla="*/ 906587 h 1017323"/>
                <a:gd name="connsiteX14" fmla="*/ 0 w 750997"/>
                <a:gd name="connsiteY14" fmla="*/ 123171 h 1017323"/>
                <a:gd name="connsiteX15" fmla="*/ 32434 w 750997"/>
                <a:gd name="connsiteY15" fmla="*/ 44869 h 1017323"/>
                <a:gd name="connsiteX16" fmla="*/ 110736 w 750997"/>
                <a:gd name="connsiteY16" fmla="*/ 12435 h 1017323"/>
                <a:gd name="connsiteX17" fmla="*/ 639358 w 750997"/>
                <a:gd name="connsiteY17" fmla="*/ 12435 h 1017323"/>
                <a:gd name="connsiteX18" fmla="*/ 717660 w 750997"/>
                <a:gd name="connsiteY18" fmla="*/ 44869 h 1017323"/>
                <a:gd name="connsiteX19" fmla="*/ 750094 w 750997"/>
                <a:gd name="connsiteY19" fmla="*/ 123171 h 1017323"/>
                <a:gd name="connsiteX20" fmla="*/ 750094 w 750997"/>
                <a:gd name="connsiteY20" fmla="*/ 906587 h 1017323"/>
                <a:gd name="connsiteX21" fmla="*/ 750997 w 750997"/>
                <a:gd name="connsiteY21" fmla="*/ 1015845 h 1017323"/>
                <a:gd name="connsiteX0" fmla="*/ 347663 w 750997"/>
                <a:gd name="connsiteY0" fmla="*/ 852223 h 1017323"/>
                <a:gd name="connsiteX1" fmla="*/ 86519 w 750997"/>
                <a:gd name="connsiteY1" fmla="*/ 852223 h 1017323"/>
                <a:gd name="connsiteX2" fmla="*/ 86519 w 750997"/>
                <a:gd name="connsiteY2" fmla="*/ 126735 h 1017323"/>
                <a:gd name="connsiteX3" fmla="*/ 86519 w 750997"/>
                <a:gd name="connsiteY3" fmla="*/ 91810 h 1017323"/>
                <a:gd name="connsiteX4" fmla="*/ 121444 w 750997"/>
                <a:gd name="connsiteY4" fmla="*/ 91016 h 1017323"/>
                <a:gd name="connsiteX5" fmla="*/ 619125 w 750997"/>
                <a:gd name="connsiteY5" fmla="*/ 88635 h 1017323"/>
                <a:gd name="connsiteX6" fmla="*/ 673894 w 750997"/>
                <a:gd name="connsiteY6" fmla="*/ 91810 h 1017323"/>
                <a:gd name="connsiteX7" fmla="*/ 671513 w 750997"/>
                <a:gd name="connsiteY7" fmla="*/ 141023 h 1017323"/>
                <a:gd name="connsiteX8" fmla="*/ 671512 w 750997"/>
                <a:gd name="connsiteY8" fmla="*/ 969698 h 1017323"/>
                <a:gd name="connsiteX9" fmla="*/ 669131 w 750997"/>
                <a:gd name="connsiteY9" fmla="*/ 1007798 h 1017323"/>
                <a:gd name="connsiteX10" fmla="*/ 621507 w 750997"/>
                <a:gd name="connsiteY10" fmla="*/ 1014941 h 1017323"/>
                <a:gd name="connsiteX11" fmla="*/ 110736 w 750997"/>
                <a:gd name="connsiteY11" fmla="*/ 1017323 h 1017323"/>
                <a:gd name="connsiteX12" fmla="*/ 32434 w 750997"/>
                <a:gd name="connsiteY12" fmla="*/ 984889 h 1017323"/>
                <a:gd name="connsiteX13" fmla="*/ 0 w 750997"/>
                <a:gd name="connsiteY13" fmla="*/ 906587 h 1017323"/>
                <a:gd name="connsiteX14" fmla="*/ 0 w 750997"/>
                <a:gd name="connsiteY14" fmla="*/ 123171 h 1017323"/>
                <a:gd name="connsiteX15" fmla="*/ 32434 w 750997"/>
                <a:gd name="connsiteY15" fmla="*/ 44869 h 1017323"/>
                <a:gd name="connsiteX16" fmla="*/ 110736 w 750997"/>
                <a:gd name="connsiteY16" fmla="*/ 12435 h 1017323"/>
                <a:gd name="connsiteX17" fmla="*/ 639358 w 750997"/>
                <a:gd name="connsiteY17" fmla="*/ 12435 h 1017323"/>
                <a:gd name="connsiteX18" fmla="*/ 717660 w 750997"/>
                <a:gd name="connsiteY18" fmla="*/ 44869 h 1017323"/>
                <a:gd name="connsiteX19" fmla="*/ 750094 w 750997"/>
                <a:gd name="connsiteY19" fmla="*/ 123171 h 1017323"/>
                <a:gd name="connsiteX20" fmla="*/ 750094 w 750997"/>
                <a:gd name="connsiteY20" fmla="*/ 906587 h 1017323"/>
                <a:gd name="connsiteX21" fmla="*/ 750997 w 750997"/>
                <a:gd name="connsiteY21"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126735 h 1017323"/>
                <a:gd name="connsiteX4" fmla="*/ 86519 w 750997"/>
                <a:gd name="connsiteY4" fmla="*/ 91810 h 1017323"/>
                <a:gd name="connsiteX5" fmla="*/ 121444 w 750997"/>
                <a:gd name="connsiteY5" fmla="*/ 91016 h 1017323"/>
                <a:gd name="connsiteX6" fmla="*/ 619125 w 750997"/>
                <a:gd name="connsiteY6" fmla="*/ 88635 h 1017323"/>
                <a:gd name="connsiteX7" fmla="*/ 673894 w 750997"/>
                <a:gd name="connsiteY7" fmla="*/ 91810 h 1017323"/>
                <a:gd name="connsiteX8" fmla="*/ 671513 w 750997"/>
                <a:gd name="connsiteY8" fmla="*/ 141023 h 1017323"/>
                <a:gd name="connsiteX9" fmla="*/ 671512 w 750997"/>
                <a:gd name="connsiteY9" fmla="*/ 969698 h 1017323"/>
                <a:gd name="connsiteX10" fmla="*/ 669131 w 750997"/>
                <a:gd name="connsiteY10" fmla="*/ 1007798 h 1017323"/>
                <a:gd name="connsiteX11" fmla="*/ 621507 w 750997"/>
                <a:gd name="connsiteY11" fmla="*/ 1014941 h 1017323"/>
                <a:gd name="connsiteX12" fmla="*/ 110736 w 750997"/>
                <a:gd name="connsiteY12" fmla="*/ 1017323 h 1017323"/>
                <a:gd name="connsiteX13" fmla="*/ 32434 w 750997"/>
                <a:gd name="connsiteY13" fmla="*/ 984889 h 1017323"/>
                <a:gd name="connsiteX14" fmla="*/ 0 w 750997"/>
                <a:gd name="connsiteY14" fmla="*/ 906587 h 1017323"/>
                <a:gd name="connsiteX15" fmla="*/ 0 w 750997"/>
                <a:gd name="connsiteY15" fmla="*/ 123171 h 1017323"/>
                <a:gd name="connsiteX16" fmla="*/ 32434 w 750997"/>
                <a:gd name="connsiteY16" fmla="*/ 44869 h 1017323"/>
                <a:gd name="connsiteX17" fmla="*/ 110736 w 750997"/>
                <a:gd name="connsiteY17" fmla="*/ 12435 h 1017323"/>
                <a:gd name="connsiteX18" fmla="*/ 639358 w 750997"/>
                <a:gd name="connsiteY18" fmla="*/ 12435 h 1017323"/>
                <a:gd name="connsiteX19" fmla="*/ 717660 w 750997"/>
                <a:gd name="connsiteY19" fmla="*/ 44869 h 1017323"/>
                <a:gd name="connsiteX20" fmla="*/ 750094 w 750997"/>
                <a:gd name="connsiteY20" fmla="*/ 123171 h 1017323"/>
                <a:gd name="connsiteX21" fmla="*/ 750094 w 750997"/>
                <a:gd name="connsiteY21" fmla="*/ 906587 h 1017323"/>
                <a:gd name="connsiteX22" fmla="*/ 750997 w 750997"/>
                <a:gd name="connsiteY22"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619125 w 750997"/>
                <a:gd name="connsiteY7" fmla="*/ 88635 h 1017323"/>
                <a:gd name="connsiteX8" fmla="*/ 673894 w 750997"/>
                <a:gd name="connsiteY8" fmla="*/ 91810 h 1017323"/>
                <a:gd name="connsiteX9" fmla="*/ 671513 w 750997"/>
                <a:gd name="connsiteY9" fmla="*/ 141023 h 1017323"/>
                <a:gd name="connsiteX10" fmla="*/ 671512 w 750997"/>
                <a:gd name="connsiteY10" fmla="*/ 969698 h 1017323"/>
                <a:gd name="connsiteX11" fmla="*/ 669131 w 750997"/>
                <a:gd name="connsiteY11" fmla="*/ 1007798 h 1017323"/>
                <a:gd name="connsiteX12" fmla="*/ 621507 w 750997"/>
                <a:gd name="connsiteY12" fmla="*/ 1014941 h 1017323"/>
                <a:gd name="connsiteX13" fmla="*/ 110736 w 750997"/>
                <a:gd name="connsiteY13" fmla="*/ 1017323 h 1017323"/>
                <a:gd name="connsiteX14" fmla="*/ 32434 w 750997"/>
                <a:gd name="connsiteY14" fmla="*/ 984889 h 1017323"/>
                <a:gd name="connsiteX15" fmla="*/ 0 w 750997"/>
                <a:gd name="connsiteY15" fmla="*/ 906587 h 1017323"/>
                <a:gd name="connsiteX16" fmla="*/ 0 w 750997"/>
                <a:gd name="connsiteY16" fmla="*/ 123171 h 1017323"/>
                <a:gd name="connsiteX17" fmla="*/ 32434 w 750997"/>
                <a:gd name="connsiteY17" fmla="*/ 44869 h 1017323"/>
                <a:gd name="connsiteX18" fmla="*/ 110736 w 750997"/>
                <a:gd name="connsiteY18" fmla="*/ 12435 h 1017323"/>
                <a:gd name="connsiteX19" fmla="*/ 639358 w 750997"/>
                <a:gd name="connsiteY19" fmla="*/ 12435 h 1017323"/>
                <a:gd name="connsiteX20" fmla="*/ 717660 w 750997"/>
                <a:gd name="connsiteY20" fmla="*/ 44869 h 1017323"/>
                <a:gd name="connsiteX21" fmla="*/ 750094 w 750997"/>
                <a:gd name="connsiteY21" fmla="*/ 123171 h 1017323"/>
                <a:gd name="connsiteX22" fmla="*/ 750094 w 750997"/>
                <a:gd name="connsiteY22" fmla="*/ 906587 h 1017323"/>
                <a:gd name="connsiteX23" fmla="*/ 750997 w 750997"/>
                <a:gd name="connsiteY23"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404813 w 750997"/>
                <a:gd name="connsiteY7" fmla="*/ 83874 h 1017323"/>
                <a:gd name="connsiteX8" fmla="*/ 619125 w 750997"/>
                <a:gd name="connsiteY8" fmla="*/ 88635 h 1017323"/>
                <a:gd name="connsiteX9" fmla="*/ 673894 w 750997"/>
                <a:gd name="connsiteY9" fmla="*/ 91810 h 1017323"/>
                <a:gd name="connsiteX10" fmla="*/ 671513 w 750997"/>
                <a:gd name="connsiteY10" fmla="*/ 141023 h 1017323"/>
                <a:gd name="connsiteX11" fmla="*/ 671512 w 750997"/>
                <a:gd name="connsiteY11" fmla="*/ 969698 h 1017323"/>
                <a:gd name="connsiteX12" fmla="*/ 669131 w 750997"/>
                <a:gd name="connsiteY12" fmla="*/ 1007798 h 1017323"/>
                <a:gd name="connsiteX13" fmla="*/ 621507 w 750997"/>
                <a:gd name="connsiteY13" fmla="*/ 1014941 h 1017323"/>
                <a:gd name="connsiteX14" fmla="*/ 110736 w 750997"/>
                <a:gd name="connsiteY14" fmla="*/ 1017323 h 1017323"/>
                <a:gd name="connsiteX15" fmla="*/ 32434 w 750997"/>
                <a:gd name="connsiteY15" fmla="*/ 984889 h 1017323"/>
                <a:gd name="connsiteX16" fmla="*/ 0 w 750997"/>
                <a:gd name="connsiteY16" fmla="*/ 906587 h 1017323"/>
                <a:gd name="connsiteX17" fmla="*/ 0 w 750997"/>
                <a:gd name="connsiteY17" fmla="*/ 123171 h 1017323"/>
                <a:gd name="connsiteX18" fmla="*/ 32434 w 750997"/>
                <a:gd name="connsiteY18" fmla="*/ 44869 h 1017323"/>
                <a:gd name="connsiteX19" fmla="*/ 110736 w 750997"/>
                <a:gd name="connsiteY19" fmla="*/ 12435 h 1017323"/>
                <a:gd name="connsiteX20" fmla="*/ 639358 w 750997"/>
                <a:gd name="connsiteY20" fmla="*/ 12435 h 1017323"/>
                <a:gd name="connsiteX21" fmla="*/ 717660 w 750997"/>
                <a:gd name="connsiteY21" fmla="*/ 44869 h 1017323"/>
                <a:gd name="connsiteX22" fmla="*/ 750094 w 750997"/>
                <a:gd name="connsiteY22" fmla="*/ 123171 h 1017323"/>
                <a:gd name="connsiteX23" fmla="*/ 750094 w 750997"/>
                <a:gd name="connsiteY23" fmla="*/ 906587 h 1017323"/>
                <a:gd name="connsiteX24" fmla="*/ 750997 w 750997"/>
                <a:gd name="connsiteY24"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619125 w 750997"/>
                <a:gd name="connsiteY7" fmla="*/ 88635 h 1017323"/>
                <a:gd name="connsiteX8" fmla="*/ 673894 w 750997"/>
                <a:gd name="connsiteY8" fmla="*/ 91810 h 1017323"/>
                <a:gd name="connsiteX9" fmla="*/ 671513 w 750997"/>
                <a:gd name="connsiteY9" fmla="*/ 141023 h 1017323"/>
                <a:gd name="connsiteX10" fmla="*/ 671512 w 750997"/>
                <a:gd name="connsiteY10" fmla="*/ 969698 h 1017323"/>
                <a:gd name="connsiteX11" fmla="*/ 669131 w 750997"/>
                <a:gd name="connsiteY11" fmla="*/ 1007798 h 1017323"/>
                <a:gd name="connsiteX12" fmla="*/ 621507 w 750997"/>
                <a:gd name="connsiteY12" fmla="*/ 1014941 h 1017323"/>
                <a:gd name="connsiteX13" fmla="*/ 110736 w 750997"/>
                <a:gd name="connsiteY13" fmla="*/ 1017323 h 1017323"/>
                <a:gd name="connsiteX14" fmla="*/ 32434 w 750997"/>
                <a:gd name="connsiteY14" fmla="*/ 984889 h 1017323"/>
                <a:gd name="connsiteX15" fmla="*/ 0 w 750997"/>
                <a:gd name="connsiteY15" fmla="*/ 906587 h 1017323"/>
                <a:gd name="connsiteX16" fmla="*/ 0 w 750997"/>
                <a:gd name="connsiteY16" fmla="*/ 123171 h 1017323"/>
                <a:gd name="connsiteX17" fmla="*/ 32434 w 750997"/>
                <a:gd name="connsiteY17" fmla="*/ 44869 h 1017323"/>
                <a:gd name="connsiteX18" fmla="*/ 110736 w 750997"/>
                <a:gd name="connsiteY18" fmla="*/ 12435 h 1017323"/>
                <a:gd name="connsiteX19" fmla="*/ 639358 w 750997"/>
                <a:gd name="connsiteY19" fmla="*/ 12435 h 1017323"/>
                <a:gd name="connsiteX20" fmla="*/ 717660 w 750997"/>
                <a:gd name="connsiteY20" fmla="*/ 44869 h 1017323"/>
                <a:gd name="connsiteX21" fmla="*/ 750094 w 750997"/>
                <a:gd name="connsiteY21" fmla="*/ 123171 h 1017323"/>
                <a:gd name="connsiteX22" fmla="*/ 750094 w 750997"/>
                <a:gd name="connsiteY22" fmla="*/ 906587 h 1017323"/>
                <a:gd name="connsiteX23" fmla="*/ 750997 w 750997"/>
                <a:gd name="connsiteY23"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619125 w 750997"/>
                <a:gd name="connsiteY7" fmla="*/ 88635 h 1017323"/>
                <a:gd name="connsiteX8" fmla="*/ 673894 w 750997"/>
                <a:gd name="connsiteY8" fmla="*/ 91810 h 1017323"/>
                <a:gd name="connsiteX9" fmla="*/ 671513 w 750997"/>
                <a:gd name="connsiteY9" fmla="*/ 141023 h 1017323"/>
                <a:gd name="connsiteX10" fmla="*/ 671512 w 750997"/>
                <a:gd name="connsiteY10" fmla="*/ 969698 h 1017323"/>
                <a:gd name="connsiteX11" fmla="*/ 669131 w 750997"/>
                <a:gd name="connsiteY11" fmla="*/ 1007798 h 1017323"/>
                <a:gd name="connsiteX12" fmla="*/ 621507 w 750997"/>
                <a:gd name="connsiteY12" fmla="*/ 1014941 h 1017323"/>
                <a:gd name="connsiteX13" fmla="*/ 110736 w 750997"/>
                <a:gd name="connsiteY13" fmla="*/ 1017323 h 1017323"/>
                <a:gd name="connsiteX14" fmla="*/ 32434 w 750997"/>
                <a:gd name="connsiteY14" fmla="*/ 984889 h 1017323"/>
                <a:gd name="connsiteX15" fmla="*/ 0 w 750997"/>
                <a:gd name="connsiteY15" fmla="*/ 906587 h 1017323"/>
                <a:gd name="connsiteX16" fmla="*/ 0 w 750997"/>
                <a:gd name="connsiteY16" fmla="*/ 123171 h 1017323"/>
                <a:gd name="connsiteX17" fmla="*/ 32434 w 750997"/>
                <a:gd name="connsiteY17" fmla="*/ 44869 h 1017323"/>
                <a:gd name="connsiteX18" fmla="*/ 110736 w 750997"/>
                <a:gd name="connsiteY18" fmla="*/ 12435 h 1017323"/>
                <a:gd name="connsiteX19" fmla="*/ 639358 w 750997"/>
                <a:gd name="connsiteY19" fmla="*/ 12435 h 1017323"/>
                <a:gd name="connsiteX20" fmla="*/ 717660 w 750997"/>
                <a:gd name="connsiteY20" fmla="*/ 44869 h 1017323"/>
                <a:gd name="connsiteX21" fmla="*/ 750094 w 750997"/>
                <a:gd name="connsiteY21" fmla="*/ 123171 h 1017323"/>
                <a:gd name="connsiteX22" fmla="*/ 750094 w 750997"/>
                <a:gd name="connsiteY22" fmla="*/ 906587 h 1017323"/>
                <a:gd name="connsiteX23" fmla="*/ 750997 w 750997"/>
                <a:gd name="connsiteY23" fmla="*/ 1015845 h 1017323"/>
                <a:gd name="connsiteX0" fmla="*/ 347663 w 750997"/>
                <a:gd name="connsiteY0" fmla="*/ 857515 h 1022615"/>
                <a:gd name="connsiteX1" fmla="*/ 121444 w 750997"/>
                <a:gd name="connsiteY1" fmla="*/ 858309 h 1022615"/>
                <a:gd name="connsiteX2" fmla="*/ 86519 w 750997"/>
                <a:gd name="connsiteY2" fmla="*/ 857515 h 1022615"/>
                <a:gd name="connsiteX3" fmla="*/ 86519 w 750997"/>
                <a:gd name="connsiteY3" fmla="*/ 817828 h 1022615"/>
                <a:gd name="connsiteX4" fmla="*/ 86519 w 750997"/>
                <a:gd name="connsiteY4" fmla="*/ 132027 h 1022615"/>
                <a:gd name="connsiteX5" fmla="*/ 86519 w 750997"/>
                <a:gd name="connsiteY5" fmla="*/ 97102 h 1022615"/>
                <a:gd name="connsiteX6" fmla="*/ 121444 w 750997"/>
                <a:gd name="connsiteY6" fmla="*/ 96308 h 1022615"/>
                <a:gd name="connsiteX7" fmla="*/ 619125 w 750997"/>
                <a:gd name="connsiteY7" fmla="*/ 93927 h 1022615"/>
                <a:gd name="connsiteX8" fmla="*/ 673894 w 750997"/>
                <a:gd name="connsiteY8" fmla="*/ 97102 h 1022615"/>
                <a:gd name="connsiteX9" fmla="*/ 671513 w 750997"/>
                <a:gd name="connsiteY9" fmla="*/ 146315 h 1022615"/>
                <a:gd name="connsiteX10" fmla="*/ 671512 w 750997"/>
                <a:gd name="connsiteY10" fmla="*/ 974990 h 1022615"/>
                <a:gd name="connsiteX11" fmla="*/ 669131 w 750997"/>
                <a:gd name="connsiteY11" fmla="*/ 1013090 h 1022615"/>
                <a:gd name="connsiteX12" fmla="*/ 621507 w 750997"/>
                <a:gd name="connsiteY12" fmla="*/ 1020233 h 1022615"/>
                <a:gd name="connsiteX13" fmla="*/ 110736 w 750997"/>
                <a:gd name="connsiteY13" fmla="*/ 1022615 h 1022615"/>
                <a:gd name="connsiteX14" fmla="*/ 32434 w 750997"/>
                <a:gd name="connsiteY14" fmla="*/ 990181 h 1022615"/>
                <a:gd name="connsiteX15" fmla="*/ 0 w 750997"/>
                <a:gd name="connsiteY15" fmla="*/ 911879 h 1022615"/>
                <a:gd name="connsiteX16" fmla="*/ 0 w 750997"/>
                <a:gd name="connsiteY16" fmla="*/ 128463 h 1022615"/>
                <a:gd name="connsiteX17" fmla="*/ 32434 w 750997"/>
                <a:gd name="connsiteY17" fmla="*/ 50161 h 1022615"/>
                <a:gd name="connsiteX18" fmla="*/ 110736 w 750997"/>
                <a:gd name="connsiteY18" fmla="*/ 17727 h 1022615"/>
                <a:gd name="connsiteX19" fmla="*/ 639358 w 750997"/>
                <a:gd name="connsiteY19" fmla="*/ 17727 h 1022615"/>
                <a:gd name="connsiteX20" fmla="*/ 717660 w 750997"/>
                <a:gd name="connsiteY20" fmla="*/ 50161 h 1022615"/>
                <a:gd name="connsiteX21" fmla="*/ 750094 w 750997"/>
                <a:gd name="connsiteY21" fmla="*/ 128463 h 1022615"/>
                <a:gd name="connsiteX22" fmla="*/ 750094 w 750997"/>
                <a:gd name="connsiteY22" fmla="*/ 911879 h 1022615"/>
                <a:gd name="connsiteX23" fmla="*/ 750997 w 750997"/>
                <a:gd name="connsiteY23" fmla="*/ 1021137 h 1022615"/>
                <a:gd name="connsiteX0" fmla="*/ 347663 w 750997"/>
                <a:gd name="connsiteY0" fmla="*/ 857515 h 1022615"/>
                <a:gd name="connsiteX1" fmla="*/ 121444 w 750997"/>
                <a:gd name="connsiteY1" fmla="*/ 858309 h 1022615"/>
                <a:gd name="connsiteX2" fmla="*/ 86519 w 750997"/>
                <a:gd name="connsiteY2" fmla="*/ 857515 h 1022615"/>
                <a:gd name="connsiteX3" fmla="*/ 86519 w 750997"/>
                <a:gd name="connsiteY3" fmla="*/ 817828 h 1022615"/>
                <a:gd name="connsiteX4" fmla="*/ 86519 w 750997"/>
                <a:gd name="connsiteY4" fmla="*/ 132027 h 1022615"/>
                <a:gd name="connsiteX5" fmla="*/ 86519 w 750997"/>
                <a:gd name="connsiteY5" fmla="*/ 97102 h 1022615"/>
                <a:gd name="connsiteX6" fmla="*/ 121444 w 750997"/>
                <a:gd name="connsiteY6" fmla="*/ 96308 h 1022615"/>
                <a:gd name="connsiteX7" fmla="*/ 619125 w 750997"/>
                <a:gd name="connsiteY7" fmla="*/ 93927 h 1022615"/>
                <a:gd name="connsiteX8" fmla="*/ 647700 w 750997"/>
                <a:gd name="connsiteY8" fmla="*/ 96309 h 1022615"/>
                <a:gd name="connsiteX9" fmla="*/ 673894 w 750997"/>
                <a:gd name="connsiteY9" fmla="*/ 97102 h 1022615"/>
                <a:gd name="connsiteX10" fmla="*/ 671513 w 750997"/>
                <a:gd name="connsiteY10" fmla="*/ 146315 h 1022615"/>
                <a:gd name="connsiteX11" fmla="*/ 671512 w 750997"/>
                <a:gd name="connsiteY11" fmla="*/ 974990 h 1022615"/>
                <a:gd name="connsiteX12" fmla="*/ 669131 w 750997"/>
                <a:gd name="connsiteY12" fmla="*/ 1013090 h 1022615"/>
                <a:gd name="connsiteX13" fmla="*/ 621507 w 750997"/>
                <a:gd name="connsiteY13" fmla="*/ 1020233 h 1022615"/>
                <a:gd name="connsiteX14" fmla="*/ 110736 w 750997"/>
                <a:gd name="connsiteY14" fmla="*/ 1022615 h 1022615"/>
                <a:gd name="connsiteX15" fmla="*/ 32434 w 750997"/>
                <a:gd name="connsiteY15" fmla="*/ 990181 h 1022615"/>
                <a:gd name="connsiteX16" fmla="*/ 0 w 750997"/>
                <a:gd name="connsiteY16" fmla="*/ 911879 h 1022615"/>
                <a:gd name="connsiteX17" fmla="*/ 0 w 750997"/>
                <a:gd name="connsiteY17" fmla="*/ 128463 h 1022615"/>
                <a:gd name="connsiteX18" fmla="*/ 32434 w 750997"/>
                <a:gd name="connsiteY18" fmla="*/ 50161 h 1022615"/>
                <a:gd name="connsiteX19" fmla="*/ 110736 w 750997"/>
                <a:gd name="connsiteY19" fmla="*/ 17727 h 1022615"/>
                <a:gd name="connsiteX20" fmla="*/ 639358 w 750997"/>
                <a:gd name="connsiteY20" fmla="*/ 17727 h 1022615"/>
                <a:gd name="connsiteX21" fmla="*/ 717660 w 750997"/>
                <a:gd name="connsiteY21" fmla="*/ 50161 h 1022615"/>
                <a:gd name="connsiteX22" fmla="*/ 750094 w 750997"/>
                <a:gd name="connsiteY22" fmla="*/ 128463 h 1022615"/>
                <a:gd name="connsiteX23" fmla="*/ 750094 w 750997"/>
                <a:gd name="connsiteY23" fmla="*/ 911879 h 1022615"/>
                <a:gd name="connsiteX24" fmla="*/ 750997 w 750997"/>
                <a:gd name="connsiteY24" fmla="*/ 1021137 h 1022615"/>
                <a:gd name="connsiteX0" fmla="*/ 347663 w 750997"/>
                <a:gd name="connsiteY0" fmla="*/ 857515 h 1022615"/>
                <a:gd name="connsiteX1" fmla="*/ 121444 w 750997"/>
                <a:gd name="connsiteY1" fmla="*/ 858309 h 1022615"/>
                <a:gd name="connsiteX2" fmla="*/ 86519 w 750997"/>
                <a:gd name="connsiteY2" fmla="*/ 857515 h 1022615"/>
                <a:gd name="connsiteX3" fmla="*/ 86519 w 750997"/>
                <a:gd name="connsiteY3" fmla="*/ 817828 h 1022615"/>
                <a:gd name="connsiteX4" fmla="*/ 86519 w 750997"/>
                <a:gd name="connsiteY4" fmla="*/ 132027 h 1022615"/>
                <a:gd name="connsiteX5" fmla="*/ 86519 w 750997"/>
                <a:gd name="connsiteY5" fmla="*/ 97102 h 1022615"/>
                <a:gd name="connsiteX6" fmla="*/ 121444 w 750997"/>
                <a:gd name="connsiteY6" fmla="*/ 96308 h 1022615"/>
                <a:gd name="connsiteX7" fmla="*/ 619125 w 750997"/>
                <a:gd name="connsiteY7" fmla="*/ 93927 h 1022615"/>
                <a:gd name="connsiteX8" fmla="*/ 673894 w 750997"/>
                <a:gd name="connsiteY8" fmla="*/ 97102 h 1022615"/>
                <a:gd name="connsiteX9" fmla="*/ 671513 w 750997"/>
                <a:gd name="connsiteY9" fmla="*/ 146315 h 1022615"/>
                <a:gd name="connsiteX10" fmla="*/ 671512 w 750997"/>
                <a:gd name="connsiteY10" fmla="*/ 974990 h 1022615"/>
                <a:gd name="connsiteX11" fmla="*/ 669131 w 750997"/>
                <a:gd name="connsiteY11" fmla="*/ 1013090 h 1022615"/>
                <a:gd name="connsiteX12" fmla="*/ 621507 w 750997"/>
                <a:gd name="connsiteY12" fmla="*/ 1020233 h 1022615"/>
                <a:gd name="connsiteX13" fmla="*/ 110736 w 750997"/>
                <a:gd name="connsiteY13" fmla="*/ 1022615 h 1022615"/>
                <a:gd name="connsiteX14" fmla="*/ 32434 w 750997"/>
                <a:gd name="connsiteY14" fmla="*/ 990181 h 1022615"/>
                <a:gd name="connsiteX15" fmla="*/ 0 w 750997"/>
                <a:gd name="connsiteY15" fmla="*/ 911879 h 1022615"/>
                <a:gd name="connsiteX16" fmla="*/ 0 w 750997"/>
                <a:gd name="connsiteY16" fmla="*/ 128463 h 1022615"/>
                <a:gd name="connsiteX17" fmla="*/ 32434 w 750997"/>
                <a:gd name="connsiteY17" fmla="*/ 50161 h 1022615"/>
                <a:gd name="connsiteX18" fmla="*/ 110736 w 750997"/>
                <a:gd name="connsiteY18" fmla="*/ 17727 h 1022615"/>
                <a:gd name="connsiteX19" fmla="*/ 639358 w 750997"/>
                <a:gd name="connsiteY19" fmla="*/ 17727 h 1022615"/>
                <a:gd name="connsiteX20" fmla="*/ 717660 w 750997"/>
                <a:gd name="connsiteY20" fmla="*/ 50161 h 1022615"/>
                <a:gd name="connsiteX21" fmla="*/ 750094 w 750997"/>
                <a:gd name="connsiteY21" fmla="*/ 128463 h 1022615"/>
                <a:gd name="connsiteX22" fmla="*/ 750094 w 750997"/>
                <a:gd name="connsiteY22" fmla="*/ 911879 h 1022615"/>
                <a:gd name="connsiteX23" fmla="*/ 750997 w 750997"/>
                <a:gd name="connsiteY23" fmla="*/ 1021137 h 1022615"/>
                <a:gd name="connsiteX0" fmla="*/ 347663 w 750997"/>
                <a:gd name="connsiteY0" fmla="*/ 857515 h 1022615"/>
                <a:gd name="connsiteX1" fmla="*/ 121444 w 750997"/>
                <a:gd name="connsiteY1" fmla="*/ 858309 h 1022615"/>
                <a:gd name="connsiteX2" fmla="*/ 86519 w 750997"/>
                <a:gd name="connsiteY2" fmla="*/ 857515 h 1022615"/>
                <a:gd name="connsiteX3" fmla="*/ 86519 w 750997"/>
                <a:gd name="connsiteY3" fmla="*/ 817828 h 1022615"/>
                <a:gd name="connsiteX4" fmla="*/ 86519 w 750997"/>
                <a:gd name="connsiteY4" fmla="*/ 132027 h 1022615"/>
                <a:gd name="connsiteX5" fmla="*/ 86519 w 750997"/>
                <a:gd name="connsiteY5" fmla="*/ 97102 h 1022615"/>
                <a:gd name="connsiteX6" fmla="*/ 121444 w 750997"/>
                <a:gd name="connsiteY6" fmla="*/ 96308 h 1022615"/>
                <a:gd name="connsiteX7" fmla="*/ 619125 w 750997"/>
                <a:gd name="connsiteY7" fmla="*/ 93927 h 1022615"/>
                <a:gd name="connsiteX8" fmla="*/ 673894 w 750997"/>
                <a:gd name="connsiteY8" fmla="*/ 97102 h 1022615"/>
                <a:gd name="connsiteX9" fmla="*/ 671513 w 750997"/>
                <a:gd name="connsiteY9" fmla="*/ 146315 h 1022615"/>
                <a:gd name="connsiteX10" fmla="*/ 671512 w 750997"/>
                <a:gd name="connsiteY10" fmla="*/ 974990 h 1022615"/>
                <a:gd name="connsiteX11" fmla="*/ 669131 w 750997"/>
                <a:gd name="connsiteY11" fmla="*/ 1013090 h 1022615"/>
                <a:gd name="connsiteX12" fmla="*/ 621507 w 750997"/>
                <a:gd name="connsiteY12" fmla="*/ 1020233 h 1022615"/>
                <a:gd name="connsiteX13" fmla="*/ 110736 w 750997"/>
                <a:gd name="connsiteY13" fmla="*/ 1022615 h 1022615"/>
                <a:gd name="connsiteX14" fmla="*/ 32434 w 750997"/>
                <a:gd name="connsiteY14" fmla="*/ 990181 h 1022615"/>
                <a:gd name="connsiteX15" fmla="*/ 0 w 750997"/>
                <a:gd name="connsiteY15" fmla="*/ 911879 h 1022615"/>
                <a:gd name="connsiteX16" fmla="*/ 0 w 750997"/>
                <a:gd name="connsiteY16" fmla="*/ 128463 h 1022615"/>
                <a:gd name="connsiteX17" fmla="*/ 32434 w 750997"/>
                <a:gd name="connsiteY17" fmla="*/ 50161 h 1022615"/>
                <a:gd name="connsiteX18" fmla="*/ 110736 w 750997"/>
                <a:gd name="connsiteY18" fmla="*/ 17727 h 1022615"/>
                <a:gd name="connsiteX19" fmla="*/ 639358 w 750997"/>
                <a:gd name="connsiteY19" fmla="*/ 17727 h 1022615"/>
                <a:gd name="connsiteX20" fmla="*/ 717660 w 750997"/>
                <a:gd name="connsiteY20" fmla="*/ 50161 h 1022615"/>
                <a:gd name="connsiteX21" fmla="*/ 750094 w 750997"/>
                <a:gd name="connsiteY21" fmla="*/ 128463 h 1022615"/>
                <a:gd name="connsiteX22" fmla="*/ 750094 w 750997"/>
                <a:gd name="connsiteY22" fmla="*/ 911879 h 1022615"/>
                <a:gd name="connsiteX23" fmla="*/ 750997 w 750997"/>
                <a:gd name="connsiteY23" fmla="*/ 1021137 h 1022615"/>
                <a:gd name="connsiteX0" fmla="*/ 347663 w 750997"/>
                <a:gd name="connsiteY0" fmla="*/ 857515 h 1022615"/>
                <a:gd name="connsiteX1" fmla="*/ 121444 w 750997"/>
                <a:gd name="connsiteY1" fmla="*/ 858309 h 1022615"/>
                <a:gd name="connsiteX2" fmla="*/ 86519 w 750997"/>
                <a:gd name="connsiteY2" fmla="*/ 857515 h 1022615"/>
                <a:gd name="connsiteX3" fmla="*/ 86519 w 750997"/>
                <a:gd name="connsiteY3" fmla="*/ 817828 h 1022615"/>
                <a:gd name="connsiteX4" fmla="*/ 86519 w 750997"/>
                <a:gd name="connsiteY4" fmla="*/ 132027 h 1022615"/>
                <a:gd name="connsiteX5" fmla="*/ 86519 w 750997"/>
                <a:gd name="connsiteY5" fmla="*/ 97102 h 1022615"/>
                <a:gd name="connsiteX6" fmla="*/ 121444 w 750997"/>
                <a:gd name="connsiteY6" fmla="*/ 96308 h 1022615"/>
                <a:gd name="connsiteX7" fmla="*/ 619125 w 750997"/>
                <a:gd name="connsiteY7" fmla="*/ 93927 h 1022615"/>
                <a:gd name="connsiteX8" fmla="*/ 673894 w 750997"/>
                <a:gd name="connsiteY8" fmla="*/ 97102 h 1022615"/>
                <a:gd name="connsiteX9" fmla="*/ 671513 w 750997"/>
                <a:gd name="connsiteY9" fmla="*/ 146315 h 1022615"/>
                <a:gd name="connsiteX10" fmla="*/ 671512 w 750997"/>
                <a:gd name="connsiteY10" fmla="*/ 974990 h 1022615"/>
                <a:gd name="connsiteX11" fmla="*/ 669131 w 750997"/>
                <a:gd name="connsiteY11" fmla="*/ 1013090 h 1022615"/>
                <a:gd name="connsiteX12" fmla="*/ 621507 w 750997"/>
                <a:gd name="connsiteY12" fmla="*/ 1020233 h 1022615"/>
                <a:gd name="connsiteX13" fmla="*/ 110736 w 750997"/>
                <a:gd name="connsiteY13" fmla="*/ 1022615 h 1022615"/>
                <a:gd name="connsiteX14" fmla="*/ 32434 w 750997"/>
                <a:gd name="connsiteY14" fmla="*/ 990181 h 1022615"/>
                <a:gd name="connsiteX15" fmla="*/ 0 w 750997"/>
                <a:gd name="connsiteY15" fmla="*/ 911879 h 1022615"/>
                <a:gd name="connsiteX16" fmla="*/ 0 w 750997"/>
                <a:gd name="connsiteY16" fmla="*/ 128463 h 1022615"/>
                <a:gd name="connsiteX17" fmla="*/ 32434 w 750997"/>
                <a:gd name="connsiteY17" fmla="*/ 50161 h 1022615"/>
                <a:gd name="connsiteX18" fmla="*/ 110736 w 750997"/>
                <a:gd name="connsiteY18" fmla="*/ 17727 h 1022615"/>
                <a:gd name="connsiteX19" fmla="*/ 639358 w 750997"/>
                <a:gd name="connsiteY19" fmla="*/ 17727 h 1022615"/>
                <a:gd name="connsiteX20" fmla="*/ 717660 w 750997"/>
                <a:gd name="connsiteY20" fmla="*/ 50161 h 1022615"/>
                <a:gd name="connsiteX21" fmla="*/ 750094 w 750997"/>
                <a:gd name="connsiteY21" fmla="*/ 128463 h 1022615"/>
                <a:gd name="connsiteX22" fmla="*/ 750094 w 750997"/>
                <a:gd name="connsiteY22" fmla="*/ 911879 h 1022615"/>
                <a:gd name="connsiteX23" fmla="*/ 750997 w 750997"/>
                <a:gd name="connsiteY23" fmla="*/ 1021137 h 1022615"/>
                <a:gd name="connsiteX0" fmla="*/ 347663 w 750997"/>
                <a:gd name="connsiteY0" fmla="*/ 858044 h 1023144"/>
                <a:gd name="connsiteX1" fmla="*/ 121444 w 750997"/>
                <a:gd name="connsiteY1" fmla="*/ 858838 h 1023144"/>
                <a:gd name="connsiteX2" fmla="*/ 86519 w 750997"/>
                <a:gd name="connsiteY2" fmla="*/ 858044 h 1023144"/>
                <a:gd name="connsiteX3" fmla="*/ 86519 w 750997"/>
                <a:gd name="connsiteY3" fmla="*/ 818357 h 1023144"/>
                <a:gd name="connsiteX4" fmla="*/ 86519 w 750997"/>
                <a:gd name="connsiteY4" fmla="*/ 132556 h 1023144"/>
                <a:gd name="connsiteX5" fmla="*/ 86519 w 750997"/>
                <a:gd name="connsiteY5" fmla="*/ 97631 h 1023144"/>
                <a:gd name="connsiteX6" fmla="*/ 121444 w 750997"/>
                <a:gd name="connsiteY6" fmla="*/ 96837 h 1023144"/>
                <a:gd name="connsiteX7" fmla="*/ 619125 w 750997"/>
                <a:gd name="connsiteY7" fmla="*/ 94456 h 1023144"/>
                <a:gd name="connsiteX8" fmla="*/ 671513 w 750997"/>
                <a:gd name="connsiteY8" fmla="*/ 146844 h 1023144"/>
                <a:gd name="connsiteX9" fmla="*/ 671512 w 750997"/>
                <a:gd name="connsiteY9" fmla="*/ 975519 h 1023144"/>
                <a:gd name="connsiteX10" fmla="*/ 669131 w 750997"/>
                <a:gd name="connsiteY10" fmla="*/ 1013619 h 1023144"/>
                <a:gd name="connsiteX11" fmla="*/ 621507 w 750997"/>
                <a:gd name="connsiteY11" fmla="*/ 1020762 h 1023144"/>
                <a:gd name="connsiteX12" fmla="*/ 110736 w 750997"/>
                <a:gd name="connsiteY12" fmla="*/ 1023144 h 1023144"/>
                <a:gd name="connsiteX13" fmla="*/ 32434 w 750997"/>
                <a:gd name="connsiteY13" fmla="*/ 990710 h 1023144"/>
                <a:gd name="connsiteX14" fmla="*/ 0 w 750997"/>
                <a:gd name="connsiteY14" fmla="*/ 912408 h 1023144"/>
                <a:gd name="connsiteX15" fmla="*/ 0 w 750997"/>
                <a:gd name="connsiteY15" fmla="*/ 128992 h 1023144"/>
                <a:gd name="connsiteX16" fmla="*/ 32434 w 750997"/>
                <a:gd name="connsiteY16" fmla="*/ 50690 h 1023144"/>
                <a:gd name="connsiteX17" fmla="*/ 110736 w 750997"/>
                <a:gd name="connsiteY17" fmla="*/ 18256 h 1023144"/>
                <a:gd name="connsiteX18" fmla="*/ 639358 w 750997"/>
                <a:gd name="connsiteY18" fmla="*/ 18256 h 1023144"/>
                <a:gd name="connsiteX19" fmla="*/ 717660 w 750997"/>
                <a:gd name="connsiteY19" fmla="*/ 50690 h 1023144"/>
                <a:gd name="connsiteX20" fmla="*/ 750094 w 750997"/>
                <a:gd name="connsiteY20" fmla="*/ 128992 h 1023144"/>
                <a:gd name="connsiteX21" fmla="*/ 750094 w 750997"/>
                <a:gd name="connsiteY21" fmla="*/ 912408 h 1023144"/>
                <a:gd name="connsiteX22" fmla="*/ 750997 w 750997"/>
                <a:gd name="connsiteY22" fmla="*/ 1021666 h 1023144"/>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619125 w 750997"/>
                <a:gd name="connsiteY7" fmla="*/ 88635 h 1017323"/>
                <a:gd name="connsiteX8" fmla="*/ 671513 w 750997"/>
                <a:gd name="connsiteY8" fmla="*/ 141023 h 1017323"/>
                <a:gd name="connsiteX9" fmla="*/ 671512 w 750997"/>
                <a:gd name="connsiteY9" fmla="*/ 969698 h 1017323"/>
                <a:gd name="connsiteX10" fmla="*/ 669131 w 750997"/>
                <a:gd name="connsiteY10" fmla="*/ 1007798 h 1017323"/>
                <a:gd name="connsiteX11" fmla="*/ 621507 w 750997"/>
                <a:gd name="connsiteY11" fmla="*/ 1014941 h 1017323"/>
                <a:gd name="connsiteX12" fmla="*/ 110736 w 750997"/>
                <a:gd name="connsiteY12" fmla="*/ 1017323 h 1017323"/>
                <a:gd name="connsiteX13" fmla="*/ 32434 w 750997"/>
                <a:gd name="connsiteY13" fmla="*/ 984889 h 1017323"/>
                <a:gd name="connsiteX14" fmla="*/ 0 w 750997"/>
                <a:gd name="connsiteY14" fmla="*/ 906587 h 1017323"/>
                <a:gd name="connsiteX15" fmla="*/ 0 w 750997"/>
                <a:gd name="connsiteY15" fmla="*/ 123171 h 1017323"/>
                <a:gd name="connsiteX16" fmla="*/ 32434 w 750997"/>
                <a:gd name="connsiteY16" fmla="*/ 44869 h 1017323"/>
                <a:gd name="connsiteX17" fmla="*/ 110736 w 750997"/>
                <a:gd name="connsiteY17" fmla="*/ 12435 h 1017323"/>
                <a:gd name="connsiteX18" fmla="*/ 639358 w 750997"/>
                <a:gd name="connsiteY18" fmla="*/ 12435 h 1017323"/>
                <a:gd name="connsiteX19" fmla="*/ 717660 w 750997"/>
                <a:gd name="connsiteY19" fmla="*/ 44869 h 1017323"/>
                <a:gd name="connsiteX20" fmla="*/ 750094 w 750997"/>
                <a:gd name="connsiteY20" fmla="*/ 123171 h 1017323"/>
                <a:gd name="connsiteX21" fmla="*/ 750094 w 750997"/>
                <a:gd name="connsiteY21" fmla="*/ 906587 h 1017323"/>
                <a:gd name="connsiteX22" fmla="*/ 750997 w 750997"/>
                <a:gd name="connsiteY22"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619125 w 750997"/>
                <a:gd name="connsiteY7" fmla="*/ 88635 h 1017323"/>
                <a:gd name="connsiteX8" fmla="*/ 671513 w 750997"/>
                <a:gd name="connsiteY8" fmla="*/ 141023 h 1017323"/>
                <a:gd name="connsiteX9" fmla="*/ 671512 w 750997"/>
                <a:gd name="connsiteY9" fmla="*/ 969698 h 1017323"/>
                <a:gd name="connsiteX10" fmla="*/ 669131 w 750997"/>
                <a:gd name="connsiteY10" fmla="*/ 1007798 h 1017323"/>
                <a:gd name="connsiteX11" fmla="*/ 621507 w 750997"/>
                <a:gd name="connsiteY11" fmla="*/ 1014941 h 1017323"/>
                <a:gd name="connsiteX12" fmla="*/ 110736 w 750997"/>
                <a:gd name="connsiteY12" fmla="*/ 1017323 h 1017323"/>
                <a:gd name="connsiteX13" fmla="*/ 32434 w 750997"/>
                <a:gd name="connsiteY13" fmla="*/ 984889 h 1017323"/>
                <a:gd name="connsiteX14" fmla="*/ 0 w 750997"/>
                <a:gd name="connsiteY14" fmla="*/ 906587 h 1017323"/>
                <a:gd name="connsiteX15" fmla="*/ 0 w 750997"/>
                <a:gd name="connsiteY15" fmla="*/ 123171 h 1017323"/>
                <a:gd name="connsiteX16" fmla="*/ 32434 w 750997"/>
                <a:gd name="connsiteY16" fmla="*/ 44869 h 1017323"/>
                <a:gd name="connsiteX17" fmla="*/ 110736 w 750997"/>
                <a:gd name="connsiteY17" fmla="*/ 12435 h 1017323"/>
                <a:gd name="connsiteX18" fmla="*/ 639358 w 750997"/>
                <a:gd name="connsiteY18" fmla="*/ 12435 h 1017323"/>
                <a:gd name="connsiteX19" fmla="*/ 717660 w 750997"/>
                <a:gd name="connsiteY19" fmla="*/ 44869 h 1017323"/>
                <a:gd name="connsiteX20" fmla="*/ 750094 w 750997"/>
                <a:gd name="connsiteY20" fmla="*/ 123171 h 1017323"/>
                <a:gd name="connsiteX21" fmla="*/ 750094 w 750997"/>
                <a:gd name="connsiteY21" fmla="*/ 906587 h 1017323"/>
                <a:gd name="connsiteX22" fmla="*/ 750997 w 750997"/>
                <a:gd name="connsiteY22"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619125 w 750997"/>
                <a:gd name="connsiteY7" fmla="*/ 88635 h 1017323"/>
                <a:gd name="connsiteX8" fmla="*/ 671513 w 750997"/>
                <a:gd name="connsiteY8" fmla="*/ 141023 h 1017323"/>
                <a:gd name="connsiteX9" fmla="*/ 671512 w 750997"/>
                <a:gd name="connsiteY9" fmla="*/ 969698 h 1017323"/>
                <a:gd name="connsiteX10" fmla="*/ 669131 w 750997"/>
                <a:gd name="connsiteY10" fmla="*/ 1007798 h 1017323"/>
                <a:gd name="connsiteX11" fmla="*/ 621507 w 750997"/>
                <a:gd name="connsiteY11" fmla="*/ 1014941 h 1017323"/>
                <a:gd name="connsiteX12" fmla="*/ 110736 w 750997"/>
                <a:gd name="connsiteY12" fmla="*/ 1017323 h 1017323"/>
                <a:gd name="connsiteX13" fmla="*/ 32434 w 750997"/>
                <a:gd name="connsiteY13" fmla="*/ 984889 h 1017323"/>
                <a:gd name="connsiteX14" fmla="*/ 0 w 750997"/>
                <a:gd name="connsiteY14" fmla="*/ 906587 h 1017323"/>
                <a:gd name="connsiteX15" fmla="*/ 0 w 750997"/>
                <a:gd name="connsiteY15" fmla="*/ 123171 h 1017323"/>
                <a:gd name="connsiteX16" fmla="*/ 32434 w 750997"/>
                <a:gd name="connsiteY16" fmla="*/ 44869 h 1017323"/>
                <a:gd name="connsiteX17" fmla="*/ 110736 w 750997"/>
                <a:gd name="connsiteY17" fmla="*/ 12435 h 1017323"/>
                <a:gd name="connsiteX18" fmla="*/ 639358 w 750997"/>
                <a:gd name="connsiteY18" fmla="*/ 12435 h 1017323"/>
                <a:gd name="connsiteX19" fmla="*/ 717660 w 750997"/>
                <a:gd name="connsiteY19" fmla="*/ 44869 h 1017323"/>
                <a:gd name="connsiteX20" fmla="*/ 750094 w 750997"/>
                <a:gd name="connsiteY20" fmla="*/ 123171 h 1017323"/>
                <a:gd name="connsiteX21" fmla="*/ 750094 w 750997"/>
                <a:gd name="connsiteY21" fmla="*/ 906587 h 1017323"/>
                <a:gd name="connsiteX22" fmla="*/ 750997 w 750997"/>
                <a:gd name="connsiteY22" fmla="*/ 1015845 h 1017323"/>
                <a:gd name="connsiteX0" fmla="*/ 347663 w 750997"/>
                <a:gd name="connsiteY0" fmla="*/ 845741 h 1010841"/>
                <a:gd name="connsiteX1" fmla="*/ 121444 w 750997"/>
                <a:gd name="connsiteY1" fmla="*/ 846535 h 1010841"/>
                <a:gd name="connsiteX2" fmla="*/ 86519 w 750997"/>
                <a:gd name="connsiteY2" fmla="*/ 845741 h 1010841"/>
                <a:gd name="connsiteX3" fmla="*/ 86519 w 750997"/>
                <a:gd name="connsiteY3" fmla="*/ 806054 h 1010841"/>
                <a:gd name="connsiteX4" fmla="*/ 86519 w 750997"/>
                <a:gd name="connsiteY4" fmla="*/ 120253 h 1010841"/>
                <a:gd name="connsiteX5" fmla="*/ 121444 w 750997"/>
                <a:gd name="connsiteY5" fmla="*/ 84534 h 1010841"/>
                <a:gd name="connsiteX6" fmla="*/ 619125 w 750997"/>
                <a:gd name="connsiteY6" fmla="*/ 82153 h 1010841"/>
                <a:gd name="connsiteX7" fmla="*/ 671513 w 750997"/>
                <a:gd name="connsiteY7" fmla="*/ 134541 h 1010841"/>
                <a:gd name="connsiteX8" fmla="*/ 671512 w 750997"/>
                <a:gd name="connsiteY8" fmla="*/ 963216 h 1010841"/>
                <a:gd name="connsiteX9" fmla="*/ 669131 w 750997"/>
                <a:gd name="connsiteY9" fmla="*/ 1001316 h 1010841"/>
                <a:gd name="connsiteX10" fmla="*/ 621507 w 750997"/>
                <a:gd name="connsiteY10" fmla="*/ 1008459 h 1010841"/>
                <a:gd name="connsiteX11" fmla="*/ 110736 w 750997"/>
                <a:gd name="connsiteY11" fmla="*/ 1010841 h 1010841"/>
                <a:gd name="connsiteX12" fmla="*/ 32434 w 750997"/>
                <a:gd name="connsiteY12" fmla="*/ 978407 h 1010841"/>
                <a:gd name="connsiteX13" fmla="*/ 0 w 750997"/>
                <a:gd name="connsiteY13" fmla="*/ 900105 h 1010841"/>
                <a:gd name="connsiteX14" fmla="*/ 0 w 750997"/>
                <a:gd name="connsiteY14" fmla="*/ 116689 h 1010841"/>
                <a:gd name="connsiteX15" fmla="*/ 32434 w 750997"/>
                <a:gd name="connsiteY15" fmla="*/ 38387 h 1010841"/>
                <a:gd name="connsiteX16" fmla="*/ 110736 w 750997"/>
                <a:gd name="connsiteY16" fmla="*/ 5953 h 1010841"/>
                <a:gd name="connsiteX17" fmla="*/ 639358 w 750997"/>
                <a:gd name="connsiteY17" fmla="*/ 5953 h 1010841"/>
                <a:gd name="connsiteX18" fmla="*/ 717660 w 750997"/>
                <a:gd name="connsiteY18" fmla="*/ 38387 h 1010841"/>
                <a:gd name="connsiteX19" fmla="*/ 750094 w 750997"/>
                <a:gd name="connsiteY19" fmla="*/ 116689 h 1010841"/>
                <a:gd name="connsiteX20" fmla="*/ 750094 w 750997"/>
                <a:gd name="connsiteY20" fmla="*/ 900105 h 1010841"/>
                <a:gd name="connsiteX21" fmla="*/ 750997 w 750997"/>
                <a:gd name="connsiteY21" fmla="*/ 1009363 h 1010841"/>
                <a:gd name="connsiteX0" fmla="*/ 347663 w 750997"/>
                <a:gd name="connsiteY0" fmla="*/ 845741 h 1010841"/>
                <a:gd name="connsiteX1" fmla="*/ 121444 w 750997"/>
                <a:gd name="connsiteY1" fmla="*/ 846535 h 1010841"/>
                <a:gd name="connsiteX2" fmla="*/ 86519 w 750997"/>
                <a:gd name="connsiteY2" fmla="*/ 845741 h 1010841"/>
                <a:gd name="connsiteX3" fmla="*/ 86519 w 750997"/>
                <a:gd name="connsiteY3" fmla="*/ 806054 h 1010841"/>
                <a:gd name="connsiteX4" fmla="*/ 86519 w 750997"/>
                <a:gd name="connsiteY4" fmla="*/ 120253 h 1010841"/>
                <a:gd name="connsiteX5" fmla="*/ 121444 w 750997"/>
                <a:gd name="connsiteY5" fmla="*/ 84534 h 1010841"/>
                <a:gd name="connsiteX6" fmla="*/ 619125 w 750997"/>
                <a:gd name="connsiteY6" fmla="*/ 82153 h 1010841"/>
                <a:gd name="connsiteX7" fmla="*/ 671513 w 750997"/>
                <a:gd name="connsiteY7" fmla="*/ 134541 h 1010841"/>
                <a:gd name="connsiteX8" fmla="*/ 671512 w 750997"/>
                <a:gd name="connsiteY8" fmla="*/ 963216 h 1010841"/>
                <a:gd name="connsiteX9" fmla="*/ 669131 w 750997"/>
                <a:gd name="connsiteY9" fmla="*/ 1001316 h 1010841"/>
                <a:gd name="connsiteX10" fmla="*/ 621507 w 750997"/>
                <a:gd name="connsiteY10" fmla="*/ 1008459 h 1010841"/>
                <a:gd name="connsiteX11" fmla="*/ 110736 w 750997"/>
                <a:gd name="connsiteY11" fmla="*/ 1010841 h 1010841"/>
                <a:gd name="connsiteX12" fmla="*/ 32434 w 750997"/>
                <a:gd name="connsiteY12" fmla="*/ 978407 h 1010841"/>
                <a:gd name="connsiteX13" fmla="*/ 0 w 750997"/>
                <a:gd name="connsiteY13" fmla="*/ 900105 h 1010841"/>
                <a:gd name="connsiteX14" fmla="*/ 0 w 750997"/>
                <a:gd name="connsiteY14" fmla="*/ 116689 h 1010841"/>
                <a:gd name="connsiteX15" fmla="*/ 32434 w 750997"/>
                <a:gd name="connsiteY15" fmla="*/ 38387 h 1010841"/>
                <a:gd name="connsiteX16" fmla="*/ 110736 w 750997"/>
                <a:gd name="connsiteY16" fmla="*/ 5953 h 1010841"/>
                <a:gd name="connsiteX17" fmla="*/ 639358 w 750997"/>
                <a:gd name="connsiteY17" fmla="*/ 5953 h 1010841"/>
                <a:gd name="connsiteX18" fmla="*/ 717660 w 750997"/>
                <a:gd name="connsiteY18" fmla="*/ 38387 h 1010841"/>
                <a:gd name="connsiteX19" fmla="*/ 750094 w 750997"/>
                <a:gd name="connsiteY19" fmla="*/ 116689 h 1010841"/>
                <a:gd name="connsiteX20" fmla="*/ 750094 w 750997"/>
                <a:gd name="connsiteY20" fmla="*/ 900105 h 1010841"/>
                <a:gd name="connsiteX21" fmla="*/ 750997 w 750997"/>
                <a:gd name="connsiteY21" fmla="*/ 1009363 h 1010841"/>
                <a:gd name="connsiteX0" fmla="*/ 347663 w 750997"/>
                <a:gd name="connsiteY0" fmla="*/ 839788 h 1004888"/>
                <a:gd name="connsiteX1" fmla="*/ 121444 w 750997"/>
                <a:gd name="connsiteY1" fmla="*/ 840582 h 1004888"/>
                <a:gd name="connsiteX2" fmla="*/ 86519 w 750997"/>
                <a:gd name="connsiteY2" fmla="*/ 839788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69131 w 750997"/>
                <a:gd name="connsiteY9" fmla="*/ 9953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347663 w 750997"/>
                <a:gd name="connsiteY0" fmla="*/ 839788 h 1004888"/>
                <a:gd name="connsiteX1" fmla="*/ 121444 w 750997"/>
                <a:gd name="connsiteY1" fmla="*/ 840582 h 1004888"/>
                <a:gd name="connsiteX2" fmla="*/ 86519 w 750997"/>
                <a:gd name="connsiteY2" fmla="*/ 839788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69131 w 750997"/>
                <a:gd name="connsiteY9" fmla="*/ 9953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347663 w 750997"/>
                <a:gd name="connsiteY0" fmla="*/ 839788 h 1004888"/>
                <a:gd name="connsiteX1" fmla="*/ 121444 w 750997"/>
                <a:gd name="connsiteY1" fmla="*/ 840582 h 1004888"/>
                <a:gd name="connsiteX2" fmla="*/ 86519 w 750997"/>
                <a:gd name="connsiteY2" fmla="*/ 839788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69131 w 750997"/>
                <a:gd name="connsiteY9" fmla="*/ 9953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347663 w 750997"/>
                <a:gd name="connsiteY0" fmla="*/ 839788 h 1004888"/>
                <a:gd name="connsiteX1" fmla="*/ 121444 w 750997"/>
                <a:gd name="connsiteY1" fmla="*/ 840582 h 1004888"/>
                <a:gd name="connsiteX2" fmla="*/ 86519 w 750997"/>
                <a:gd name="connsiteY2" fmla="*/ 839788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69131 w 750997"/>
                <a:gd name="connsiteY9" fmla="*/ 9953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347663 w 750997"/>
                <a:gd name="connsiteY0" fmla="*/ 839788 h 1004888"/>
                <a:gd name="connsiteX1" fmla="*/ 121444 w 750997"/>
                <a:gd name="connsiteY1" fmla="*/ 840582 h 1004888"/>
                <a:gd name="connsiteX2" fmla="*/ 86519 w 750997"/>
                <a:gd name="connsiteY2" fmla="*/ 839788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69131 w 750997"/>
                <a:gd name="connsiteY9" fmla="*/ 9953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69131 w 750997"/>
                <a:gd name="connsiteY8" fmla="*/ 9953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69131 w 750997"/>
                <a:gd name="connsiteY8" fmla="*/ 9953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69131 w 750997"/>
                <a:gd name="connsiteY8" fmla="*/ 9953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69131 w 750997"/>
                <a:gd name="connsiteY8" fmla="*/ 9953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69131 w 750997"/>
                <a:gd name="connsiteY8" fmla="*/ 9953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102916"/>
                <a:gd name="connsiteX1" fmla="*/ 121444 w 750997"/>
                <a:gd name="connsiteY1" fmla="*/ 840582 h 1102916"/>
                <a:gd name="connsiteX2" fmla="*/ 86519 w 750997"/>
                <a:gd name="connsiteY2" fmla="*/ 800101 h 1102916"/>
                <a:gd name="connsiteX3" fmla="*/ 86519 w 750997"/>
                <a:gd name="connsiteY3" fmla="*/ 114300 h 1102916"/>
                <a:gd name="connsiteX4" fmla="*/ 121444 w 750997"/>
                <a:gd name="connsiteY4" fmla="*/ 78581 h 1102916"/>
                <a:gd name="connsiteX5" fmla="*/ 619125 w 750997"/>
                <a:gd name="connsiteY5" fmla="*/ 76200 h 1102916"/>
                <a:gd name="connsiteX6" fmla="*/ 671513 w 750997"/>
                <a:gd name="connsiteY6" fmla="*/ 128588 h 1102916"/>
                <a:gd name="connsiteX7" fmla="*/ 671512 w 750997"/>
                <a:gd name="connsiteY7" fmla="*/ 957263 h 1102916"/>
                <a:gd name="connsiteX8" fmla="*/ 621507 w 750997"/>
                <a:gd name="connsiteY8" fmla="*/ 1002506 h 1102916"/>
                <a:gd name="connsiteX9" fmla="*/ 110736 w 750997"/>
                <a:gd name="connsiteY9" fmla="*/ 1004888 h 1102916"/>
                <a:gd name="connsiteX10" fmla="*/ 32434 w 750997"/>
                <a:gd name="connsiteY10" fmla="*/ 972454 h 1102916"/>
                <a:gd name="connsiteX11" fmla="*/ 0 w 750997"/>
                <a:gd name="connsiteY11" fmla="*/ 894152 h 1102916"/>
                <a:gd name="connsiteX12" fmla="*/ 0 w 750997"/>
                <a:gd name="connsiteY12" fmla="*/ 110736 h 1102916"/>
                <a:gd name="connsiteX13" fmla="*/ 32434 w 750997"/>
                <a:gd name="connsiteY13" fmla="*/ 32434 h 1102916"/>
                <a:gd name="connsiteX14" fmla="*/ 110736 w 750997"/>
                <a:gd name="connsiteY14" fmla="*/ 0 h 1102916"/>
                <a:gd name="connsiteX15" fmla="*/ 639358 w 750997"/>
                <a:gd name="connsiteY15" fmla="*/ 0 h 1102916"/>
                <a:gd name="connsiteX16" fmla="*/ 717660 w 750997"/>
                <a:gd name="connsiteY16" fmla="*/ 32434 h 1102916"/>
                <a:gd name="connsiteX17" fmla="*/ 750094 w 750997"/>
                <a:gd name="connsiteY17" fmla="*/ 110736 h 1102916"/>
                <a:gd name="connsiteX18" fmla="*/ 750094 w 750997"/>
                <a:gd name="connsiteY18" fmla="*/ 894152 h 1102916"/>
                <a:gd name="connsiteX19" fmla="*/ 750997 w 750997"/>
                <a:gd name="connsiteY19" fmla="*/ 1003410 h 1102916"/>
                <a:gd name="connsiteX0" fmla="*/ 347663 w 750997"/>
                <a:gd name="connsiteY0" fmla="*/ 839788 h 1102916"/>
                <a:gd name="connsiteX1" fmla="*/ 121444 w 750997"/>
                <a:gd name="connsiteY1" fmla="*/ 840582 h 1102916"/>
                <a:gd name="connsiteX2" fmla="*/ 86519 w 750997"/>
                <a:gd name="connsiteY2" fmla="*/ 800101 h 1102916"/>
                <a:gd name="connsiteX3" fmla="*/ 86519 w 750997"/>
                <a:gd name="connsiteY3" fmla="*/ 114300 h 1102916"/>
                <a:gd name="connsiteX4" fmla="*/ 121444 w 750997"/>
                <a:gd name="connsiteY4" fmla="*/ 78581 h 1102916"/>
                <a:gd name="connsiteX5" fmla="*/ 619125 w 750997"/>
                <a:gd name="connsiteY5" fmla="*/ 76200 h 1102916"/>
                <a:gd name="connsiteX6" fmla="*/ 671513 w 750997"/>
                <a:gd name="connsiteY6" fmla="*/ 128588 h 1102916"/>
                <a:gd name="connsiteX7" fmla="*/ 671512 w 750997"/>
                <a:gd name="connsiteY7" fmla="*/ 957263 h 1102916"/>
                <a:gd name="connsiteX8" fmla="*/ 621507 w 750997"/>
                <a:gd name="connsiteY8" fmla="*/ 1002506 h 1102916"/>
                <a:gd name="connsiteX9" fmla="*/ 110736 w 750997"/>
                <a:gd name="connsiteY9" fmla="*/ 1004888 h 1102916"/>
                <a:gd name="connsiteX10" fmla="*/ 32434 w 750997"/>
                <a:gd name="connsiteY10" fmla="*/ 972454 h 1102916"/>
                <a:gd name="connsiteX11" fmla="*/ 0 w 750997"/>
                <a:gd name="connsiteY11" fmla="*/ 894152 h 1102916"/>
                <a:gd name="connsiteX12" fmla="*/ 0 w 750997"/>
                <a:gd name="connsiteY12" fmla="*/ 110736 h 1102916"/>
                <a:gd name="connsiteX13" fmla="*/ 32434 w 750997"/>
                <a:gd name="connsiteY13" fmla="*/ 32434 h 1102916"/>
                <a:gd name="connsiteX14" fmla="*/ 110736 w 750997"/>
                <a:gd name="connsiteY14" fmla="*/ 0 h 1102916"/>
                <a:gd name="connsiteX15" fmla="*/ 639358 w 750997"/>
                <a:gd name="connsiteY15" fmla="*/ 0 h 1102916"/>
                <a:gd name="connsiteX16" fmla="*/ 717660 w 750997"/>
                <a:gd name="connsiteY16" fmla="*/ 32434 h 1102916"/>
                <a:gd name="connsiteX17" fmla="*/ 750094 w 750997"/>
                <a:gd name="connsiteY17" fmla="*/ 110736 h 1102916"/>
                <a:gd name="connsiteX18" fmla="*/ 750094 w 750997"/>
                <a:gd name="connsiteY18" fmla="*/ 894152 h 1102916"/>
                <a:gd name="connsiteX19" fmla="*/ 750997 w 750997"/>
                <a:gd name="connsiteY19" fmla="*/ 1003410 h 1102916"/>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004888"/>
                <a:gd name="connsiteX1" fmla="*/ 326232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39788 h 1004888"/>
                <a:gd name="connsiteX1" fmla="*/ 326232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295276 w 750997"/>
                <a:gd name="connsiteY0" fmla="*/ 915988 h 1004888"/>
                <a:gd name="connsiteX1" fmla="*/ 326232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295276 w 750997"/>
                <a:gd name="connsiteY0" fmla="*/ 915988 h 1004888"/>
                <a:gd name="connsiteX1" fmla="*/ 371476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295276 w 750997"/>
                <a:gd name="connsiteY0" fmla="*/ 915988 h 1004888"/>
                <a:gd name="connsiteX1" fmla="*/ 369095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295276 w 750997"/>
                <a:gd name="connsiteY0" fmla="*/ 915988 h 1004888"/>
                <a:gd name="connsiteX1" fmla="*/ 354807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295276 w 750997"/>
                <a:gd name="connsiteY0" fmla="*/ 915988 h 1004888"/>
                <a:gd name="connsiteX1" fmla="*/ 354807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295276 w 750997"/>
                <a:gd name="connsiteY0" fmla="*/ 915988 h 1004888"/>
                <a:gd name="connsiteX1" fmla="*/ 390525 w 750997"/>
                <a:gd name="connsiteY1" fmla="*/ 904875 h 1004888"/>
                <a:gd name="connsiteX2" fmla="*/ 354807 w 750997"/>
                <a:gd name="connsiteY2" fmla="*/ 838200 h 1004888"/>
                <a:gd name="connsiteX3" fmla="*/ 121444 w 750997"/>
                <a:gd name="connsiteY3" fmla="*/ 840582 h 1004888"/>
                <a:gd name="connsiteX4" fmla="*/ 86519 w 750997"/>
                <a:gd name="connsiteY4" fmla="*/ 800101 h 1004888"/>
                <a:gd name="connsiteX5" fmla="*/ 86519 w 750997"/>
                <a:gd name="connsiteY5" fmla="*/ 114300 h 1004888"/>
                <a:gd name="connsiteX6" fmla="*/ 121444 w 750997"/>
                <a:gd name="connsiteY6" fmla="*/ 78581 h 1004888"/>
                <a:gd name="connsiteX7" fmla="*/ 619125 w 750997"/>
                <a:gd name="connsiteY7" fmla="*/ 76200 h 1004888"/>
                <a:gd name="connsiteX8" fmla="*/ 671513 w 750997"/>
                <a:gd name="connsiteY8" fmla="*/ 128588 h 1004888"/>
                <a:gd name="connsiteX9" fmla="*/ 671512 w 750997"/>
                <a:gd name="connsiteY9" fmla="*/ 9572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295276 w 750997"/>
                <a:gd name="connsiteY0" fmla="*/ 915988 h 1004888"/>
                <a:gd name="connsiteX1" fmla="*/ 409575 w 750997"/>
                <a:gd name="connsiteY1" fmla="*/ 912019 h 1004888"/>
                <a:gd name="connsiteX2" fmla="*/ 354807 w 750997"/>
                <a:gd name="connsiteY2" fmla="*/ 838200 h 1004888"/>
                <a:gd name="connsiteX3" fmla="*/ 121444 w 750997"/>
                <a:gd name="connsiteY3" fmla="*/ 840582 h 1004888"/>
                <a:gd name="connsiteX4" fmla="*/ 86519 w 750997"/>
                <a:gd name="connsiteY4" fmla="*/ 800101 h 1004888"/>
                <a:gd name="connsiteX5" fmla="*/ 86519 w 750997"/>
                <a:gd name="connsiteY5" fmla="*/ 114300 h 1004888"/>
                <a:gd name="connsiteX6" fmla="*/ 121444 w 750997"/>
                <a:gd name="connsiteY6" fmla="*/ 78581 h 1004888"/>
                <a:gd name="connsiteX7" fmla="*/ 619125 w 750997"/>
                <a:gd name="connsiteY7" fmla="*/ 76200 h 1004888"/>
                <a:gd name="connsiteX8" fmla="*/ 671513 w 750997"/>
                <a:gd name="connsiteY8" fmla="*/ 128588 h 1004888"/>
                <a:gd name="connsiteX9" fmla="*/ 671512 w 750997"/>
                <a:gd name="connsiteY9" fmla="*/ 9572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295276 w 750997"/>
                <a:gd name="connsiteY0" fmla="*/ 915988 h 1011767"/>
                <a:gd name="connsiteX1" fmla="*/ 409575 w 750997"/>
                <a:gd name="connsiteY1" fmla="*/ 912019 h 1011767"/>
                <a:gd name="connsiteX2" fmla="*/ 354807 w 750997"/>
                <a:gd name="connsiteY2" fmla="*/ 838200 h 1011767"/>
                <a:gd name="connsiteX3" fmla="*/ 121444 w 750997"/>
                <a:gd name="connsiteY3" fmla="*/ 840582 h 1011767"/>
                <a:gd name="connsiteX4" fmla="*/ 86519 w 750997"/>
                <a:gd name="connsiteY4" fmla="*/ 800101 h 1011767"/>
                <a:gd name="connsiteX5" fmla="*/ 86519 w 750997"/>
                <a:gd name="connsiteY5" fmla="*/ 114300 h 1011767"/>
                <a:gd name="connsiteX6" fmla="*/ 121444 w 750997"/>
                <a:gd name="connsiteY6" fmla="*/ 78581 h 1011767"/>
                <a:gd name="connsiteX7" fmla="*/ 619125 w 750997"/>
                <a:gd name="connsiteY7" fmla="*/ 76200 h 1011767"/>
                <a:gd name="connsiteX8" fmla="*/ 671513 w 750997"/>
                <a:gd name="connsiteY8" fmla="*/ 128588 h 1011767"/>
                <a:gd name="connsiteX9" fmla="*/ 671512 w 750997"/>
                <a:gd name="connsiteY9" fmla="*/ 957263 h 1011767"/>
                <a:gd name="connsiteX10" fmla="*/ 621507 w 750997"/>
                <a:gd name="connsiteY10" fmla="*/ 1002506 h 1011767"/>
                <a:gd name="connsiteX11" fmla="*/ 110736 w 750997"/>
                <a:gd name="connsiteY11" fmla="*/ 1004888 h 1011767"/>
                <a:gd name="connsiteX12" fmla="*/ 32434 w 750997"/>
                <a:gd name="connsiteY12" fmla="*/ 972454 h 1011767"/>
                <a:gd name="connsiteX13" fmla="*/ 0 w 750997"/>
                <a:gd name="connsiteY13" fmla="*/ 894152 h 1011767"/>
                <a:gd name="connsiteX14" fmla="*/ 0 w 750997"/>
                <a:gd name="connsiteY14" fmla="*/ 110736 h 1011767"/>
                <a:gd name="connsiteX15" fmla="*/ 32434 w 750997"/>
                <a:gd name="connsiteY15" fmla="*/ 32434 h 1011767"/>
                <a:gd name="connsiteX16" fmla="*/ 110736 w 750997"/>
                <a:gd name="connsiteY16" fmla="*/ 0 h 1011767"/>
                <a:gd name="connsiteX17" fmla="*/ 639358 w 750997"/>
                <a:gd name="connsiteY17" fmla="*/ 0 h 1011767"/>
                <a:gd name="connsiteX18" fmla="*/ 717660 w 750997"/>
                <a:gd name="connsiteY18" fmla="*/ 32434 h 1011767"/>
                <a:gd name="connsiteX19" fmla="*/ 750094 w 750997"/>
                <a:gd name="connsiteY19" fmla="*/ 110736 h 1011767"/>
                <a:gd name="connsiteX20" fmla="*/ 750094 w 750997"/>
                <a:gd name="connsiteY20" fmla="*/ 894152 h 1011767"/>
                <a:gd name="connsiteX21" fmla="*/ 750997 w 750997"/>
                <a:gd name="connsiteY21" fmla="*/ 1003410 h 1011767"/>
                <a:gd name="connsiteX0" fmla="*/ 295276 w 750997"/>
                <a:gd name="connsiteY0" fmla="*/ 915988 h 1004888"/>
                <a:gd name="connsiteX1" fmla="*/ 409575 w 750997"/>
                <a:gd name="connsiteY1" fmla="*/ 912019 h 1004888"/>
                <a:gd name="connsiteX2" fmla="*/ 354807 w 750997"/>
                <a:gd name="connsiteY2" fmla="*/ 838200 h 1004888"/>
                <a:gd name="connsiteX3" fmla="*/ 121444 w 750997"/>
                <a:gd name="connsiteY3" fmla="*/ 840582 h 1004888"/>
                <a:gd name="connsiteX4" fmla="*/ 86519 w 750997"/>
                <a:gd name="connsiteY4" fmla="*/ 800101 h 1004888"/>
                <a:gd name="connsiteX5" fmla="*/ 86519 w 750997"/>
                <a:gd name="connsiteY5" fmla="*/ 114300 h 1004888"/>
                <a:gd name="connsiteX6" fmla="*/ 121444 w 750997"/>
                <a:gd name="connsiteY6" fmla="*/ 78581 h 1004888"/>
                <a:gd name="connsiteX7" fmla="*/ 619125 w 750997"/>
                <a:gd name="connsiteY7" fmla="*/ 76200 h 1004888"/>
                <a:gd name="connsiteX8" fmla="*/ 671513 w 750997"/>
                <a:gd name="connsiteY8" fmla="*/ 128588 h 1004888"/>
                <a:gd name="connsiteX9" fmla="*/ 671512 w 750997"/>
                <a:gd name="connsiteY9" fmla="*/ 9572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295276 w 750997"/>
                <a:gd name="connsiteY0" fmla="*/ 915988 h 1004888"/>
                <a:gd name="connsiteX1" fmla="*/ 400050 w 750997"/>
                <a:gd name="connsiteY1" fmla="*/ 902494 h 1004888"/>
                <a:gd name="connsiteX2" fmla="*/ 354807 w 750997"/>
                <a:gd name="connsiteY2" fmla="*/ 838200 h 1004888"/>
                <a:gd name="connsiteX3" fmla="*/ 121444 w 750997"/>
                <a:gd name="connsiteY3" fmla="*/ 840582 h 1004888"/>
                <a:gd name="connsiteX4" fmla="*/ 86519 w 750997"/>
                <a:gd name="connsiteY4" fmla="*/ 800101 h 1004888"/>
                <a:gd name="connsiteX5" fmla="*/ 86519 w 750997"/>
                <a:gd name="connsiteY5" fmla="*/ 114300 h 1004888"/>
                <a:gd name="connsiteX6" fmla="*/ 121444 w 750997"/>
                <a:gd name="connsiteY6" fmla="*/ 78581 h 1004888"/>
                <a:gd name="connsiteX7" fmla="*/ 619125 w 750997"/>
                <a:gd name="connsiteY7" fmla="*/ 76200 h 1004888"/>
                <a:gd name="connsiteX8" fmla="*/ 671513 w 750997"/>
                <a:gd name="connsiteY8" fmla="*/ 128588 h 1004888"/>
                <a:gd name="connsiteX9" fmla="*/ 671512 w 750997"/>
                <a:gd name="connsiteY9" fmla="*/ 9572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295276 w 750997"/>
                <a:gd name="connsiteY0" fmla="*/ 915988 h 1004888"/>
                <a:gd name="connsiteX1" fmla="*/ 404812 w 750997"/>
                <a:gd name="connsiteY1" fmla="*/ 904875 h 1004888"/>
                <a:gd name="connsiteX2" fmla="*/ 354807 w 750997"/>
                <a:gd name="connsiteY2" fmla="*/ 838200 h 1004888"/>
                <a:gd name="connsiteX3" fmla="*/ 121444 w 750997"/>
                <a:gd name="connsiteY3" fmla="*/ 840582 h 1004888"/>
                <a:gd name="connsiteX4" fmla="*/ 86519 w 750997"/>
                <a:gd name="connsiteY4" fmla="*/ 800101 h 1004888"/>
                <a:gd name="connsiteX5" fmla="*/ 86519 w 750997"/>
                <a:gd name="connsiteY5" fmla="*/ 114300 h 1004888"/>
                <a:gd name="connsiteX6" fmla="*/ 121444 w 750997"/>
                <a:gd name="connsiteY6" fmla="*/ 78581 h 1004888"/>
                <a:gd name="connsiteX7" fmla="*/ 619125 w 750997"/>
                <a:gd name="connsiteY7" fmla="*/ 76200 h 1004888"/>
                <a:gd name="connsiteX8" fmla="*/ 671513 w 750997"/>
                <a:gd name="connsiteY8" fmla="*/ 128588 h 1004888"/>
                <a:gd name="connsiteX9" fmla="*/ 671512 w 750997"/>
                <a:gd name="connsiteY9" fmla="*/ 9572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295276 w 750997"/>
                <a:gd name="connsiteY0" fmla="*/ 915988 h 1004888"/>
                <a:gd name="connsiteX1" fmla="*/ 378619 w 750997"/>
                <a:gd name="connsiteY1" fmla="*/ 945356 h 1004888"/>
                <a:gd name="connsiteX2" fmla="*/ 404812 w 750997"/>
                <a:gd name="connsiteY2" fmla="*/ 904875 h 1004888"/>
                <a:gd name="connsiteX3" fmla="*/ 354807 w 750997"/>
                <a:gd name="connsiteY3" fmla="*/ 838200 h 1004888"/>
                <a:gd name="connsiteX4" fmla="*/ 121444 w 750997"/>
                <a:gd name="connsiteY4" fmla="*/ 840582 h 1004888"/>
                <a:gd name="connsiteX5" fmla="*/ 86519 w 750997"/>
                <a:gd name="connsiteY5" fmla="*/ 800101 h 1004888"/>
                <a:gd name="connsiteX6" fmla="*/ 86519 w 750997"/>
                <a:gd name="connsiteY6" fmla="*/ 114300 h 1004888"/>
                <a:gd name="connsiteX7" fmla="*/ 121444 w 750997"/>
                <a:gd name="connsiteY7" fmla="*/ 78581 h 1004888"/>
                <a:gd name="connsiteX8" fmla="*/ 619125 w 750997"/>
                <a:gd name="connsiteY8" fmla="*/ 76200 h 1004888"/>
                <a:gd name="connsiteX9" fmla="*/ 671513 w 750997"/>
                <a:gd name="connsiteY9" fmla="*/ 128588 h 1004888"/>
                <a:gd name="connsiteX10" fmla="*/ 671512 w 750997"/>
                <a:gd name="connsiteY10" fmla="*/ 957263 h 1004888"/>
                <a:gd name="connsiteX11" fmla="*/ 621507 w 750997"/>
                <a:gd name="connsiteY11" fmla="*/ 1002506 h 1004888"/>
                <a:gd name="connsiteX12" fmla="*/ 110736 w 750997"/>
                <a:gd name="connsiteY12" fmla="*/ 1004888 h 1004888"/>
                <a:gd name="connsiteX13" fmla="*/ 32434 w 750997"/>
                <a:gd name="connsiteY13" fmla="*/ 972454 h 1004888"/>
                <a:gd name="connsiteX14" fmla="*/ 0 w 750997"/>
                <a:gd name="connsiteY14" fmla="*/ 894152 h 1004888"/>
                <a:gd name="connsiteX15" fmla="*/ 0 w 750997"/>
                <a:gd name="connsiteY15" fmla="*/ 110736 h 1004888"/>
                <a:gd name="connsiteX16" fmla="*/ 32434 w 750997"/>
                <a:gd name="connsiteY16" fmla="*/ 32434 h 1004888"/>
                <a:gd name="connsiteX17" fmla="*/ 110736 w 750997"/>
                <a:gd name="connsiteY17" fmla="*/ 0 h 1004888"/>
                <a:gd name="connsiteX18" fmla="*/ 639358 w 750997"/>
                <a:gd name="connsiteY18" fmla="*/ 0 h 1004888"/>
                <a:gd name="connsiteX19" fmla="*/ 717660 w 750997"/>
                <a:gd name="connsiteY19" fmla="*/ 32434 h 1004888"/>
                <a:gd name="connsiteX20" fmla="*/ 750094 w 750997"/>
                <a:gd name="connsiteY20" fmla="*/ 110736 h 1004888"/>
                <a:gd name="connsiteX21" fmla="*/ 750094 w 750997"/>
                <a:gd name="connsiteY21" fmla="*/ 894152 h 1004888"/>
                <a:gd name="connsiteX22" fmla="*/ 750997 w 750997"/>
                <a:gd name="connsiteY22" fmla="*/ 1003410 h 1004888"/>
                <a:gd name="connsiteX0" fmla="*/ 295276 w 750997"/>
                <a:gd name="connsiteY0" fmla="*/ 915988 h 1004888"/>
                <a:gd name="connsiteX1" fmla="*/ 378619 w 750997"/>
                <a:gd name="connsiteY1" fmla="*/ 945356 h 1004888"/>
                <a:gd name="connsiteX2" fmla="*/ 404812 w 750997"/>
                <a:gd name="connsiteY2" fmla="*/ 904875 h 1004888"/>
                <a:gd name="connsiteX3" fmla="*/ 354807 w 750997"/>
                <a:gd name="connsiteY3" fmla="*/ 838200 h 1004888"/>
                <a:gd name="connsiteX4" fmla="*/ 121444 w 750997"/>
                <a:gd name="connsiteY4" fmla="*/ 840582 h 1004888"/>
                <a:gd name="connsiteX5" fmla="*/ 86519 w 750997"/>
                <a:gd name="connsiteY5" fmla="*/ 800101 h 1004888"/>
                <a:gd name="connsiteX6" fmla="*/ 86519 w 750997"/>
                <a:gd name="connsiteY6" fmla="*/ 114300 h 1004888"/>
                <a:gd name="connsiteX7" fmla="*/ 121444 w 750997"/>
                <a:gd name="connsiteY7" fmla="*/ 78581 h 1004888"/>
                <a:gd name="connsiteX8" fmla="*/ 619125 w 750997"/>
                <a:gd name="connsiteY8" fmla="*/ 76200 h 1004888"/>
                <a:gd name="connsiteX9" fmla="*/ 671513 w 750997"/>
                <a:gd name="connsiteY9" fmla="*/ 128588 h 1004888"/>
                <a:gd name="connsiteX10" fmla="*/ 671512 w 750997"/>
                <a:gd name="connsiteY10" fmla="*/ 957263 h 1004888"/>
                <a:gd name="connsiteX11" fmla="*/ 621507 w 750997"/>
                <a:gd name="connsiteY11" fmla="*/ 1002506 h 1004888"/>
                <a:gd name="connsiteX12" fmla="*/ 110736 w 750997"/>
                <a:gd name="connsiteY12" fmla="*/ 1004888 h 1004888"/>
                <a:gd name="connsiteX13" fmla="*/ 32434 w 750997"/>
                <a:gd name="connsiteY13" fmla="*/ 972454 h 1004888"/>
                <a:gd name="connsiteX14" fmla="*/ 0 w 750997"/>
                <a:gd name="connsiteY14" fmla="*/ 894152 h 1004888"/>
                <a:gd name="connsiteX15" fmla="*/ 0 w 750997"/>
                <a:gd name="connsiteY15" fmla="*/ 110736 h 1004888"/>
                <a:gd name="connsiteX16" fmla="*/ 32434 w 750997"/>
                <a:gd name="connsiteY16" fmla="*/ 32434 h 1004888"/>
                <a:gd name="connsiteX17" fmla="*/ 110736 w 750997"/>
                <a:gd name="connsiteY17" fmla="*/ 0 h 1004888"/>
                <a:gd name="connsiteX18" fmla="*/ 639358 w 750997"/>
                <a:gd name="connsiteY18" fmla="*/ 0 h 1004888"/>
                <a:gd name="connsiteX19" fmla="*/ 717660 w 750997"/>
                <a:gd name="connsiteY19" fmla="*/ 32434 h 1004888"/>
                <a:gd name="connsiteX20" fmla="*/ 750094 w 750997"/>
                <a:gd name="connsiteY20" fmla="*/ 110736 h 1004888"/>
                <a:gd name="connsiteX21" fmla="*/ 750094 w 750997"/>
                <a:gd name="connsiteY21" fmla="*/ 894152 h 1004888"/>
                <a:gd name="connsiteX22" fmla="*/ 750997 w 750997"/>
                <a:gd name="connsiteY22" fmla="*/ 1003410 h 1004888"/>
                <a:gd name="connsiteX0" fmla="*/ 295276 w 750997"/>
                <a:gd name="connsiteY0" fmla="*/ 915988 h 1004888"/>
                <a:gd name="connsiteX1" fmla="*/ 378619 w 750997"/>
                <a:gd name="connsiteY1" fmla="*/ 945356 h 1004888"/>
                <a:gd name="connsiteX2" fmla="*/ 407193 w 750997"/>
                <a:gd name="connsiteY2" fmla="*/ 907256 h 1004888"/>
                <a:gd name="connsiteX3" fmla="*/ 354807 w 750997"/>
                <a:gd name="connsiteY3" fmla="*/ 838200 h 1004888"/>
                <a:gd name="connsiteX4" fmla="*/ 121444 w 750997"/>
                <a:gd name="connsiteY4" fmla="*/ 840582 h 1004888"/>
                <a:gd name="connsiteX5" fmla="*/ 86519 w 750997"/>
                <a:gd name="connsiteY5" fmla="*/ 800101 h 1004888"/>
                <a:gd name="connsiteX6" fmla="*/ 86519 w 750997"/>
                <a:gd name="connsiteY6" fmla="*/ 114300 h 1004888"/>
                <a:gd name="connsiteX7" fmla="*/ 121444 w 750997"/>
                <a:gd name="connsiteY7" fmla="*/ 78581 h 1004888"/>
                <a:gd name="connsiteX8" fmla="*/ 619125 w 750997"/>
                <a:gd name="connsiteY8" fmla="*/ 76200 h 1004888"/>
                <a:gd name="connsiteX9" fmla="*/ 671513 w 750997"/>
                <a:gd name="connsiteY9" fmla="*/ 128588 h 1004888"/>
                <a:gd name="connsiteX10" fmla="*/ 671512 w 750997"/>
                <a:gd name="connsiteY10" fmla="*/ 957263 h 1004888"/>
                <a:gd name="connsiteX11" fmla="*/ 621507 w 750997"/>
                <a:gd name="connsiteY11" fmla="*/ 1002506 h 1004888"/>
                <a:gd name="connsiteX12" fmla="*/ 110736 w 750997"/>
                <a:gd name="connsiteY12" fmla="*/ 1004888 h 1004888"/>
                <a:gd name="connsiteX13" fmla="*/ 32434 w 750997"/>
                <a:gd name="connsiteY13" fmla="*/ 972454 h 1004888"/>
                <a:gd name="connsiteX14" fmla="*/ 0 w 750997"/>
                <a:gd name="connsiteY14" fmla="*/ 894152 h 1004888"/>
                <a:gd name="connsiteX15" fmla="*/ 0 w 750997"/>
                <a:gd name="connsiteY15" fmla="*/ 110736 h 1004888"/>
                <a:gd name="connsiteX16" fmla="*/ 32434 w 750997"/>
                <a:gd name="connsiteY16" fmla="*/ 32434 h 1004888"/>
                <a:gd name="connsiteX17" fmla="*/ 110736 w 750997"/>
                <a:gd name="connsiteY17" fmla="*/ 0 h 1004888"/>
                <a:gd name="connsiteX18" fmla="*/ 639358 w 750997"/>
                <a:gd name="connsiteY18" fmla="*/ 0 h 1004888"/>
                <a:gd name="connsiteX19" fmla="*/ 717660 w 750997"/>
                <a:gd name="connsiteY19" fmla="*/ 32434 h 1004888"/>
                <a:gd name="connsiteX20" fmla="*/ 750094 w 750997"/>
                <a:gd name="connsiteY20" fmla="*/ 110736 h 1004888"/>
                <a:gd name="connsiteX21" fmla="*/ 750094 w 750997"/>
                <a:gd name="connsiteY21" fmla="*/ 894152 h 1004888"/>
                <a:gd name="connsiteX22" fmla="*/ 750997 w 750997"/>
                <a:gd name="connsiteY22" fmla="*/ 1003410 h 1004888"/>
                <a:gd name="connsiteX0" fmla="*/ 295276 w 750997"/>
                <a:gd name="connsiteY0" fmla="*/ 915988 h 1004888"/>
                <a:gd name="connsiteX1" fmla="*/ 333375 w 750997"/>
                <a:gd name="connsiteY1" fmla="*/ 931069 h 1004888"/>
                <a:gd name="connsiteX2" fmla="*/ 378619 w 750997"/>
                <a:gd name="connsiteY2" fmla="*/ 945356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95276 w 750997"/>
                <a:gd name="connsiteY0" fmla="*/ 915988 h 1004888"/>
                <a:gd name="connsiteX1" fmla="*/ 330994 w 750997"/>
                <a:gd name="connsiteY1" fmla="*/ 959644 h 1004888"/>
                <a:gd name="connsiteX2" fmla="*/ 378619 w 750997"/>
                <a:gd name="connsiteY2" fmla="*/ 945356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95276 w 750997"/>
                <a:gd name="connsiteY0" fmla="*/ 915988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88133 w 750997"/>
                <a:gd name="connsiteY0" fmla="*/ 920750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85751 w 750997"/>
                <a:gd name="connsiteY0" fmla="*/ 904082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85751 w 750997"/>
                <a:gd name="connsiteY0" fmla="*/ 904082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85751 w 750997"/>
                <a:gd name="connsiteY0" fmla="*/ 904082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85751 w 750997"/>
                <a:gd name="connsiteY0" fmla="*/ 904082 h 1004888"/>
                <a:gd name="connsiteX1" fmla="*/ 292894 w 750997"/>
                <a:gd name="connsiteY1" fmla="*/ 897731 h 1004888"/>
                <a:gd name="connsiteX2" fmla="*/ 330994 w 750997"/>
                <a:gd name="connsiteY2" fmla="*/ 959644 h 1004888"/>
                <a:gd name="connsiteX3" fmla="*/ 381001 w 750997"/>
                <a:gd name="connsiteY3" fmla="*/ 952499 h 1004888"/>
                <a:gd name="connsiteX4" fmla="*/ 407193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85751 w 750997"/>
                <a:gd name="connsiteY0" fmla="*/ 904082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85751 w 750997"/>
                <a:gd name="connsiteY0" fmla="*/ 904082 h 1004888"/>
                <a:gd name="connsiteX1" fmla="*/ 292894 w 750997"/>
                <a:gd name="connsiteY1" fmla="*/ 902494 h 1004888"/>
                <a:gd name="connsiteX2" fmla="*/ 330994 w 750997"/>
                <a:gd name="connsiteY2" fmla="*/ 959644 h 1004888"/>
                <a:gd name="connsiteX3" fmla="*/ 381001 w 750997"/>
                <a:gd name="connsiteY3" fmla="*/ 952499 h 1004888"/>
                <a:gd name="connsiteX4" fmla="*/ 407193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85751 w 750997"/>
                <a:gd name="connsiteY0" fmla="*/ 904082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90514 w 750997"/>
                <a:gd name="connsiteY0" fmla="*/ 892175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90514 w 750997"/>
                <a:gd name="connsiteY0" fmla="*/ 892175 h 1004888"/>
                <a:gd name="connsiteX1" fmla="*/ 302419 w 750997"/>
                <a:gd name="connsiteY1" fmla="*/ 919163 h 1004888"/>
                <a:gd name="connsiteX2" fmla="*/ 330994 w 750997"/>
                <a:gd name="connsiteY2" fmla="*/ 959644 h 1004888"/>
                <a:gd name="connsiteX3" fmla="*/ 381001 w 750997"/>
                <a:gd name="connsiteY3" fmla="*/ 952499 h 1004888"/>
                <a:gd name="connsiteX4" fmla="*/ 407193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90514 w 750997"/>
                <a:gd name="connsiteY0" fmla="*/ 892175 h 1004888"/>
                <a:gd name="connsiteX1" fmla="*/ 292894 w 750997"/>
                <a:gd name="connsiteY1" fmla="*/ 928688 h 1004888"/>
                <a:gd name="connsiteX2" fmla="*/ 330994 w 750997"/>
                <a:gd name="connsiteY2" fmla="*/ 959644 h 1004888"/>
                <a:gd name="connsiteX3" fmla="*/ 381001 w 750997"/>
                <a:gd name="connsiteY3" fmla="*/ 952499 h 1004888"/>
                <a:gd name="connsiteX4" fmla="*/ 407193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90514 w 750997"/>
                <a:gd name="connsiteY0" fmla="*/ 892175 h 1004888"/>
                <a:gd name="connsiteX1" fmla="*/ 292894 w 750997"/>
                <a:gd name="connsiteY1" fmla="*/ 928688 h 1004888"/>
                <a:gd name="connsiteX2" fmla="*/ 330994 w 750997"/>
                <a:gd name="connsiteY2" fmla="*/ 959644 h 1004888"/>
                <a:gd name="connsiteX3" fmla="*/ 381001 w 750997"/>
                <a:gd name="connsiteY3" fmla="*/ 952499 h 1004888"/>
                <a:gd name="connsiteX4" fmla="*/ 407193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90514 w 750997"/>
                <a:gd name="connsiteY0" fmla="*/ 892175 h 1004888"/>
                <a:gd name="connsiteX1" fmla="*/ 292894 w 750997"/>
                <a:gd name="connsiteY1" fmla="*/ 928688 h 1004888"/>
                <a:gd name="connsiteX2" fmla="*/ 330994 w 750997"/>
                <a:gd name="connsiteY2" fmla="*/ 959644 h 1004888"/>
                <a:gd name="connsiteX3" fmla="*/ 381001 w 750997"/>
                <a:gd name="connsiteY3" fmla="*/ 952499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90514 w 750997"/>
                <a:gd name="connsiteY0" fmla="*/ 892175 h 1004888"/>
                <a:gd name="connsiteX1" fmla="*/ 273619 w 750997"/>
                <a:gd name="connsiteY1" fmla="*/ 892969 h 1004888"/>
                <a:gd name="connsiteX2" fmla="*/ 292894 w 750997"/>
                <a:gd name="connsiteY2" fmla="*/ 928688 h 1004888"/>
                <a:gd name="connsiteX3" fmla="*/ 330994 w 750997"/>
                <a:gd name="connsiteY3" fmla="*/ 959644 h 1004888"/>
                <a:gd name="connsiteX4" fmla="*/ 381001 w 750997"/>
                <a:gd name="connsiteY4" fmla="*/ 952499 h 1004888"/>
                <a:gd name="connsiteX5" fmla="*/ 421749 w 750997"/>
                <a:gd name="connsiteY5" fmla="*/ 907256 h 1004888"/>
                <a:gd name="connsiteX6" fmla="*/ 354807 w 750997"/>
                <a:gd name="connsiteY6" fmla="*/ 838200 h 1004888"/>
                <a:gd name="connsiteX7" fmla="*/ 121444 w 750997"/>
                <a:gd name="connsiteY7" fmla="*/ 840582 h 1004888"/>
                <a:gd name="connsiteX8" fmla="*/ 86519 w 750997"/>
                <a:gd name="connsiteY8" fmla="*/ 800101 h 1004888"/>
                <a:gd name="connsiteX9" fmla="*/ 86519 w 750997"/>
                <a:gd name="connsiteY9" fmla="*/ 114300 h 1004888"/>
                <a:gd name="connsiteX10" fmla="*/ 121444 w 750997"/>
                <a:gd name="connsiteY10" fmla="*/ 78581 h 1004888"/>
                <a:gd name="connsiteX11" fmla="*/ 619125 w 750997"/>
                <a:gd name="connsiteY11" fmla="*/ 76200 h 1004888"/>
                <a:gd name="connsiteX12" fmla="*/ 671513 w 750997"/>
                <a:gd name="connsiteY12" fmla="*/ 128588 h 1004888"/>
                <a:gd name="connsiteX13" fmla="*/ 671512 w 750997"/>
                <a:gd name="connsiteY13" fmla="*/ 957263 h 1004888"/>
                <a:gd name="connsiteX14" fmla="*/ 621507 w 750997"/>
                <a:gd name="connsiteY14" fmla="*/ 1002506 h 1004888"/>
                <a:gd name="connsiteX15" fmla="*/ 110736 w 750997"/>
                <a:gd name="connsiteY15" fmla="*/ 1004888 h 1004888"/>
                <a:gd name="connsiteX16" fmla="*/ 32434 w 750997"/>
                <a:gd name="connsiteY16" fmla="*/ 972454 h 1004888"/>
                <a:gd name="connsiteX17" fmla="*/ 0 w 750997"/>
                <a:gd name="connsiteY17" fmla="*/ 894152 h 1004888"/>
                <a:gd name="connsiteX18" fmla="*/ 0 w 750997"/>
                <a:gd name="connsiteY18" fmla="*/ 110736 h 1004888"/>
                <a:gd name="connsiteX19" fmla="*/ 32434 w 750997"/>
                <a:gd name="connsiteY19" fmla="*/ 32434 h 1004888"/>
                <a:gd name="connsiteX20" fmla="*/ 110736 w 750997"/>
                <a:gd name="connsiteY20" fmla="*/ 0 h 1004888"/>
                <a:gd name="connsiteX21" fmla="*/ 639358 w 750997"/>
                <a:gd name="connsiteY21" fmla="*/ 0 h 1004888"/>
                <a:gd name="connsiteX22" fmla="*/ 717660 w 750997"/>
                <a:gd name="connsiteY22" fmla="*/ 32434 h 1004888"/>
                <a:gd name="connsiteX23" fmla="*/ 750094 w 750997"/>
                <a:gd name="connsiteY23" fmla="*/ 110736 h 1004888"/>
                <a:gd name="connsiteX24" fmla="*/ 750094 w 750997"/>
                <a:gd name="connsiteY24" fmla="*/ 894152 h 1004888"/>
                <a:gd name="connsiteX25" fmla="*/ 750997 w 750997"/>
                <a:gd name="connsiteY25" fmla="*/ 1003410 h 1004888"/>
                <a:gd name="connsiteX0" fmla="*/ 273619 w 750997"/>
                <a:gd name="connsiteY0" fmla="*/ 892969 h 1004888"/>
                <a:gd name="connsiteX1" fmla="*/ 292894 w 750997"/>
                <a:gd name="connsiteY1" fmla="*/ 928688 h 1004888"/>
                <a:gd name="connsiteX2" fmla="*/ 330994 w 750997"/>
                <a:gd name="connsiteY2" fmla="*/ 959644 h 1004888"/>
                <a:gd name="connsiteX3" fmla="*/ 381001 w 750997"/>
                <a:gd name="connsiteY3" fmla="*/ 952499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73619 w 750997"/>
                <a:gd name="connsiteY0" fmla="*/ 892969 h 1004888"/>
                <a:gd name="connsiteX1" fmla="*/ 281251 w 750997"/>
                <a:gd name="connsiteY1" fmla="*/ 938213 h 1004888"/>
                <a:gd name="connsiteX2" fmla="*/ 330994 w 750997"/>
                <a:gd name="connsiteY2" fmla="*/ 959644 h 1004888"/>
                <a:gd name="connsiteX3" fmla="*/ 381001 w 750997"/>
                <a:gd name="connsiteY3" fmla="*/ 952499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73619 w 750997"/>
                <a:gd name="connsiteY0" fmla="*/ 892969 h 1004888"/>
                <a:gd name="connsiteX1" fmla="*/ 281251 w 750997"/>
                <a:gd name="connsiteY1" fmla="*/ 938213 h 1004888"/>
                <a:gd name="connsiteX2" fmla="*/ 330994 w 750997"/>
                <a:gd name="connsiteY2" fmla="*/ 959644 h 1004888"/>
                <a:gd name="connsiteX3" fmla="*/ 392645 w 750997"/>
                <a:gd name="connsiteY3" fmla="*/ 947736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73619 w 750997"/>
                <a:gd name="connsiteY0" fmla="*/ 892969 h 1004888"/>
                <a:gd name="connsiteX1" fmla="*/ 281251 w 750997"/>
                <a:gd name="connsiteY1" fmla="*/ 938213 h 1004888"/>
                <a:gd name="connsiteX2" fmla="*/ 330994 w 750997"/>
                <a:gd name="connsiteY2" fmla="*/ 962025 h 1004888"/>
                <a:gd name="connsiteX3" fmla="*/ 392645 w 750997"/>
                <a:gd name="connsiteY3" fmla="*/ 947736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73619 w 750997"/>
                <a:gd name="connsiteY0" fmla="*/ 892969 h 1004888"/>
                <a:gd name="connsiteX1" fmla="*/ 281251 w 750997"/>
                <a:gd name="connsiteY1" fmla="*/ 938213 h 1004888"/>
                <a:gd name="connsiteX2" fmla="*/ 330994 w 750997"/>
                <a:gd name="connsiteY2" fmla="*/ 962025 h 1004888"/>
                <a:gd name="connsiteX3" fmla="*/ 392646 w 750997"/>
                <a:gd name="connsiteY3" fmla="*/ 954880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73619 w 750997"/>
                <a:gd name="connsiteY0" fmla="*/ 892969 h 1004888"/>
                <a:gd name="connsiteX1" fmla="*/ 289983 w 750997"/>
                <a:gd name="connsiteY1" fmla="*/ 938213 h 1004888"/>
                <a:gd name="connsiteX2" fmla="*/ 330994 w 750997"/>
                <a:gd name="connsiteY2" fmla="*/ 962025 h 1004888"/>
                <a:gd name="connsiteX3" fmla="*/ 392646 w 750997"/>
                <a:gd name="connsiteY3" fmla="*/ 954880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50997" h="1004888">
                  <a:moveTo>
                    <a:pt x="273619" y="892969"/>
                  </a:moveTo>
                  <a:cubicBezTo>
                    <a:pt x="274016" y="899054"/>
                    <a:pt x="280421" y="926704"/>
                    <a:pt x="289983" y="938213"/>
                  </a:cubicBezTo>
                  <a:cubicBezTo>
                    <a:pt x="299545" y="949722"/>
                    <a:pt x="313884" y="959247"/>
                    <a:pt x="330994" y="962025"/>
                  </a:cubicBezTo>
                  <a:cubicBezTo>
                    <a:pt x="348104" y="964803"/>
                    <a:pt x="377520" y="964008"/>
                    <a:pt x="392646" y="954880"/>
                  </a:cubicBezTo>
                  <a:cubicBezTo>
                    <a:pt x="407772" y="945752"/>
                    <a:pt x="425718" y="925115"/>
                    <a:pt x="421749" y="907256"/>
                  </a:cubicBezTo>
                  <a:cubicBezTo>
                    <a:pt x="424924" y="884635"/>
                    <a:pt x="399654" y="848916"/>
                    <a:pt x="354807" y="838200"/>
                  </a:cubicBezTo>
                  <a:lnTo>
                    <a:pt x="121444" y="840582"/>
                  </a:lnTo>
                  <a:cubicBezTo>
                    <a:pt x="94588" y="829205"/>
                    <a:pt x="92341" y="837804"/>
                    <a:pt x="86519" y="800101"/>
                  </a:cubicBezTo>
                  <a:cubicBezTo>
                    <a:pt x="86784" y="571501"/>
                    <a:pt x="86254" y="342900"/>
                    <a:pt x="86519" y="114300"/>
                  </a:cubicBezTo>
                  <a:cubicBezTo>
                    <a:pt x="97102" y="91678"/>
                    <a:pt x="92206" y="92075"/>
                    <a:pt x="121444" y="78581"/>
                  </a:cubicBezTo>
                  <a:lnTo>
                    <a:pt x="619125" y="76200"/>
                  </a:lnTo>
                  <a:cubicBezTo>
                    <a:pt x="656034" y="84534"/>
                    <a:pt x="665163" y="98425"/>
                    <a:pt x="671513" y="128588"/>
                  </a:cubicBezTo>
                  <a:cubicBezTo>
                    <a:pt x="671513" y="404813"/>
                    <a:pt x="671512" y="681038"/>
                    <a:pt x="671512" y="957263"/>
                  </a:cubicBezTo>
                  <a:cubicBezTo>
                    <a:pt x="665560" y="993378"/>
                    <a:pt x="660202" y="994569"/>
                    <a:pt x="621507" y="1002506"/>
                  </a:cubicBezTo>
                  <a:lnTo>
                    <a:pt x="110736" y="1004888"/>
                  </a:lnTo>
                  <a:cubicBezTo>
                    <a:pt x="81367" y="1004888"/>
                    <a:pt x="53201" y="993221"/>
                    <a:pt x="32434" y="972454"/>
                  </a:cubicBezTo>
                  <a:cubicBezTo>
                    <a:pt x="11667" y="951687"/>
                    <a:pt x="0" y="923521"/>
                    <a:pt x="0" y="894152"/>
                  </a:cubicBezTo>
                  <a:lnTo>
                    <a:pt x="0" y="110736"/>
                  </a:lnTo>
                  <a:cubicBezTo>
                    <a:pt x="0" y="81367"/>
                    <a:pt x="11667" y="53201"/>
                    <a:pt x="32434" y="32434"/>
                  </a:cubicBezTo>
                  <a:cubicBezTo>
                    <a:pt x="53201" y="11667"/>
                    <a:pt x="81367" y="0"/>
                    <a:pt x="110736" y="0"/>
                  </a:cubicBezTo>
                  <a:lnTo>
                    <a:pt x="639358" y="0"/>
                  </a:lnTo>
                  <a:cubicBezTo>
                    <a:pt x="668727" y="0"/>
                    <a:pt x="696893" y="11667"/>
                    <a:pt x="717660" y="32434"/>
                  </a:cubicBezTo>
                  <a:cubicBezTo>
                    <a:pt x="738427" y="53201"/>
                    <a:pt x="750094" y="81367"/>
                    <a:pt x="750094" y="110736"/>
                  </a:cubicBezTo>
                  <a:lnTo>
                    <a:pt x="750094" y="894152"/>
                  </a:lnTo>
                  <a:lnTo>
                    <a:pt x="750997" y="1003410"/>
                  </a:lnTo>
                </a:path>
              </a:pathLst>
            </a:custGeom>
            <a:ln w="12700">
              <a:solidFill>
                <a:schemeClr val="accent3"/>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defRPr/>
              </a:pPr>
              <a:endParaRPr lang="en-US" sz="1600" b="1" kern="0" dirty="0">
                <a:latin typeface="+mj-lt"/>
                <a:cs typeface="Arial" charset="0"/>
              </a:endParaRPr>
            </a:p>
          </p:txBody>
        </p:sp>
        <p:sp>
          <p:nvSpPr>
            <p:cNvPr id="123" name="Freeform 122"/>
            <p:cNvSpPr/>
            <p:nvPr/>
          </p:nvSpPr>
          <p:spPr bwMode="auto">
            <a:xfrm>
              <a:off x="595236" y="1908620"/>
              <a:ext cx="197351" cy="232899"/>
            </a:xfrm>
            <a:custGeom>
              <a:avLst/>
              <a:gdLst>
                <a:gd name="connsiteX0" fmla="*/ 0 w 359568"/>
                <a:gd name="connsiteY0" fmla="*/ 172642 h 345283"/>
                <a:gd name="connsiteX1" fmla="*/ 55260 w 359568"/>
                <a:gd name="connsiteY1" fmla="*/ 48117 h 345283"/>
                <a:gd name="connsiteX2" fmla="*/ 179785 w 359568"/>
                <a:gd name="connsiteY2" fmla="*/ 0 h 345283"/>
                <a:gd name="connsiteX3" fmla="*/ 304310 w 359568"/>
                <a:gd name="connsiteY3" fmla="*/ 48118 h 345283"/>
                <a:gd name="connsiteX4" fmla="*/ 359569 w 359568"/>
                <a:gd name="connsiteY4" fmla="*/ 172643 h 345283"/>
                <a:gd name="connsiteX5" fmla="*/ 304310 w 359568"/>
                <a:gd name="connsiteY5" fmla="*/ 297168 h 345283"/>
                <a:gd name="connsiteX6" fmla="*/ 179785 w 359568"/>
                <a:gd name="connsiteY6" fmla="*/ 345285 h 345283"/>
                <a:gd name="connsiteX7" fmla="*/ 55260 w 359568"/>
                <a:gd name="connsiteY7" fmla="*/ 297168 h 345283"/>
                <a:gd name="connsiteX8" fmla="*/ 1 w 359568"/>
                <a:gd name="connsiteY8" fmla="*/ 172643 h 345283"/>
                <a:gd name="connsiteX9" fmla="*/ 0 w 359568"/>
                <a:gd name="connsiteY9" fmla="*/ 172642 h 345283"/>
                <a:gd name="connsiteX0" fmla="*/ 179785 w 359569"/>
                <a:gd name="connsiteY0" fmla="*/ 345285 h 436725"/>
                <a:gd name="connsiteX1" fmla="*/ 55260 w 359569"/>
                <a:gd name="connsiteY1" fmla="*/ 297168 h 436725"/>
                <a:gd name="connsiteX2" fmla="*/ 1 w 359569"/>
                <a:gd name="connsiteY2" fmla="*/ 172643 h 436725"/>
                <a:gd name="connsiteX3" fmla="*/ 0 w 359569"/>
                <a:gd name="connsiteY3" fmla="*/ 172642 h 436725"/>
                <a:gd name="connsiteX4" fmla="*/ 55260 w 359569"/>
                <a:gd name="connsiteY4" fmla="*/ 48117 h 436725"/>
                <a:gd name="connsiteX5" fmla="*/ 179785 w 359569"/>
                <a:gd name="connsiteY5" fmla="*/ 0 h 436725"/>
                <a:gd name="connsiteX6" fmla="*/ 304310 w 359569"/>
                <a:gd name="connsiteY6" fmla="*/ 48118 h 436725"/>
                <a:gd name="connsiteX7" fmla="*/ 359569 w 359569"/>
                <a:gd name="connsiteY7" fmla="*/ 172643 h 436725"/>
                <a:gd name="connsiteX8" fmla="*/ 304310 w 359569"/>
                <a:gd name="connsiteY8" fmla="*/ 297168 h 436725"/>
                <a:gd name="connsiteX9" fmla="*/ 271225 w 359569"/>
                <a:gd name="connsiteY9" fmla="*/ 436725 h 436725"/>
                <a:gd name="connsiteX0" fmla="*/ 179785 w 359569"/>
                <a:gd name="connsiteY0" fmla="*/ 345285 h 436725"/>
                <a:gd name="connsiteX1" fmla="*/ 78581 w 359569"/>
                <a:gd name="connsiteY1" fmla="*/ 321470 h 436725"/>
                <a:gd name="connsiteX2" fmla="*/ 55260 w 359569"/>
                <a:gd name="connsiteY2" fmla="*/ 297168 h 436725"/>
                <a:gd name="connsiteX3" fmla="*/ 1 w 359569"/>
                <a:gd name="connsiteY3" fmla="*/ 172643 h 436725"/>
                <a:gd name="connsiteX4" fmla="*/ 0 w 359569"/>
                <a:gd name="connsiteY4" fmla="*/ 172642 h 436725"/>
                <a:gd name="connsiteX5" fmla="*/ 55260 w 359569"/>
                <a:gd name="connsiteY5" fmla="*/ 48117 h 436725"/>
                <a:gd name="connsiteX6" fmla="*/ 179785 w 359569"/>
                <a:gd name="connsiteY6" fmla="*/ 0 h 436725"/>
                <a:gd name="connsiteX7" fmla="*/ 304310 w 359569"/>
                <a:gd name="connsiteY7" fmla="*/ 48118 h 436725"/>
                <a:gd name="connsiteX8" fmla="*/ 359569 w 359569"/>
                <a:gd name="connsiteY8" fmla="*/ 172643 h 436725"/>
                <a:gd name="connsiteX9" fmla="*/ 304310 w 359569"/>
                <a:gd name="connsiteY9" fmla="*/ 297168 h 436725"/>
                <a:gd name="connsiteX10" fmla="*/ 271225 w 359569"/>
                <a:gd name="connsiteY10" fmla="*/ 436725 h 436725"/>
                <a:gd name="connsiteX0" fmla="*/ 179785 w 359569"/>
                <a:gd name="connsiteY0" fmla="*/ 345285 h 436725"/>
                <a:gd name="connsiteX1" fmla="*/ 85725 w 359569"/>
                <a:gd name="connsiteY1" fmla="*/ 319089 h 436725"/>
                <a:gd name="connsiteX2" fmla="*/ 55260 w 359569"/>
                <a:gd name="connsiteY2" fmla="*/ 297168 h 436725"/>
                <a:gd name="connsiteX3" fmla="*/ 1 w 359569"/>
                <a:gd name="connsiteY3" fmla="*/ 172643 h 436725"/>
                <a:gd name="connsiteX4" fmla="*/ 0 w 359569"/>
                <a:gd name="connsiteY4" fmla="*/ 172642 h 436725"/>
                <a:gd name="connsiteX5" fmla="*/ 55260 w 359569"/>
                <a:gd name="connsiteY5" fmla="*/ 48117 h 436725"/>
                <a:gd name="connsiteX6" fmla="*/ 179785 w 359569"/>
                <a:gd name="connsiteY6" fmla="*/ 0 h 436725"/>
                <a:gd name="connsiteX7" fmla="*/ 304310 w 359569"/>
                <a:gd name="connsiteY7" fmla="*/ 48118 h 436725"/>
                <a:gd name="connsiteX8" fmla="*/ 359569 w 359569"/>
                <a:gd name="connsiteY8" fmla="*/ 172643 h 436725"/>
                <a:gd name="connsiteX9" fmla="*/ 304310 w 359569"/>
                <a:gd name="connsiteY9" fmla="*/ 297168 h 436725"/>
                <a:gd name="connsiteX10" fmla="*/ 271225 w 359569"/>
                <a:gd name="connsiteY10" fmla="*/ 436725 h 436725"/>
                <a:gd name="connsiteX0" fmla="*/ 179785 w 359569"/>
                <a:gd name="connsiteY0" fmla="*/ 345285 h 436725"/>
                <a:gd name="connsiteX1" fmla="*/ 85725 w 359569"/>
                <a:gd name="connsiteY1" fmla="*/ 319089 h 436725"/>
                <a:gd name="connsiteX2" fmla="*/ 55260 w 359569"/>
                <a:gd name="connsiteY2" fmla="*/ 297168 h 436725"/>
                <a:gd name="connsiteX3" fmla="*/ 1 w 359569"/>
                <a:gd name="connsiteY3" fmla="*/ 172643 h 436725"/>
                <a:gd name="connsiteX4" fmla="*/ 0 w 359569"/>
                <a:gd name="connsiteY4" fmla="*/ 172642 h 436725"/>
                <a:gd name="connsiteX5" fmla="*/ 55260 w 359569"/>
                <a:gd name="connsiteY5" fmla="*/ 48117 h 436725"/>
                <a:gd name="connsiteX6" fmla="*/ 179785 w 359569"/>
                <a:gd name="connsiteY6" fmla="*/ 0 h 436725"/>
                <a:gd name="connsiteX7" fmla="*/ 304310 w 359569"/>
                <a:gd name="connsiteY7" fmla="*/ 48118 h 436725"/>
                <a:gd name="connsiteX8" fmla="*/ 359569 w 359569"/>
                <a:gd name="connsiteY8" fmla="*/ 172643 h 436725"/>
                <a:gd name="connsiteX9" fmla="*/ 304310 w 359569"/>
                <a:gd name="connsiteY9" fmla="*/ 297168 h 436725"/>
                <a:gd name="connsiteX10" fmla="*/ 271225 w 359569"/>
                <a:gd name="connsiteY10" fmla="*/ 436725 h 436725"/>
                <a:gd name="connsiteX0" fmla="*/ 179785 w 359569"/>
                <a:gd name="connsiteY0" fmla="*/ 345285 h 436725"/>
                <a:gd name="connsiteX1" fmla="*/ 85725 w 359569"/>
                <a:gd name="connsiteY1" fmla="*/ 319089 h 436725"/>
                <a:gd name="connsiteX2" fmla="*/ 55260 w 359569"/>
                <a:gd name="connsiteY2" fmla="*/ 297168 h 436725"/>
                <a:gd name="connsiteX3" fmla="*/ 1 w 359569"/>
                <a:gd name="connsiteY3" fmla="*/ 172643 h 436725"/>
                <a:gd name="connsiteX4" fmla="*/ 0 w 359569"/>
                <a:gd name="connsiteY4" fmla="*/ 172642 h 436725"/>
                <a:gd name="connsiteX5" fmla="*/ 55260 w 359569"/>
                <a:gd name="connsiteY5" fmla="*/ 48117 h 436725"/>
                <a:gd name="connsiteX6" fmla="*/ 179785 w 359569"/>
                <a:gd name="connsiteY6" fmla="*/ 0 h 436725"/>
                <a:gd name="connsiteX7" fmla="*/ 304310 w 359569"/>
                <a:gd name="connsiteY7" fmla="*/ 48118 h 436725"/>
                <a:gd name="connsiteX8" fmla="*/ 359569 w 359569"/>
                <a:gd name="connsiteY8" fmla="*/ 172643 h 436725"/>
                <a:gd name="connsiteX9" fmla="*/ 304310 w 359569"/>
                <a:gd name="connsiteY9" fmla="*/ 297168 h 436725"/>
                <a:gd name="connsiteX10" fmla="*/ 271225 w 359569"/>
                <a:gd name="connsiteY10" fmla="*/ 436725 h 436725"/>
                <a:gd name="connsiteX0" fmla="*/ 85725 w 359569"/>
                <a:gd name="connsiteY0" fmla="*/ 319089 h 436725"/>
                <a:gd name="connsiteX1" fmla="*/ 55260 w 359569"/>
                <a:gd name="connsiteY1" fmla="*/ 297168 h 436725"/>
                <a:gd name="connsiteX2" fmla="*/ 1 w 359569"/>
                <a:gd name="connsiteY2" fmla="*/ 172643 h 436725"/>
                <a:gd name="connsiteX3" fmla="*/ 0 w 359569"/>
                <a:gd name="connsiteY3" fmla="*/ 172642 h 436725"/>
                <a:gd name="connsiteX4" fmla="*/ 55260 w 359569"/>
                <a:gd name="connsiteY4" fmla="*/ 48117 h 436725"/>
                <a:gd name="connsiteX5" fmla="*/ 179785 w 359569"/>
                <a:gd name="connsiteY5" fmla="*/ 0 h 436725"/>
                <a:gd name="connsiteX6" fmla="*/ 304310 w 359569"/>
                <a:gd name="connsiteY6" fmla="*/ 48118 h 436725"/>
                <a:gd name="connsiteX7" fmla="*/ 359569 w 359569"/>
                <a:gd name="connsiteY7" fmla="*/ 172643 h 436725"/>
                <a:gd name="connsiteX8" fmla="*/ 304310 w 359569"/>
                <a:gd name="connsiteY8" fmla="*/ 297168 h 436725"/>
                <a:gd name="connsiteX9" fmla="*/ 271225 w 359569"/>
                <a:gd name="connsiteY9" fmla="*/ 436725 h 436725"/>
                <a:gd name="connsiteX0" fmla="*/ 85725 w 359569"/>
                <a:gd name="connsiteY0" fmla="*/ 319089 h 436725"/>
                <a:gd name="connsiteX1" fmla="*/ 55260 w 359569"/>
                <a:gd name="connsiteY1" fmla="*/ 297168 h 436725"/>
                <a:gd name="connsiteX2" fmla="*/ 1 w 359569"/>
                <a:gd name="connsiteY2" fmla="*/ 172643 h 436725"/>
                <a:gd name="connsiteX3" fmla="*/ 0 w 359569"/>
                <a:gd name="connsiteY3" fmla="*/ 172642 h 436725"/>
                <a:gd name="connsiteX4" fmla="*/ 55260 w 359569"/>
                <a:gd name="connsiteY4" fmla="*/ 48117 h 436725"/>
                <a:gd name="connsiteX5" fmla="*/ 179785 w 359569"/>
                <a:gd name="connsiteY5" fmla="*/ 0 h 436725"/>
                <a:gd name="connsiteX6" fmla="*/ 304310 w 359569"/>
                <a:gd name="connsiteY6" fmla="*/ 48118 h 436725"/>
                <a:gd name="connsiteX7" fmla="*/ 359569 w 359569"/>
                <a:gd name="connsiteY7" fmla="*/ 172643 h 436725"/>
                <a:gd name="connsiteX8" fmla="*/ 304310 w 359569"/>
                <a:gd name="connsiteY8" fmla="*/ 297168 h 436725"/>
                <a:gd name="connsiteX9" fmla="*/ 271225 w 359569"/>
                <a:gd name="connsiteY9" fmla="*/ 436725 h 436725"/>
                <a:gd name="connsiteX0" fmla="*/ 85725 w 359569"/>
                <a:gd name="connsiteY0" fmla="*/ 319089 h 346238"/>
                <a:gd name="connsiteX1" fmla="*/ 55260 w 359569"/>
                <a:gd name="connsiteY1" fmla="*/ 297168 h 346238"/>
                <a:gd name="connsiteX2" fmla="*/ 1 w 359569"/>
                <a:gd name="connsiteY2" fmla="*/ 172643 h 346238"/>
                <a:gd name="connsiteX3" fmla="*/ 0 w 359569"/>
                <a:gd name="connsiteY3" fmla="*/ 172642 h 346238"/>
                <a:gd name="connsiteX4" fmla="*/ 55260 w 359569"/>
                <a:gd name="connsiteY4" fmla="*/ 48117 h 346238"/>
                <a:gd name="connsiteX5" fmla="*/ 179785 w 359569"/>
                <a:gd name="connsiteY5" fmla="*/ 0 h 346238"/>
                <a:gd name="connsiteX6" fmla="*/ 304310 w 359569"/>
                <a:gd name="connsiteY6" fmla="*/ 48118 h 346238"/>
                <a:gd name="connsiteX7" fmla="*/ 359569 w 359569"/>
                <a:gd name="connsiteY7" fmla="*/ 172643 h 346238"/>
                <a:gd name="connsiteX8" fmla="*/ 304310 w 359569"/>
                <a:gd name="connsiteY8" fmla="*/ 297168 h 346238"/>
                <a:gd name="connsiteX9" fmla="*/ 142637 w 359569"/>
                <a:gd name="connsiteY9" fmla="*/ 346238 h 346238"/>
                <a:gd name="connsiteX0" fmla="*/ 85725 w 359569"/>
                <a:gd name="connsiteY0" fmla="*/ 319089 h 346238"/>
                <a:gd name="connsiteX1" fmla="*/ 55260 w 359569"/>
                <a:gd name="connsiteY1" fmla="*/ 297168 h 346238"/>
                <a:gd name="connsiteX2" fmla="*/ 1 w 359569"/>
                <a:gd name="connsiteY2" fmla="*/ 172643 h 346238"/>
                <a:gd name="connsiteX3" fmla="*/ 0 w 359569"/>
                <a:gd name="connsiteY3" fmla="*/ 172642 h 346238"/>
                <a:gd name="connsiteX4" fmla="*/ 55260 w 359569"/>
                <a:gd name="connsiteY4" fmla="*/ 48117 h 346238"/>
                <a:gd name="connsiteX5" fmla="*/ 179785 w 359569"/>
                <a:gd name="connsiteY5" fmla="*/ 0 h 346238"/>
                <a:gd name="connsiteX6" fmla="*/ 304310 w 359569"/>
                <a:gd name="connsiteY6" fmla="*/ 48118 h 346238"/>
                <a:gd name="connsiteX7" fmla="*/ 359569 w 359569"/>
                <a:gd name="connsiteY7" fmla="*/ 172643 h 346238"/>
                <a:gd name="connsiteX8" fmla="*/ 304310 w 359569"/>
                <a:gd name="connsiteY8" fmla="*/ 297168 h 346238"/>
                <a:gd name="connsiteX9" fmla="*/ 176212 w 359569"/>
                <a:gd name="connsiteY9" fmla="*/ 333376 h 346238"/>
                <a:gd name="connsiteX10" fmla="*/ 142637 w 359569"/>
                <a:gd name="connsiteY10" fmla="*/ 346238 h 346238"/>
                <a:gd name="connsiteX0" fmla="*/ 85725 w 359569"/>
                <a:gd name="connsiteY0" fmla="*/ 319089 h 445295"/>
                <a:gd name="connsiteX1" fmla="*/ 55260 w 359569"/>
                <a:gd name="connsiteY1" fmla="*/ 297168 h 445295"/>
                <a:gd name="connsiteX2" fmla="*/ 1 w 359569"/>
                <a:gd name="connsiteY2" fmla="*/ 172643 h 445295"/>
                <a:gd name="connsiteX3" fmla="*/ 0 w 359569"/>
                <a:gd name="connsiteY3" fmla="*/ 172642 h 445295"/>
                <a:gd name="connsiteX4" fmla="*/ 55260 w 359569"/>
                <a:gd name="connsiteY4" fmla="*/ 48117 h 445295"/>
                <a:gd name="connsiteX5" fmla="*/ 179785 w 359569"/>
                <a:gd name="connsiteY5" fmla="*/ 0 h 445295"/>
                <a:gd name="connsiteX6" fmla="*/ 304310 w 359569"/>
                <a:gd name="connsiteY6" fmla="*/ 48118 h 445295"/>
                <a:gd name="connsiteX7" fmla="*/ 359569 w 359569"/>
                <a:gd name="connsiteY7" fmla="*/ 172643 h 445295"/>
                <a:gd name="connsiteX8" fmla="*/ 304310 w 359569"/>
                <a:gd name="connsiteY8" fmla="*/ 297168 h 445295"/>
                <a:gd name="connsiteX9" fmla="*/ 114300 w 359569"/>
                <a:gd name="connsiteY9" fmla="*/ 445295 h 445295"/>
                <a:gd name="connsiteX10" fmla="*/ 142637 w 359569"/>
                <a:gd name="connsiteY10" fmla="*/ 346238 h 445295"/>
                <a:gd name="connsiteX0" fmla="*/ 85725 w 359569"/>
                <a:gd name="connsiteY0" fmla="*/ 319089 h 445295"/>
                <a:gd name="connsiteX1" fmla="*/ 55260 w 359569"/>
                <a:gd name="connsiteY1" fmla="*/ 297168 h 445295"/>
                <a:gd name="connsiteX2" fmla="*/ 1 w 359569"/>
                <a:gd name="connsiteY2" fmla="*/ 172643 h 445295"/>
                <a:gd name="connsiteX3" fmla="*/ 0 w 359569"/>
                <a:gd name="connsiteY3" fmla="*/ 172642 h 445295"/>
                <a:gd name="connsiteX4" fmla="*/ 55260 w 359569"/>
                <a:gd name="connsiteY4" fmla="*/ 48117 h 445295"/>
                <a:gd name="connsiteX5" fmla="*/ 179785 w 359569"/>
                <a:gd name="connsiteY5" fmla="*/ 0 h 445295"/>
                <a:gd name="connsiteX6" fmla="*/ 304310 w 359569"/>
                <a:gd name="connsiteY6" fmla="*/ 48118 h 445295"/>
                <a:gd name="connsiteX7" fmla="*/ 359569 w 359569"/>
                <a:gd name="connsiteY7" fmla="*/ 172643 h 445295"/>
                <a:gd name="connsiteX8" fmla="*/ 304310 w 359569"/>
                <a:gd name="connsiteY8" fmla="*/ 297168 h 445295"/>
                <a:gd name="connsiteX9" fmla="*/ 114300 w 359569"/>
                <a:gd name="connsiteY9" fmla="*/ 445295 h 445295"/>
                <a:gd name="connsiteX10" fmla="*/ 142637 w 359569"/>
                <a:gd name="connsiteY10" fmla="*/ 346238 h 445295"/>
                <a:gd name="connsiteX0" fmla="*/ 85725 w 359569"/>
                <a:gd name="connsiteY0" fmla="*/ 319089 h 445295"/>
                <a:gd name="connsiteX1" fmla="*/ 55260 w 359569"/>
                <a:gd name="connsiteY1" fmla="*/ 297168 h 445295"/>
                <a:gd name="connsiteX2" fmla="*/ 1 w 359569"/>
                <a:gd name="connsiteY2" fmla="*/ 172643 h 445295"/>
                <a:gd name="connsiteX3" fmla="*/ 0 w 359569"/>
                <a:gd name="connsiteY3" fmla="*/ 172642 h 445295"/>
                <a:gd name="connsiteX4" fmla="*/ 55260 w 359569"/>
                <a:gd name="connsiteY4" fmla="*/ 48117 h 445295"/>
                <a:gd name="connsiteX5" fmla="*/ 179785 w 359569"/>
                <a:gd name="connsiteY5" fmla="*/ 0 h 445295"/>
                <a:gd name="connsiteX6" fmla="*/ 304310 w 359569"/>
                <a:gd name="connsiteY6" fmla="*/ 48118 h 445295"/>
                <a:gd name="connsiteX7" fmla="*/ 359569 w 359569"/>
                <a:gd name="connsiteY7" fmla="*/ 172643 h 445295"/>
                <a:gd name="connsiteX8" fmla="*/ 304310 w 359569"/>
                <a:gd name="connsiteY8" fmla="*/ 297168 h 445295"/>
                <a:gd name="connsiteX9" fmla="*/ 114300 w 359569"/>
                <a:gd name="connsiteY9" fmla="*/ 445295 h 445295"/>
                <a:gd name="connsiteX10" fmla="*/ 142637 w 359569"/>
                <a:gd name="connsiteY10" fmla="*/ 346238 h 445295"/>
                <a:gd name="connsiteX0" fmla="*/ 85725 w 359569"/>
                <a:gd name="connsiteY0" fmla="*/ 319089 h 445295"/>
                <a:gd name="connsiteX1" fmla="*/ 55260 w 359569"/>
                <a:gd name="connsiteY1" fmla="*/ 297168 h 445295"/>
                <a:gd name="connsiteX2" fmla="*/ 1 w 359569"/>
                <a:gd name="connsiteY2" fmla="*/ 172643 h 445295"/>
                <a:gd name="connsiteX3" fmla="*/ 0 w 359569"/>
                <a:gd name="connsiteY3" fmla="*/ 172642 h 445295"/>
                <a:gd name="connsiteX4" fmla="*/ 55260 w 359569"/>
                <a:gd name="connsiteY4" fmla="*/ 48117 h 445295"/>
                <a:gd name="connsiteX5" fmla="*/ 179785 w 359569"/>
                <a:gd name="connsiteY5" fmla="*/ 0 h 445295"/>
                <a:gd name="connsiteX6" fmla="*/ 304310 w 359569"/>
                <a:gd name="connsiteY6" fmla="*/ 48118 h 445295"/>
                <a:gd name="connsiteX7" fmla="*/ 359569 w 359569"/>
                <a:gd name="connsiteY7" fmla="*/ 172643 h 445295"/>
                <a:gd name="connsiteX8" fmla="*/ 304310 w 359569"/>
                <a:gd name="connsiteY8" fmla="*/ 297168 h 445295"/>
                <a:gd name="connsiteX9" fmla="*/ 114300 w 359569"/>
                <a:gd name="connsiteY9" fmla="*/ 445295 h 445295"/>
                <a:gd name="connsiteX10" fmla="*/ 142637 w 359569"/>
                <a:gd name="connsiteY10" fmla="*/ 346238 h 44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9569" h="445295">
                  <a:moveTo>
                    <a:pt x="85725" y="319089"/>
                  </a:moveTo>
                  <a:lnTo>
                    <a:pt x="55260" y="297168"/>
                  </a:lnTo>
                  <a:cubicBezTo>
                    <a:pt x="19956" y="264613"/>
                    <a:pt x="1" y="219644"/>
                    <a:pt x="1" y="172643"/>
                  </a:cubicBezTo>
                  <a:lnTo>
                    <a:pt x="0" y="172642"/>
                  </a:lnTo>
                  <a:cubicBezTo>
                    <a:pt x="0" y="125641"/>
                    <a:pt x="19956" y="80672"/>
                    <a:pt x="55260" y="48117"/>
                  </a:cubicBezTo>
                  <a:cubicBezTo>
                    <a:pt x="88743" y="17242"/>
                    <a:pt x="133364" y="0"/>
                    <a:pt x="179785" y="0"/>
                  </a:cubicBezTo>
                  <a:cubicBezTo>
                    <a:pt x="226206" y="0"/>
                    <a:pt x="270827" y="17242"/>
                    <a:pt x="304310" y="48118"/>
                  </a:cubicBezTo>
                  <a:cubicBezTo>
                    <a:pt x="339614" y="80673"/>
                    <a:pt x="359569" y="125642"/>
                    <a:pt x="359569" y="172643"/>
                  </a:cubicBezTo>
                  <a:cubicBezTo>
                    <a:pt x="359569" y="219644"/>
                    <a:pt x="334869" y="270379"/>
                    <a:pt x="304310" y="297168"/>
                  </a:cubicBezTo>
                  <a:cubicBezTo>
                    <a:pt x="265813" y="352135"/>
                    <a:pt x="138865" y="425211"/>
                    <a:pt x="114300" y="445295"/>
                  </a:cubicBezTo>
                  <a:lnTo>
                    <a:pt x="142637" y="346238"/>
                  </a:lnTo>
                </a:path>
              </a:pathLst>
            </a:custGeom>
            <a:ln w="12700">
              <a:solidFill>
                <a:schemeClr val="accent3"/>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defRPr/>
              </a:pPr>
              <a:endParaRPr lang="en-US" sz="1600" b="1" kern="0" dirty="0">
                <a:latin typeface="+mj-lt"/>
                <a:cs typeface="Arial" charset="0"/>
              </a:endParaRPr>
            </a:p>
          </p:txBody>
        </p:sp>
      </p:grpSp>
    </p:spTree>
    <p:extLst>
      <p:ext uri="{BB962C8B-B14F-4D97-AF65-F5344CB8AC3E}">
        <p14:creationId xmlns:p14="http://schemas.microsoft.com/office/powerpoint/2010/main" val="296228109"/>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27349" y="0"/>
            <a:ext cx="9856451" cy="977802"/>
          </a:xfrm>
        </p:spPr>
        <p:txBody>
          <a:bodyPr/>
          <a:lstStyle/>
          <a:p>
            <a:r>
              <a:rPr lang="en-US" dirty="0"/>
              <a:t>Capgemini DCX View on Innovations impacting CX</a:t>
            </a:r>
            <a:br>
              <a:rPr lang="en-US" dirty="0"/>
            </a:br>
            <a:r>
              <a:rPr lang="en-GB" sz="1800" b="0" i="1" kern="0" dirty="0">
                <a:solidFill>
                  <a:srgbClr val="0098C7"/>
                </a:solidFill>
              </a:rPr>
              <a:t>Consumer adoption in a prolific and fast changing market</a:t>
            </a:r>
            <a:endParaRPr lang="fr-FR" sz="1800" b="0" i="1" kern="0" dirty="0">
              <a:solidFill>
                <a:srgbClr val="0098C7"/>
              </a:solidFill>
            </a:endParaRPr>
          </a:p>
        </p:txBody>
      </p:sp>
      <p:sp>
        <p:nvSpPr>
          <p:cNvPr id="3" name="Rectangle 2"/>
          <p:cNvSpPr/>
          <p:nvPr/>
        </p:nvSpPr>
        <p:spPr>
          <a:xfrm>
            <a:off x="1521673" y="2257519"/>
            <a:ext cx="9143999" cy="707886"/>
          </a:xfrm>
          <a:prstGeom prst="rect">
            <a:avLst/>
          </a:prstGeom>
        </p:spPr>
        <p:txBody>
          <a:bodyPr wrap="square">
            <a:spAutoFit/>
          </a:bodyPr>
          <a:lstStyle/>
          <a:p>
            <a:pPr algn="r"/>
            <a:r>
              <a:rPr lang="en-GB" sz="2000" b="1" dirty="0">
                <a:solidFill>
                  <a:schemeClr val="accent6"/>
                </a:solidFill>
                <a:latin typeface="Calibri" pitchFamily="34" charset="0"/>
                <a:cs typeface="Arial" charset="0"/>
              </a:rPr>
              <a:t>… considering all mobility devices, including “wearables”, as the primary way of interacting, the umbilical cord between brand, consumers and their communities</a:t>
            </a:r>
            <a:endParaRPr lang="fr-FR" sz="2000" b="1" dirty="0">
              <a:solidFill>
                <a:schemeClr val="accent6"/>
              </a:solidFill>
            </a:endParaRPr>
          </a:p>
        </p:txBody>
      </p:sp>
      <p:pic>
        <p:nvPicPr>
          <p:cNvPr id="81" name="Picture 4" descr="Afficher l'image d'origin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325176" y="3784466"/>
            <a:ext cx="657859" cy="1178663"/>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0" descr="Afficher l'image d'origine"/>
          <p:cNvPicPr>
            <a:picLocks noChangeAspect="1" noChangeArrowheads="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rot="10800000" flipV="1">
            <a:off x="1818866" y="4080681"/>
            <a:ext cx="1092029" cy="559722"/>
          </a:xfrm>
          <a:prstGeom prst="rect">
            <a:avLst/>
          </a:prstGeom>
          <a:noFill/>
          <a:extLst>
            <a:ext uri="{909E8E84-426E-40DD-AFC4-6F175D3DCCD1}">
              <a14:hiddenFill xmlns:a14="http://schemas.microsoft.com/office/drawing/2010/main">
                <a:solidFill>
                  <a:srgbClr val="FFFFFF"/>
                </a:solidFill>
              </a14:hiddenFill>
            </a:ext>
          </a:extLst>
        </p:spPr>
      </p:pic>
      <p:sp>
        <p:nvSpPr>
          <p:cNvPr id="83" name="ZoneTexte 82"/>
          <p:cNvSpPr txBox="1"/>
          <p:nvPr/>
        </p:nvSpPr>
        <p:spPr>
          <a:xfrm>
            <a:off x="4455195" y="4345895"/>
            <a:ext cx="2495940" cy="369332"/>
          </a:xfrm>
          <a:prstGeom prst="rect">
            <a:avLst/>
          </a:prstGeom>
          <a:noFill/>
        </p:spPr>
        <p:txBody>
          <a:bodyPr wrap="none" rtlCol="0">
            <a:spAutoFit/>
          </a:bodyPr>
          <a:lstStyle/>
          <a:p>
            <a:r>
              <a:rPr lang="en-US" b="1" dirty="0">
                <a:solidFill>
                  <a:srgbClr val="0070C0"/>
                </a:solidFill>
                <a:latin typeface="Calibri" panose="020F0502020204030204" pitchFamily="34" charset="0"/>
              </a:rPr>
              <a:t>#Rich Push Notifications</a:t>
            </a:r>
          </a:p>
        </p:txBody>
      </p:sp>
      <p:sp>
        <p:nvSpPr>
          <p:cNvPr id="85" name="ZoneTexte 84"/>
          <p:cNvSpPr txBox="1"/>
          <p:nvPr/>
        </p:nvSpPr>
        <p:spPr>
          <a:xfrm>
            <a:off x="4455196" y="4648140"/>
            <a:ext cx="1988045" cy="369332"/>
          </a:xfrm>
          <a:prstGeom prst="rect">
            <a:avLst/>
          </a:prstGeom>
          <a:noFill/>
        </p:spPr>
        <p:txBody>
          <a:bodyPr wrap="none" rtlCol="0">
            <a:spAutoFit/>
          </a:bodyPr>
          <a:lstStyle/>
          <a:p>
            <a:r>
              <a:rPr lang="en-US" b="1" dirty="0">
                <a:solidFill>
                  <a:srgbClr val="0070C0"/>
                </a:solidFill>
                <a:latin typeface="Calibri" panose="020F0502020204030204" pitchFamily="34" charset="0"/>
              </a:rPr>
              <a:t>#In App Messaging</a:t>
            </a:r>
          </a:p>
        </p:txBody>
      </p:sp>
      <p:sp>
        <p:nvSpPr>
          <p:cNvPr id="86" name="ZoneTexte 85"/>
          <p:cNvSpPr txBox="1"/>
          <p:nvPr/>
        </p:nvSpPr>
        <p:spPr>
          <a:xfrm>
            <a:off x="4455196" y="4950385"/>
            <a:ext cx="1450205" cy="369332"/>
          </a:xfrm>
          <a:prstGeom prst="rect">
            <a:avLst/>
          </a:prstGeom>
          <a:noFill/>
        </p:spPr>
        <p:txBody>
          <a:bodyPr wrap="none" rtlCol="0">
            <a:spAutoFit/>
          </a:bodyPr>
          <a:lstStyle/>
          <a:p>
            <a:r>
              <a:rPr lang="en-US" b="1" dirty="0">
                <a:solidFill>
                  <a:srgbClr val="0070C0"/>
                </a:solidFill>
                <a:latin typeface="Calibri" panose="020F0502020204030204" pitchFamily="34" charset="0"/>
              </a:rPr>
              <a:t>#Geo-fencing</a:t>
            </a:r>
          </a:p>
        </p:txBody>
      </p:sp>
      <p:sp>
        <p:nvSpPr>
          <p:cNvPr id="87" name="ZoneTexte 86"/>
          <p:cNvSpPr txBox="1"/>
          <p:nvPr/>
        </p:nvSpPr>
        <p:spPr>
          <a:xfrm>
            <a:off x="4455196" y="5252630"/>
            <a:ext cx="1400127" cy="369332"/>
          </a:xfrm>
          <a:prstGeom prst="rect">
            <a:avLst/>
          </a:prstGeom>
          <a:noFill/>
        </p:spPr>
        <p:txBody>
          <a:bodyPr wrap="none" rtlCol="0">
            <a:spAutoFit/>
          </a:bodyPr>
          <a:lstStyle/>
          <a:p>
            <a:r>
              <a:rPr lang="en-US" b="1" dirty="0">
                <a:solidFill>
                  <a:srgbClr val="0070C0"/>
                </a:solidFill>
                <a:latin typeface="Calibri" panose="020F0502020204030204" pitchFamily="34" charset="0"/>
              </a:rPr>
              <a:t>#Retargeting</a:t>
            </a:r>
          </a:p>
        </p:txBody>
      </p:sp>
      <p:sp>
        <p:nvSpPr>
          <p:cNvPr id="90" name="ZoneTexte 89"/>
          <p:cNvSpPr txBox="1"/>
          <p:nvPr/>
        </p:nvSpPr>
        <p:spPr>
          <a:xfrm>
            <a:off x="1809369" y="5220916"/>
            <a:ext cx="1949123" cy="369332"/>
          </a:xfrm>
          <a:prstGeom prst="rect">
            <a:avLst/>
          </a:prstGeom>
          <a:noFill/>
        </p:spPr>
        <p:txBody>
          <a:bodyPr wrap="none" rtlCol="0">
            <a:spAutoFit/>
          </a:bodyPr>
          <a:lstStyle/>
          <a:p>
            <a:r>
              <a:rPr lang="en-US" b="1" dirty="0">
                <a:solidFill>
                  <a:srgbClr val="0070C0"/>
                </a:solidFill>
                <a:latin typeface="Calibri" panose="020F0502020204030204" pitchFamily="34" charset="0"/>
              </a:rPr>
              <a:t>#Wearables UX/UI</a:t>
            </a:r>
          </a:p>
        </p:txBody>
      </p:sp>
      <p:pic>
        <p:nvPicPr>
          <p:cNvPr id="8" name="Image 7"/>
          <p:cNvPicPr>
            <a:picLocks noChangeAspect="1"/>
          </p:cNvPicPr>
          <p:nvPr/>
        </p:nvPicPr>
        <p:blipFill rotWithShape="1">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4763249" y="3629917"/>
            <a:ext cx="2228045" cy="708338"/>
          </a:xfrm>
          <a:prstGeom prst="rect">
            <a:avLst/>
          </a:prstGeom>
        </p:spPr>
      </p:pic>
      <p:sp>
        <p:nvSpPr>
          <p:cNvPr id="91" name="ZoneTexte 90"/>
          <p:cNvSpPr txBox="1"/>
          <p:nvPr/>
        </p:nvSpPr>
        <p:spPr>
          <a:xfrm>
            <a:off x="4455195" y="5554875"/>
            <a:ext cx="1354730" cy="369332"/>
          </a:xfrm>
          <a:prstGeom prst="rect">
            <a:avLst/>
          </a:prstGeom>
          <a:noFill/>
        </p:spPr>
        <p:txBody>
          <a:bodyPr wrap="none" rtlCol="0">
            <a:spAutoFit/>
          </a:bodyPr>
          <a:lstStyle/>
          <a:p>
            <a:r>
              <a:rPr lang="en-US" b="1" dirty="0">
                <a:solidFill>
                  <a:srgbClr val="0070C0"/>
                </a:solidFill>
                <a:latin typeface="Calibri" panose="020F0502020204030204" pitchFamily="34" charset="0"/>
              </a:rPr>
              <a:t>#Enrollment</a:t>
            </a:r>
          </a:p>
        </p:txBody>
      </p:sp>
      <p:sp>
        <p:nvSpPr>
          <p:cNvPr id="92" name="ZoneTexte 91"/>
          <p:cNvSpPr txBox="1"/>
          <p:nvPr/>
        </p:nvSpPr>
        <p:spPr>
          <a:xfrm>
            <a:off x="4455195" y="5857118"/>
            <a:ext cx="1371914" cy="369332"/>
          </a:xfrm>
          <a:prstGeom prst="rect">
            <a:avLst/>
          </a:prstGeom>
          <a:noFill/>
        </p:spPr>
        <p:txBody>
          <a:bodyPr wrap="none" rtlCol="0">
            <a:spAutoFit/>
          </a:bodyPr>
          <a:lstStyle/>
          <a:p>
            <a:r>
              <a:rPr lang="en-US" b="1" dirty="0">
                <a:solidFill>
                  <a:srgbClr val="0070C0"/>
                </a:solidFill>
                <a:latin typeface="Calibri" panose="020F0502020204030204" pitchFamily="34" charset="0"/>
              </a:rPr>
              <a:t>#A/B testing</a:t>
            </a:r>
          </a:p>
        </p:txBody>
      </p:sp>
      <p:sp>
        <p:nvSpPr>
          <p:cNvPr id="9" name="Rectangle 8"/>
          <p:cNvSpPr/>
          <p:nvPr/>
        </p:nvSpPr>
        <p:spPr>
          <a:xfrm>
            <a:off x="5298857" y="3179817"/>
            <a:ext cx="963725" cy="369332"/>
          </a:xfrm>
          <a:prstGeom prst="rect">
            <a:avLst/>
          </a:prstGeom>
        </p:spPr>
        <p:txBody>
          <a:bodyPr wrap="none">
            <a:spAutoFit/>
          </a:bodyPr>
          <a:lstStyle/>
          <a:p>
            <a:r>
              <a:rPr lang="en-US" b="1" dirty="0">
                <a:solidFill>
                  <a:schemeClr val="accent4"/>
                </a:solidFill>
                <a:latin typeface="Calibri" panose="020F0502020204030204" pitchFamily="34" charset="0"/>
              </a:rPr>
              <a:t>M-CRM </a:t>
            </a:r>
            <a:endParaRPr lang="fr-FR" dirty="0">
              <a:solidFill>
                <a:schemeClr val="accent4"/>
              </a:solidFill>
              <a:latin typeface="Calibri" panose="020F0502020204030204" pitchFamily="34" charset="0"/>
            </a:endParaRPr>
          </a:p>
        </p:txBody>
      </p:sp>
      <p:sp>
        <p:nvSpPr>
          <p:cNvPr id="93" name="Rectangle 92"/>
          <p:cNvSpPr/>
          <p:nvPr/>
        </p:nvSpPr>
        <p:spPr>
          <a:xfrm>
            <a:off x="1997125" y="3179817"/>
            <a:ext cx="1772088" cy="369332"/>
          </a:xfrm>
          <a:prstGeom prst="rect">
            <a:avLst/>
          </a:prstGeom>
        </p:spPr>
        <p:txBody>
          <a:bodyPr wrap="none">
            <a:spAutoFit/>
          </a:bodyPr>
          <a:lstStyle/>
          <a:p>
            <a:r>
              <a:rPr lang="en-US" b="1" dirty="0">
                <a:solidFill>
                  <a:schemeClr val="accent4"/>
                </a:solidFill>
                <a:latin typeface="Calibri" panose="020F0502020204030204" pitchFamily="34" charset="0"/>
              </a:rPr>
              <a:t>Mobility Devices</a:t>
            </a:r>
            <a:endParaRPr lang="fr-FR" dirty="0">
              <a:solidFill>
                <a:schemeClr val="accent4"/>
              </a:solidFill>
              <a:latin typeface="Calibri" panose="020F0502020204030204" pitchFamily="34" charset="0"/>
            </a:endParaRPr>
          </a:p>
        </p:txBody>
      </p:sp>
      <p:sp>
        <p:nvSpPr>
          <p:cNvPr id="94" name="Rectangle 93"/>
          <p:cNvSpPr/>
          <p:nvPr/>
        </p:nvSpPr>
        <p:spPr>
          <a:xfrm>
            <a:off x="7561294" y="3179817"/>
            <a:ext cx="2298193" cy="369332"/>
          </a:xfrm>
          <a:prstGeom prst="rect">
            <a:avLst/>
          </a:prstGeom>
        </p:spPr>
        <p:txBody>
          <a:bodyPr wrap="none">
            <a:spAutoFit/>
          </a:bodyPr>
          <a:lstStyle/>
          <a:p>
            <a:r>
              <a:rPr lang="en-US" b="1" dirty="0">
                <a:solidFill>
                  <a:schemeClr val="accent4"/>
                </a:solidFill>
                <a:latin typeface="Calibri" panose="020F0502020204030204" pitchFamily="34" charset="0"/>
              </a:rPr>
              <a:t>Progressive Web Apps</a:t>
            </a:r>
            <a:endParaRPr lang="fr-FR" dirty="0">
              <a:solidFill>
                <a:schemeClr val="accent4"/>
              </a:solidFill>
              <a:latin typeface="Calibri" panose="020F0502020204030204" pitchFamily="34" charset="0"/>
            </a:endParaRPr>
          </a:p>
        </p:txBody>
      </p:sp>
      <p:pic>
        <p:nvPicPr>
          <p:cNvPr id="68616" name="Picture 8" descr="what-is-pwa-img"/>
          <p:cNvPicPr>
            <a:picLocks noChangeAspect="1" noChangeArrowheads="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121136" y="3629918"/>
            <a:ext cx="1591489" cy="1068571"/>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7272195" y="4833910"/>
            <a:ext cx="3263613" cy="1066959"/>
          </a:xfrm>
          <a:prstGeom prst="rect">
            <a:avLst/>
          </a:prstGeom>
        </p:spPr>
        <p:txBody>
          <a:bodyPr wrap="square">
            <a:spAutoFit/>
          </a:bodyPr>
          <a:lstStyle/>
          <a:p>
            <a:pPr algn="ctr">
              <a:lnSpc>
                <a:spcPts val="1900"/>
              </a:lnSpc>
            </a:pPr>
            <a:r>
              <a:rPr lang="en-US" b="1" dirty="0">
                <a:solidFill>
                  <a:srgbClr val="0070C0"/>
                </a:solidFill>
                <a:latin typeface="Calibri" pitchFamily="34" charset="0"/>
                <a:cs typeface="Arial" charset="0"/>
              </a:rPr>
              <a:t>“A Progressive Web App uses modern web capabilities to deliver an app-like user experience.”</a:t>
            </a:r>
            <a:endParaRPr lang="fr-FR" b="1" dirty="0">
              <a:solidFill>
                <a:srgbClr val="0070C0"/>
              </a:solidFill>
              <a:latin typeface="Calibri" pitchFamily="34" charset="0"/>
              <a:cs typeface="Arial" charset="0"/>
            </a:endParaRPr>
          </a:p>
        </p:txBody>
      </p:sp>
      <p:sp>
        <p:nvSpPr>
          <p:cNvPr id="4" name="Rectangle 3"/>
          <p:cNvSpPr/>
          <p:nvPr/>
        </p:nvSpPr>
        <p:spPr>
          <a:xfrm>
            <a:off x="1524001" y="1759659"/>
            <a:ext cx="9143999" cy="400110"/>
          </a:xfrm>
          <a:prstGeom prst="rect">
            <a:avLst/>
          </a:prstGeom>
        </p:spPr>
        <p:txBody>
          <a:bodyPr wrap="square">
            <a:spAutoFit/>
          </a:bodyPr>
          <a:lstStyle/>
          <a:p>
            <a:pPr>
              <a:spcAft>
                <a:spcPts val="277"/>
              </a:spcAft>
            </a:pPr>
            <a:r>
              <a:rPr lang="en-GB" sz="2000" b="1" dirty="0">
                <a:solidFill>
                  <a:schemeClr val="accent6"/>
                </a:solidFill>
                <a:latin typeface="Calibri" pitchFamily="34" charset="0"/>
                <a:cs typeface="Arial" charset="0"/>
              </a:rPr>
              <a:t>Far beyond adapting to smart phones and mobility situations, it requires …</a:t>
            </a:r>
          </a:p>
        </p:txBody>
      </p:sp>
      <p:sp>
        <p:nvSpPr>
          <p:cNvPr id="5" name="Rectangle 4"/>
          <p:cNvSpPr/>
          <p:nvPr/>
        </p:nvSpPr>
        <p:spPr>
          <a:xfrm>
            <a:off x="1524000" y="1058570"/>
            <a:ext cx="9154550" cy="400110"/>
          </a:xfrm>
          <a:prstGeom prst="rect">
            <a:avLst/>
          </a:prstGeom>
        </p:spPr>
        <p:txBody>
          <a:bodyPr wrap="square">
            <a:spAutoFit/>
          </a:bodyPr>
          <a:lstStyle/>
          <a:p>
            <a:pPr algn="ctr" defTabSz="884105">
              <a:spcAft>
                <a:spcPts val="277"/>
              </a:spcAft>
            </a:pPr>
            <a:r>
              <a:rPr lang="en-GB" sz="2000" b="1" dirty="0">
                <a:solidFill>
                  <a:schemeClr val="accent2"/>
                </a:solidFill>
                <a:latin typeface="Calibri" pitchFamily="34" charset="0"/>
              </a:rPr>
              <a:t>Mobility should be the “alpha” and “omega” of customer experience</a:t>
            </a:r>
          </a:p>
        </p:txBody>
      </p:sp>
    </p:spTree>
    <p:extLst>
      <p:ext uri="{BB962C8B-B14F-4D97-AF65-F5344CB8AC3E}">
        <p14:creationId xmlns:p14="http://schemas.microsoft.com/office/powerpoint/2010/main" val="106076177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Capgemini DCX View on Innovations impacting CX</a:t>
            </a:r>
            <a:br>
              <a:rPr lang="en-US" dirty="0"/>
            </a:br>
            <a:r>
              <a:rPr lang="en-GB" sz="1800" b="0" i="1" kern="0" dirty="0">
                <a:solidFill>
                  <a:srgbClr val="0098C7"/>
                </a:solidFill>
              </a:rPr>
              <a:t>New Digital enablers for effortless, fluid, personalised and situational consumer experiences </a:t>
            </a:r>
            <a:endParaRPr lang="fr-FR" b="0" dirty="0"/>
          </a:p>
        </p:txBody>
      </p:sp>
      <p:pic>
        <p:nvPicPr>
          <p:cNvPr id="32" name="Image 31"/>
          <p:cNvPicPr>
            <a:picLocks noChangeAspect="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235260" y="3423909"/>
            <a:ext cx="1872000" cy="1872000"/>
          </a:xfrm>
          <a:prstGeom prst="rect">
            <a:avLst/>
          </a:prstGeom>
          <a:ln>
            <a:noFill/>
          </a:ln>
        </p:spPr>
      </p:pic>
      <p:pic>
        <p:nvPicPr>
          <p:cNvPr id="34" name="Image 3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83102" y="3423909"/>
            <a:ext cx="1502008" cy="1872000"/>
          </a:xfrm>
          <a:prstGeom prst="rect">
            <a:avLst/>
          </a:prstGeom>
          <a:ln>
            <a:noFill/>
          </a:ln>
        </p:spPr>
      </p:pic>
      <p:pic>
        <p:nvPicPr>
          <p:cNvPr id="35" name="Image 3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567966" y="3423909"/>
            <a:ext cx="1738291" cy="1872000"/>
          </a:xfrm>
          <a:prstGeom prst="rect">
            <a:avLst/>
          </a:prstGeom>
          <a:ln>
            <a:noFill/>
          </a:ln>
        </p:spPr>
      </p:pic>
      <p:sp>
        <p:nvSpPr>
          <p:cNvPr id="36" name="Rectangle 35"/>
          <p:cNvSpPr/>
          <p:nvPr/>
        </p:nvSpPr>
        <p:spPr>
          <a:xfrm>
            <a:off x="1793344" y="5283525"/>
            <a:ext cx="1168910" cy="338554"/>
          </a:xfrm>
          <a:prstGeom prst="rect">
            <a:avLst/>
          </a:prstGeom>
        </p:spPr>
        <p:txBody>
          <a:bodyPr wrap="none">
            <a:spAutoFit/>
          </a:bodyPr>
          <a:lstStyle/>
          <a:p>
            <a:r>
              <a:rPr lang="en-US" sz="1600" b="1" dirty="0">
                <a:solidFill>
                  <a:srgbClr val="0070C0"/>
                </a:solidFill>
                <a:latin typeface="Calibri" panose="020F0502020204030204" pitchFamily="34" charset="0"/>
              </a:rPr>
              <a:t>Google </a:t>
            </a:r>
            <a:r>
              <a:rPr lang="en-US" sz="1600" b="1" dirty="0" err="1">
                <a:solidFill>
                  <a:srgbClr val="0070C0"/>
                </a:solidFill>
                <a:latin typeface="Calibri" panose="020F0502020204030204" pitchFamily="34" charset="0"/>
              </a:rPr>
              <a:t>Allo</a:t>
            </a:r>
            <a:endParaRPr lang="fr-FR" sz="1600" dirty="0">
              <a:solidFill>
                <a:srgbClr val="0070C0"/>
              </a:solidFill>
              <a:latin typeface="Calibri" panose="020F0502020204030204" pitchFamily="34" charset="0"/>
            </a:endParaRPr>
          </a:p>
        </p:txBody>
      </p:sp>
      <p:sp>
        <p:nvSpPr>
          <p:cNvPr id="37" name="Rectangle 36"/>
          <p:cNvSpPr/>
          <p:nvPr/>
        </p:nvSpPr>
        <p:spPr>
          <a:xfrm>
            <a:off x="3545567" y="5283526"/>
            <a:ext cx="1619676" cy="584775"/>
          </a:xfrm>
          <a:prstGeom prst="rect">
            <a:avLst/>
          </a:prstGeom>
        </p:spPr>
        <p:txBody>
          <a:bodyPr wrap="square">
            <a:spAutoFit/>
          </a:bodyPr>
          <a:lstStyle/>
          <a:p>
            <a:pPr algn="ctr"/>
            <a:r>
              <a:rPr lang="en-US" sz="1600" b="1" dirty="0">
                <a:solidFill>
                  <a:srgbClr val="0070C0"/>
                </a:solidFill>
                <a:latin typeface="Calibri" panose="020F0502020204030204" pitchFamily="34" charset="0"/>
              </a:rPr>
              <a:t>Microsoft Bot Framework</a:t>
            </a:r>
            <a:endParaRPr lang="fr-FR" sz="1600" dirty="0">
              <a:solidFill>
                <a:srgbClr val="0070C0"/>
              </a:solidFill>
              <a:latin typeface="Calibri" panose="020F0502020204030204" pitchFamily="34" charset="0"/>
            </a:endParaRPr>
          </a:p>
        </p:txBody>
      </p:sp>
      <p:sp>
        <p:nvSpPr>
          <p:cNvPr id="38" name="Rectangle 37"/>
          <p:cNvSpPr/>
          <p:nvPr/>
        </p:nvSpPr>
        <p:spPr>
          <a:xfrm>
            <a:off x="5443611" y="5283526"/>
            <a:ext cx="1580137" cy="584775"/>
          </a:xfrm>
          <a:prstGeom prst="rect">
            <a:avLst/>
          </a:prstGeom>
        </p:spPr>
        <p:txBody>
          <a:bodyPr wrap="square">
            <a:spAutoFit/>
          </a:bodyPr>
          <a:lstStyle/>
          <a:p>
            <a:pPr algn="ctr"/>
            <a:r>
              <a:rPr lang="en-US" sz="1600" b="1" dirty="0">
                <a:solidFill>
                  <a:srgbClr val="0070C0"/>
                </a:solidFill>
                <a:latin typeface="Calibri" panose="020F0502020204030204" pitchFamily="34" charset="0"/>
              </a:rPr>
              <a:t>Facebook Messenger</a:t>
            </a:r>
            <a:endParaRPr lang="fr-FR" sz="1600" dirty="0">
              <a:solidFill>
                <a:srgbClr val="0070C0"/>
              </a:solidFill>
              <a:latin typeface="Calibri" panose="020F0502020204030204" pitchFamily="34" charset="0"/>
            </a:endParaRPr>
          </a:p>
        </p:txBody>
      </p:sp>
      <p:sp>
        <p:nvSpPr>
          <p:cNvPr id="39" name="Rectangle 38"/>
          <p:cNvSpPr/>
          <p:nvPr/>
        </p:nvSpPr>
        <p:spPr>
          <a:xfrm>
            <a:off x="7438719" y="5283525"/>
            <a:ext cx="1327992" cy="338554"/>
          </a:xfrm>
          <a:prstGeom prst="rect">
            <a:avLst/>
          </a:prstGeom>
        </p:spPr>
        <p:txBody>
          <a:bodyPr wrap="none">
            <a:spAutoFit/>
          </a:bodyPr>
          <a:lstStyle/>
          <a:p>
            <a:r>
              <a:rPr lang="en-US" sz="1600" b="1" dirty="0">
                <a:solidFill>
                  <a:srgbClr val="0070C0"/>
                </a:solidFill>
                <a:latin typeface="Calibri" panose="020F0502020204030204" pitchFamily="34" charset="0"/>
              </a:rPr>
              <a:t>Amazon Echo</a:t>
            </a:r>
            <a:endParaRPr lang="fr-FR" sz="1600" dirty="0">
              <a:solidFill>
                <a:srgbClr val="0070C0"/>
              </a:solidFill>
              <a:latin typeface="Calibri" panose="020F0502020204030204" pitchFamily="34" charset="0"/>
            </a:endParaRPr>
          </a:p>
        </p:txBody>
      </p:sp>
      <p:sp>
        <p:nvSpPr>
          <p:cNvPr id="41" name="Rectangle 40"/>
          <p:cNvSpPr/>
          <p:nvPr/>
        </p:nvSpPr>
        <p:spPr>
          <a:xfrm>
            <a:off x="1524000" y="1048384"/>
            <a:ext cx="9143999" cy="400110"/>
          </a:xfrm>
          <a:prstGeom prst="rect">
            <a:avLst/>
          </a:prstGeom>
        </p:spPr>
        <p:txBody>
          <a:bodyPr wrap="square">
            <a:spAutoFit/>
          </a:bodyPr>
          <a:lstStyle/>
          <a:p>
            <a:pPr algn="ctr" defTabSz="884105">
              <a:spcAft>
                <a:spcPts val="277"/>
              </a:spcAft>
            </a:pPr>
            <a:r>
              <a:rPr lang="en-GB" sz="2000" b="1" dirty="0">
                <a:solidFill>
                  <a:schemeClr val="accent4"/>
                </a:solidFill>
                <a:latin typeface="Calibri" pitchFamily="34" charset="0"/>
              </a:rPr>
              <a:t>The interfaces for customer interactions become simpler and conversational</a:t>
            </a:r>
          </a:p>
        </p:txBody>
      </p:sp>
      <p:sp>
        <p:nvSpPr>
          <p:cNvPr id="43" name="Rectangle 42"/>
          <p:cNvSpPr/>
          <p:nvPr/>
        </p:nvSpPr>
        <p:spPr>
          <a:xfrm>
            <a:off x="1529085" y="1505929"/>
            <a:ext cx="4572000" cy="1311128"/>
          </a:xfrm>
          <a:prstGeom prst="rect">
            <a:avLst/>
          </a:prstGeom>
        </p:spPr>
        <p:txBody>
          <a:bodyPr>
            <a:spAutoFit/>
          </a:bodyPr>
          <a:lstStyle/>
          <a:p>
            <a:pPr defTabSz="654500">
              <a:lnSpc>
                <a:spcPct val="110000"/>
              </a:lnSpc>
              <a:spcAft>
                <a:spcPts val="277"/>
              </a:spcAft>
              <a:buClr>
                <a:schemeClr val="accent5"/>
              </a:buClr>
            </a:pPr>
            <a:r>
              <a:rPr lang="en-GB" b="1" dirty="0">
                <a:solidFill>
                  <a:srgbClr val="D30056"/>
                </a:solidFill>
                <a:latin typeface="Calibri" panose="020F0502020204030204" pitchFamily="34" charset="0"/>
                <a:cs typeface="Arial"/>
              </a:rPr>
              <a:t>Conversational interfaces </a:t>
            </a:r>
            <a:r>
              <a:rPr lang="en-GB" dirty="0">
                <a:solidFill>
                  <a:srgbClr val="000000"/>
                </a:solidFill>
                <a:latin typeface="Calibri" panose="020F0502020204030204" pitchFamily="34" charset="0"/>
                <a:cs typeface="Arial"/>
              </a:rPr>
              <a:t>significantly reduce the need for intermediate supports (such as keyboards) or complex user interfaces (such as mobile apps). </a:t>
            </a:r>
            <a:endParaRPr lang="fr-FR" dirty="0">
              <a:solidFill>
                <a:srgbClr val="000000"/>
              </a:solidFill>
              <a:latin typeface="Calibri" panose="020F0502020204030204" pitchFamily="34" charset="0"/>
              <a:cs typeface="Arial"/>
            </a:endParaRPr>
          </a:p>
        </p:txBody>
      </p:sp>
      <p:sp>
        <p:nvSpPr>
          <p:cNvPr id="44" name="Rectangle 43"/>
          <p:cNvSpPr/>
          <p:nvPr/>
        </p:nvSpPr>
        <p:spPr>
          <a:xfrm>
            <a:off x="6101085" y="1509928"/>
            <a:ext cx="4572000" cy="1615827"/>
          </a:xfrm>
          <a:prstGeom prst="rect">
            <a:avLst/>
          </a:prstGeom>
        </p:spPr>
        <p:txBody>
          <a:bodyPr>
            <a:spAutoFit/>
          </a:bodyPr>
          <a:lstStyle/>
          <a:p>
            <a:pPr defTabSz="654500">
              <a:lnSpc>
                <a:spcPct val="110000"/>
              </a:lnSpc>
              <a:spcAft>
                <a:spcPts val="277"/>
              </a:spcAft>
              <a:buClr>
                <a:schemeClr val="accent5"/>
              </a:buClr>
            </a:pPr>
            <a:r>
              <a:rPr lang="en-GB" b="1" dirty="0">
                <a:solidFill>
                  <a:srgbClr val="D30056"/>
                </a:solidFill>
                <a:latin typeface="Calibri" panose="020F0502020204030204" pitchFamily="34" charset="0"/>
                <a:cs typeface="Arial"/>
              </a:rPr>
              <a:t>Messaging or Voice based conversations </a:t>
            </a:r>
            <a:r>
              <a:rPr lang="en-GB" dirty="0">
                <a:solidFill>
                  <a:srgbClr val="000000"/>
                </a:solidFill>
                <a:latin typeface="Calibri" panose="020F0502020204030204" pitchFamily="34" charset="0"/>
                <a:cs typeface="Arial"/>
              </a:rPr>
              <a:t>are emerging as new brand front-ends for use cases such as </a:t>
            </a:r>
            <a:r>
              <a:rPr lang="en-GB" b="1" dirty="0">
                <a:solidFill>
                  <a:srgbClr val="D30056"/>
                </a:solidFill>
                <a:latin typeface="Calibri" panose="020F0502020204030204" pitchFamily="34" charset="0"/>
                <a:cs typeface="Arial"/>
              </a:rPr>
              <a:t>customer service, concierge or advisors</a:t>
            </a:r>
            <a:r>
              <a:rPr lang="en-GB" dirty="0">
                <a:solidFill>
                  <a:srgbClr val="000000"/>
                </a:solidFill>
                <a:latin typeface="Calibri" panose="020F0502020204030204" pitchFamily="34" charset="0"/>
                <a:cs typeface="Arial"/>
              </a:rPr>
              <a:t>, with the right balance between </a:t>
            </a:r>
            <a:r>
              <a:rPr lang="en-GB" b="1" dirty="0">
                <a:solidFill>
                  <a:srgbClr val="D30056"/>
                </a:solidFill>
                <a:latin typeface="Calibri" panose="020F0502020204030204" pitchFamily="34" charset="0"/>
                <a:cs typeface="Arial"/>
              </a:rPr>
              <a:t>human and robots</a:t>
            </a:r>
            <a:r>
              <a:rPr lang="en-GB" dirty="0">
                <a:solidFill>
                  <a:srgbClr val="000000"/>
                </a:solidFill>
                <a:latin typeface="Calibri" panose="020F0502020204030204" pitchFamily="34" charset="0"/>
                <a:cs typeface="Arial"/>
              </a:rPr>
              <a:t>.</a:t>
            </a:r>
            <a:endParaRPr lang="fr-FR" dirty="0">
              <a:solidFill>
                <a:srgbClr val="000000"/>
              </a:solidFill>
              <a:latin typeface="Calibri" panose="020F0502020204030204" pitchFamily="34" charset="0"/>
              <a:cs typeface="Arial"/>
            </a:endParaRPr>
          </a:p>
        </p:txBody>
      </p:sp>
      <p:sp>
        <p:nvSpPr>
          <p:cNvPr id="45" name="Rectangle 44"/>
          <p:cNvSpPr/>
          <p:nvPr/>
        </p:nvSpPr>
        <p:spPr>
          <a:xfrm>
            <a:off x="1508974" y="5961414"/>
            <a:ext cx="9143999" cy="400110"/>
          </a:xfrm>
          <a:prstGeom prst="rect">
            <a:avLst/>
          </a:prstGeom>
        </p:spPr>
        <p:txBody>
          <a:bodyPr wrap="square">
            <a:spAutoFit/>
          </a:bodyPr>
          <a:lstStyle/>
          <a:p>
            <a:pPr algn="ctr" defTabSz="884105">
              <a:spcAft>
                <a:spcPts val="277"/>
              </a:spcAft>
            </a:pPr>
            <a:r>
              <a:rPr lang="en-GB" sz="2000" b="1" dirty="0">
                <a:solidFill>
                  <a:schemeClr val="accent4"/>
                </a:solidFill>
                <a:latin typeface="Calibri" pitchFamily="34" charset="0"/>
              </a:rPr>
              <a:t>Conversational front ends becomes powered with Cognitive technologies</a:t>
            </a:r>
          </a:p>
        </p:txBody>
      </p:sp>
      <p:pic>
        <p:nvPicPr>
          <p:cNvPr id="46" name="Image 4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343180" y="3417090"/>
            <a:ext cx="1269673" cy="1872000"/>
          </a:xfrm>
          <a:prstGeom prst="rect">
            <a:avLst/>
          </a:prstGeom>
        </p:spPr>
      </p:pic>
      <p:sp>
        <p:nvSpPr>
          <p:cNvPr id="47" name="Rectangle 46"/>
          <p:cNvSpPr/>
          <p:nvPr/>
        </p:nvSpPr>
        <p:spPr>
          <a:xfrm>
            <a:off x="9226736" y="5283526"/>
            <a:ext cx="1391296" cy="584775"/>
          </a:xfrm>
          <a:prstGeom prst="rect">
            <a:avLst/>
          </a:prstGeom>
        </p:spPr>
        <p:txBody>
          <a:bodyPr wrap="square">
            <a:spAutoFit/>
          </a:bodyPr>
          <a:lstStyle/>
          <a:p>
            <a:pPr algn="ctr"/>
            <a:r>
              <a:rPr lang="en-US" sz="1600" b="1" dirty="0">
                <a:solidFill>
                  <a:srgbClr val="0070C0"/>
                </a:solidFill>
                <a:latin typeface="Calibri" panose="020F0502020204030204" pitchFamily="34" charset="0"/>
              </a:rPr>
              <a:t>Odigo Concierge</a:t>
            </a:r>
            <a:endParaRPr lang="fr-FR" sz="1600" dirty="0">
              <a:solidFill>
                <a:srgbClr val="0070C0"/>
              </a:solidFill>
              <a:latin typeface="Calibri" panose="020F0502020204030204" pitchFamily="34" charset="0"/>
            </a:endParaRPr>
          </a:p>
        </p:txBody>
      </p:sp>
      <p:pic>
        <p:nvPicPr>
          <p:cNvPr id="3" name="Image 2"/>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454668" y="2781383"/>
            <a:ext cx="1872000" cy="2514526"/>
          </a:xfrm>
          <a:prstGeom prst="rect">
            <a:avLst/>
          </a:prstGeom>
          <a:ln>
            <a:noFill/>
          </a:ln>
        </p:spPr>
      </p:pic>
    </p:spTree>
    <p:extLst>
      <p:ext uri="{BB962C8B-B14F-4D97-AF65-F5344CB8AC3E}">
        <p14:creationId xmlns:p14="http://schemas.microsoft.com/office/powerpoint/2010/main" val="410297846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8"/>
          <p:cNvSpPr>
            <a:spLocks noGrp="1"/>
          </p:cNvSpPr>
          <p:nvPr>
            <p:ph type="title"/>
          </p:nvPr>
        </p:nvSpPr>
        <p:spPr/>
        <p:txBody>
          <a:bodyPr/>
          <a:lstStyle/>
          <a:p>
            <a:r>
              <a:rPr lang="en-US" sz="4400" dirty="0" smtClean="0"/>
              <a:t>DCX Mobility</a:t>
            </a:r>
            <a:endParaRPr lang="en-US" sz="4400" dirty="0"/>
          </a:p>
        </p:txBody>
      </p:sp>
      <p:sp>
        <p:nvSpPr>
          <p:cNvPr id="31" name="ZoneTexte 17"/>
          <p:cNvSpPr txBox="1"/>
          <p:nvPr/>
        </p:nvSpPr>
        <p:spPr>
          <a:xfrm>
            <a:off x="12528621" y="2620283"/>
            <a:ext cx="2451331" cy="1415772"/>
          </a:xfrm>
          <a:prstGeom prst="rect">
            <a:avLst/>
          </a:prstGeom>
          <a:noFill/>
        </p:spPr>
        <p:txBody>
          <a:bodyPr wrap="square" rtlCol="0">
            <a:spAutoFit/>
          </a:bodyPr>
          <a:lstStyle/>
          <a:p>
            <a:r>
              <a:rPr lang="fr-FR" sz="900" dirty="0" smtClean="0">
                <a:solidFill>
                  <a:srgbClr val="2B143D"/>
                </a:solidFill>
                <a:latin typeface="Arial" panose="020B0604020202020204" pitchFamily="34" charset="0"/>
                <a:cs typeface="Arial" panose="020B0604020202020204" pitchFamily="34" charset="0"/>
              </a:rPr>
              <a:t>Pour modifier </a:t>
            </a:r>
            <a:r>
              <a:rPr lang="fr-FR" sz="900" b="1" dirty="0" smtClean="0">
                <a:solidFill>
                  <a:srgbClr val="2B143D"/>
                </a:solidFill>
                <a:latin typeface="Arial" panose="020B0604020202020204" pitchFamily="34" charset="0"/>
                <a:cs typeface="Arial" panose="020B0604020202020204" pitchFamily="34" charset="0"/>
              </a:rPr>
              <a:t>l’image d'arrière-plan </a:t>
            </a:r>
            <a:r>
              <a:rPr lang="fr-FR" sz="900" dirty="0" smtClean="0">
                <a:solidFill>
                  <a:srgbClr val="2B143D"/>
                </a:solidFill>
                <a:latin typeface="Arial" panose="020B0604020202020204" pitchFamily="34" charset="0"/>
                <a:cs typeface="Arial" panose="020B0604020202020204" pitchFamily="34" charset="0"/>
              </a:rPr>
              <a:t>:</a:t>
            </a:r>
          </a:p>
          <a:p>
            <a:pPr marL="228600" indent="-228600">
              <a:spcBef>
                <a:spcPts val="200"/>
              </a:spcBef>
              <a:buFontTx/>
              <a:buAutoNum type="arabicPeriod"/>
            </a:pPr>
            <a:r>
              <a:rPr lang="fr-FR" sz="900" dirty="0" smtClean="0">
                <a:solidFill>
                  <a:srgbClr val="2B143D"/>
                </a:solidFill>
                <a:latin typeface="Arial" panose="020B0604020202020204" pitchFamily="34" charset="0"/>
                <a:cs typeface="Arial" panose="020B0604020202020204" pitchFamily="34" charset="0"/>
              </a:rPr>
              <a:t>Faites un clic droit et cliquez sur </a:t>
            </a:r>
            <a:r>
              <a:rPr lang="fr-FR" sz="900" b="1" dirty="0" smtClean="0">
                <a:solidFill>
                  <a:srgbClr val="2B143D"/>
                </a:solidFill>
                <a:latin typeface="Arial" panose="020B0604020202020204" pitchFamily="34" charset="0"/>
                <a:cs typeface="Arial" panose="020B0604020202020204" pitchFamily="34" charset="0"/>
              </a:rPr>
              <a:t>Mise en forme de l’arrière-plan</a:t>
            </a:r>
            <a:endParaRPr lang="fr-FR" sz="900" dirty="0" smtClean="0">
              <a:solidFill>
                <a:srgbClr val="2B143D"/>
              </a:solidFill>
              <a:latin typeface="Arial" panose="020B0604020202020204" pitchFamily="34" charset="0"/>
              <a:cs typeface="Arial" panose="020B0604020202020204" pitchFamily="34" charset="0"/>
            </a:endParaRPr>
          </a:p>
          <a:p>
            <a:pPr marL="228600" indent="-228600">
              <a:spcBef>
                <a:spcPts val="200"/>
              </a:spcBef>
              <a:buFontTx/>
              <a:buAutoNum type="arabicPeriod"/>
            </a:pPr>
            <a:r>
              <a:rPr lang="fr-FR" sz="900" dirty="0" smtClean="0">
                <a:solidFill>
                  <a:srgbClr val="2B143D"/>
                </a:solidFill>
                <a:latin typeface="Arial" panose="020B0604020202020204" pitchFamily="34" charset="0"/>
                <a:cs typeface="Arial" panose="020B0604020202020204" pitchFamily="34" charset="0"/>
              </a:rPr>
              <a:t>Dans la fenêtre Remplissage, choisissez </a:t>
            </a:r>
            <a:r>
              <a:rPr lang="fr-FR" sz="900" b="1" dirty="0" smtClean="0">
                <a:solidFill>
                  <a:srgbClr val="2B143D"/>
                </a:solidFill>
                <a:latin typeface="Arial" panose="020B0604020202020204" pitchFamily="34" charset="0"/>
                <a:cs typeface="Arial" panose="020B0604020202020204" pitchFamily="34" charset="0"/>
              </a:rPr>
              <a:t>Remplissage avec image ou texture</a:t>
            </a:r>
            <a:r>
              <a:rPr lang="fr-FR" sz="900" dirty="0" smtClean="0">
                <a:solidFill>
                  <a:srgbClr val="2B143D"/>
                </a:solidFill>
                <a:latin typeface="Arial" panose="020B0604020202020204" pitchFamily="34" charset="0"/>
                <a:cs typeface="Arial" panose="020B0604020202020204" pitchFamily="34" charset="0"/>
              </a:rPr>
              <a:t> puis cliquez sur </a:t>
            </a:r>
            <a:r>
              <a:rPr lang="fr-FR" sz="900" b="1" dirty="0" smtClean="0">
                <a:solidFill>
                  <a:srgbClr val="2B143D"/>
                </a:solidFill>
                <a:latin typeface="Arial" panose="020B0604020202020204" pitchFamily="34" charset="0"/>
                <a:cs typeface="Arial" panose="020B0604020202020204" pitchFamily="34" charset="0"/>
              </a:rPr>
              <a:t>Insérer à partir de : Fichier</a:t>
            </a:r>
          </a:p>
          <a:p>
            <a:pPr marL="228600" indent="-228600">
              <a:spcBef>
                <a:spcPts val="200"/>
              </a:spcBef>
              <a:buFontTx/>
              <a:buAutoNum type="arabicPeriod"/>
            </a:pPr>
            <a:r>
              <a:rPr lang="fr-FR" sz="900" dirty="0" smtClean="0">
                <a:solidFill>
                  <a:srgbClr val="2B143D"/>
                </a:solidFill>
                <a:latin typeface="Arial" panose="020B0604020202020204" pitchFamily="34" charset="0"/>
                <a:cs typeface="Arial" panose="020B0604020202020204" pitchFamily="34" charset="0"/>
              </a:rPr>
              <a:t>Sélectionnez votre image puis cliquez sur </a:t>
            </a:r>
            <a:r>
              <a:rPr lang="fr-FR" sz="900" b="1" dirty="0" smtClean="0">
                <a:solidFill>
                  <a:srgbClr val="2B143D"/>
                </a:solidFill>
                <a:latin typeface="Arial" panose="020B0604020202020204" pitchFamily="34" charset="0"/>
                <a:cs typeface="Arial" panose="020B0604020202020204" pitchFamily="34" charset="0"/>
              </a:rPr>
              <a:t>Fermer</a:t>
            </a:r>
            <a:endParaRPr lang="fr-FR" sz="900" dirty="0" smtClean="0">
              <a:solidFill>
                <a:srgbClr val="2B143D"/>
              </a:solidFill>
              <a:latin typeface="Arial" panose="020B0604020202020204" pitchFamily="34" charset="0"/>
              <a:cs typeface="Arial" panose="020B0604020202020204" pitchFamily="34" charset="0"/>
            </a:endParaRPr>
          </a:p>
        </p:txBody>
      </p:sp>
      <p:grpSp>
        <p:nvGrpSpPr>
          <p:cNvPr id="32" name="Groupe 18"/>
          <p:cNvGrpSpPr/>
          <p:nvPr/>
        </p:nvGrpSpPr>
        <p:grpSpPr>
          <a:xfrm flipH="1">
            <a:off x="12384605" y="2667486"/>
            <a:ext cx="144016" cy="2828439"/>
            <a:chOff x="-252536" y="0"/>
            <a:chExt cx="144016" cy="2828439"/>
          </a:xfrm>
        </p:grpSpPr>
        <p:cxnSp>
          <p:nvCxnSpPr>
            <p:cNvPr id="33" name="Connecteur droit 21"/>
            <p:cNvCxnSpPr/>
            <p:nvPr/>
          </p:nvCxnSpPr>
          <p:spPr>
            <a:xfrm flipH="1">
              <a:off x="-252536" y="0"/>
              <a:ext cx="0" cy="282843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Connecteur droit 22"/>
            <p:cNvCxnSpPr/>
            <p:nvPr/>
          </p:nvCxnSpPr>
          <p:spPr>
            <a:xfrm flipH="1">
              <a:off x="-252536" y="288032"/>
              <a:ext cx="14401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35" name="Image 2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2846353" y="4004057"/>
            <a:ext cx="1921932" cy="1444809"/>
          </a:xfrm>
          <a:prstGeom prst="rect">
            <a:avLst/>
          </a:prstGeom>
        </p:spPr>
      </p:pic>
      <p:pic>
        <p:nvPicPr>
          <p:cNvPr id="3" name="Picture 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3400" y="203200"/>
            <a:ext cx="5422900" cy="4106717"/>
          </a:xfrm>
          <a:prstGeom prst="rect">
            <a:avLst/>
          </a:prstGeom>
        </p:spPr>
      </p:pic>
    </p:spTree>
    <p:extLst>
      <p:ext uri="{BB962C8B-B14F-4D97-AF65-F5344CB8AC3E}">
        <p14:creationId xmlns:p14="http://schemas.microsoft.com/office/powerpoint/2010/main" val="143709541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4" name="Object 123" hidden="1"/>
          <p:cNvGraphicFramePr>
            <a:graphicFrameLocks noChangeAspect="1"/>
          </p:cNvGraphicFramePr>
          <p:nvPr>
            <p:custDataLst>
              <p:tags r:id="rId2"/>
            </p:custDataLst>
          </p:nvPr>
        </p:nvGraphicFramePr>
        <p:xfrm>
          <a:off x="1144591" y="1593"/>
          <a:ext cx="1587" cy="1587"/>
        </p:xfrm>
        <a:graphic>
          <a:graphicData uri="http://schemas.openxmlformats.org/presentationml/2006/ole">
            <mc:AlternateContent xmlns:mc="http://schemas.openxmlformats.org/markup-compatibility/2006">
              <mc:Choice xmlns:v="urn:schemas-microsoft-com:vml" Requires="v">
                <p:oleObj spid="_x0000_s90198"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4591" y="1593"/>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27349" y="0"/>
            <a:ext cx="5975743" cy="988484"/>
          </a:xfrm>
        </p:spPr>
        <p:txBody>
          <a:bodyPr/>
          <a:lstStyle/>
          <a:p>
            <a:r>
              <a:rPr lang="en-GB" dirty="0" smtClean="0">
                <a:latin typeface="Arial"/>
                <a:sym typeface="Arial"/>
              </a:rPr>
              <a:t>Mobility Capability Summary</a:t>
            </a:r>
            <a:endParaRPr lang="en-GB" dirty="0">
              <a:latin typeface="Arial"/>
              <a:sym typeface="Arial"/>
            </a:endParaRPr>
          </a:p>
        </p:txBody>
      </p:sp>
      <p:sp>
        <p:nvSpPr>
          <p:cNvPr id="44" name="Rectangle 43"/>
          <p:cNvSpPr/>
          <p:nvPr/>
        </p:nvSpPr>
        <p:spPr bwMode="auto">
          <a:xfrm>
            <a:off x="1416050" y="1125007"/>
            <a:ext cx="9359900" cy="65881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lt1"/>
                </a:solidFill>
                <a:sym typeface="Arial"/>
              </a:rPr>
              <a:t>Leader in Forrester Enterprise / IDC Mobile App Service Providers</a:t>
            </a:r>
          </a:p>
          <a:p>
            <a:pPr algn="ctr"/>
            <a:r>
              <a:rPr lang="en-GB" sz="1200" dirty="0">
                <a:solidFill>
                  <a:schemeClr val="lt1"/>
                </a:solidFill>
                <a:sym typeface="Arial"/>
              </a:rPr>
              <a:t>Deep technology skills and breadth of end to end service</a:t>
            </a:r>
          </a:p>
          <a:p>
            <a:pPr algn="ctr"/>
            <a:r>
              <a:rPr lang="en-GB" sz="1200" dirty="0">
                <a:solidFill>
                  <a:schemeClr val="lt1"/>
                </a:solidFill>
                <a:sym typeface="Arial"/>
              </a:rPr>
              <a:t>Significant library of prebuilt IP for enterprise mobile apps, and breath of CX and agency skills</a:t>
            </a:r>
          </a:p>
        </p:txBody>
      </p:sp>
      <p:sp>
        <p:nvSpPr>
          <p:cNvPr id="69" name="Round Same Side Corner Rectangle 68"/>
          <p:cNvSpPr/>
          <p:nvPr/>
        </p:nvSpPr>
        <p:spPr bwMode="auto">
          <a:xfrm>
            <a:off x="1416050" y="1867006"/>
            <a:ext cx="4535488" cy="254176"/>
          </a:xfrm>
          <a:prstGeom prst="round2Same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lt1"/>
                </a:solidFill>
                <a:sym typeface="Arial"/>
              </a:rPr>
              <a:t>Why Capgemini?</a:t>
            </a:r>
          </a:p>
        </p:txBody>
      </p:sp>
      <p:sp>
        <p:nvSpPr>
          <p:cNvPr id="70" name="Text Placeholder 5"/>
          <p:cNvSpPr txBox="1">
            <a:spLocks/>
          </p:cNvSpPr>
          <p:nvPr/>
        </p:nvSpPr>
        <p:spPr bwMode="auto">
          <a:xfrm>
            <a:off x="1416050" y="2121182"/>
            <a:ext cx="4535488" cy="1574624"/>
          </a:xfrm>
          <a:prstGeom prst="rect">
            <a:avLst/>
          </a:prstGeom>
          <a:solidFill>
            <a:schemeClr val="bg1"/>
          </a:solidFill>
          <a:ln w="9525">
            <a:solidFill>
              <a:schemeClr val="tx1">
                <a:lumMod val="50000"/>
                <a:lumOff val="50000"/>
              </a:schemeClr>
            </a:solidFill>
            <a:miter lim="800000"/>
            <a:headEnd/>
            <a:tailEnd/>
          </a:ln>
        </p:spPr>
        <p:txBody>
          <a:bodyPr vert="horz" wrap="square" lIns="91430" tIns="45716" rIns="91430" bIns="45716" numCol="1" anchor="t" anchorCtr="0" compatLnSpc="1">
            <a:prstTxWarp prst="textNoShape">
              <a:avLst/>
            </a:prstTxWarp>
          </a:bodyPr>
          <a:lstStyle>
            <a:lvl1pPr marL="0" indent="0" algn="l" rtl="0" eaLnBrk="0" fontAlgn="base" hangingPunct="0">
              <a:spcBef>
                <a:spcPts val="0"/>
              </a:spcBef>
              <a:spcAft>
                <a:spcPct val="0"/>
              </a:spcAft>
              <a:buFontTx/>
              <a:buNone/>
              <a:defRPr sz="1400" kern="1200" baseline="0">
                <a:solidFill>
                  <a:schemeClr val="tx1">
                    <a:lumMod val="65000"/>
                    <a:lumOff val="35000"/>
                  </a:schemeClr>
                </a:solidFill>
                <a:latin typeface="+mn-lt"/>
                <a:ea typeface="+mn-ea"/>
                <a:cs typeface="+mn-cs"/>
              </a:defRPr>
            </a:lvl1pPr>
            <a:lvl2pPr marL="457154"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2pPr>
            <a:lvl3pPr marL="914308"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3pPr>
            <a:lvl4pPr marL="1371462"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4pPr>
            <a:lvl5pPr marL="1828616"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5pPr>
            <a:lvl6pPr marL="2514347"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01"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5"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09"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9863" lvl="2" indent="-169863" eaLnBrk="1" hangingPunct="1">
              <a:spcAft>
                <a:spcPts val="0"/>
              </a:spcAft>
              <a:buClr>
                <a:schemeClr val="accent1"/>
              </a:buClr>
              <a:buFont typeface="Wingdings" pitchFamily="2" charset="2"/>
              <a:buChar char="§"/>
              <a:defRPr/>
            </a:pPr>
            <a:r>
              <a:rPr lang="en-GB" altLang="ja-JP" sz="1200" dirty="0">
                <a:solidFill>
                  <a:schemeClr val="tx1"/>
                </a:solidFill>
                <a:latin typeface="Arial"/>
                <a:sym typeface="Arial"/>
              </a:rPr>
              <a:t>One of the worlds largest enterprise </a:t>
            </a:r>
            <a:r>
              <a:rPr lang="en-GB" altLang="ja-JP" sz="1200" b="1" dirty="0">
                <a:solidFill>
                  <a:schemeClr val="tx1"/>
                </a:solidFill>
                <a:latin typeface="Arial"/>
                <a:sym typeface="Arial"/>
              </a:rPr>
              <a:t>Mobility integrators </a:t>
            </a:r>
          </a:p>
          <a:p>
            <a:pPr marL="169863" lvl="2" indent="-169863" eaLnBrk="1" hangingPunct="1">
              <a:spcAft>
                <a:spcPts val="0"/>
              </a:spcAft>
              <a:buClr>
                <a:schemeClr val="accent1"/>
              </a:buClr>
              <a:buFont typeface="Wingdings" pitchFamily="2" charset="2"/>
              <a:buChar char="§"/>
              <a:defRPr/>
            </a:pPr>
            <a:r>
              <a:rPr lang="en-GB" altLang="ja-JP" sz="1200" dirty="0">
                <a:solidFill>
                  <a:schemeClr val="tx1"/>
                </a:solidFill>
                <a:latin typeface="Arial"/>
                <a:sym typeface="Arial"/>
              </a:rPr>
              <a:t>4000 + Global mobility resources</a:t>
            </a:r>
          </a:p>
          <a:p>
            <a:pPr marL="169863" lvl="2" indent="-169863" eaLnBrk="1" hangingPunct="1">
              <a:spcAft>
                <a:spcPts val="0"/>
              </a:spcAft>
              <a:buClr>
                <a:schemeClr val="accent1"/>
              </a:buClr>
              <a:buFont typeface="Wingdings" pitchFamily="2" charset="2"/>
              <a:buChar char="§"/>
              <a:defRPr/>
            </a:pPr>
            <a:r>
              <a:rPr lang="en-GB" altLang="ja-JP" sz="1200" dirty="0">
                <a:solidFill>
                  <a:schemeClr val="tx1"/>
                </a:solidFill>
                <a:latin typeface="Arial"/>
                <a:sym typeface="Arial"/>
              </a:rPr>
              <a:t>Mobility COE resource pool of 600 + </a:t>
            </a:r>
            <a:r>
              <a:rPr lang="en-GB" altLang="ja-JP" sz="1200" b="1" dirty="0">
                <a:solidFill>
                  <a:schemeClr val="tx1"/>
                </a:solidFill>
                <a:latin typeface="Arial"/>
                <a:sym typeface="Arial"/>
              </a:rPr>
              <a:t>Mobility Developers </a:t>
            </a:r>
          </a:p>
          <a:p>
            <a:pPr marL="342900" lvl="2" indent="-169863" eaLnBrk="1" hangingPunct="1">
              <a:spcAft>
                <a:spcPts val="0"/>
              </a:spcAft>
              <a:buClr>
                <a:schemeClr val="accent1"/>
              </a:buClr>
              <a:buFont typeface="Calibri" pitchFamily="34" charset="0"/>
              <a:buChar char="–"/>
              <a:defRPr/>
            </a:pPr>
            <a:r>
              <a:rPr lang="en-GB" altLang="ja-JP" sz="1200" dirty="0">
                <a:solidFill>
                  <a:schemeClr val="tx1"/>
                </a:solidFill>
                <a:latin typeface="Arial"/>
                <a:sym typeface="Arial"/>
              </a:rPr>
              <a:t>Centers in Mumbai, Bangalore and Pune</a:t>
            </a:r>
          </a:p>
          <a:p>
            <a:pPr marL="169863" lvl="2" indent="-169863" eaLnBrk="1" hangingPunct="1">
              <a:spcAft>
                <a:spcPts val="0"/>
              </a:spcAft>
              <a:buClr>
                <a:schemeClr val="accent1"/>
              </a:buClr>
              <a:buFont typeface="Wingdings" pitchFamily="2" charset="2"/>
              <a:buChar char="§"/>
              <a:defRPr/>
            </a:pPr>
            <a:r>
              <a:rPr lang="en-GB" altLang="ja-JP" sz="1200" dirty="0">
                <a:solidFill>
                  <a:schemeClr val="tx1"/>
                </a:solidFill>
                <a:latin typeface="Arial"/>
                <a:sym typeface="Arial"/>
              </a:rPr>
              <a:t>Proven Industrialised </a:t>
            </a:r>
            <a:r>
              <a:rPr lang="en-GB" altLang="ja-JP" sz="1200" b="1" dirty="0">
                <a:solidFill>
                  <a:schemeClr val="tx1"/>
                </a:solidFill>
                <a:latin typeface="Arial"/>
                <a:sym typeface="Arial"/>
              </a:rPr>
              <a:t>(Mobile App Factory) </a:t>
            </a:r>
            <a:r>
              <a:rPr lang="en-GB" altLang="ja-JP" sz="1200" dirty="0">
                <a:solidFill>
                  <a:schemeClr val="tx1"/>
                </a:solidFill>
                <a:latin typeface="Arial"/>
                <a:sym typeface="Arial"/>
              </a:rPr>
              <a:t>Approach</a:t>
            </a:r>
          </a:p>
          <a:p>
            <a:pPr marL="169863" lvl="2" indent="-169863" eaLnBrk="1" hangingPunct="1">
              <a:spcAft>
                <a:spcPts val="0"/>
              </a:spcAft>
              <a:buClr>
                <a:schemeClr val="accent1"/>
              </a:buClr>
              <a:buFont typeface="Wingdings" pitchFamily="2" charset="2"/>
              <a:buChar char="§"/>
              <a:defRPr/>
            </a:pPr>
            <a:r>
              <a:rPr lang="en-GB" altLang="ja-JP" sz="1200" dirty="0">
                <a:solidFill>
                  <a:schemeClr val="tx1"/>
                </a:solidFill>
                <a:latin typeface="Arial"/>
                <a:sym typeface="Arial"/>
              </a:rPr>
              <a:t>End to End solution: Build, Run (Support), Infrastructure </a:t>
            </a:r>
          </a:p>
          <a:p>
            <a:pPr marL="169863" lvl="2" indent="-169863" eaLnBrk="1" hangingPunct="1">
              <a:spcAft>
                <a:spcPts val="0"/>
              </a:spcAft>
              <a:buClr>
                <a:schemeClr val="accent1"/>
              </a:buClr>
              <a:buFont typeface="Wingdings" pitchFamily="2" charset="2"/>
              <a:buChar char="§"/>
              <a:defRPr/>
            </a:pPr>
            <a:r>
              <a:rPr lang="en-GB" altLang="ja-JP" sz="1200" dirty="0">
                <a:solidFill>
                  <a:schemeClr val="tx1"/>
                </a:solidFill>
                <a:latin typeface="Arial"/>
                <a:sym typeface="Arial"/>
              </a:rPr>
              <a:t>Cost optimisation &amp; scalability by </a:t>
            </a:r>
            <a:r>
              <a:rPr lang="en-GB" altLang="ja-JP" sz="1200" b="1" dirty="0">
                <a:solidFill>
                  <a:schemeClr val="tx1"/>
                </a:solidFill>
                <a:latin typeface="Arial"/>
                <a:sym typeface="Arial"/>
              </a:rPr>
              <a:t>Rightshoring®</a:t>
            </a:r>
          </a:p>
          <a:p>
            <a:pPr marL="169863" lvl="2" indent="-169863" eaLnBrk="1" hangingPunct="1">
              <a:spcAft>
                <a:spcPts val="0"/>
              </a:spcAft>
              <a:buClr>
                <a:schemeClr val="accent1"/>
              </a:buClr>
              <a:buFont typeface="Wingdings" pitchFamily="2" charset="2"/>
              <a:buChar char="§"/>
              <a:defRPr/>
            </a:pPr>
            <a:r>
              <a:rPr lang="en-GB" altLang="ja-JP" sz="1200" dirty="0">
                <a:solidFill>
                  <a:schemeClr val="tx1"/>
                </a:solidFill>
                <a:latin typeface="Arial"/>
                <a:sym typeface="Arial"/>
              </a:rPr>
              <a:t>Extensive partnership and alliance ecosystem</a:t>
            </a:r>
          </a:p>
        </p:txBody>
      </p:sp>
      <p:sp>
        <p:nvSpPr>
          <p:cNvPr id="71" name="Round Same Side Corner Rectangle 70"/>
          <p:cNvSpPr/>
          <p:nvPr/>
        </p:nvSpPr>
        <p:spPr bwMode="auto">
          <a:xfrm>
            <a:off x="6240462" y="1867006"/>
            <a:ext cx="4535488" cy="254176"/>
          </a:xfrm>
          <a:prstGeom prst="round2Same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lt1"/>
                </a:solidFill>
                <a:sym typeface="Arial"/>
              </a:rPr>
              <a:t>Mobile Factory</a:t>
            </a:r>
          </a:p>
        </p:txBody>
      </p:sp>
      <p:sp>
        <p:nvSpPr>
          <p:cNvPr id="72" name="Text Placeholder 5"/>
          <p:cNvSpPr txBox="1">
            <a:spLocks/>
          </p:cNvSpPr>
          <p:nvPr/>
        </p:nvSpPr>
        <p:spPr bwMode="auto">
          <a:xfrm>
            <a:off x="6240462" y="2121182"/>
            <a:ext cx="4535488" cy="1574624"/>
          </a:xfrm>
          <a:prstGeom prst="rect">
            <a:avLst/>
          </a:prstGeom>
          <a:solidFill>
            <a:schemeClr val="bg1"/>
          </a:solidFill>
          <a:ln w="9525">
            <a:solidFill>
              <a:schemeClr val="tx1">
                <a:lumMod val="50000"/>
                <a:lumOff val="50000"/>
              </a:schemeClr>
            </a:solidFill>
            <a:miter lim="800000"/>
            <a:headEnd/>
            <a:tailEnd/>
          </a:ln>
        </p:spPr>
        <p:txBody>
          <a:bodyPr vert="horz" wrap="square" lIns="91430" tIns="45716" rIns="91430" bIns="45716" numCol="1" anchor="t" anchorCtr="0" compatLnSpc="1">
            <a:prstTxWarp prst="textNoShape">
              <a:avLst/>
            </a:prstTxWarp>
          </a:bodyPr>
          <a:lstStyle>
            <a:lvl1pPr marL="0" indent="0" algn="l" rtl="0" eaLnBrk="0" fontAlgn="base" hangingPunct="0">
              <a:spcBef>
                <a:spcPts val="0"/>
              </a:spcBef>
              <a:spcAft>
                <a:spcPct val="0"/>
              </a:spcAft>
              <a:buFontTx/>
              <a:buNone/>
              <a:defRPr sz="1400" kern="1200" baseline="0">
                <a:solidFill>
                  <a:schemeClr val="tx1">
                    <a:lumMod val="65000"/>
                    <a:lumOff val="35000"/>
                  </a:schemeClr>
                </a:solidFill>
                <a:latin typeface="+mn-lt"/>
                <a:ea typeface="+mn-ea"/>
                <a:cs typeface="+mn-cs"/>
              </a:defRPr>
            </a:lvl1pPr>
            <a:lvl2pPr marL="457154"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2pPr>
            <a:lvl3pPr marL="914308"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3pPr>
            <a:lvl4pPr marL="1371462"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4pPr>
            <a:lvl5pPr marL="1828616"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5pPr>
            <a:lvl6pPr marL="2514347"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01"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5"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09"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9863" lvl="2" indent="-169863" eaLnBrk="1" hangingPunct="1">
              <a:spcAft>
                <a:spcPts val="0"/>
              </a:spcAft>
              <a:buClr>
                <a:schemeClr val="accent1"/>
              </a:buClr>
              <a:buFont typeface="Wingdings" pitchFamily="2" charset="2"/>
              <a:buChar char="§"/>
              <a:defRPr/>
            </a:pPr>
            <a:r>
              <a:rPr lang="en-GB" altLang="ja-JP" sz="1200" b="1" dirty="0">
                <a:solidFill>
                  <a:schemeClr val="tx1"/>
                </a:solidFill>
                <a:latin typeface="Arial"/>
                <a:sym typeface="Arial"/>
              </a:rPr>
              <a:t>Enterprise partner </a:t>
            </a:r>
            <a:r>
              <a:rPr lang="en-GB" altLang="ja-JP" sz="1200" dirty="0">
                <a:solidFill>
                  <a:schemeClr val="tx1"/>
                </a:solidFill>
                <a:latin typeface="Arial"/>
                <a:sym typeface="Arial"/>
              </a:rPr>
              <a:t>for the Build &amp; Run: Capacity based, Fixed price, Menu Card based</a:t>
            </a:r>
          </a:p>
          <a:p>
            <a:pPr marL="169863" lvl="2" indent="-169863" eaLnBrk="1" hangingPunct="1">
              <a:spcAft>
                <a:spcPts val="0"/>
              </a:spcAft>
              <a:buClr>
                <a:schemeClr val="accent1"/>
              </a:buClr>
              <a:buFont typeface="Wingdings" pitchFamily="2" charset="2"/>
              <a:buChar char="§"/>
              <a:defRPr/>
            </a:pPr>
            <a:r>
              <a:rPr lang="en-GB" altLang="ja-JP" sz="1200" b="1" dirty="0">
                <a:solidFill>
                  <a:schemeClr val="tx1"/>
                </a:solidFill>
                <a:latin typeface="Arial"/>
                <a:sym typeface="Arial"/>
              </a:rPr>
              <a:t>Flexible resource pool </a:t>
            </a:r>
            <a:r>
              <a:rPr lang="en-GB" altLang="ja-JP" sz="1200" dirty="0">
                <a:solidFill>
                  <a:schemeClr val="tx1"/>
                </a:solidFill>
                <a:latin typeface="Arial"/>
                <a:sym typeface="Arial"/>
              </a:rPr>
              <a:t>with specialised competencies</a:t>
            </a:r>
          </a:p>
          <a:p>
            <a:pPr marL="169863" lvl="2" indent="-169863" eaLnBrk="1" hangingPunct="1">
              <a:spcAft>
                <a:spcPts val="0"/>
              </a:spcAft>
              <a:buClr>
                <a:schemeClr val="accent1"/>
              </a:buClr>
              <a:buFont typeface="Wingdings" pitchFamily="2" charset="2"/>
              <a:buChar char="§"/>
              <a:defRPr/>
            </a:pPr>
            <a:r>
              <a:rPr lang="en-GB" altLang="ja-JP" sz="1200" dirty="0">
                <a:solidFill>
                  <a:schemeClr val="tx1"/>
                </a:solidFill>
                <a:latin typeface="Arial"/>
                <a:sym typeface="Arial"/>
              </a:rPr>
              <a:t>Uses </a:t>
            </a:r>
            <a:r>
              <a:rPr lang="en-GB" altLang="ja-JP" sz="1200" b="1" dirty="0">
                <a:solidFill>
                  <a:schemeClr val="tx1"/>
                </a:solidFill>
                <a:latin typeface="Arial"/>
                <a:sym typeface="Arial"/>
              </a:rPr>
              <a:t>an industrialised </a:t>
            </a:r>
            <a:r>
              <a:rPr lang="en-GB" altLang="ja-JP" sz="1200" dirty="0">
                <a:solidFill>
                  <a:schemeClr val="tx1"/>
                </a:solidFill>
                <a:latin typeface="Arial"/>
                <a:sym typeface="Arial"/>
              </a:rPr>
              <a:t>and </a:t>
            </a:r>
            <a:r>
              <a:rPr lang="en-GB" altLang="ja-JP" sz="1200" b="1" dirty="0">
                <a:solidFill>
                  <a:schemeClr val="tx1"/>
                </a:solidFill>
                <a:latin typeface="Arial"/>
                <a:sym typeface="Arial"/>
              </a:rPr>
              <a:t>KPI based delivery process</a:t>
            </a:r>
          </a:p>
          <a:p>
            <a:pPr marL="169863" lvl="2" indent="-169863" eaLnBrk="1" hangingPunct="1">
              <a:spcAft>
                <a:spcPts val="0"/>
              </a:spcAft>
              <a:buClr>
                <a:schemeClr val="accent1"/>
              </a:buClr>
              <a:buFont typeface="Wingdings" pitchFamily="2" charset="2"/>
              <a:buChar char="§"/>
              <a:defRPr/>
            </a:pPr>
            <a:r>
              <a:rPr lang="en-GB" altLang="ja-JP" sz="1200" dirty="0">
                <a:solidFill>
                  <a:schemeClr val="tx1"/>
                </a:solidFill>
                <a:latin typeface="Arial"/>
                <a:sym typeface="Arial"/>
              </a:rPr>
              <a:t>Deep repository of </a:t>
            </a:r>
          </a:p>
          <a:p>
            <a:pPr marL="342900" lvl="2" indent="-169863" eaLnBrk="1" hangingPunct="1">
              <a:spcAft>
                <a:spcPts val="0"/>
              </a:spcAft>
              <a:buClr>
                <a:schemeClr val="accent1"/>
              </a:buClr>
              <a:buFont typeface="Calibri" pitchFamily="34" charset="0"/>
              <a:buChar char="–"/>
              <a:defRPr/>
            </a:pPr>
            <a:r>
              <a:rPr lang="en-GB" altLang="ja-JP" sz="1200" dirty="0">
                <a:solidFill>
                  <a:schemeClr val="tx1"/>
                </a:solidFill>
                <a:latin typeface="Arial"/>
                <a:sym typeface="Arial"/>
              </a:rPr>
              <a:t>Proven Mobility modules &amp; re-usable components</a:t>
            </a:r>
          </a:p>
          <a:p>
            <a:pPr marL="342900" lvl="2" indent="-169863" eaLnBrk="1" hangingPunct="1">
              <a:spcAft>
                <a:spcPts val="0"/>
              </a:spcAft>
              <a:buClr>
                <a:schemeClr val="accent1"/>
              </a:buClr>
              <a:buFont typeface="Calibri" pitchFamily="34" charset="0"/>
              <a:buChar char="–"/>
              <a:defRPr/>
            </a:pPr>
            <a:r>
              <a:rPr lang="en-GB" altLang="ja-JP" sz="1200" dirty="0">
                <a:solidFill>
                  <a:schemeClr val="tx1"/>
                </a:solidFill>
                <a:latin typeface="Arial"/>
                <a:sym typeface="Arial"/>
              </a:rPr>
              <a:t>Best Practices, templates and checklists	</a:t>
            </a:r>
          </a:p>
        </p:txBody>
      </p:sp>
      <p:sp>
        <p:nvSpPr>
          <p:cNvPr id="73" name="Round Same Side Corner Rectangle 72"/>
          <p:cNvSpPr/>
          <p:nvPr/>
        </p:nvSpPr>
        <p:spPr bwMode="auto">
          <a:xfrm>
            <a:off x="1416050" y="3790349"/>
            <a:ext cx="4535488" cy="254176"/>
          </a:xfrm>
          <a:prstGeom prst="round2Same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lt1"/>
                </a:solidFill>
                <a:sym typeface="Arial"/>
              </a:rPr>
              <a:t>Services Spread</a:t>
            </a:r>
          </a:p>
        </p:txBody>
      </p:sp>
      <p:sp>
        <p:nvSpPr>
          <p:cNvPr id="74" name="Text Placeholder 5"/>
          <p:cNvSpPr txBox="1">
            <a:spLocks/>
          </p:cNvSpPr>
          <p:nvPr/>
        </p:nvSpPr>
        <p:spPr bwMode="auto">
          <a:xfrm>
            <a:off x="1416579" y="4044529"/>
            <a:ext cx="4535488" cy="760981"/>
          </a:xfrm>
          <a:prstGeom prst="rect">
            <a:avLst/>
          </a:prstGeom>
          <a:solidFill>
            <a:schemeClr val="bg1"/>
          </a:solidFill>
          <a:ln w="9525">
            <a:solidFill>
              <a:schemeClr val="tx1">
                <a:lumMod val="50000"/>
                <a:lumOff val="50000"/>
              </a:schemeClr>
            </a:solidFill>
            <a:miter lim="800000"/>
            <a:headEnd/>
            <a:tailEnd/>
          </a:ln>
        </p:spPr>
        <p:txBody>
          <a:bodyPr vert="horz" wrap="square" lIns="91430" tIns="45716" rIns="91430" bIns="45716" numCol="1" anchor="t" anchorCtr="0" compatLnSpc="1">
            <a:prstTxWarp prst="textNoShape">
              <a:avLst/>
            </a:prstTxWarp>
          </a:bodyPr>
          <a:lstStyle>
            <a:lvl1pPr marL="0" indent="0" algn="l" rtl="0" eaLnBrk="0" fontAlgn="base" hangingPunct="0">
              <a:spcBef>
                <a:spcPts val="0"/>
              </a:spcBef>
              <a:spcAft>
                <a:spcPct val="0"/>
              </a:spcAft>
              <a:buFontTx/>
              <a:buNone/>
              <a:defRPr sz="1400" kern="1200" baseline="0">
                <a:solidFill>
                  <a:schemeClr val="tx1">
                    <a:lumMod val="65000"/>
                    <a:lumOff val="35000"/>
                  </a:schemeClr>
                </a:solidFill>
                <a:latin typeface="+mn-lt"/>
                <a:ea typeface="+mn-ea"/>
                <a:cs typeface="+mn-cs"/>
              </a:defRPr>
            </a:lvl1pPr>
            <a:lvl2pPr marL="457154"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2pPr>
            <a:lvl3pPr marL="914308"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3pPr>
            <a:lvl4pPr marL="1371462"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4pPr>
            <a:lvl5pPr marL="1828616"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5pPr>
            <a:lvl6pPr marL="2514347"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01"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5"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09"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9863" lvl="2" indent="-169863" eaLnBrk="1" hangingPunct="1">
              <a:spcAft>
                <a:spcPts val="0"/>
              </a:spcAft>
              <a:buClr>
                <a:schemeClr val="accent1"/>
              </a:buClr>
              <a:defRPr/>
            </a:pPr>
            <a:endParaRPr lang="en-GB" altLang="ja-JP" sz="1200" dirty="0">
              <a:solidFill>
                <a:schemeClr val="tx1"/>
              </a:solidFill>
              <a:latin typeface="Arial"/>
              <a:sym typeface="Arial"/>
            </a:endParaRPr>
          </a:p>
        </p:txBody>
      </p:sp>
      <p:sp>
        <p:nvSpPr>
          <p:cNvPr id="75" name="Round Same Side Corner Rectangle 74"/>
          <p:cNvSpPr/>
          <p:nvPr/>
        </p:nvSpPr>
        <p:spPr bwMode="auto">
          <a:xfrm>
            <a:off x="6240462" y="3790349"/>
            <a:ext cx="4535488" cy="254176"/>
          </a:xfrm>
          <a:prstGeom prst="round2Same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lt1"/>
                </a:solidFill>
                <a:sym typeface="Arial"/>
              </a:rPr>
              <a:t>Certifications &amp; Technical Competencies </a:t>
            </a:r>
          </a:p>
        </p:txBody>
      </p:sp>
      <p:sp>
        <p:nvSpPr>
          <p:cNvPr id="76" name="Text Placeholder 5"/>
          <p:cNvSpPr txBox="1">
            <a:spLocks/>
          </p:cNvSpPr>
          <p:nvPr/>
        </p:nvSpPr>
        <p:spPr bwMode="auto">
          <a:xfrm>
            <a:off x="6240462" y="4044529"/>
            <a:ext cx="4535488" cy="760981"/>
          </a:xfrm>
          <a:prstGeom prst="rect">
            <a:avLst/>
          </a:prstGeom>
          <a:solidFill>
            <a:schemeClr val="bg1"/>
          </a:solidFill>
          <a:ln w="9525">
            <a:solidFill>
              <a:schemeClr val="tx1">
                <a:lumMod val="50000"/>
                <a:lumOff val="50000"/>
              </a:schemeClr>
            </a:solidFill>
            <a:miter lim="800000"/>
            <a:headEnd/>
            <a:tailEnd/>
          </a:ln>
        </p:spPr>
        <p:txBody>
          <a:bodyPr vert="horz" wrap="square" lIns="91430" tIns="45716" rIns="91430" bIns="45716" numCol="1" anchor="t" anchorCtr="0" compatLnSpc="1">
            <a:prstTxWarp prst="textNoShape">
              <a:avLst/>
            </a:prstTxWarp>
          </a:bodyPr>
          <a:lstStyle>
            <a:lvl1pPr marL="0" indent="0" algn="l" rtl="0" eaLnBrk="0" fontAlgn="base" hangingPunct="0">
              <a:spcBef>
                <a:spcPts val="0"/>
              </a:spcBef>
              <a:spcAft>
                <a:spcPct val="0"/>
              </a:spcAft>
              <a:buFontTx/>
              <a:buNone/>
              <a:defRPr sz="1400" kern="1200" baseline="0">
                <a:solidFill>
                  <a:schemeClr val="tx1">
                    <a:lumMod val="65000"/>
                    <a:lumOff val="35000"/>
                  </a:schemeClr>
                </a:solidFill>
                <a:latin typeface="+mn-lt"/>
                <a:ea typeface="+mn-ea"/>
                <a:cs typeface="+mn-cs"/>
              </a:defRPr>
            </a:lvl1pPr>
            <a:lvl2pPr marL="457154"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2pPr>
            <a:lvl3pPr marL="914308"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3pPr>
            <a:lvl4pPr marL="1371462"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4pPr>
            <a:lvl5pPr marL="1828616"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5pPr>
            <a:lvl6pPr marL="2514347"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01"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5"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09"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9863" lvl="2" indent="-169863" eaLnBrk="1" hangingPunct="1">
              <a:spcAft>
                <a:spcPts val="0"/>
              </a:spcAft>
              <a:buClr>
                <a:schemeClr val="accent1"/>
              </a:buClr>
              <a:buFont typeface="Wingdings" pitchFamily="2" charset="2"/>
              <a:buChar char="§"/>
              <a:defRPr/>
            </a:pPr>
            <a:r>
              <a:rPr lang="en-GB" altLang="ja-JP" sz="1200" dirty="0">
                <a:solidFill>
                  <a:schemeClr val="tx1"/>
                </a:solidFill>
                <a:latin typeface="Arial"/>
                <a:sym typeface="Arial"/>
              </a:rPr>
              <a:t>Android/ iOS Appitectures, Hybrid Cordova, Xamarin, Kony, SAP Mobile (Fiori/ UI5, Syclo/ Agentry), IBM Worklight/ Bluemix, Windows, Mobile Testing, Predix Mobile, Scrum Certified</a:t>
            </a:r>
          </a:p>
        </p:txBody>
      </p:sp>
      <p:sp>
        <p:nvSpPr>
          <p:cNvPr id="77" name="Round Same Side Corner Rectangle 76"/>
          <p:cNvSpPr/>
          <p:nvPr/>
        </p:nvSpPr>
        <p:spPr bwMode="auto">
          <a:xfrm>
            <a:off x="1416050" y="4922464"/>
            <a:ext cx="4535488" cy="254176"/>
          </a:xfrm>
          <a:prstGeom prst="round2Same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lt1"/>
                </a:solidFill>
                <a:sym typeface="Arial"/>
              </a:rPr>
              <a:t>Sectors</a:t>
            </a:r>
          </a:p>
        </p:txBody>
      </p:sp>
      <p:sp>
        <p:nvSpPr>
          <p:cNvPr id="78" name="Text Placeholder 5"/>
          <p:cNvSpPr txBox="1">
            <a:spLocks/>
          </p:cNvSpPr>
          <p:nvPr/>
        </p:nvSpPr>
        <p:spPr bwMode="auto">
          <a:xfrm>
            <a:off x="1416050" y="5176646"/>
            <a:ext cx="4535488" cy="1060361"/>
          </a:xfrm>
          <a:prstGeom prst="rect">
            <a:avLst/>
          </a:prstGeom>
          <a:solidFill>
            <a:schemeClr val="bg1"/>
          </a:solidFill>
          <a:ln w="9525">
            <a:solidFill>
              <a:schemeClr val="tx1">
                <a:lumMod val="50000"/>
                <a:lumOff val="50000"/>
              </a:schemeClr>
            </a:solidFill>
            <a:miter lim="800000"/>
            <a:headEnd/>
            <a:tailEnd/>
          </a:ln>
        </p:spPr>
        <p:txBody>
          <a:bodyPr vert="horz" wrap="square" lIns="91430" tIns="45716" rIns="91430" bIns="45716" numCol="1" anchor="t" anchorCtr="0" compatLnSpc="1">
            <a:prstTxWarp prst="textNoShape">
              <a:avLst/>
            </a:prstTxWarp>
          </a:bodyPr>
          <a:lstStyle>
            <a:lvl1pPr marL="0" indent="0" algn="l" rtl="0" eaLnBrk="0" fontAlgn="base" hangingPunct="0">
              <a:spcBef>
                <a:spcPts val="0"/>
              </a:spcBef>
              <a:spcAft>
                <a:spcPct val="0"/>
              </a:spcAft>
              <a:buFontTx/>
              <a:buNone/>
              <a:defRPr sz="1400" kern="1200" baseline="0">
                <a:solidFill>
                  <a:schemeClr val="tx1">
                    <a:lumMod val="65000"/>
                    <a:lumOff val="35000"/>
                  </a:schemeClr>
                </a:solidFill>
                <a:latin typeface="+mn-lt"/>
                <a:ea typeface="+mn-ea"/>
                <a:cs typeface="+mn-cs"/>
              </a:defRPr>
            </a:lvl1pPr>
            <a:lvl2pPr marL="457154"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2pPr>
            <a:lvl3pPr marL="914308"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3pPr>
            <a:lvl4pPr marL="1371462"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4pPr>
            <a:lvl5pPr marL="1828616"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5pPr>
            <a:lvl6pPr marL="2514347"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01"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5"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09"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9863" lvl="2" indent="-169863" eaLnBrk="1" hangingPunct="1">
              <a:spcAft>
                <a:spcPts val="0"/>
              </a:spcAft>
              <a:buClr>
                <a:schemeClr val="accent1"/>
              </a:buClr>
              <a:defRPr/>
            </a:pPr>
            <a:endParaRPr lang="en-GB" altLang="ja-JP" sz="1200" dirty="0">
              <a:solidFill>
                <a:schemeClr val="tx1"/>
              </a:solidFill>
              <a:latin typeface="Arial"/>
              <a:sym typeface="Arial"/>
            </a:endParaRPr>
          </a:p>
        </p:txBody>
      </p:sp>
      <p:sp>
        <p:nvSpPr>
          <p:cNvPr id="79" name="Round Same Side Corner Rectangle 78"/>
          <p:cNvSpPr/>
          <p:nvPr/>
        </p:nvSpPr>
        <p:spPr bwMode="auto">
          <a:xfrm>
            <a:off x="6240462" y="4922464"/>
            <a:ext cx="4535488" cy="254176"/>
          </a:xfrm>
          <a:prstGeom prst="round2Same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lt1"/>
                </a:solidFill>
                <a:sym typeface="Arial"/>
              </a:rPr>
              <a:t>Key Solutions/ Accelerators</a:t>
            </a:r>
          </a:p>
        </p:txBody>
      </p:sp>
      <p:sp>
        <p:nvSpPr>
          <p:cNvPr id="80" name="Text Placeholder 5"/>
          <p:cNvSpPr txBox="1">
            <a:spLocks/>
          </p:cNvSpPr>
          <p:nvPr/>
        </p:nvSpPr>
        <p:spPr bwMode="auto">
          <a:xfrm>
            <a:off x="6240462" y="5176646"/>
            <a:ext cx="4535488" cy="760981"/>
          </a:xfrm>
          <a:prstGeom prst="rect">
            <a:avLst/>
          </a:prstGeom>
          <a:solidFill>
            <a:schemeClr val="bg1"/>
          </a:solidFill>
          <a:ln w="9525">
            <a:solidFill>
              <a:schemeClr val="tx1">
                <a:lumMod val="50000"/>
                <a:lumOff val="50000"/>
              </a:schemeClr>
            </a:solidFill>
            <a:miter lim="800000"/>
            <a:headEnd/>
            <a:tailEnd/>
          </a:ln>
        </p:spPr>
        <p:txBody>
          <a:bodyPr vert="horz" wrap="square" lIns="91430" tIns="45716" rIns="91430" bIns="45716" numCol="1" anchor="t" anchorCtr="0" compatLnSpc="1">
            <a:prstTxWarp prst="textNoShape">
              <a:avLst/>
            </a:prstTxWarp>
          </a:bodyPr>
          <a:lstStyle>
            <a:lvl1pPr marL="0" indent="0" algn="l" rtl="0" eaLnBrk="0" fontAlgn="base" hangingPunct="0">
              <a:spcBef>
                <a:spcPts val="0"/>
              </a:spcBef>
              <a:spcAft>
                <a:spcPct val="0"/>
              </a:spcAft>
              <a:buFontTx/>
              <a:buNone/>
              <a:defRPr sz="1400" kern="1200" baseline="0">
                <a:solidFill>
                  <a:schemeClr val="tx1">
                    <a:lumMod val="65000"/>
                    <a:lumOff val="35000"/>
                  </a:schemeClr>
                </a:solidFill>
                <a:latin typeface="+mn-lt"/>
                <a:ea typeface="+mn-ea"/>
                <a:cs typeface="+mn-cs"/>
              </a:defRPr>
            </a:lvl1pPr>
            <a:lvl2pPr marL="457154"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2pPr>
            <a:lvl3pPr marL="914308"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3pPr>
            <a:lvl4pPr marL="1371462"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4pPr>
            <a:lvl5pPr marL="1828616"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5pPr>
            <a:lvl6pPr marL="2514347"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01"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5"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09"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9863" lvl="2" indent="-169863" eaLnBrk="1" hangingPunct="1">
              <a:spcAft>
                <a:spcPts val="0"/>
              </a:spcAft>
              <a:buClr>
                <a:schemeClr val="accent1"/>
              </a:buClr>
              <a:defRPr/>
            </a:pPr>
            <a:endParaRPr lang="en-GB" altLang="ja-JP" sz="1200" dirty="0">
              <a:solidFill>
                <a:schemeClr val="tx1"/>
              </a:solidFill>
              <a:latin typeface="Arial"/>
              <a:sym typeface="Arial"/>
            </a:endParaRPr>
          </a:p>
        </p:txBody>
      </p:sp>
      <p:sp>
        <p:nvSpPr>
          <p:cNvPr id="85" name="Freeform 428"/>
          <p:cNvSpPr>
            <a:spLocks/>
          </p:cNvSpPr>
          <p:nvPr/>
        </p:nvSpPr>
        <p:spPr bwMode="auto">
          <a:xfrm>
            <a:off x="1470537" y="4452102"/>
            <a:ext cx="529252" cy="175826"/>
          </a:xfrm>
          <a:prstGeom prst="roundRect">
            <a:avLst>
              <a:gd name="adj" fmla="val 7215"/>
            </a:avLst>
          </a:prstGeom>
          <a:noFill/>
          <a:ln w="9525">
            <a:noFill/>
            <a:round/>
            <a:headEnd/>
            <a:tailEnd/>
          </a:ln>
        </p:spPr>
        <p:txBody>
          <a:bodyPr vert="horz" wrap="none" lIns="0" tIns="0" rIns="0" bIns="0" numCol="1" anchor="b" anchorCtr="0" compatLnSpc="1">
            <a:prstTxWarp prst="textNoShape">
              <a:avLst/>
            </a:prstTxWarp>
            <a:spAutoFit/>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algn="ctr"/>
            <a:r>
              <a:rPr lang="en-GB" sz="1100" dirty="0">
                <a:latin typeface="Arial"/>
                <a:sym typeface="Arial"/>
              </a:rPr>
              <a:t>Strategy</a:t>
            </a:r>
          </a:p>
        </p:txBody>
      </p:sp>
      <p:sp>
        <p:nvSpPr>
          <p:cNvPr id="89" name="Freeform 428"/>
          <p:cNvSpPr>
            <a:spLocks/>
          </p:cNvSpPr>
          <p:nvPr/>
        </p:nvSpPr>
        <p:spPr bwMode="auto">
          <a:xfrm>
            <a:off x="2146395" y="4436126"/>
            <a:ext cx="906603" cy="351651"/>
          </a:xfrm>
          <a:prstGeom prst="roundRect">
            <a:avLst>
              <a:gd name="adj" fmla="val 7215"/>
            </a:avLst>
          </a:prstGeom>
          <a:noFill/>
          <a:ln w="9525">
            <a:noFill/>
            <a:round/>
            <a:headEnd/>
            <a:tailEnd/>
          </a:ln>
        </p:spPr>
        <p:txBody>
          <a:bodyPr vert="horz" wrap="square" lIns="0" tIns="0" rIns="0" bIns="0" numCol="1" anchor="b" anchorCtr="0" compatLnSpc="1">
            <a:prstTxWarp prst="textNoShape">
              <a:avLst/>
            </a:prstTxWarp>
            <a:spAutoFit/>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algn="ctr"/>
            <a:r>
              <a:rPr lang="en-GB" sz="1100" dirty="0">
                <a:latin typeface="Arial"/>
                <a:sym typeface="Arial"/>
              </a:rPr>
              <a:t>Experience </a:t>
            </a:r>
          </a:p>
          <a:p>
            <a:pPr algn="ctr"/>
            <a:r>
              <a:rPr lang="en-GB" sz="1100" dirty="0">
                <a:latin typeface="Arial"/>
                <a:sym typeface="Arial"/>
              </a:rPr>
              <a:t>&amp; Design</a:t>
            </a:r>
          </a:p>
        </p:txBody>
      </p:sp>
      <p:sp>
        <p:nvSpPr>
          <p:cNvPr id="98" name="Freeform 428"/>
          <p:cNvSpPr>
            <a:spLocks/>
          </p:cNvSpPr>
          <p:nvPr/>
        </p:nvSpPr>
        <p:spPr bwMode="auto">
          <a:xfrm>
            <a:off x="3184760" y="4452102"/>
            <a:ext cx="831959" cy="175826"/>
          </a:xfrm>
          <a:prstGeom prst="roundRect">
            <a:avLst>
              <a:gd name="adj" fmla="val 7215"/>
            </a:avLst>
          </a:prstGeom>
          <a:noFill/>
          <a:ln w="9525">
            <a:noFill/>
            <a:round/>
            <a:headEnd/>
            <a:tailEnd/>
          </a:ln>
        </p:spPr>
        <p:txBody>
          <a:bodyPr vert="horz" wrap="none" lIns="0" tIns="0" rIns="0" bIns="0" numCol="1" anchor="b" anchorCtr="0" compatLnSpc="1">
            <a:prstTxWarp prst="textNoShape">
              <a:avLst/>
            </a:prstTxWarp>
            <a:spAutoFit/>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algn="ctr"/>
            <a:r>
              <a:rPr lang="en-GB" sz="1100" dirty="0">
                <a:latin typeface="Arial"/>
                <a:sym typeface="Arial"/>
              </a:rPr>
              <a:t>Development</a:t>
            </a:r>
          </a:p>
        </p:txBody>
      </p:sp>
      <p:sp>
        <p:nvSpPr>
          <p:cNvPr id="106" name="Freeform 428"/>
          <p:cNvSpPr>
            <a:spLocks/>
          </p:cNvSpPr>
          <p:nvPr/>
        </p:nvSpPr>
        <p:spPr bwMode="auto">
          <a:xfrm>
            <a:off x="4109637" y="4452102"/>
            <a:ext cx="467749" cy="175826"/>
          </a:xfrm>
          <a:prstGeom prst="roundRect">
            <a:avLst>
              <a:gd name="adj" fmla="val 7215"/>
            </a:avLst>
          </a:prstGeom>
          <a:noFill/>
          <a:ln w="9525">
            <a:noFill/>
            <a:round/>
            <a:headEnd/>
            <a:tailEnd/>
          </a:ln>
        </p:spPr>
        <p:txBody>
          <a:bodyPr vert="horz" wrap="none" lIns="0" tIns="0" rIns="0" bIns="0" numCol="1" anchor="b" anchorCtr="0" compatLnSpc="1">
            <a:prstTxWarp prst="textNoShape">
              <a:avLst/>
            </a:prstTxWarp>
            <a:spAutoFit/>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algn="ctr"/>
            <a:r>
              <a:rPr lang="en-GB" sz="1100" dirty="0">
                <a:latin typeface="Arial"/>
                <a:sym typeface="Arial"/>
              </a:rPr>
              <a:t>Testing</a:t>
            </a:r>
          </a:p>
        </p:txBody>
      </p:sp>
      <p:sp>
        <p:nvSpPr>
          <p:cNvPr id="107" name="Freeform 428"/>
          <p:cNvSpPr>
            <a:spLocks/>
          </p:cNvSpPr>
          <p:nvPr/>
        </p:nvSpPr>
        <p:spPr bwMode="auto">
          <a:xfrm>
            <a:off x="4685148" y="4452102"/>
            <a:ext cx="514685" cy="175826"/>
          </a:xfrm>
          <a:prstGeom prst="roundRect">
            <a:avLst>
              <a:gd name="adj" fmla="val 7215"/>
            </a:avLst>
          </a:prstGeom>
          <a:noFill/>
          <a:ln w="9525">
            <a:noFill/>
            <a:round/>
            <a:headEnd/>
            <a:tailEnd/>
          </a:ln>
        </p:spPr>
        <p:txBody>
          <a:bodyPr vert="horz" wrap="none" lIns="0" tIns="0" rIns="0" bIns="0" numCol="1" anchor="b" anchorCtr="0" compatLnSpc="1">
            <a:prstTxWarp prst="textNoShape">
              <a:avLst/>
            </a:prstTxWarp>
            <a:spAutoFit/>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algn="ctr"/>
            <a:r>
              <a:rPr lang="en-GB" sz="1100" dirty="0">
                <a:latin typeface="Arial"/>
                <a:sym typeface="Arial"/>
              </a:rPr>
              <a:t>Security</a:t>
            </a:r>
          </a:p>
        </p:txBody>
      </p:sp>
      <p:sp>
        <p:nvSpPr>
          <p:cNvPr id="108" name="Freeform 428"/>
          <p:cNvSpPr>
            <a:spLocks/>
          </p:cNvSpPr>
          <p:nvPr/>
        </p:nvSpPr>
        <p:spPr bwMode="auto">
          <a:xfrm>
            <a:off x="5301497" y="4436126"/>
            <a:ext cx="599682" cy="351651"/>
          </a:xfrm>
          <a:prstGeom prst="roundRect">
            <a:avLst>
              <a:gd name="adj" fmla="val 7215"/>
            </a:avLst>
          </a:prstGeom>
          <a:noFill/>
          <a:ln w="9525">
            <a:noFill/>
            <a:round/>
            <a:headEnd/>
            <a:tailEnd/>
          </a:ln>
        </p:spPr>
        <p:txBody>
          <a:bodyPr vert="horz" wrap="none" lIns="0" tIns="0" rIns="0" bIns="0" numCol="1" anchor="b" anchorCtr="0" compatLnSpc="1">
            <a:prstTxWarp prst="textNoShape">
              <a:avLst/>
            </a:prstTxWarp>
            <a:spAutoFit/>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algn="ctr"/>
            <a:r>
              <a:rPr lang="en-GB" sz="1100" dirty="0">
                <a:latin typeface="Arial"/>
                <a:sym typeface="Arial"/>
              </a:rPr>
              <a:t>Managed</a:t>
            </a:r>
            <a:br>
              <a:rPr lang="en-GB" sz="1100" dirty="0">
                <a:latin typeface="Arial"/>
                <a:sym typeface="Arial"/>
              </a:rPr>
            </a:br>
            <a:r>
              <a:rPr lang="en-GB" sz="1100" dirty="0">
                <a:latin typeface="Arial"/>
                <a:sym typeface="Arial"/>
              </a:rPr>
              <a:t>Mobility</a:t>
            </a:r>
          </a:p>
        </p:txBody>
      </p:sp>
      <p:grpSp>
        <p:nvGrpSpPr>
          <p:cNvPr id="131" name="Groupe 394"/>
          <p:cNvGrpSpPr/>
          <p:nvPr/>
        </p:nvGrpSpPr>
        <p:grpSpPr>
          <a:xfrm>
            <a:off x="1592985" y="4082601"/>
            <a:ext cx="350142" cy="352744"/>
            <a:chOff x="431801" y="5376863"/>
            <a:chExt cx="427037" cy="430212"/>
          </a:xfrm>
        </p:grpSpPr>
        <p:sp>
          <p:nvSpPr>
            <p:cNvPr id="139" name="Freeform 147"/>
            <p:cNvSpPr>
              <a:spLocks/>
            </p:cNvSpPr>
            <p:nvPr/>
          </p:nvSpPr>
          <p:spPr bwMode="auto">
            <a:xfrm>
              <a:off x="630238" y="5376863"/>
              <a:ext cx="228600" cy="217487"/>
            </a:xfrm>
            <a:custGeom>
              <a:avLst/>
              <a:gdLst/>
              <a:ahLst/>
              <a:cxnLst>
                <a:cxn ang="0">
                  <a:pos x="89" y="72"/>
                </a:cxn>
                <a:cxn ang="0">
                  <a:pos x="103" y="72"/>
                </a:cxn>
                <a:cxn ang="0">
                  <a:pos x="144" y="30"/>
                </a:cxn>
                <a:cxn ang="0">
                  <a:pos x="116" y="30"/>
                </a:cxn>
                <a:cxn ang="0">
                  <a:pos x="116" y="0"/>
                </a:cxn>
                <a:cxn ang="0">
                  <a:pos x="73" y="43"/>
                </a:cxn>
                <a:cxn ang="0">
                  <a:pos x="73" y="64"/>
                </a:cxn>
                <a:cxn ang="0">
                  <a:pos x="0" y="137"/>
                </a:cxn>
              </a:cxnLst>
              <a:rect l="0" t="0" r="r" b="b"/>
              <a:pathLst>
                <a:path w="144" h="137">
                  <a:moveTo>
                    <a:pt x="89" y="72"/>
                  </a:moveTo>
                  <a:lnTo>
                    <a:pt x="103" y="72"/>
                  </a:lnTo>
                  <a:lnTo>
                    <a:pt x="144" y="30"/>
                  </a:lnTo>
                  <a:lnTo>
                    <a:pt x="116" y="30"/>
                  </a:lnTo>
                  <a:lnTo>
                    <a:pt x="116" y="0"/>
                  </a:lnTo>
                  <a:lnTo>
                    <a:pt x="73" y="43"/>
                  </a:lnTo>
                  <a:lnTo>
                    <a:pt x="73" y="64"/>
                  </a:lnTo>
                  <a:lnTo>
                    <a:pt x="0" y="137"/>
                  </a:ln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0" name="Freeform 148"/>
            <p:cNvSpPr>
              <a:spLocks/>
            </p:cNvSpPr>
            <p:nvPr/>
          </p:nvSpPr>
          <p:spPr bwMode="auto">
            <a:xfrm>
              <a:off x="762001" y="5521325"/>
              <a:ext cx="1588" cy="1587"/>
            </a:xfrm>
            <a:custGeom>
              <a:avLst/>
              <a:gdLst/>
              <a:ahLst/>
              <a:cxnLst>
                <a:cxn ang="0">
                  <a:pos x="0" y="0"/>
                </a:cxn>
                <a:cxn ang="0">
                  <a:pos x="0" y="0"/>
                </a:cxn>
              </a:cxnLst>
              <a:rect l="0" t="0" r="r" b="b"/>
              <a:pathLst>
                <a:path>
                  <a:moveTo>
                    <a:pt x="0" y="0"/>
                  </a:moveTo>
                  <a:cubicBezTo>
                    <a:pt x="0" y="0"/>
                    <a:pt x="0" y="0"/>
                    <a:pt x="0" y="0"/>
                  </a:cubicBezTo>
                </a:path>
              </a:pathLst>
            </a:custGeom>
            <a:noFill/>
            <a:ln w="9525" cap="rnd">
              <a:solidFill>
                <a:schemeClr val="bg1">
                  <a:lumMod val="50000"/>
                </a:schemeClr>
              </a:solidFill>
              <a:prstDash val="solid"/>
              <a:bevel/>
              <a:headEnd/>
              <a:tailEnd/>
            </a:ln>
          </p:spPr>
          <p:txBody>
            <a:bodyPr vert="horz" wrap="square" lIns="91440" tIns="45720" rIns="91440" bIns="45720" numCol="1" anchor="t" anchorCtr="0" compatLnSpc="1">
              <a:prstTxWarp prst="textNoShape">
                <a:avLst/>
              </a:prstTxWarp>
            </a:bodyPr>
            <a:lstStyle/>
            <a:p>
              <a:endParaRPr lang="en-GB" dirty="0"/>
            </a:p>
          </p:txBody>
        </p:sp>
        <p:sp>
          <p:nvSpPr>
            <p:cNvPr id="141" name="Freeform 149"/>
            <p:cNvSpPr>
              <a:spLocks/>
            </p:cNvSpPr>
            <p:nvPr/>
          </p:nvSpPr>
          <p:spPr bwMode="auto">
            <a:xfrm>
              <a:off x="585788" y="5594350"/>
              <a:ext cx="57150" cy="58737"/>
            </a:xfrm>
            <a:custGeom>
              <a:avLst/>
              <a:gdLst/>
              <a:ahLst/>
              <a:cxnLst>
                <a:cxn ang="0">
                  <a:pos x="16" y="1"/>
                </a:cxn>
                <a:cxn ang="0">
                  <a:pos x="12" y="0"/>
                </a:cxn>
                <a:cxn ang="0">
                  <a:pos x="0" y="11"/>
                </a:cxn>
                <a:cxn ang="0">
                  <a:pos x="12" y="23"/>
                </a:cxn>
                <a:cxn ang="0">
                  <a:pos x="23" y="11"/>
                </a:cxn>
                <a:cxn ang="0">
                  <a:pos x="22" y="7"/>
                </a:cxn>
              </a:cxnLst>
              <a:rect l="0" t="0" r="r" b="b"/>
              <a:pathLst>
                <a:path w="23" h="23">
                  <a:moveTo>
                    <a:pt x="16" y="1"/>
                  </a:moveTo>
                  <a:cubicBezTo>
                    <a:pt x="15" y="0"/>
                    <a:pt x="13" y="0"/>
                    <a:pt x="12" y="0"/>
                  </a:cubicBezTo>
                  <a:cubicBezTo>
                    <a:pt x="5" y="0"/>
                    <a:pt x="0" y="5"/>
                    <a:pt x="0" y="11"/>
                  </a:cubicBezTo>
                  <a:cubicBezTo>
                    <a:pt x="0" y="18"/>
                    <a:pt x="5" y="23"/>
                    <a:pt x="12" y="23"/>
                  </a:cubicBezTo>
                  <a:cubicBezTo>
                    <a:pt x="18" y="23"/>
                    <a:pt x="23" y="18"/>
                    <a:pt x="23" y="11"/>
                  </a:cubicBezTo>
                  <a:cubicBezTo>
                    <a:pt x="23" y="10"/>
                    <a:pt x="23" y="8"/>
                    <a:pt x="22" y="7"/>
                  </a:cubicBezTo>
                </a:path>
              </a:pathLst>
            </a:custGeom>
            <a:noFill/>
            <a:ln w="9525" cap="rnd">
              <a:solidFill>
                <a:schemeClr val="bg1">
                  <a:lumMod val="50000"/>
                </a:schemeClr>
              </a:solidFill>
              <a:prstDash val="solid"/>
              <a:bevel/>
              <a:headEnd/>
              <a:tailEnd/>
            </a:ln>
          </p:spPr>
          <p:txBody>
            <a:bodyPr vert="horz" wrap="square" lIns="91440" tIns="45720" rIns="91440" bIns="45720" numCol="1" anchor="t" anchorCtr="0" compatLnSpc="1">
              <a:prstTxWarp prst="textNoShape">
                <a:avLst/>
              </a:prstTxWarp>
            </a:bodyPr>
            <a:lstStyle/>
            <a:p>
              <a:endParaRPr lang="en-GB" dirty="0"/>
            </a:p>
          </p:txBody>
        </p:sp>
        <p:sp>
          <p:nvSpPr>
            <p:cNvPr id="142" name="Freeform 150"/>
            <p:cNvSpPr>
              <a:spLocks/>
            </p:cNvSpPr>
            <p:nvPr/>
          </p:nvSpPr>
          <p:spPr bwMode="auto">
            <a:xfrm>
              <a:off x="431801" y="5441950"/>
              <a:ext cx="361950" cy="365125"/>
            </a:xfrm>
            <a:custGeom>
              <a:avLst/>
              <a:gdLst/>
              <a:ahLst/>
              <a:cxnLst>
                <a:cxn ang="0">
                  <a:pos x="89" y="38"/>
                </a:cxn>
                <a:cxn ang="0">
                  <a:pos x="72" y="34"/>
                </a:cxn>
                <a:cxn ang="0">
                  <a:pos x="35" y="71"/>
                </a:cxn>
                <a:cxn ang="0">
                  <a:pos x="72" y="109"/>
                </a:cxn>
                <a:cxn ang="0">
                  <a:pos x="109" y="71"/>
                </a:cxn>
                <a:cxn ang="0">
                  <a:pos x="106" y="56"/>
                </a:cxn>
                <a:cxn ang="0">
                  <a:pos x="131" y="31"/>
                </a:cxn>
                <a:cxn ang="0">
                  <a:pos x="144" y="72"/>
                </a:cxn>
                <a:cxn ang="0">
                  <a:pos x="72" y="144"/>
                </a:cxn>
                <a:cxn ang="0">
                  <a:pos x="0" y="72"/>
                </a:cxn>
                <a:cxn ang="0">
                  <a:pos x="72" y="0"/>
                </a:cxn>
                <a:cxn ang="0">
                  <a:pos x="120" y="18"/>
                </a:cxn>
              </a:cxnLst>
              <a:rect l="0" t="0" r="r" b="b"/>
              <a:pathLst>
                <a:path w="144" h="144">
                  <a:moveTo>
                    <a:pt x="89" y="38"/>
                  </a:moveTo>
                  <a:cubicBezTo>
                    <a:pt x="84" y="36"/>
                    <a:pt x="78" y="34"/>
                    <a:pt x="72" y="34"/>
                  </a:cubicBezTo>
                  <a:cubicBezTo>
                    <a:pt x="51" y="34"/>
                    <a:pt x="35" y="51"/>
                    <a:pt x="35" y="71"/>
                  </a:cubicBezTo>
                  <a:cubicBezTo>
                    <a:pt x="35" y="92"/>
                    <a:pt x="51" y="109"/>
                    <a:pt x="72" y="109"/>
                  </a:cubicBezTo>
                  <a:cubicBezTo>
                    <a:pt x="92" y="109"/>
                    <a:pt x="109" y="92"/>
                    <a:pt x="109" y="71"/>
                  </a:cubicBezTo>
                  <a:cubicBezTo>
                    <a:pt x="109" y="66"/>
                    <a:pt x="108" y="61"/>
                    <a:pt x="106" y="56"/>
                  </a:cubicBezTo>
                  <a:cubicBezTo>
                    <a:pt x="131" y="31"/>
                    <a:pt x="131" y="31"/>
                    <a:pt x="131" y="31"/>
                  </a:cubicBezTo>
                  <a:cubicBezTo>
                    <a:pt x="139" y="43"/>
                    <a:pt x="144" y="57"/>
                    <a:pt x="144" y="72"/>
                  </a:cubicBezTo>
                  <a:cubicBezTo>
                    <a:pt x="144" y="112"/>
                    <a:pt x="112" y="144"/>
                    <a:pt x="72" y="144"/>
                  </a:cubicBezTo>
                  <a:cubicBezTo>
                    <a:pt x="32" y="144"/>
                    <a:pt x="0" y="112"/>
                    <a:pt x="0" y="72"/>
                  </a:cubicBezTo>
                  <a:cubicBezTo>
                    <a:pt x="0" y="32"/>
                    <a:pt x="32" y="0"/>
                    <a:pt x="72" y="0"/>
                  </a:cubicBezTo>
                  <a:cubicBezTo>
                    <a:pt x="91" y="0"/>
                    <a:pt x="107" y="7"/>
                    <a:pt x="120" y="18"/>
                  </a:cubicBezTo>
                </a:path>
              </a:pathLst>
            </a:custGeom>
            <a:noFill/>
            <a:ln w="9525" cap="rnd">
              <a:solidFill>
                <a:schemeClr val="bg1">
                  <a:lumMod val="50000"/>
                </a:schemeClr>
              </a:solidFill>
              <a:prstDash val="solid"/>
              <a:bevel/>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43" name="Groupe 573"/>
          <p:cNvGrpSpPr/>
          <p:nvPr/>
        </p:nvGrpSpPr>
        <p:grpSpPr>
          <a:xfrm>
            <a:off x="2383792" y="4094666"/>
            <a:ext cx="431800" cy="328614"/>
            <a:chOff x="2155826" y="3686175"/>
            <a:chExt cx="431800" cy="328614"/>
          </a:xfrm>
        </p:grpSpPr>
        <p:sp>
          <p:nvSpPr>
            <p:cNvPr id="144" name="Freeform 204"/>
            <p:cNvSpPr>
              <a:spLocks/>
            </p:cNvSpPr>
            <p:nvPr/>
          </p:nvSpPr>
          <p:spPr bwMode="auto">
            <a:xfrm>
              <a:off x="2155826" y="3714751"/>
              <a:ext cx="212725" cy="300038"/>
            </a:xfrm>
            <a:custGeom>
              <a:avLst/>
              <a:gdLst/>
              <a:ahLst/>
              <a:cxnLst>
                <a:cxn ang="0">
                  <a:pos x="83" y="155"/>
                </a:cxn>
                <a:cxn ang="0">
                  <a:pos x="4" y="155"/>
                </a:cxn>
                <a:cxn ang="0">
                  <a:pos x="0" y="151"/>
                </a:cxn>
                <a:cxn ang="0">
                  <a:pos x="0" y="18"/>
                </a:cxn>
                <a:cxn ang="0">
                  <a:pos x="4" y="14"/>
                </a:cxn>
                <a:cxn ang="0">
                  <a:pos x="29" y="14"/>
                </a:cxn>
                <a:cxn ang="0">
                  <a:pos x="29" y="5"/>
                </a:cxn>
                <a:cxn ang="0">
                  <a:pos x="33" y="0"/>
                </a:cxn>
                <a:cxn ang="0">
                  <a:pos x="77" y="0"/>
                </a:cxn>
                <a:cxn ang="0">
                  <a:pos x="81" y="5"/>
                </a:cxn>
                <a:cxn ang="0">
                  <a:pos x="81" y="14"/>
                </a:cxn>
                <a:cxn ang="0">
                  <a:pos x="106" y="14"/>
                </a:cxn>
                <a:cxn ang="0">
                  <a:pos x="110" y="18"/>
                </a:cxn>
                <a:cxn ang="0">
                  <a:pos x="110" y="126"/>
                </a:cxn>
                <a:cxn ang="0">
                  <a:pos x="83" y="155"/>
                </a:cxn>
              </a:cxnLst>
              <a:rect l="0" t="0" r="r" b="b"/>
              <a:pathLst>
                <a:path w="110" h="155">
                  <a:moveTo>
                    <a:pt x="83" y="155"/>
                  </a:moveTo>
                  <a:cubicBezTo>
                    <a:pt x="4" y="155"/>
                    <a:pt x="4" y="155"/>
                    <a:pt x="4" y="155"/>
                  </a:cubicBezTo>
                  <a:cubicBezTo>
                    <a:pt x="2" y="155"/>
                    <a:pt x="0" y="153"/>
                    <a:pt x="0" y="151"/>
                  </a:cubicBezTo>
                  <a:cubicBezTo>
                    <a:pt x="0" y="18"/>
                    <a:pt x="0" y="18"/>
                    <a:pt x="0" y="18"/>
                  </a:cubicBezTo>
                  <a:cubicBezTo>
                    <a:pt x="0" y="16"/>
                    <a:pt x="2" y="14"/>
                    <a:pt x="4" y="14"/>
                  </a:cubicBezTo>
                  <a:cubicBezTo>
                    <a:pt x="29" y="14"/>
                    <a:pt x="29" y="14"/>
                    <a:pt x="29" y="14"/>
                  </a:cubicBezTo>
                  <a:cubicBezTo>
                    <a:pt x="29" y="5"/>
                    <a:pt x="29" y="5"/>
                    <a:pt x="29" y="5"/>
                  </a:cubicBezTo>
                  <a:cubicBezTo>
                    <a:pt x="29" y="2"/>
                    <a:pt x="31" y="0"/>
                    <a:pt x="33" y="0"/>
                  </a:cubicBezTo>
                  <a:cubicBezTo>
                    <a:pt x="77" y="0"/>
                    <a:pt x="77" y="0"/>
                    <a:pt x="77" y="0"/>
                  </a:cubicBezTo>
                  <a:cubicBezTo>
                    <a:pt x="79" y="0"/>
                    <a:pt x="81" y="2"/>
                    <a:pt x="81" y="5"/>
                  </a:cubicBezTo>
                  <a:cubicBezTo>
                    <a:pt x="81" y="14"/>
                    <a:pt x="81" y="14"/>
                    <a:pt x="81" y="14"/>
                  </a:cubicBezTo>
                  <a:cubicBezTo>
                    <a:pt x="106" y="14"/>
                    <a:pt x="106" y="14"/>
                    <a:pt x="106" y="14"/>
                  </a:cubicBezTo>
                  <a:cubicBezTo>
                    <a:pt x="108" y="14"/>
                    <a:pt x="110" y="16"/>
                    <a:pt x="110" y="18"/>
                  </a:cubicBezTo>
                  <a:cubicBezTo>
                    <a:pt x="110" y="126"/>
                    <a:pt x="110" y="126"/>
                    <a:pt x="110" y="126"/>
                  </a:cubicBezTo>
                  <a:lnTo>
                    <a:pt x="83" y="155"/>
                  </a:lnTo>
                  <a:close/>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45" name="Freeform 206"/>
            <p:cNvSpPr>
              <a:spLocks/>
            </p:cNvSpPr>
            <p:nvPr/>
          </p:nvSpPr>
          <p:spPr bwMode="auto">
            <a:xfrm>
              <a:off x="2197101" y="3808413"/>
              <a:ext cx="49213" cy="20638"/>
            </a:xfrm>
            <a:custGeom>
              <a:avLst/>
              <a:gdLst/>
              <a:ahLst/>
              <a:cxnLst>
                <a:cxn ang="0">
                  <a:pos x="0" y="2"/>
                </a:cxn>
                <a:cxn ang="0">
                  <a:pos x="8" y="13"/>
                </a:cxn>
                <a:cxn ang="0">
                  <a:pos x="31" y="0"/>
                </a:cxn>
              </a:cxnLst>
              <a:rect l="0" t="0" r="r" b="b"/>
              <a:pathLst>
                <a:path w="31" h="13">
                  <a:moveTo>
                    <a:pt x="0" y="2"/>
                  </a:moveTo>
                  <a:lnTo>
                    <a:pt x="8" y="13"/>
                  </a:lnTo>
                  <a:lnTo>
                    <a:pt x="31" y="0"/>
                  </a:ln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46" name="Freeform 207"/>
            <p:cNvSpPr>
              <a:spLocks/>
            </p:cNvSpPr>
            <p:nvPr/>
          </p:nvSpPr>
          <p:spPr bwMode="auto">
            <a:xfrm>
              <a:off x="2197101" y="3879850"/>
              <a:ext cx="49213" cy="20638"/>
            </a:xfrm>
            <a:custGeom>
              <a:avLst/>
              <a:gdLst/>
              <a:ahLst/>
              <a:cxnLst>
                <a:cxn ang="0">
                  <a:pos x="0" y="2"/>
                </a:cxn>
                <a:cxn ang="0">
                  <a:pos x="8" y="13"/>
                </a:cxn>
                <a:cxn ang="0">
                  <a:pos x="31" y="0"/>
                </a:cxn>
              </a:cxnLst>
              <a:rect l="0" t="0" r="r" b="b"/>
              <a:pathLst>
                <a:path w="31" h="13">
                  <a:moveTo>
                    <a:pt x="0" y="2"/>
                  </a:moveTo>
                  <a:lnTo>
                    <a:pt x="8" y="13"/>
                  </a:lnTo>
                  <a:lnTo>
                    <a:pt x="31" y="0"/>
                  </a:ln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47" name="Line 208"/>
            <p:cNvSpPr>
              <a:spLocks noChangeShapeType="1"/>
            </p:cNvSpPr>
            <p:nvPr/>
          </p:nvSpPr>
          <p:spPr bwMode="auto">
            <a:xfrm>
              <a:off x="2289176" y="3810000"/>
              <a:ext cx="39688" cy="1588"/>
            </a:xfrm>
            <a:prstGeom prst="line">
              <a:avLst/>
            </a:pr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48" name="Line 209"/>
            <p:cNvSpPr>
              <a:spLocks noChangeShapeType="1"/>
            </p:cNvSpPr>
            <p:nvPr/>
          </p:nvSpPr>
          <p:spPr bwMode="auto">
            <a:xfrm>
              <a:off x="2289176" y="3846513"/>
              <a:ext cx="39688" cy="1588"/>
            </a:xfrm>
            <a:prstGeom prst="line">
              <a:avLst/>
            </a:pr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49" name="Line 210"/>
            <p:cNvSpPr>
              <a:spLocks noChangeShapeType="1"/>
            </p:cNvSpPr>
            <p:nvPr/>
          </p:nvSpPr>
          <p:spPr bwMode="auto">
            <a:xfrm>
              <a:off x="2289176" y="3887788"/>
              <a:ext cx="39688" cy="1588"/>
            </a:xfrm>
            <a:prstGeom prst="line">
              <a:avLst/>
            </a:pr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50" name="Freeform 211"/>
            <p:cNvSpPr>
              <a:spLocks/>
            </p:cNvSpPr>
            <p:nvPr/>
          </p:nvSpPr>
          <p:spPr bwMode="auto">
            <a:xfrm>
              <a:off x="2314576" y="3952875"/>
              <a:ext cx="49213" cy="57150"/>
            </a:xfrm>
            <a:custGeom>
              <a:avLst/>
              <a:gdLst/>
              <a:ahLst/>
              <a:cxnLst>
                <a:cxn ang="0">
                  <a:pos x="0" y="36"/>
                </a:cxn>
                <a:cxn ang="0">
                  <a:pos x="0" y="0"/>
                </a:cxn>
                <a:cxn ang="0">
                  <a:pos x="31" y="0"/>
                </a:cxn>
              </a:cxnLst>
              <a:rect l="0" t="0" r="r" b="b"/>
              <a:pathLst>
                <a:path w="31" h="36">
                  <a:moveTo>
                    <a:pt x="0" y="36"/>
                  </a:moveTo>
                  <a:lnTo>
                    <a:pt x="0" y="0"/>
                  </a:lnTo>
                  <a:lnTo>
                    <a:pt x="31" y="0"/>
                  </a:ln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51" name="Line 212"/>
            <p:cNvSpPr>
              <a:spLocks noChangeShapeType="1"/>
            </p:cNvSpPr>
            <p:nvPr/>
          </p:nvSpPr>
          <p:spPr bwMode="auto">
            <a:xfrm>
              <a:off x="2211388" y="3741738"/>
              <a:ext cx="100013" cy="1588"/>
            </a:xfrm>
            <a:prstGeom prst="line">
              <a:avLst/>
            </a:pr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52" name="Freeform 213"/>
            <p:cNvSpPr>
              <a:spLocks/>
            </p:cNvSpPr>
            <p:nvPr/>
          </p:nvSpPr>
          <p:spPr bwMode="auto">
            <a:xfrm>
              <a:off x="2379663" y="3686175"/>
              <a:ext cx="207963" cy="209550"/>
            </a:xfrm>
            <a:custGeom>
              <a:avLst/>
              <a:gdLst/>
              <a:ahLst/>
              <a:cxnLst>
                <a:cxn ang="0">
                  <a:pos x="0" y="132"/>
                </a:cxn>
                <a:cxn ang="0">
                  <a:pos x="11" y="91"/>
                </a:cxn>
                <a:cxn ang="0">
                  <a:pos x="103" y="0"/>
                </a:cxn>
                <a:cxn ang="0">
                  <a:pos x="131" y="27"/>
                </a:cxn>
                <a:cxn ang="0">
                  <a:pos x="42" y="116"/>
                </a:cxn>
                <a:cxn ang="0">
                  <a:pos x="11" y="127"/>
                </a:cxn>
              </a:cxnLst>
              <a:rect l="0" t="0" r="r" b="b"/>
              <a:pathLst>
                <a:path w="131" h="132">
                  <a:moveTo>
                    <a:pt x="0" y="132"/>
                  </a:moveTo>
                  <a:lnTo>
                    <a:pt x="11" y="91"/>
                  </a:lnTo>
                  <a:lnTo>
                    <a:pt x="103" y="0"/>
                  </a:lnTo>
                  <a:lnTo>
                    <a:pt x="131" y="27"/>
                  </a:lnTo>
                  <a:lnTo>
                    <a:pt x="42" y="116"/>
                  </a:lnTo>
                  <a:lnTo>
                    <a:pt x="11" y="127"/>
                  </a:ln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53" name="Line 214"/>
            <p:cNvSpPr>
              <a:spLocks noChangeShapeType="1"/>
            </p:cNvSpPr>
            <p:nvPr/>
          </p:nvSpPr>
          <p:spPr bwMode="auto">
            <a:xfrm>
              <a:off x="2397126" y="3830638"/>
              <a:ext cx="44450" cy="41275"/>
            </a:xfrm>
            <a:prstGeom prst="line">
              <a:avLst/>
            </a:pr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grpSp>
      <p:sp>
        <p:nvSpPr>
          <p:cNvPr id="154" name="Freeform 439"/>
          <p:cNvSpPr>
            <a:spLocks noEditPoints="1"/>
          </p:cNvSpPr>
          <p:nvPr/>
        </p:nvSpPr>
        <p:spPr bwMode="auto">
          <a:xfrm>
            <a:off x="3482724" y="4098541"/>
            <a:ext cx="236022" cy="320864"/>
          </a:xfrm>
          <a:custGeom>
            <a:avLst/>
            <a:gdLst/>
            <a:ahLst/>
            <a:cxnLst>
              <a:cxn ang="0">
                <a:pos x="50" y="152"/>
              </a:cxn>
              <a:cxn ang="0">
                <a:pos x="59" y="161"/>
              </a:cxn>
              <a:cxn ang="0">
                <a:pos x="68" y="152"/>
              </a:cxn>
              <a:cxn ang="0">
                <a:pos x="59" y="142"/>
              </a:cxn>
              <a:cxn ang="0">
                <a:pos x="21" y="142"/>
              </a:cxn>
              <a:cxn ang="0">
                <a:pos x="14" y="135"/>
              </a:cxn>
              <a:cxn ang="0">
                <a:pos x="14" y="21"/>
              </a:cxn>
              <a:cxn ang="0">
                <a:pos x="21" y="14"/>
              </a:cxn>
              <a:cxn ang="0">
                <a:pos x="105" y="14"/>
              </a:cxn>
              <a:cxn ang="0">
                <a:pos x="112" y="21"/>
              </a:cxn>
              <a:cxn ang="0">
                <a:pos x="112" y="163"/>
              </a:cxn>
              <a:cxn ang="0">
                <a:pos x="105" y="170"/>
              </a:cxn>
              <a:cxn ang="0">
                <a:pos x="105" y="170"/>
              </a:cxn>
              <a:cxn ang="0">
                <a:pos x="21" y="170"/>
              </a:cxn>
              <a:cxn ang="0">
                <a:pos x="0" y="149"/>
              </a:cxn>
              <a:cxn ang="0">
                <a:pos x="0" y="21"/>
              </a:cxn>
              <a:cxn ang="0">
                <a:pos x="21" y="0"/>
              </a:cxn>
              <a:cxn ang="0">
                <a:pos x="105" y="0"/>
              </a:cxn>
              <a:cxn ang="0">
                <a:pos x="126" y="21"/>
              </a:cxn>
              <a:cxn ang="0">
                <a:pos x="126" y="169"/>
              </a:cxn>
            </a:cxnLst>
            <a:rect l="0" t="0" r="r" b="b"/>
            <a:pathLst>
              <a:path w="126" h="170">
                <a:moveTo>
                  <a:pt x="50" y="152"/>
                </a:moveTo>
                <a:cubicBezTo>
                  <a:pt x="50" y="157"/>
                  <a:pt x="54" y="161"/>
                  <a:pt x="59" y="161"/>
                </a:cubicBezTo>
                <a:cubicBezTo>
                  <a:pt x="64" y="161"/>
                  <a:pt x="68" y="157"/>
                  <a:pt x="68" y="152"/>
                </a:cubicBezTo>
                <a:cubicBezTo>
                  <a:pt x="68" y="147"/>
                  <a:pt x="64" y="142"/>
                  <a:pt x="59" y="142"/>
                </a:cubicBezTo>
                <a:cubicBezTo>
                  <a:pt x="21" y="142"/>
                  <a:pt x="21" y="142"/>
                  <a:pt x="21" y="142"/>
                </a:cubicBezTo>
                <a:cubicBezTo>
                  <a:pt x="17" y="142"/>
                  <a:pt x="14" y="139"/>
                  <a:pt x="14" y="135"/>
                </a:cubicBezTo>
                <a:cubicBezTo>
                  <a:pt x="14" y="21"/>
                  <a:pt x="14" y="21"/>
                  <a:pt x="14" y="21"/>
                </a:cubicBezTo>
                <a:cubicBezTo>
                  <a:pt x="14" y="17"/>
                  <a:pt x="17" y="14"/>
                  <a:pt x="21" y="14"/>
                </a:cubicBezTo>
                <a:cubicBezTo>
                  <a:pt x="105" y="14"/>
                  <a:pt x="105" y="14"/>
                  <a:pt x="105" y="14"/>
                </a:cubicBezTo>
                <a:cubicBezTo>
                  <a:pt x="109" y="14"/>
                  <a:pt x="112" y="17"/>
                  <a:pt x="112" y="21"/>
                </a:cubicBezTo>
                <a:cubicBezTo>
                  <a:pt x="112" y="163"/>
                  <a:pt x="112" y="163"/>
                  <a:pt x="112" y="163"/>
                </a:cubicBezTo>
                <a:cubicBezTo>
                  <a:pt x="112" y="167"/>
                  <a:pt x="109" y="170"/>
                  <a:pt x="105" y="170"/>
                </a:cubicBezTo>
                <a:moveTo>
                  <a:pt x="105" y="170"/>
                </a:moveTo>
                <a:cubicBezTo>
                  <a:pt x="21" y="170"/>
                  <a:pt x="21" y="170"/>
                  <a:pt x="21" y="170"/>
                </a:cubicBezTo>
                <a:cubicBezTo>
                  <a:pt x="9" y="170"/>
                  <a:pt x="0" y="160"/>
                  <a:pt x="0" y="149"/>
                </a:cubicBezTo>
                <a:cubicBezTo>
                  <a:pt x="0" y="21"/>
                  <a:pt x="0" y="21"/>
                  <a:pt x="0" y="21"/>
                </a:cubicBezTo>
                <a:cubicBezTo>
                  <a:pt x="0" y="9"/>
                  <a:pt x="9" y="0"/>
                  <a:pt x="21" y="0"/>
                </a:cubicBezTo>
                <a:cubicBezTo>
                  <a:pt x="105" y="0"/>
                  <a:pt x="105" y="0"/>
                  <a:pt x="105" y="0"/>
                </a:cubicBezTo>
                <a:cubicBezTo>
                  <a:pt x="116" y="0"/>
                  <a:pt x="126" y="9"/>
                  <a:pt x="126" y="21"/>
                </a:cubicBezTo>
                <a:cubicBezTo>
                  <a:pt x="126" y="169"/>
                  <a:pt x="126" y="169"/>
                  <a:pt x="126" y="169"/>
                </a:cubicBez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55" name="Freeform 760"/>
          <p:cNvSpPr>
            <a:spLocks/>
          </p:cNvSpPr>
          <p:nvPr/>
        </p:nvSpPr>
        <p:spPr bwMode="auto">
          <a:xfrm>
            <a:off x="4164801" y="4144495"/>
            <a:ext cx="369103" cy="228969"/>
          </a:xfrm>
          <a:custGeom>
            <a:avLst/>
            <a:gdLst/>
            <a:ahLst/>
            <a:cxnLst>
              <a:cxn ang="0">
                <a:pos x="107" y="20"/>
              </a:cxn>
              <a:cxn ang="0">
                <a:pos x="0" y="20"/>
              </a:cxn>
              <a:cxn ang="0">
                <a:pos x="0" y="128"/>
              </a:cxn>
              <a:cxn ang="0">
                <a:pos x="107" y="128"/>
              </a:cxn>
              <a:cxn ang="0">
                <a:pos x="107" y="69"/>
              </a:cxn>
              <a:cxn ang="0">
                <a:pos x="206" y="0"/>
              </a:cxn>
              <a:cxn ang="0">
                <a:pos x="57" y="79"/>
              </a:cxn>
              <a:cxn ang="0">
                <a:pos x="28" y="39"/>
              </a:cxn>
              <a:cxn ang="0">
                <a:pos x="18" y="69"/>
              </a:cxn>
              <a:cxn ang="0">
                <a:pos x="48" y="108"/>
              </a:cxn>
              <a:cxn ang="0">
                <a:pos x="67" y="108"/>
              </a:cxn>
              <a:cxn ang="0">
                <a:pos x="92" y="83"/>
              </a:cxn>
            </a:cxnLst>
            <a:rect l="0" t="0" r="r" b="b"/>
            <a:pathLst>
              <a:path w="206" h="128">
                <a:moveTo>
                  <a:pt x="107" y="20"/>
                </a:moveTo>
                <a:cubicBezTo>
                  <a:pt x="0" y="20"/>
                  <a:pt x="0" y="20"/>
                  <a:pt x="0" y="20"/>
                </a:cubicBezTo>
                <a:cubicBezTo>
                  <a:pt x="0" y="56"/>
                  <a:pt x="0" y="92"/>
                  <a:pt x="0" y="128"/>
                </a:cubicBezTo>
                <a:cubicBezTo>
                  <a:pt x="107" y="128"/>
                  <a:pt x="107" y="128"/>
                  <a:pt x="107" y="128"/>
                </a:cubicBezTo>
                <a:cubicBezTo>
                  <a:pt x="107" y="69"/>
                  <a:pt x="107" y="69"/>
                  <a:pt x="107" y="69"/>
                </a:cubicBezTo>
                <a:cubicBezTo>
                  <a:pt x="143" y="30"/>
                  <a:pt x="165" y="19"/>
                  <a:pt x="206" y="0"/>
                </a:cubicBezTo>
                <a:cubicBezTo>
                  <a:pt x="123" y="22"/>
                  <a:pt x="85" y="52"/>
                  <a:pt x="57" y="79"/>
                </a:cubicBezTo>
                <a:cubicBezTo>
                  <a:pt x="52" y="62"/>
                  <a:pt x="45" y="54"/>
                  <a:pt x="28" y="39"/>
                </a:cubicBezTo>
                <a:cubicBezTo>
                  <a:pt x="18" y="69"/>
                  <a:pt x="18" y="69"/>
                  <a:pt x="18" y="69"/>
                </a:cubicBezTo>
                <a:cubicBezTo>
                  <a:pt x="34" y="81"/>
                  <a:pt x="41" y="90"/>
                  <a:pt x="48" y="108"/>
                </a:cubicBezTo>
                <a:cubicBezTo>
                  <a:pt x="67" y="108"/>
                  <a:pt x="67" y="108"/>
                  <a:pt x="67" y="108"/>
                </a:cubicBezTo>
                <a:cubicBezTo>
                  <a:pt x="75" y="99"/>
                  <a:pt x="78" y="94"/>
                  <a:pt x="92" y="83"/>
                </a:cubicBez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6" name="Groupe 375"/>
          <p:cNvGrpSpPr/>
          <p:nvPr/>
        </p:nvGrpSpPr>
        <p:grpSpPr>
          <a:xfrm>
            <a:off x="4834181" y="4082718"/>
            <a:ext cx="216604" cy="352510"/>
            <a:chOff x="5672138" y="2676525"/>
            <a:chExt cx="242888" cy="395288"/>
          </a:xfrm>
        </p:grpSpPr>
        <p:sp>
          <p:nvSpPr>
            <p:cNvPr id="157" name="Freeform 443"/>
            <p:cNvSpPr>
              <a:spLocks/>
            </p:cNvSpPr>
            <p:nvPr/>
          </p:nvSpPr>
          <p:spPr bwMode="auto">
            <a:xfrm>
              <a:off x="5672138" y="2676525"/>
              <a:ext cx="242888" cy="395288"/>
            </a:xfrm>
            <a:custGeom>
              <a:avLst/>
              <a:gdLst/>
              <a:ahLst/>
              <a:cxnLst>
                <a:cxn ang="0">
                  <a:pos x="37" y="83"/>
                </a:cxn>
                <a:cxn ang="0">
                  <a:pos x="100" y="83"/>
                </a:cxn>
                <a:cxn ang="0">
                  <a:pos x="108" y="90"/>
                </a:cxn>
                <a:cxn ang="0">
                  <a:pos x="108" y="171"/>
                </a:cxn>
                <a:cxn ang="0">
                  <a:pos x="104" y="175"/>
                </a:cxn>
                <a:cxn ang="0">
                  <a:pos x="6" y="175"/>
                </a:cxn>
                <a:cxn ang="0">
                  <a:pos x="0" y="170"/>
                </a:cxn>
                <a:cxn ang="0">
                  <a:pos x="0" y="89"/>
                </a:cxn>
                <a:cxn ang="0">
                  <a:pos x="6" y="83"/>
                </a:cxn>
                <a:cxn ang="0">
                  <a:pos x="28" y="83"/>
                </a:cxn>
                <a:cxn ang="0">
                  <a:pos x="28" y="48"/>
                </a:cxn>
                <a:cxn ang="0">
                  <a:pos x="54" y="23"/>
                </a:cxn>
                <a:cxn ang="0">
                  <a:pos x="81" y="47"/>
                </a:cxn>
                <a:cxn ang="0">
                  <a:pos x="81" y="68"/>
                </a:cxn>
                <a:cxn ang="0">
                  <a:pos x="98" y="68"/>
                </a:cxn>
                <a:cxn ang="0">
                  <a:pos x="98" y="47"/>
                </a:cxn>
                <a:cxn ang="0">
                  <a:pos x="77" y="12"/>
                </a:cxn>
                <a:cxn ang="0">
                  <a:pos x="28" y="14"/>
                </a:cxn>
                <a:cxn ang="0">
                  <a:pos x="9" y="46"/>
                </a:cxn>
                <a:cxn ang="0">
                  <a:pos x="9" y="68"/>
                </a:cxn>
              </a:cxnLst>
              <a:rect l="0" t="0" r="r" b="b"/>
              <a:pathLst>
                <a:path w="108" h="175">
                  <a:moveTo>
                    <a:pt x="37" y="83"/>
                  </a:moveTo>
                  <a:cubicBezTo>
                    <a:pt x="100" y="83"/>
                    <a:pt x="100" y="83"/>
                    <a:pt x="100" y="83"/>
                  </a:cubicBezTo>
                  <a:cubicBezTo>
                    <a:pt x="104" y="83"/>
                    <a:pt x="108" y="87"/>
                    <a:pt x="108" y="90"/>
                  </a:cubicBezTo>
                  <a:cubicBezTo>
                    <a:pt x="108" y="171"/>
                    <a:pt x="108" y="171"/>
                    <a:pt x="108" y="171"/>
                  </a:cubicBezTo>
                  <a:cubicBezTo>
                    <a:pt x="108" y="174"/>
                    <a:pt x="106" y="175"/>
                    <a:pt x="104" y="175"/>
                  </a:cubicBezTo>
                  <a:cubicBezTo>
                    <a:pt x="6" y="175"/>
                    <a:pt x="6" y="175"/>
                    <a:pt x="6" y="175"/>
                  </a:cubicBezTo>
                  <a:cubicBezTo>
                    <a:pt x="3" y="175"/>
                    <a:pt x="0" y="173"/>
                    <a:pt x="0" y="170"/>
                  </a:cubicBezTo>
                  <a:cubicBezTo>
                    <a:pt x="0" y="89"/>
                    <a:pt x="0" y="89"/>
                    <a:pt x="0" y="89"/>
                  </a:cubicBezTo>
                  <a:cubicBezTo>
                    <a:pt x="0" y="85"/>
                    <a:pt x="2" y="83"/>
                    <a:pt x="6" y="83"/>
                  </a:cubicBezTo>
                  <a:cubicBezTo>
                    <a:pt x="28" y="83"/>
                    <a:pt x="28" y="83"/>
                    <a:pt x="28" y="83"/>
                  </a:cubicBezTo>
                  <a:cubicBezTo>
                    <a:pt x="28" y="48"/>
                    <a:pt x="28" y="48"/>
                    <a:pt x="28" y="48"/>
                  </a:cubicBezTo>
                  <a:cubicBezTo>
                    <a:pt x="27" y="31"/>
                    <a:pt x="44" y="23"/>
                    <a:pt x="54" y="23"/>
                  </a:cubicBezTo>
                  <a:cubicBezTo>
                    <a:pt x="66" y="23"/>
                    <a:pt x="81" y="35"/>
                    <a:pt x="81" y="47"/>
                  </a:cubicBezTo>
                  <a:cubicBezTo>
                    <a:pt x="81" y="68"/>
                    <a:pt x="81" y="68"/>
                    <a:pt x="81" y="68"/>
                  </a:cubicBezTo>
                  <a:cubicBezTo>
                    <a:pt x="98" y="68"/>
                    <a:pt x="98" y="68"/>
                    <a:pt x="98" y="68"/>
                  </a:cubicBezTo>
                  <a:cubicBezTo>
                    <a:pt x="98" y="61"/>
                    <a:pt x="98" y="54"/>
                    <a:pt x="98" y="47"/>
                  </a:cubicBezTo>
                  <a:cubicBezTo>
                    <a:pt x="98" y="32"/>
                    <a:pt x="89" y="21"/>
                    <a:pt x="77" y="12"/>
                  </a:cubicBezTo>
                  <a:cubicBezTo>
                    <a:pt x="61" y="0"/>
                    <a:pt x="36" y="6"/>
                    <a:pt x="28" y="14"/>
                  </a:cubicBezTo>
                  <a:cubicBezTo>
                    <a:pt x="20" y="20"/>
                    <a:pt x="9" y="30"/>
                    <a:pt x="9" y="46"/>
                  </a:cubicBezTo>
                  <a:cubicBezTo>
                    <a:pt x="9" y="53"/>
                    <a:pt x="9" y="61"/>
                    <a:pt x="9" y="68"/>
                  </a:cubicBez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8" name="Freeform 444"/>
            <p:cNvSpPr>
              <a:spLocks/>
            </p:cNvSpPr>
            <p:nvPr/>
          </p:nvSpPr>
          <p:spPr bwMode="auto">
            <a:xfrm>
              <a:off x="5775326" y="2927350"/>
              <a:ext cx="31750" cy="31750"/>
            </a:xfrm>
            <a:custGeom>
              <a:avLst/>
              <a:gdLst/>
              <a:ahLst/>
              <a:cxnLst>
                <a:cxn ang="0">
                  <a:pos x="0" y="7"/>
                </a:cxn>
                <a:cxn ang="0">
                  <a:pos x="7" y="0"/>
                </a:cxn>
                <a:cxn ang="0">
                  <a:pos x="7" y="0"/>
                </a:cxn>
                <a:cxn ang="0">
                  <a:pos x="7" y="0"/>
                </a:cxn>
                <a:cxn ang="0">
                  <a:pos x="14" y="7"/>
                </a:cxn>
                <a:cxn ang="0">
                  <a:pos x="14" y="7"/>
                </a:cxn>
                <a:cxn ang="0">
                  <a:pos x="14" y="7"/>
                </a:cxn>
                <a:cxn ang="0">
                  <a:pos x="7" y="14"/>
                </a:cxn>
                <a:cxn ang="0">
                  <a:pos x="7" y="14"/>
                </a:cxn>
                <a:cxn ang="0">
                  <a:pos x="7" y="14"/>
                </a:cxn>
                <a:cxn ang="0">
                  <a:pos x="0" y="7"/>
                </a:cxn>
                <a:cxn ang="0">
                  <a:pos x="0" y="7"/>
                </a:cxn>
              </a:cxnLst>
              <a:rect l="0" t="0" r="r" b="b"/>
              <a:pathLst>
                <a:path w="14" h="14">
                  <a:moveTo>
                    <a:pt x="0" y="7"/>
                  </a:moveTo>
                  <a:cubicBezTo>
                    <a:pt x="0" y="3"/>
                    <a:pt x="3" y="0"/>
                    <a:pt x="7" y="0"/>
                  </a:cubicBezTo>
                  <a:cubicBezTo>
                    <a:pt x="7" y="0"/>
                    <a:pt x="7" y="0"/>
                    <a:pt x="7" y="0"/>
                  </a:cubicBezTo>
                  <a:cubicBezTo>
                    <a:pt x="7" y="0"/>
                    <a:pt x="7" y="0"/>
                    <a:pt x="7" y="0"/>
                  </a:cubicBezTo>
                  <a:cubicBezTo>
                    <a:pt x="11" y="0"/>
                    <a:pt x="14" y="3"/>
                    <a:pt x="14" y="7"/>
                  </a:cubicBezTo>
                  <a:cubicBezTo>
                    <a:pt x="14" y="7"/>
                    <a:pt x="14" y="7"/>
                    <a:pt x="14" y="7"/>
                  </a:cubicBezTo>
                  <a:cubicBezTo>
                    <a:pt x="14" y="7"/>
                    <a:pt x="14" y="7"/>
                    <a:pt x="14" y="7"/>
                  </a:cubicBezTo>
                  <a:cubicBezTo>
                    <a:pt x="14" y="11"/>
                    <a:pt x="11" y="14"/>
                    <a:pt x="7" y="14"/>
                  </a:cubicBezTo>
                  <a:cubicBezTo>
                    <a:pt x="7" y="14"/>
                    <a:pt x="7" y="14"/>
                    <a:pt x="7" y="14"/>
                  </a:cubicBezTo>
                  <a:cubicBezTo>
                    <a:pt x="7" y="14"/>
                    <a:pt x="7" y="14"/>
                    <a:pt x="7" y="14"/>
                  </a:cubicBezTo>
                  <a:cubicBezTo>
                    <a:pt x="3" y="14"/>
                    <a:pt x="0" y="11"/>
                    <a:pt x="0" y="7"/>
                  </a:cubicBezTo>
                  <a:cubicBezTo>
                    <a:pt x="0" y="7"/>
                    <a:pt x="0" y="7"/>
                    <a:pt x="0" y="7"/>
                  </a:cubicBezTo>
                  <a:close/>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9" name="Line 445"/>
            <p:cNvSpPr>
              <a:spLocks noChangeShapeType="1"/>
            </p:cNvSpPr>
            <p:nvPr/>
          </p:nvSpPr>
          <p:spPr bwMode="auto">
            <a:xfrm>
              <a:off x="5791201" y="2955925"/>
              <a:ext cx="1588" cy="30163"/>
            </a:xfrm>
            <a:prstGeom prst="line">
              <a:avLst/>
            </a:pr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60" name="Groupe 375"/>
          <p:cNvGrpSpPr/>
          <p:nvPr/>
        </p:nvGrpSpPr>
        <p:grpSpPr>
          <a:xfrm>
            <a:off x="5399722" y="4125629"/>
            <a:ext cx="403225" cy="266701"/>
            <a:chOff x="4649788" y="3203575"/>
            <a:chExt cx="403225" cy="266701"/>
          </a:xfrm>
        </p:grpSpPr>
        <p:sp>
          <p:nvSpPr>
            <p:cNvPr id="161" name="Freeform 814"/>
            <p:cNvSpPr>
              <a:spLocks/>
            </p:cNvSpPr>
            <p:nvPr/>
          </p:nvSpPr>
          <p:spPr bwMode="auto">
            <a:xfrm>
              <a:off x="4799013" y="3290888"/>
              <a:ext cx="104775" cy="179388"/>
            </a:xfrm>
            <a:custGeom>
              <a:avLst/>
              <a:gdLst/>
              <a:ahLst/>
              <a:cxnLst>
                <a:cxn ang="0">
                  <a:pos x="42" y="92"/>
                </a:cxn>
                <a:cxn ang="0">
                  <a:pos x="10" y="92"/>
                </a:cxn>
                <a:cxn ang="0">
                  <a:pos x="0" y="83"/>
                </a:cxn>
                <a:cxn ang="0">
                  <a:pos x="0" y="9"/>
                </a:cxn>
                <a:cxn ang="0">
                  <a:pos x="9" y="0"/>
                </a:cxn>
                <a:cxn ang="0">
                  <a:pos x="44" y="0"/>
                </a:cxn>
                <a:cxn ang="0">
                  <a:pos x="54" y="9"/>
                </a:cxn>
                <a:cxn ang="0">
                  <a:pos x="54" y="91"/>
                </a:cxn>
              </a:cxnLst>
              <a:rect l="0" t="0" r="r" b="b"/>
              <a:pathLst>
                <a:path w="54" h="92">
                  <a:moveTo>
                    <a:pt x="42" y="92"/>
                  </a:moveTo>
                  <a:cubicBezTo>
                    <a:pt x="10" y="92"/>
                    <a:pt x="10" y="92"/>
                    <a:pt x="10" y="92"/>
                  </a:cubicBezTo>
                  <a:cubicBezTo>
                    <a:pt x="3" y="92"/>
                    <a:pt x="0" y="89"/>
                    <a:pt x="0" y="83"/>
                  </a:cubicBezTo>
                  <a:cubicBezTo>
                    <a:pt x="0" y="9"/>
                    <a:pt x="0" y="9"/>
                    <a:pt x="0" y="9"/>
                  </a:cubicBezTo>
                  <a:cubicBezTo>
                    <a:pt x="0" y="2"/>
                    <a:pt x="2" y="0"/>
                    <a:pt x="9" y="0"/>
                  </a:cubicBezTo>
                  <a:cubicBezTo>
                    <a:pt x="44" y="0"/>
                    <a:pt x="44" y="0"/>
                    <a:pt x="44" y="0"/>
                  </a:cubicBezTo>
                  <a:cubicBezTo>
                    <a:pt x="51" y="0"/>
                    <a:pt x="54" y="2"/>
                    <a:pt x="54" y="9"/>
                  </a:cubicBezTo>
                  <a:cubicBezTo>
                    <a:pt x="54" y="91"/>
                    <a:pt x="54" y="91"/>
                    <a:pt x="54" y="91"/>
                  </a:cubicBez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cs typeface="Arial" pitchFamily="34" charset="0"/>
              </a:endParaRPr>
            </a:p>
          </p:txBody>
        </p:sp>
        <p:sp>
          <p:nvSpPr>
            <p:cNvPr id="162" name="Freeform 815"/>
            <p:cNvSpPr>
              <a:spLocks/>
            </p:cNvSpPr>
            <p:nvPr/>
          </p:nvSpPr>
          <p:spPr bwMode="auto">
            <a:xfrm>
              <a:off x="4814888" y="3305175"/>
              <a:ext cx="73025" cy="165100"/>
            </a:xfrm>
            <a:custGeom>
              <a:avLst/>
              <a:gdLst/>
              <a:ahLst/>
              <a:cxnLst>
                <a:cxn ang="0">
                  <a:pos x="20" y="65"/>
                </a:cxn>
                <a:cxn ang="0">
                  <a:pos x="4" y="65"/>
                </a:cxn>
                <a:cxn ang="0">
                  <a:pos x="0" y="61"/>
                </a:cxn>
                <a:cxn ang="0">
                  <a:pos x="0" y="4"/>
                </a:cxn>
                <a:cxn ang="0">
                  <a:pos x="4" y="0"/>
                </a:cxn>
                <a:cxn ang="0">
                  <a:pos x="34" y="0"/>
                </a:cxn>
                <a:cxn ang="0">
                  <a:pos x="38" y="4"/>
                </a:cxn>
                <a:cxn ang="0">
                  <a:pos x="38" y="81"/>
                </a:cxn>
                <a:cxn ang="0">
                  <a:pos x="34" y="85"/>
                </a:cxn>
              </a:cxnLst>
              <a:rect l="0" t="0" r="r" b="b"/>
              <a:pathLst>
                <a:path w="38" h="85">
                  <a:moveTo>
                    <a:pt x="20" y="65"/>
                  </a:moveTo>
                  <a:cubicBezTo>
                    <a:pt x="4" y="65"/>
                    <a:pt x="4" y="65"/>
                    <a:pt x="4" y="65"/>
                  </a:cubicBezTo>
                  <a:cubicBezTo>
                    <a:pt x="2" y="65"/>
                    <a:pt x="0" y="63"/>
                    <a:pt x="0" y="61"/>
                  </a:cubicBezTo>
                  <a:cubicBezTo>
                    <a:pt x="0" y="4"/>
                    <a:pt x="0" y="4"/>
                    <a:pt x="0" y="4"/>
                  </a:cubicBezTo>
                  <a:cubicBezTo>
                    <a:pt x="0" y="2"/>
                    <a:pt x="2" y="0"/>
                    <a:pt x="4" y="0"/>
                  </a:cubicBezTo>
                  <a:cubicBezTo>
                    <a:pt x="34" y="0"/>
                    <a:pt x="34" y="0"/>
                    <a:pt x="34" y="0"/>
                  </a:cubicBezTo>
                  <a:cubicBezTo>
                    <a:pt x="36" y="0"/>
                    <a:pt x="38" y="2"/>
                    <a:pt x="38" y="4"/>
                  </a:cubicBezTo>
                  <a:cubicBezTo>
                    <a:pt x="38" y="81"/>
                    <a:pt x="38" y="81"/>
                    <a:pt x="38" y="81"/>
                  </a:cubicBezTo>
                  <a:cubicBezTo>
                    <a:pt x="38" y="83"/>
                    <a:pt x="36" y="85"/>
                    <a:pt x="34" y="85"/>
                  </a:cubicBez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cs typeface="Arial" pitchFamily="34" charset="0"/>
              </a:endParaRPr>
            </a:p>
          </p:txBody>
        </p:sp>
        <p:sp>
          <p:nvSpPr>
            <p:cNvPr id="163" name="Freeform 816"/>
            <p:cNvSpPr>
              <a:spLocks/>
            </p:cNvSpPr>
            <p:nvPr/>
          </p:nvSpPr>
          <p:spPr bwMode="auto">
            <a:xfrm>
              <a:off x="4837113" y="3430588"/>
              <a:ext cx="26988" cy="17463"/>
            </a:xfrm>
            <a:custGeom>
              <a:avLst/>
              <a:gdLst/>
              <a:ahLst/>
              <a:cxnLst>
                <a:cxn ang="0">
                  <a:pos x="8" y="0"/>
                </a:cxn>
                <a:cxn ang="0">
                  <a:pos x="11" y="0"/>
                </a:cxn>
                <a:cxn ang="0">
                  <a:pos x="14" y="2"/>
                </a:cxn>
                <a:cxn ang="0">
                  <a:pos x="14" y="6"/>
                </a:cxn>
                <a:cxn ang="0">
                  <a:pos x="11" y="9"/>
                </a:cxn>
                <a:cxn ang="0">
                  <a:pos x="3" y="9"/>
                </a:cxn>
                <a:cxn ang="0">
                  <a:pos x="0" y="6"/>
                </a:cxn>
              </a:cxnLst>
              <a:rect l="0" t="0" r="r" b="b"/>
              <a:pathLst>
                <a:path w="14" h="9">
                  <a:moveTo>
                    <a:pt x="8" y="0"/>
                  </a:moveTo>
                  <a:cubicBezTo>
                    <a:pt x="11" y="0"/>
                    <a:pt x="11" y="0"/>
                    <a:pt x="11" y="0"/>
                  </a:cubicBezTo>
                  <a:cubicBezTo>
                    <a:pt x="13" y="0"/>
                    <a:pt x="14" y="1"/>
                    <a:pt x="14" y="2"/>
                  </a:cubicBezTo>
                  <a:cubicBezTo>
                    <a:pt x="14" y="6"/>
                    <a:pt x="14" y="6"/>
                    <a:pt x="14" y="6"/>
                  </a:cubicBezTo>
                  <a:cubicBezTo>
                    <a:pt x="14" y="8"/>
                    <a:pt x="13" y="9"/>
                    <a:pt x="11" y="9"/>
                  </a:cubicBezTo>
                  <a:cubicBezTo>
                    <a:pt x="3" y="9"/>
                    <a:pt x="3" y="9"/>
                    <a:pt x="3" y="9"/>
                  </a:cubicBezTo>
                  <a:cubicBezTo>
                    <a:pt x="1" y="9"/>
                    <a:pt x="0" y="8"/>
                    <a:pt x="0" y="6"/>
                  </a:cubicBez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cs typeface="Arial" pitchFamily="34" charset="0"/>
              </a:endParaRPr>
            </a:p>
          </p:txBody>
        </p:sp>
        <p:sp>
          <p:nvSpPr>
            <p:cNvPr id="164" name="Freeform 817"/>
            <p:cNvSpPr>
              <a:spLocks/>
            </p:cNvSpPr>
            <p:nvPr/>
          </p:nvSpPr>
          <p:spPr bwMode="auto">
            <a:xfrm>
              <a:off x="4649788" y="3203575"/>
              <a:ext cx="403225" cy="249238"/>
            </a:xfrm>
            <a:custGeom>
              <a:avLst/>
              <a:gdLst/>
              <a:ahLst/>
              <a:cxnLst>
                <a:cxn ang="0">
                  <a:pos x="174" y="128"/>
                </a:cxn>
                <a:cxn ang="0">
                  <a:pos x="208" y="94"/>
                </a:cxn>
                <a:cxn ang="0">
                  <a:pos x="174" y="60"/>
                </a:cxn>
                <a:cxn ang="0">
                  <a:pos x="173" y="60"/>
                </a:cxn>
                <a:cxn ang="0">
                  <a:pos x="174" y="58"/>
                </a:cxn>
                <a:cxn ang="0">
                  <a:pos x="115" y="0"/>
                </a:cxn>
                <a:cxn ang="0">
                  <a:pos x="60" y="38"/>
                </a:cxn>
                <a:cxn ang="0">
                  <a:pos x="46" y="36"/>
                </a:cxn>
                <a:cxn ang="0">
                  <a:pos x="0" y="82"/>
                </a:cxn>
                <a:cxn ang="0">
                  <a:pos x="46" y="128"/>
                </a:cxn>
                <a:cxn ang="0">
                  <a:pos x="72" y="128"/>
                </a:cxn>
              </a:cxnLst>
              <a:rect l="0" t="0" r="r" b="b"/>
              <a:pathLst>
                <a:path w="208" h="128">
                  <a:moveTo>
                    <a:pt x="174" y="128"/>
                  </a:moveTo>
                  <a:cubicBezTo>
                    <a:pt x="193" y="128"/>
                    <a:pt x="208" y="112"/>
                    <a:pt x="208" y="94"/>
                  </a:cubicBezTo>
                  <a:cubicBezTo>
                    <a:pt x="208" y="75"/>
                    <a:pt x="193" y="60"/>
                    <a:pt x="174" y="60"/>
                  </a:cubicBezTo>
                  <a:cubicBezTo>
                    <a:pt x="174" y="60"/>
                    <a:pt x="174" y="60"/>
                    <a:pt x="173" y="60"/>
                  </a:cubicBezTo>
                  <a:cubicBezTo>
                    <a:pt x="173" y="59"/>
                    <a:pt x="174" y="59"/>
                    <a:pt x="174" y="58"/>
                  </a:cubicBezTo>
                  <a:cubicBezTo>
                    <a:pt x="174" y="26"/>
                    <a:pt x="147" y="0"/>
                    <a:pt x="115" y="0"/>
                  </a:cubicBezTo>
                  <a:cubicBezTo>
                    <a:pt x="90" y="0"/>
                    <a:pt x="69" y="16"/>
                    <a:pt x="60" y="38"/>
                  </a:cubicBezTo>
                  <a:cubicBezTo>
                    <a:pt x="56" y="36"/>
                    <a:pt x="51" y="36"/>
                    <a:pt x="46" y="36"/>
                  </a:cubicBezTo>
                  <a:cubicBezTo>
                    <a:pt x="20" y="36"/>
                    <a:pt x="0" y="56"/>
                    <a:pt x="0" y="82"/>
                  </a:cubicBezTo>
                  <a:cubicBezTo>
                    <a:pt x="0" y="107"/>
                    <a:pt x="20" y="128"/>
                    <a:pt x="46" y="128"/>
                  </a:cubicBezTo>
                  <a:cubicBezTo>
                    <a:pt x="72" y="128"/>
                    <a:pt x="72" y="128"/>
                    <a:pt x="72" y="128"/>
                  </a:cubicBez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cs typeface="Arial" pitchFamily="34" charset="0"/>
              </a:endParaRPr>
            </a:p>
          </p:txBody>
        </p:sp>
      </p:grpSp>
      <p:grpSp>
        <p:nvGrpSpPr>
          <p:cNvPr id="166" name="Group 70"/>
          <p:cNvGrpSpPr>
            <a:grpSpLocks/>
          </p:cNvGrpSpPr>
          <p:nvPr/>
        </p:nvGrpSpPr>
        <p:grpSpPr bwMode="auto">
          <a:xfrm>
            <a:off x="1584195" y="5608490"/>
            <a:ext cx="395554" cy="340510"/>
            <a:chOff x="5475288" y="473075"/>
            <a:chExt cx="1163638" cy="1001713"/>
          </a:xfrm>
        </p:grpSpPr>
        <p:sp>
          <p:nvSpPr>
            <p:cNvPr id="167" name="Freeform 14"/>
            <p:cNvSpPr>
              <a:spLocks noEditPoints="1"/>
            </p:cNvSpPr>
            <p:nvPr/>
          </p:nvSpPr>
          <p:spPr bwMode="auto">
            <a:xfrm>
              <a:off x="5475288" y="473075"/>
              <a:ext cx="1163638" cy="1001713"/>
            </a:xfrm>
            <a:custGeom>
              <a:avLst/>
              <a:gdLst>
                <a:gd name="T0" fmla="*/ 2147483647 w 395"/>
                <a:gd name="T1" fmla="*/ 2147483647 h 340"/>
                <a:gd name="T2" fmla="*/ 2147483647 w 395"/>
                <a:gd name="T3" fmla="*/ 2147483647 h 340"/>
                <a:gd name="T4" fmla="*/ 2147483647 w 395"/>
                <a:gd name="T5" fmla="*/ 720455559 h 340"/>
                <a:gd name="T6" fmla="*/ 2147483647 w 395"/>
                <a:gd name="T7" fmla="*/ 425330286 h 340"/>
                <a:gd name="T8" fmla="*/ 2147483647 w 395"/>
                <a:gd name="T9" fmla="*/ 425330286 h 340"/>
                <a:gd name="T10" fmla="*/ 2147483647 w 395"/>
                <a:gd name="T11" fmla="*/ 43400689 h 340"/>
                <a:gd name="T12" fmla="*/ 2143574384 w 395"/>
                <a:gd name="T13" fmla="*/ 0 h 340"/>
                <a:gd name="T14" fmla="*/ 1284408895 w 395"/>
                <a:gd name="T15" fmla="*/ 0 h 340"/>
                <a:gd name="T16" fmla="*/ 1188946390 w 395"/>
                <a:gd name="T17" fmla="*/ 43400689 h 340"/>
                <a:gd name="T18" fmla="*/ 963306671 w 395"/>
                <a:gd name="T19" fmla="*/ 425330286 h 340"/>
                <a:gd name="T20" fmla="*/ 295066192 w 395"/>
                <a:gd name="T21" fmla="*/ 425330286 h 340"/>
                <a:gd name="T22" fmla="*/ 0 w 395"/>
                <a:gd name="T23" fmla="*/ 720455559 h 340"/>
                <a:gd name="T24" fmla="*/ 0 w 395"/>
                <a:gd name="T25" fmla="*/ 2147483647 h 340"/>
                <a:gd name="T26" fmla="*/ 295066192 w 395"/>
                <a:gd name="T27" fmla="*/ 2147483647 h 340"/>
                <a:gd name="T28" fmla="*/ 2147483647 w 395"/>
                <a:gd name="T29" fmla="*/ 2147483647 h 340"/>
                <a:gd name="T30" fmla="*/ 1301766249 w 395"/>
                <a:gd name="T31" fmla="*/ 199644347 h 340"/>
                <a:gd name="T32" fmla="*/ 1397228754 w 395"/>
                <a:gd name="T33" fmla="*/ 156243658 h 340"/>
                <a:gd name="T34" fmla="*/ 2030754524 w 395"/>
                <a:gd name="T35" fmla="*/ 156243658 h 340"/>
                <a:gd name="T36" fmla="*/ 2126217029 w 395"/>
                <a:gd name="T37" fmla="*/ 199644347 h 340"/>
                <a:gd name="T38" fmla="*/ 2147483647 w 395"/>
                <a:gd name="T39" fmla="*/ 425330286 h 340"/>
                <a:gd name="T40" fmla="*/ 1171589035 w 395"/>
                <a:gd name="T41" fmla="*/ 425330286 h 340"/>
                <a:gd name="T42" fmla="*/ 1301766249 w 395"/>
                <a:gd name="T43" fmla="*/ 199644347 h 3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95"/>
                <a:gd name="T67" fmla="*/ 0 h 340"/>
                <a:gd name="T68" fmla="*/ 395 w 395"/>
                <a:gd name="T69" fmla="*/ 340 h 3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95" h="340">
                  <a:moveTo>
                    <a:pt x="361" y="340"/>
                  </a:moveTo>
                  <a:cubicBezTo>
                    <a:pt x="379" y="340"/>
                    <a:pt x="395" y="324"/>
                    <a:pt x="395" y="306"/>
                  </a:cubicBezTo>
                  <a:cubicBezTo>
                    <a:pt x="395" y="83"/>
                    <a:pt x="395" y="83"/>
                    <a:pt x="395" y="83"/>
                  </a:cubicBezTo>
                  <a:cubicBezTo>
                    <a:pt x="395" y="64"/>
                    <a:pt x="379" y="49"/>
                    <a:pt x="361" y="49"/>
                  </a:cubicBezTo>
                  <a:cubicBezTo>
                    <a:pt x="284" y="49"/>
                    <a:pt x="284" y="49"/>
                    <a:pt x="284" y="49"/>
                  </a:cubicBezTo>
                  <a:cubicBezTo>
                    <a:pt x="258" y="5"/>
                    <a:pt x="258" y="5"/>
                    <a:pt x="258" y="5"/>
                  </a:cubicBezTo>
                  <a:cubicBezTo>
                    <a:pt x="258" y="5"/>
                    <a:pt x="256" y="0"/>
                    <a:pt x="247" y="0"/>
                  </a:cubicBezTo>
                  <a:cubicBezTo>
                    <a:pt x="148" y="0"/>
                    <a:pt x="148" y="0"/>
                    <a:pt x="148" y="0"/>
                  </a:cubicBezTo>
                  <a:cubicBezTo>
                    <a:pt x="139" y="0"/>
                    <a:pt x="137" y="5"/>
                    <a:pt x="137" y="5"/>
                  </a:cubicBezTo>
                  <a:cubicBezTo>
                    <a:pt x="111" y="49"/>
                    <a:pt x="111" y="49"/>
                    <a:pt x="111" y="49"/>
                  </a:cubicBezTo>
                  <a:cubicBezTo>
                    <a:pt x="34" y="49"/>
                    <a:pt x="34" y="49"/>
                    <a:pt x="34" y="49"/>
                  </a:cubicBezTo>
                  <a:cubicBezTo>
                    <a:pt x="16" y="49"/>
                    <a:pt x="0" y="64"/>
                    <a:pt x="0" y="83"/>
                  </a:cubicBezTo>
                  <a:cubicBezTo>
                    <a:pt x="0" y="306"/>
                    <a:pt x="0" y="306"/>
                    <a:pt x="0" y="306"/>
                  </a:cubicBezTo>
                  <a:cubicBezTo>
                    <a:pt x="0" y="324"/>
                    <a:pt x="16" y="340"/>
                    <a:pt x="34" y="340"/>
                  </a:cubicBezTo>
                  <a:cubicBezTo>
                    <a:pt x="269" y="340"/>
                    <a:pt x="269" y="340"/>
                    <a:pt x="269" y="340"/>
                  </a:cubicBezTo>
                  <a:moveTo>
                    <a:pt x="150" y="23"/>
                  </a:moveTo>
                  <a:cubicBezTo>
                    <a:pt x="150" y="23"/>
                    <a:pt x="152" y="18"/>
                    <a:pt x="161" y="18"/>
                  </a:cubicBezTo>
                  <a:cubicBezTo>
                    <a:pt x="234" y="18"/>
                    <a:pt x="234" y="18"/>
                    <a:pt x="234" y="18"/>
                  </a:cubicBezTo>
                  <a:cubicBezTo>
                    <a:pt x="243" y="18"/>
                    <a:pt x="245" y="23"/>
                    <a:pt x="245" y="23"/>
                  </a:cubicBezTo>
                  <a:cubicBezTo>
                    <a:pt x="260" y="49"/>
                    <a:pt x="260" y="49"/>
                    <a:pt x="260" y="49"/>
                  </a:cubicBezTo>
                  <a:cubicBezTo>
                    <a:pt x="135" y="49"/>
                    <a:pt x="135" y="49"/>
                    <a:pt x="135" y="49"/>
                  </a:cubicBezTo>
                  <a:lnTo>
                    <a:pt x="150" y="23"/>
                  </a:lnTo>
                  <a:close/>
                </a:path>
              </a:pathLst>
            </a:custGeom>
            <a:noFill/>
            <a:ln w="9525" cap="flat">
              <a:solidFill>
                <a:schemeClr val="bg1">
                  <a:lumMod val="50000"/>
                </a:schemeClr>
              </a:solidFill>
              <a:prstDash val="solid"/>
              <a:miter lim="800000"/>
              <a:headEnd/>
              <a:tailEnd/>
            </a:ln>
          </p:spPr>
          <p:txBody>
            <a:bodyPr/>
            <a:lstStyle/>
            <a:p>
              <a:endParaRPr lang="en-GB" dirty="0"/>
            </a:p>
          </p:txBody>
        </p:sp>
        <p:sp>
          <p:nvSpPr>
            <p:cNvPr id="168" name="Freeform 15"/>
            <p:cNvSpPr>
              <a:spLocks/>
            </p:cNvSpPr>
            <p:nvPr/>
          </p:nvSpPr>
          <p:spPr bwMode="auto">
            <a:xfrm>
              <a:off x="5794375" y="779463"/>
              <a:ext cx="527050" cy="527050"/>
            </a:xfrm>
            <a:custGeom>
              <a:avLst/>
              <a:gdLst>
                <a:gd name="T0" fmla="*/ 836691875 w 332"/>
                <a:gd name="T1" fmla="*/ 282257500 h 332"/>
                <a:gd name="T2" fmla="*/ 554434375 w 332"/>
                <a:gd name="T3" fmla="*/ 282257500 h 332"/>
                <a:gd name="T4" fmla="*/ 554434375 w 332"/>
                <a:gd name="T5" fmla="*/ 0 h 332"/>
                <a:gd name="T6" fmla="*/ 279736550 w 332"/>
                <a:gd name="T7" fmla="*/ 0 h 332"/>
                <a:gd name="T8" fmla="*/ 279736550 w 332"/>
                <a:gd name="T9" fmla="*/ 282257500 h 332"/>
                <a:gd name="T10" fmla="*/ 0 w 332"/>
                <a:gd name="T11" fmla="*/ 282257500 h 332"/>
                <a:gd name="T12" fmla="*/ 0 w 332"/>
                <a:gd name="T13" fmla="*/ 551913425 h 332"/>
                <a:gd name="T14" fmla="*/ 279736550 w 332"/>
                <a:gd name="T15" fmla="*/ 551913425 h 332"/>
                <a:gd name="T16" fmla="*/ 279736550 w 332"/>
                <a:gd name="T17" fmla="*/ 836691875 h 332"/>
                <a:gd name="T18" fmla="*/ 554434375 w 332"/>
                <a:gd name="T19" fmla="*/ 836691875 h 332"/>
                <a:gd name="T20" fmla="*/ 554434375 w 332"/>
                <a:gd name="T21" fmla="*/ 551913425 h 332"/>
                <a:gd name="T22" fmla="*/ 836691875 w 332"/>
                <a:gd name="T23" fmla="*/ 551913425 h 332"/>
                <a:gd name="T24" fmla="*/ 836691875 w 332"/>
                <a:gd name="T25" fmla="*/ 282257500 h 3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2"/>
                <a:gd name="T40" fmla="*/ 0 h 332"/>
                <a:gd name="T41" fmla="*/ 332 w 332"/>
                <a:gd name="T42" fmla="*/ 332 h 3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2" h="332">
                  <a:moveTo>
                    <a:pt x="332" y="112"/>
                  </a:moveTo>
                  <a:lnTo>
                    <a:pt x="220" y="112"/>
                  </a:lnTo>
                  <a:lnTo>
                    <a:pt x="220" y="0"/>
                  </a:lnTo>
                  <a:lnTo>
                    <a:pt x="111" y="0"/>
                  </a:lnTo>
                  <a:lnTo>
                    <a:pt x="111" y="112"/>
                  </a:lnTo>
                  <a:lnTo>
                    <a:pt x="0" y="112"/>
                  </a:lnTo>
                  <a:lnTo>
                    <a:pt x="0" y="219"/>
                  </a:lnTo>
                  <a:lnTo>
                    <a:pt x="111" y="219"/>
                  </a:lnTo>
                  <a:lnTo>
                    <a:pt x="111" y="332"/>
                  </a:lnTo>
                  <a:lnTo>
                    <a:pt x="220" y="332"/>
                  </a:lnTo>
                  <a:lnTo>
                    <a:pt x="220" y="219"/>
                  </a:lnTo>
                  <a:lnTo>
                    <a:pt x="332" y="219"/>
                  </a:lnTo>
                  <a:lnTo>
                    <a:pt x="332" y="112"/>
                  </a:lnTo>
                  <a:close/>
                </a:path>
              </a:pathLst>
            </a:custGeom>
            <a:noFill/>
            <a:ln w="9525" cap="flat">
              <a:solidFill>
                <a:schemeClr val="bg1">
                  <a:lumMod val="50000"/>
                </a:schemeClr>
              </a:solidFill>
              <a:prstDash val="solid"/>
              <a:miter lim="800000"/>
              <a:headEnd/>
              <a:tailEnd/>
            </a:ln>
          </p:spPr>
          <p:txBody>
            <a:bodyPr/>
            <a:lstStyle/>
            <a:p>
              <a:endParaRPr lang="en-GB" dirty="0"/>
            </a:p>
          </p:txBody>
        </p:sp>
      </p:grpSp>
      <p:grpSp>
        <p:nvGrpSpPr>
          <p:cNvPr id="169" name="Groupe 579"/>
          <p:cNvGrpSpPr/>
          <p:nvPr/>
        </p:nvGrpSpPr>
        <p:grpSpPr>
          <a:xfrm>
            <a:off x="2296005" y="5603104"/>
            <a:ext cx="370420" cy="375760"/>
            <a:chOff x="404814" y="3136901"/>
            <a:chExt cx="330200" cy="334962"/>
          </a:xfrm>
        </p:grpSpPr>
        <p:sp>
          <p:nvSpPr>
            <p:cNvPr id="170" name="Freeform 203"/>
            <p:cNvSpPr>
              <a:spLocks/>
            </p:cNvSpPr>
            <p:nvPr/>
          </p:nvSpPr>
          <p:spPr bwMode="auto">
            <a:xfrm>
              <a:off x="404814" y="3197226"/>
              <a:ext cx="247650" cy="233363"/>
            </a:xfrm>
            <a:custGeom>
              <a:avLst/>
              <a:gdLst/>
              <a:ahLst/>
              <a:cxnLst>
                <a:cxn ang="0">
                  <a:pos x="108" y="101"/>
                </a:cxn>
                <a:cxn ang="0">
                  <a:pos x="0" y="101"/>
                </a:cxn>
                <a:cxn ang="0">
                  <a:pos x="0" y="30"/>
                </a:cxn>
                <a:cxn ang="0">
                  <a:pos x="156" y="0"/>
                </a:cxn>
                <a:cxn ang="0">
                  <a:pos x="125" y="147"/>
                </a:cxn>
                <a:cxn ang="0">
                  <a:pos x="14" y="147"/>
                </a:cxn>
              </a:cxnLst>
              <a:rect l="0" t="0" r="r" b="b"/>
              <a:pathLst>
                <a:path w="156" h="147">
                  <a:moveTo>
                    <a:pt x="108" y="101"/>
                  </a:moveTo>
                  <a:lnTo>
                    <a:pt x="0" y="101"/>
                  </a:lnTo>
                  <a:lnTo>
                    <a:pt x="0" y="30"/>
                  </a:lnTo>
                  <a:lnTo>
                    <a:pt x="156" y="0"/>
                  </a:lnTo>
                  <a:lnTo>
                    <a:pt x="125" y="147"/>
                  </a:lnTo>
                  <a:lnTo>
                    <a:pt x="14" y="147"/>
                  </a:ln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71" name="Freeform 204"/>
            <p:cNvSpPr>
              <a:spLocks/>
            </p:cNvSpPr>
            <p:nvPr/>
          </p:nvSpPr>
          <p:spPr bwMode="auto">
            <a:xfrm>
              <a:off x="652464" y="3136901"/>
              <a:ext cx="82550" cy="60325"/>
            </a:xfrm>
            <a:custGeom>
              <a:avLst/>
              <a:gdLst/>
              <a:ahLst/>
              <a:cxnLst>
                <a:cxn ang="0">
                  <a:pos x="0" y="38"/>
                </a:cxn>
                <a:cxn ang="0">
                  <a:pos x="9" y="5"/>
                </a:cxn>
                <a:cxn ang="0">
                  <a:pos x="52" y="0"/>
                </a:cxn>
              </a:cxnLst>
              <a:rect l="0" t="0" r="r" b="b"/>
              <a:pathLst>
                <a:path w="52" h="38">
                  <a:moveTo>
                    <a:pt x="0" y="38"/>
                  </a:moveTo>
                  <a:lnTo>
                    <a:pt x="9" y="5"/>
                  </a:lnTo>
                  <a:lnTo>
                    <a:pt x="52" y="0"/>
                  </a:ln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72" name="Freeform 206"/>
            <p:cNvSpPr>
              <a:spLocks/>
            </p:cNvSpPr>
            <p:nvPr/>
          </p:nvSpPr>
          <p:spPr bwMode="auto">
            <a:xfrm>
              <a:off x="404814" y="3430588"/>
              <a:ext cx="42863" cy="41275"/>
            </a:xfrm>
            <a:custGeom>
              <a:avLst/>
              <a:gdLst/>
              <a:ahLst/>
              <a:cxnLst>
                <a:cxn ang="0">
                  <a:pos x="22" y="10"/>
                </a:cxn>
                <a:cxn ang="0">
                  <a:pos x="19" y="18"/>
                </a:cxn>
                <a:cxn ang="0">
                  <a:pos x="11" y="21"/>
                </a:cxn>
                <a:cxn ang="0">
                  <a:pos x="4" y="18"/>
                </a:cxn>
                <a:cxn ang="0">
                  <a:pos x="0" y="10"/>
                </a:cxn>
                <a:cxn ang="0">
                  <a:pos x="4" y="3"/>
                </a:cxn>
                <a:cxn ang="0">
                  <a:pos x="11" y="0"/>
                </a:cxn>
              </a:cxnLst>
              <a:rect l="0" t="0" r="r" b="b"/>
              <a:pathLst>
                <a:path w="22" h="21">
                  <a:moveTo>
                    <a:pt x="22" y="10"/>
                  </a:moveTo>
                  <a:cubicBezTo>
                    <a:pt x="22" y="13"/>
                    <a:pt x="21" y="16"/>
                    <a:pt x="19" y="18"/>
                  </a:cubicBezTo>
                  <a:cubicBezTo>
                    <a:pt x="17" y="20"/>
                    <a:pt x="14" y="21"/>
                    <a:pt x="11" y="21"/>
                  </a:cubicBezTo>
                  <a:cubicBezTo>
                    <a:pt x="8" y="21"/>
                    <a:pt x="5" y="20"/>
                    <a:pt x="4" y="18"/>
                  </a:cubicBezTo>
                  <a:cubicBezTo>
                    <a:pt x="2" y="16"/>
                    <a:pt x="0" y="13"/>
                    <a:pt x="0" y="10"/>
                  </a:cubicBezTo>
                  <a:cubicBezTo>
                    <a:pt x="0" y="7"/>
                    <a:pt x="2" y="5"/>
                    <a:pt x="4" y="3"/>
                  </a:cubicBezTo>
                  <a:cubicBezTo>
                    <a:pt x="5" y="1"/>
                    <a:pt x="8" y="0"/>
                    <a:pt x="11" y="0"/>
                  </a:cubicBez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73" name="Freeform 207"/>
            <p:cNvSpPr>
              <a:spLocks/>
            </p:cNvSpPr>
            <p:nvPr/>
          </p:nvSpPr>
          <p:spPr bwMode="auto">
            <a:xfrm>
              <a:off x="584201" y="3430588"/>
              <a:ext cx="39688" cy="41275"/>
            </a:xfrm>
            <a:custGeom>
              <a:avLst/>
              <a:gdLst/>
              <a:ahLst/>
              <a:cxnLst>
                <a:cxn ang="0">
                  <a:pos x="0" y="10"/>
                </a:cxn>
                <a:cxn ang="0">
                  <a:pos x="3" y="18"/>
                </a:cxn>
                <a:cxn ang="0">
                  <a:pos x="10" y="21"/>
                </a:cxn>
                <a:cxn ang="0">
                  <a:pos x="18" y="18"/>
                </a:cxn>
                <a:cxn ang="0">
                  <a:pos x="21" y="10"/>
                </a:cxn>
                <a:cxn ang="0">
                  <a:pos x="18" y="3"/>
                </a:cxn>
                <a:cxn ang="0">
                  <a:pos x="10" y="0"/>
                </a:cxn>
              </a:cxnLst>
              <a:rect l="0" t="0" r="r" b="b"/>
              <a:pathLst>
                <a:path w="21" h="21">
                  <a:moveTo>
                    <a:pt x="0" y="10"/>
                  </a:moveTo>
                  <a:cubicBezTo>
                    <a:pt x="0" y="13"/>
                    <a:pt x="1" y="16"/>
                    <a:pt x="3" y="18"/>
                  </a:cubicBezTo>
                  <a:cubicBezTo>
                    <a:pt x="5" y="20"/>
                    <a:pt x="7" y="21"/>
                    <a:pt x="10" y="21"/>
                  </a:cubicBezTo>
                  <a:cubicBezTo>
                    <a:pt x="13" y="21"/>
                    <a:pt x="16" y="20"/>
                    <a:pt x="18" y="18"/>
                  </a:cubicBezTo>
                  <a:cubicBezTo>
                    <a:pt x="20" y="16"/>
                    <a:pt x="21" y="13"/>
                    <a:pt x="21" y="10"/>
                  </a:cubicBezTo>
                  <a:cubicBezTo>
                    <a:pt x="21" y="7"/>
                    <a:pt x="20" y="5"/>
                    <a:pt x="18" y="3"/>
                  </a:cubicBezTo>
                  <a:cubicBezTo>
                    <a:pt x="16" y="1"/>
                    <a:pt x="13" y="0"/>
                    <a:pt x="10" y="0"/>
                  </a:cubicBez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grpSp>
      <p:grpSp>
        <p:nvGrpSpPr>
          <p:cNvPr id="174" name="Groupe 565"/>
          <p:cNvGrpSpPr/>
          <p:nvPr/>
        </p:nvGrpSpPr>
        <p:grpSpPr>
          <a:xfrm>
            <a:off x="2955652" y="5560968"/>
            <a:ext cx="465088" cy="460032"/>
            <a:chOff x="2373314" y="950913"/>
            <a:chExt cx="292100" cy="288925"/>
          </a:xfrm>
        </p:grpSpPr>
        <p:sp>
          <p:nvSpPr>
            <p:cNvPr id="175" name="Freeform 119"/>
            <p:cNvSpPr>
              <a:spLocks/>
            </p:cNvSpPr>
            <p:nvPr/>
          </p:nvSpPr>
          <p:spPr bwMode="auto">
            <a:xfrm>
              <a:off x="2373314" y="950913"/>
              <a:ext cx="292100" cy="288925"/>
            </a:xfrm>
            <a:custGeom>
              <a:avLst/>
              <a:gdLst/>
              <a:ahLst/>
              <a:cxnLst>
                <a:cxn ang="0">
                  <a:pos x="113" y="69"/>
                </a:cxn>
                <a:cxn ang="0">
                  <a:pos x="118" y="68"/>
                </a:cxn>
                <a:cxn ang="0">
                  <a:pos x="136" y="75"/>
                </a:cxn>
                <a:cxn ang="0">
                  <a:pos x="133" y="56"/>
                </a:cxn>
                <a:cxn ang="0">
                  <a:pos x="151" y="50"/>
                </a:cxn>
                <a:cxn ang="0">
                  <a:pos x="137" y="38"/>
                </a:cxn>
                <a:cxn ang="0">
                  <a:pos x="147" y="22"/>
                </a:cxn>
                <a:cxn ang="0">
                  <a:pos x="128" y="21"/>
                </a:cxn>
                <a:cxn ang="0">
                  <a:pos x="126" y="3"/>
                </a:cxn>
                <a:cxn ang="0">
                  <a:pos x="111" y="14"/>
                </a:cxn>
                <a:cxn ang="0">
                  <a:pos x="97" y="1"/>
                </a:cxn>
                <a:cxn ang="0">
                  <a:pos x="93" y="20"/>
                </a:cxn>
                <a:cxn ang="0">
                  <a:pos x="74" y="19"/>
                </a:cxn>
                <a:cxn ang="0">
                  <a:pos x="83" y="36"/>
                </a:cxn>
                <a:cxn ang="0">
                  <a:pos x="68" y="47"/>
                </a:cxn>
                <a:cxn ang="0">
                  <a:pos x="85" y="54"/>
                </a:cxn>
                <a:cxn ang="0">
                  <a:pos x="80" y="72"/>
                </a:cxn>
                <a:cxn ang="0">
                  <a:pos x="99" y="75"/>
                </a:cxn>
                <a:cxn ang="0">
                  <a:pos x="89" y="90"/>
                </a:cxn>
                <a:cxn ang="0">
                  <a:pos x="104" y="101"/>
                </a:cxn>
                <a:cxn ang="0">
                  <a:pos x="87" y="110"/>
                </a:cxn>
                <a:cxn ang="0">
                  <a:pos x="95" y="126"/>
                </a:cxn>
                <a:cxn ang="0">
                  <a:pos x="76" y="126"/>
                </a:cxn>
                <a:cxn ang="0">
                  <a:pos x="74" y="144"/>
                </a:cxn>
                <a:cxn ang="0">
                  <a:pos x="58" y="134"/>
                </a:cxn>
                <a:cxn ang="0">
                  <a:pos x="47" y="149"/>
                </a:cxn>
                <a:cxn ang="0">
                  <a:pos x="39" y="132"/>
                </a:cxn>
                <a:cxn ang="0">
                  <a:pos x="22" y="140"/>
                </a:cxn>
                <a:cxn ang="0">
                  <a:pos x="23" y="121"/>
                </a:cxn>
                <a:cxn ang="0">
                  <a:pos x="5" y="119"/>
                </a:cxn>
                <a:cxn ang="0">
                  <a:pos x="15" y="104"/>
                </a:cxn>
                <a:cxn ang="0">
                  <a:pos x="0" y="93"/>
                </a:cxn>
                <a:cxn ang="0">
                  <a:pos x="16" y="84"/>
                </a:cxn>
                <a:cxn ang="0">
                  <a:pos x="9" y="67"/>
                </a:cxn>
                <a:cxn ang="0">
                  <a:pos x="27" y="68"/>
                </a:cxn>
                <a:cxn ang="0">
                  <a:pos x="29" y="50"/>
                </a:cxn>
                <a:cxn ang="0">
                  <a:pos x="45" y="60"/>
                </a:cxn>
                <a:cxn ang="0">
                  <a:pos x="56" y="45"/>
                </a:cxn>
                <a:cxn ang="0">
                  <a:pos x="64" y="61"/>
                </a:cxn>
              </a:cxnLst>
              <a:rect l="0" t="0" r="r" b="b"/>
              <a:pathLst>
                <a:path w="151" h="149">
                  <a:moveTo>
                    <a:pt x="108" y="84"/>
                  </a:moveTo>
                  <a:cubicBezTo>
                    <a:pt x="113" y="69"/>
                    <a:pt x="113" y="69"/>
                    <a:pt x="113" y="69"/>
                  </a:cubicBezTo>
                  <a:cubicBezTo>
                    <a:pt x="114" y="69"/>
                    <a:pt x="115" y="69"/>
                    <a:pt x="116" y="68"/>
                  </a:cubicBezTo>
                  <a:cubicBezTo>
                    <a:pt x="116" y="68"/>
                    <a:pt x="117" y="68"/>
                    <a:pt x="118" y="68"/>
                  </a:cubicBezTo>
                  <a:cubicBezTo>
                    <a:pt x="129" y="79"/>
                    <a:pt x="129" y="79"/>
                    <a:pt x="129" y="79"/>
                  </a:cubicBezTo>
                  <a:cubicBezTo>
                    <a:pt x="136" y="75"/>
                    <a:pt x="136" y="75"/>
                    <a:pt x="136" y="75"/>
                  </a:cubicBezTo>
                  <a:cubicBezTo>
                    <a:pt x="130" y="60"/>
                    <a:pt x="130" y="60"/>
                    <a:pt x="130" y="60"/>
                  </a:cubicBezTo>
                  <a:cubicBezTo>
                    <a:pt x="131" y="59"/>
                    <a:pt x="132" y="58"/>
                    <a:pt x="133" y="56"/>
                  </a:cubicBezTo>
                  <a:cubicBezTo>
                    <a:pt x="148" y="58"/>
                    <a:pt x="148" y="58"/>
                    <a:pt x="148" y="58"/>
                  </a:cubicBezTo>
                  <a:cubicBezTo>
                    <a:pt x="151" y="50"/>
                    <a:pt x="151" y="50"/>
                    <a:pt x="151" y="50"/>
                  </a:cubicBezTo>
                  <a:cubicBezTo>
                    <a:pt x="137" y="43"/>
                    <a:pt x="137" y="43"/>
                    <a:pt x="137" y="43"/>
                  </a:cubicBezTo>
                  <a:cubicBezTo>
                    <a:pt x="137" y="41"/>
                    <a:pt x="137" y="40"/>
                    <a:pt x="137" y="38"/>
                  </a:cubicBezTo>
                  <a:cubicBezTo>
                    <a:pt x="150" y="30"/>
                    <a:pt x="150" y="30"/>
                    <a:pt x="150" y="30"/>
                  </a:cubicBezTo>
                  <a:cubicBezTo>
                    <a:pt x="147" y="22"/>
                    <a:pt x="147" y="22"/>
                    <a:pt x="147" y="22"/>
                  </a:cubicBezTo>
                  <a:cubicBezTo>
                    <a:pt x="132" y="25"/>
                    <a:pt x="132" y="25"/>
                    <a:pt x="132" y="25"/>
                  </a:cubicBezTo>
                  <a:cubicBezTo>
                    <a:pt x="131" y="24"/>
                    <a:pt x="130" y="23"/>
                    <a:pt x="128" y="21"/>
                  </a:cubicBezTo>
                  <a:cubicBezTo>
                    <a:pt x="133" y="6"/>
                    <a:pt x="133" y="6"/>
                    <a:pt x="133" y="6"/>
                  </a:cubicBezTo>
                  <a:cubicBezTo>
                    <a:pt x="126" y="3"/>
                    <a:pt x="126" y="3"/>
                    <a:pt x="126" y="3"/>
                  </a:cubicBezTo>
                  <a:cubicBezTo>
                    <a:pt x="116" y="15"/>
                    <a:pt x="116" y="15"/>
                    <a:pt x="116" y="15"/>
                  </a:cubicBezTo>
                  <a:cubicBezTo>
                    <a:pt x="114" y="14"/>
                    <a:pt x="113" y="14"/>
                    <a:pt x="111" y="14"/>
                  </a:cubicBezTo>
                  <a:cubicBezTo>
                    <a:pt x="105" y="0"/>
                    <a:pt x="105" y="0"/>
                    <a:pt x="105" y="0"/>
                  </a:cubicBezTo>
                  <a:cubicBezTo>
                    <a:pt x="97" y="1"/>
                    <a:pt x="97" y="1"/>
                    <a:pt x="97" y="1"/>
                  </a:cubicBezTo>
                  <a:cubicBezTo>
                    <a:pt x="97" y="17"/>
                    <a:pt x="97" y="17"/>
                    <a:pt x="97" y="17"/>
                  </a:cubicBezTo>
                  <a:cubicBezTo>
                    <a:pt x="96" y="18"/>
                    <a:pt x="94" y="19"/>
                    <a:pt x="93" y="20"/>
                  </a:cubicBezTo>
                  <a:cubicBezTo>
                    <a:pt x="79" y="13"/>
                    <a:pt x="79" y="13"/>
                    <a:pt x="79" y="13"/>
                  </a:cubicBezTo>
                  <a:cubicBezTo>
                    <a:pt x="74" y="19"/>
                    <a:pt x="74" y="19"/>
                    <a:pt x="74" y="19"/>
                  </a:cubicBezTo>
                  <a:cubicBezTo>
                    <a:pt x="85" y="31"/>
                    <a:pt x="85" y="31"/>
                    <a:pt x="85" y="31"/>
                  </a:cubicBezTo>
                  <a:cubicBezTo>
                    <a:pt x="84" y="32"/>
                    <a:pt x="83" y="34"/>
                    <a:pt x="83" y="36"/>
                  </a:cubicBezTo>
                  <a:cubicBezTo>
                    <a:pt x="68" y="39"/>
                    <a:pt x="68" y="39"/>
                    <a:pt x="68" y="39"/>
                  </a:cubicBezTo>
                  <a:cubicBezTo>
                    <a:pt x="68" y="47"/>
                    <a:pt x="68" y="47"/>
                    <a:pt x="68" y="47"/>
                  </a:cubicBezTo>
                  <a:cubicBezTo>
                    <a:pt x="84" y="49"/>
                    <a:pt x="84" y="49"/>
                    <a:pt x="84" y="49"/>
                  </a:cubicBezTo>
                  <a:cubicBezTo>
                    <a:pt x="84" y="51"/>
                    <a:pt x="85" y="53"/>
                    <a:pt x="85" y="54"/>
                  </a:cubicBezTo>
                  <a:cubicBezTo>
                    <a:pt x="77" y="67"/>
                    <a:pt x="77" y="67"/>
                    <a:pt x="77" y="67"/>
                  </a:cubicBezTo>
                  <a:cubicBezTo>
                    <a:pt x="80" y="72"/>
                    <a:pt x="80" y="72"/>
                    <a:pt x="80" y="72"/>
                  </a:cubicBezTo>
                  <a:cubicBezTo>
                    <a:pt x="95" y="67"/>
                    <a:pt x="95" y="67"/>
                    <a:pt x="95" y="67"/>
                  </a:cubicBezTo>
                  <a:cubicBezTo>
                    <a:pt x="99" y="75"/>
                    <a:pt x="99" y="75"/>
                    <a:pt x="99" y="75"/>
                  </a:cubicBezTo>
                  <a:cubicBezTo>
                    <a:pt x="87" y="84"/>
                    <a:pt x="87" y="84"/>
                    <a:pt x="87" y="84"/>
                  </a:cubicBezTo>
                  <a:cubicBezTo>
                    <a:pt x="88" y="86"/>
                    <a:pt x="88" y="88"/>
                    <a:pt x="89" y="90"/>
                  </a:cubicBezTo>
                  <a:cubicBezTo>
                    <a:pt x="104" y="93"/>
                    <a:pt x="104" y="93"/>
                    <a:pt x="104" y="93"/>
                  </a:cubicBezTo>
                  <a:cubicBezTo>
                    <a:pt x="104" y="101"/>
                    <a:pt x="104" y="101"/>
                    <a:pt x="104" y="101"/>
                  </a:cubicBezTo>
                  <a:cubicBezTo>
                    <a:pt x="89" y="104"/>
                    <a:pt x="89" y="104"/>
                    <a:pt x="89" y="104"/>
                  </a:cubicBezTo>
                  <a:cubicBezTo>
                    <a:pt x="88" y="106"/>
                    <a:pt x="88" y="108"/>
                    <a:pt x="87" y="110"/>
                  </a:cubicBezTo>
                  <a:cubicBezTo>
                    <a:pt x="99" y="119"/>
                    <a:pt x="99" y="119"/>
                    <a:pt x="99" y="119"/>
                  </a:cubicBezTo>
                  <a:cubicBezTo>
                    <a:pt x="95" y="126"/>
                    <a:pt x="95" y="126"/>
                    <a:pt x="95" y="126"/>
                  </a:cubicBezTo>
                  <a:cubicBezTo>
                    <a:pt x="80" y="121"/>
                    <a:pt x="80" y="121"/>
                    <a:pt x="80" y="121"/>
                  </a:cubicBezTo>
                  <a:cubicBezTo>
                    <a:pt x="79" y="123"/>
                    <a:pt x="78" y="124"/>
                    <a:pt x="76" y="126"/>
                  </a:cubicBezTo>
                  <a:cubicBezTo>
                    <a:pt x="81" y="140"/>
                    <a:pt x="81" y="140"/>
                    <a:pt x="81" y="140"/>
                  </a:cubicBezTo>
                  <a:cubicBezTo>
                    <a:pt x="74" y="144"/>
                    <a:pt x="74" y="144"/>
                    <a:pt x="74" y="144"/>
                  </a:cubicBezTo>
                  <a:cubicBezTo>
                    <a:pt x="64" y="132"/>
                    <a:pt x="64" y="132"/>
                    <a:pt x="64" y="132"/>
                  </a:cubicBezTo>
                  <a:cubicBezTo>
                    <a:pt x="62" y="133"/>
                    <a:pt x="60" y="134"/>
                    <a:pt x="58" y="134"/>
                  </a:cubicBezTo>
                  <a:cubicBezTo>
                    <a:pt x="56" y="149"/>
                    <a:pt x="56" y="149"/>
                    <a:pt x="56" y="149"/>
                  </a:cubicBezTo>
                  <a:cubicBezTo>
                    <a:pt x="47" y="149"/>
                    <a:pt x="47" y="149"/>
                    <a:pt x="47" y="149"/>
                  </a:cubicBezTo>
                  <a:cubicBezTo>
                    <a:pt x="45" y="134"/>
                    <a:pt x="45" y="134"/>
                    <a:pt x="45" y="134"/>
                  </a:cubicBezTo>
                  <a:cubicBezTo>
                    <a:pt x="43" y="134"/>
                    <a:pt x="41" y="133"/>
                    <a:pt x="39" y="132"/>
                  </a:cubicBezTo>
                  <a:cubicBezTo>
                    <a:pt x="29" y="144"/>
                    <a:pt x="29" y="144"/>
                    <a:pt x="29" y="144"/>
                  </a:cubicBezTo>
                  <a:cubicBezTo>
                    <a:pt x="22" y="140"/>
                    <a:pt x="22" y="140"/>
                    <a:pt x="22" y="140"/>
                  </a:cubicBezTo>
                  <a:cubicBezTo>
                    <a:pt x="27" y="126"/>
                    <a:pt x="27" y="126"/>
                    <a:pt x="27" y="126"/>
                  </a:cubicBezTo>
                  <a:cubicBezTo>
                    <a:pt x="26" y="124"/>
                    <a:pt x="24" y="123"/>
                    <a:pt x="23" y="121"/>
                  </a:cubicBezTo>
                  <a:cubicBezTo>
                    <a:pt x="9" y="126"/>
                    <a:pt x="9" y="126"/>
                    <a:pt x="9" y="126"/>
                  </a:cubicBezTo>
                  <a:cubicBezTo>
                    <a:pt x="5" y="119"/>
                    <a:pt x="5" y="119"/>
                    <a:pt x="5" y="119"/>
                  </a:cubicBezTo>
                  <a:cubicBezTo>
                    <a:pt x="16" y="110"/>
                    <a:pt x="16" y="110"/>
                    <a:pt x="16" y="110"/>
                  </a:cubicBezTo>
                  <a:cubicBezTo>
                    <a:pt x="15" y="108"/>
                    <a:pt x="15" y="106"/>
                    <a:pt x="15" y="104"/>
                  </a:cubicBezTo>
                  <a:cubicBezTo>
                    <a:pt x="0" y="101"/>
                    <a:pt x="0" y="101"/>
                    <a:pt x="0" y="101"/>
                  </a:cubicBezTo>
                  <a:cubicBezTo>
                    <a:pt x="0" y="93"/>
                    <a:pt x="0" y="93"/>
                    <a:pt x="0" y="93"/>
                  </a:cubicBezTo>
                  <a:cubicBezTo>
                    <a:pt x="15" y="90"/>
                    <a:pt x="15" y="90"/>
                    <a:pt x="15" y="90"/>
                  </a:cubicBezTo>
                  <a:cubicBezTo>
                    <a:pt x="15" y="88"/>
                    <a:pt x="15" y="86"/>
                    <a:pt x="16" y="84"/>
                  </a:cubicBezTo>
                  <a:cubicBezTo>
                    <a:pt x="5" y="75"/>
                    <a:pt x="5" y="75"/>
                    <a:pt x="5" y="75"/>
                  </a:cubicBezTo>
                  <a:cubicBezTo>
                    <a:pt x="9" y="67"/>
                    <a:pt x="9" y="67"/>
                    <a:pt x="9" y="67"/>
                  </a:cubicBezTo>
                  <a:cubicBezTo>
                    <a:pt x="23" y="72"/>
                    <a:pt x="23" y="72"/>
                    <a:pt x="23" y="72"/>
                  </a:cubicBezTo>
                  <a:cubicBezTo>
                    <a:pt x="24" y="71"/>
                    <a:pt x="26" y="69"/>
                    <a:pt x="27" y="68"/>
                  </a:cubicBezTo>
                  <a:cubicBezTo>
                    <a:pt x="22" y="54"/>
                    <a:pt x="22" y="54"/>
                    <a:pt x="22" y="54"/>
                  </a:cubicBezTo>
                  <a:cubicBezTo>
                    <a:pt x="29" y="50"/>
                    <a:pt x="29" y="50"/>
                    <a:pt x="29" y="50"/>
                  </a:cubicBezTo>
                  <a:cubicBezTo>
                    <a:pt x="39" y="61"/>
                    <a:pt x="39" y="61"/>
                    <a:pt x="39" y="61"/>
                  </a:cubicBezTo>
                  <a:cubicBezTo>
                    <a:pt x="41" y="61"/>
                    <a:pt x="43" y="60"/>
                    <a:pt x="45" y="60"/>
                  </a:cubicBezTo>
                  <a:cubicBezTo>
                    <a:pt x="47" y="45"/>
                    <a:pt x="47" y="45"/>
                    <a:pt x="47" y="45"/>
                  </a:cubicBezTo>
                  <a:cubicBezTo>
                    <a:pt x="56" y="45"/>
                    <a:pt x="56" y="45"/>
                    <a:pt x="56" y="45"/>
                  </a:cubicBezTo>
                  <a:cubicBezTo>
                    <a:pt x="58" y="60"/>
                    <a:pt x="58" y="60"/>
                    <a:pt x="58" y="60"/>
                  </a:cubicBezTo>
                  <a:cubicBezTo>
                    <a:pt x="60" y="60"/>
                    <a:pt x="62" y="61"/>
                    <a:pt x="64" y="61"/>
                  </a:cubicBez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76" name="Oval 120"/>
            <p:cNvSpPr>
              <a:spLocks noChangeArrowheads="1"/>
            </p:cNvSpPr>
            <p:nvPr/>
          </p:nvSpPr>
          <p:spPr bwMode="auto">
            <a:xfrm>
              <a:off x="2444751" y="1109663"/>
              <a:ext cx="57150" cy="58738"/>
            </a:xfrm>
            <a:prstGeom prst="ellipse">
              <a:avLst/>
            </a:pr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77" name="Oval 121"/>
            <p:cNvSpPr>
              <a:spLocks noChangeArrowheads="1"/>
            </p:cNvSpPr>
            <p:nvPr/>
          </p:nvSpPr>
          <p:spPr bwMode="auto">
            <a:xfrm>
              <a:off x="2559051" y="1004888"/>
              <a:ext cx="52388" cy="52388"/>
            </a:xfrm>
            <a:prstGeom prst="ellipse">
              <a:avLst/>
            </a:pr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grpSp>
      <p:sp>
        <p:nvSpPr>
          <p:cNvPr id="178" name="Freeform 281"/>
          <p:cNvSpPr>
            <a:spLocks/>
          </p:cNvSpPr>
          <p:nvPr/>
        </p:nvSpPr>
        <p:spPr bwMode="auto">
          <a:xfrm>
            <a:off x="3709897" y="5632422"/>
            <a:ext cx="369378" cy="292646"/>
          </a:xfrm>
          <a:custGeom>
            <a:avLst/>
            <a:gdLst/>
            <a:ahLst/>
            <a:cxnLst>
              <a:cxn ang="0">
                <a:pos x="166" y="164"/>
              </a:cxn>
              <a:cxn ang="0">
                <a:pos x="0" y="164"/>
              </a:cxn>
              <a:cxn ang="0">
                <a:pos x="0" y="25"/>
              </a:cxn>
              <a:cxn ang="0">
                <a:pos x="55" y="79"/>
              </a:cxn>
              <a:cxn ang="0">
                <a:pos x="55" y="25"/>
              </a:cxn>
              <a:cxn ang="0">
                <a:pos x="111" y="79"/>
              </a:cxn>
              <a:cxn ang="0">
                <a:pos x="111" y="25"/>
              </a:cxn>
              <a:cxn ang="0">
                <a:pos x="163" y="79"/>
              </a:cxn>
              <a:cxn ang="0">
                <a:pos x="182" y="0"/>
              </a:cxn>
              <a:cxn ang="0">
                <a:pos x="207" y="0"/>
              </a:cxn>
              <a:cxn ang="0">
                <a:pos x="207" y="164"/>
              </a:cxn>
            </a:cxnLst>
            <a:rect l="0" t="0" r="r" b="b"/>
            <a:pathLst>
              <a:path w="207" h="164">
                <a:moveTo>
                  <a:pt x="166" y="164"/>
                </a:moveTo>
                <a:lnTo>
                  <a:pt x="0" y="164"/>
                </a:lnTo>
                <a:lnTo>
                  <a:pt x="0" y="25"/>
                </a:lnTo>
                <a:lnTo>
                  <a:pt x="55" y="79"/>
                </a:lnTo>
                <a:lnTo>
                  <a:pt x="55" y="25"/>
                </a:lnTo>
                <a:lnTo>
                  <a:pt x="111" y="79"/>
                </a:lnTo>
                <a:lnTo>
                  <a:pt x="111" y="25"/>
                </a:lnTo>
                <a:lnTo>
                  <a:pt x="163" y="79"/>
                </a:lnTo>
                <a:lnTo>
                  <a:pt x="182" y="0"/>
                </a:lnTo>
                <a:lnTo>
                  <a:pt x="207" y="0"/>
                </a:lnTo>
                <a:lnTo>
                  <a:pt x="207" y="164"/>
                </a:ln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grpSp>
        <p:nvGrpSpPr>
          <p:cNvPr id="179" name="Groupe 462"/>
          <p:cNvGrpSpPr/>
          <p:nvPr/>
        </p:nvGrpSpPr>
        <p:grpSpPr>
          <a:xfrm>
            <a:off x="4354793" y="5615708"/>
            <a:ext cx="264184" cy="350552"/>
            <a:chOff x="438151" y="685798"/>
            <a:chExt cx="247650" cy="328613"/>
          </a:xfrm>
        </p:grpSpPr>
        <p:sp>
          <p:nvSpPr>
            <p:cNvPr id="180" name="Freeform 254"/>
            <p:cNvSpPr>
              <a:spLocks/>
            </p:cNvSpPr>
            <p:nvPr/>
          </p:nvSpPr>
          <p:spPr bwMode="auto">
            <a:xfrm>
              <a:off x="517526" y="814386"/>
              <a:ext cx="88900" cy="157163"/>
            </a:xfrm>
            <a:custGeom>
              <a:avLst/>
              <a:gdLst/>
              <a:ahLst/>
              <a:cxnLst>
                <a:cxn ang="0">
                  <a:pos x="19" y="47"/>
                </a:cxn>
                <a:cxn ang="0">
                  <a:pos x="28" y="53"/>
                </a:cxn>
                <a:cxn ang="0">
                  <a:pos x="20" y="58"/>
                </a:cxn>
                <a:cxn ang="0">
                  <a:pos x="6" y="54"/>
                </a:cxn>
                <a:cxn ang="0">
                  <a:pos x="5" y="54"/>
                </a:cxn>
                <a:cxn ang="0">
                  <a:pos x="3" y="56"/>
                </a:cxn>
                <a:cxn ang="0">
                  <a:pos x="0" y="66"/>
                </a:cxn>
                <a:cxn ang="0">
                  <a:pos x="2" y="69"/>
                </a:cxn>
                <a:cxn ang="0">
                  <a:pos x="17" y="72"/>
                </a:cxn>
                <a:cxn ang="0">
                  <a:pos x="17" y="79"/>
                </a:cxn>
                <a:cxn ang="0">
                  <a:pos x="19" y="81"/>
                </a:cxn>
                <a:cxn ang="0">
                  <a:pos x="27" y="81"/>
                </a:cxn>
                <a:cxn ang="0">
                  <a:pos x="30" y="79"/>
                </a:cxn>
                <a:cxn ang="0">
                  <a:pos x="29" y="71"/>
                </a:cxn>
                <a:cxn ang="0">
                  <a:pos x="46" y="52"/>
                </a:cxn>
                <a:cxn ang="0">
                  <a:pos x="28" y="32"/>
                </a:cxn>
                <a:cxn ang="0">
                  <a:pos x="18" y="26"/>
                </a:cxn>
                <a:cxn ang="0">
                  <a:pos x="24" y="22"/>
                </a:cxn>
                <a:cxn ang="0">
                  <a:pos x="37" y="25"/>
                </a:cxn>
                <a:cxn ang="0">
                  <a:pos x="38" y="25"/>
                </a:cxn>
                <a:cxn ang="0">
                  <a:pos x="40" y="23"/>
                </a:cxn>
                <a:cxn ang="0">
                  <a:pos x="42" y="14"/>
                </a:cxn>
                <a:cxn ang="0">
                  <a:pos x="41" y="11"/>
                </a:cxn>
                <a:cxn ang="0">
                  <a:pos x="28" y="8"/>
                </a:cxn>
                <a:cxn ang="0">
                  <a:pos x="28" y="2"/>
                </a:cxn>
                <a:cxn ang="0">
                  <a:pos x="26" y="0"/>
                </a:cxn>
                <a:cxn ang="0">
                  <a:pos x="26" y="0"/>
                </a:cxn>
                <a:cxn ang="0">
                  <a:pos x="18" y="0"/>
                </a:cxn>
                <a:cxn ang="0">
                  <a:pos x="16" y="2"/>
                </a:cxn>
                <a:cxn ang="0">
                  <a:pos x="16" y="9"/>
                </a:cxn>
                <a:cxn ang="0">
                  <a:pos x="0" y="28"/>
                </a:cxn>
                <a:cxn ang="0">
                  <a:pos x="19" y="47"/>
                </a:cxn>
              </a:cxnLst>
              <a:rect l="0" t="0" r="r" b="b"/>
              <a:pathLst>
                <a:path w="46" h="81">
                  <a:moveTo>
                    <a:pt x="19" y="47"/>
                  </a:moveTo>
                  <a:cubicBezTo>
                    <a:pt x="26" y="49"/>
                    <a:pt x="28" y="51"/>
                    <a:pt x="28" y="53"/>
                  </a:cubicBezTo>
                  <a:cubicBezTo>
                    <a:pt x="28" y="56"/>
                    <a:pt x="24" y="58"/>
                    <a:pt x="20" y="58"/>
                  </a:cubicBezTo>
                  <a:cubicBezTo>
                    <a:pt x="14" y="58"/>
                    <a:pt x="9" y="56"/>
                    <a:pt x="6" y="54"/>
                  </a:cubicBezTo>
                  <a:cubicBezTo>
                    <a:pt x="6" y="54"/>
                    <a:pt x="5" y="54"/>
                    <a:pt x="5" y="54"/>
                  </a:cubicBezTo>
                  <a:cubicBezTo>
                    <a:pt x="4" y="54"/>
                    <a:pt x="3" y="55"/>
                    <a:pt x="3" y="56"/>
                  </a:cubicBezTo>
                  <a:cubicBezTo>
                    <a:pt x="0" y="66"/>
                    <a:pt x="0" y="66"/>
                    <a:pt x="0" y="66"/>
                  </a:cubicBezTo>
                  <a:cubicBezTo>
                    <a:pt x="0" y="67"/>
                    <a:pt x="1" y="68"/>
                    <a:pt x="2" y="69"/>
                  </a:cubicBezTo>
                  <a:cubicBezTo>
                    <a:pt x="6" y="71"/>
                    <a:pt x="11" y="72"/>
                    <a:pt x="17" y="72"/>
                  </a:cubicBezTo>
                  <a:cubicBezTo>
                    <a:pt x="17" y="79"/>
                    <a:pt x="17" y="79"/>
                    <a:pt x="17" y="79"/>
                  </a:cubicBezTo>
                  <a:cubicBezTo>
                    <a:pt x="17" y="80"/>
                    <a:pt x="18" y="81"/>
                    <a:pt x="19" y="81"/>
                  </a:cubicBezTo>
                  <a:cubicBezTo>
                    <a:pt x="27" y="81"/>
                    <a:pt x="27" y="81"/>
                    <a:pt x="27" y="81"/>
                  </a:cubicBezTo>
                  <a:cubicBezTo>
                    <a:pt x="28" y="81"/>
                    <a:pt x="30" y="80"/>
                    <a:pt x="30" y="79"/>
                  </a:cubicBezTo>
                  <a:cubicBezTo>
                    <a:pt x="29" y="71"/>
                    <a:pt x="29" y="71"/>
                    <a:pt x="29" y="71"/>
                  </a:cubicBezTo>
                  <a:cubicBezTo>
                    <a:pt x="40" y="68"/>
                    <a:pt x="46" y="61"/>
                    <a:pt x="46" y="52"/>
                  </a:cubicBezTo>
                  <a:cubicBezTo>
                    <a:pt x="46" y="42"/>
                    <a:pt x="40" y="36"/>
                    <a:pt x="28" y="32"/>
                  </a:cubicBezTo>
                  <a:cubicBezTo>
                    <a:pt x="21" y="30"/>
                    <a:pt x="18" y="28"/>
                    <a:pt x="18" y="26"/>
                  </a:cubicBezTo>
                  <a:cubicBezTo>
                    <a:pt x="18" y="23"/>
                    <a:pt x="22" y="22"/>
                    <a:pt x="24" y="22"/>
                  </a:cubicBezTo>
                  <a:cubicBezTo>
                    <a:pt x="30" y="22"/>
                    <a:pt x="34" y="23"/>
                    <a:pt x="37" y="25"/>
                  </a:cubicBezTo>
                  <a:cubicBezTo>
                    <a:pt x="37" y="25"/>
                    <a:pt x="37" y="25"/>
                    <a:pt x="38" y="25"/>
                  </a:cubicBezTo>
                  <a:cubicBezTo>
                    <a:pt x="39" y="25"/>
                    <a:pt x="40" y="24"/>
                    <a:pt x="40" y="23"/>
                  </a:cubicBezTo>
                  <a:cubicBezTo>
                    <a:pt x="42" y="14"/>
                    <a:pt x="42" y="14"/>
                    <a:pt x="42" y="14"/>
                  </a:cubicBezTo>
                  <a:cubicBezTo>
                    <a:pt x="43" y="12"/>
                    <a:pt x="42" y="11"/>
                    <a:pt x="41" y="11"/>
                  </a:cubicBezTo>
                  <a:cubicBezTo>
                    <a:pt x="37" y="9"/>
                    <a:pt x="33" y="8"/>
                    <a:pt x="28" y="8"/>
                  </a:cubicBezTo>
                  <a:cubicBezTo>
                    <a:pt x="28" y="2"/>
                    <a:pt x="28" y="2"/>
                    <a:pt x="28" y="2"/>
                  </a:cubicBezTo>
                  <a:cubicBezTo>
                    <a:pt x="28" y="1"/>
                    <a:pt x="27" y="0"/>
                    <a:pt x="26" y="0"/>
                  </a:cubicBezTo>
                  <a:cubicBezTo>
                    <a:pt x="26" y="0"/>
                    <a:pt x="26" y="0"/>
                    <a:pt x="26" y="0"/>
                  </a:cubicBezTo>
                  <a:cubicBezTo>
                    <a:pt x="18" y="0"/>
                    <a:pt x="18" y="0"/>
                    <a:pt x="18" y="0"/>
                  </a:cubicBezTo>
                  <a:cubicBezTo>
                    <a:pt x="17" y="0"/>
                    <a:pt x="15" y="1"/>
                    <a:pt x="16" y="2"/>
                  </a:cubicBezTo>
                  <a:cubicBezTo>
                    <a:pt x="16" y="9"/>
                    <a:pt x="16" y="9"/>
                    <a:pt x="16" y="9"/>
                  </a:cubicBezTo>
                  <a:cubicBezTo>
                    <a:pt x="6" y="12"/>
                    <a:pt x="0" y="19"/>
                    <a:pt x="0" y="28"/>
                  </a:cubicBezTo>
                  <a:cubicBezTo>
                    <a:pt x="0" y="40"/>
                    <a:pt x="10" y="44"/>
                    <a:pt x="19" y="47"/>
                  </a:cubicBezTo>
                  <a:close/>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81" name="Freeform 255"/>
            <p:cNvSpPr>
              <a:spLocks/>
            </p:cNvSpPr>
            <p:nvPr/>
          </p:nvSpPr>
          <p:spPr bwMode="auto">
            <a:xfrm>
              <a:off x="438151" y="685798"/>
              <a:ext cx="247650" cy="328613"/>
            </a:xfrm>
            <a:custGeom>
              <a:avLst/>
              <a:gdLst/>
              <a:ahLst/>
              <a:cxnLst>
                <a:cxn ang="0">
                  <a:pos x="0" y="126"/>
                </a:cxn>
                <a:cxn ang="0">
                  <a:pos x="20" y="157"/>
                </a:cxn>
                <a:cxn ang="0">
                  <a:pos x="63" y="170"/>
                </a:cxn>
                <a:cxn ang="0">
                  <a:pos x="63" y="170"/>
                </a:cxn>
                <a:cxn ang="0">
                  <a:pos x="64" y="170"/>
                </a:cxn>
                <a:cxn ang="0">
                  <a:pos x="123" y="129"/>
                </a:cxn>
                <a:cxn ang="0">
                  <a:pos x="113" y="73"/>
                </a:cxn>
                <a:cxn ang="0">
                  <a:pos x="93" y="44"/>
                </a:cxn>
                <a:cxn ang="0">
                  <a:pos x="104" y="32"/>
                </a:cxn>
                <a:cxn ang="0">
                  <a:pos x="107" y="11"/>
                </a:cxn>
                <a:cxn ang="0">
                  <a:pos x="89" y="0"/>
                </a:cxn>
                <a:cxn ang="0">
                  <a:pos x="87" y="0"/>
                </a:cxn>
                <a:cxn ang="0">
                  <a:pos x="72" y="5"/>
                </a:cxn>
                <a:cxn ang="0">
                  <a:pos x="61" y="3"/>
                </a:cxn>
                <a:cxn ang="0">
                  <a:pos x="51" y="5"/>
                </a:cxn>
                <a:cxn ang="0">
                  <a:pos x="40" y="0"/>
                </a:cxn>
                <a:cxn ang="0">
                  <a:pos x="35" y="0"/>
                </a:cxn>
                <a:cxn ang="0">
                  <a:pos x="35" y="0"/>
                </a:cxn>
                <a:cxn ang="0">
                  <a:pos x="18" y="11"/>
                </a:cxn>
                <a:cxn ang="0">
                  <a:pos x="22" y="33"/>
                </a:cxn>
                <a:cxn ang="0">
                  <a:pos x="32" y="44"/>
                </a:cxn>
                <a:cxn ang="0">
                  <a:pos x="6" y="79"/>
                </a:cxn>
              </a:cxnLst>
              <a:rect l="0" t="0" r="r" b="b"/>
              <a:pathLst>
                <a:path w="128" h="170">
                  <a:moveTo>
                    <a:pt x="0" y="126"/>
                  </a:moveTo>
                  <a:cubicBezTo>
                    <a:pt x="3" y="139"/>
                    <a:pt x="10" y="150"/>
                    <a:pt x="20" y="157"/>
                  </a:cubicBezTo>
                  <a:cubicBezTo>
                    <a:pt x="31" y="165"/>
                    <a:pt x="45" y="169"/>
                    <a:pt x="63" y="170"/>
                  </a:cubicBezTo>
                  <a:cubicBezTo>
                    <a:pt x="63" y="170"/>
                    <a:pt x="63" y="170"/>
                    <a:pt x="63" y="170"/>
                  </a:cubicBezTo>
                  <a:cubicBezTo>
                    <a:pt x="64" y="170"/>
                    <a:pt x="64" y="170"/>
                    <a:pt x="64" y="170"/>
                  </a:cubicBezTo>
                  <a:cubicBezTo>
                    <a:pt x="107" y="168"/>
                    <a:pt x="119" y="143"/>
                    <a:pt x="123" y="129"/>
                  </a:cubicBezTo>
                  <a:cubicBezTo>
                    <a:pt x="128" y="107"/>
                    <a:pt x="119" y="85"/>
                    <a:pt x="113" y="73"/>
                  </a:cubicBezTo>
                  <a:cubicBezTo>
                    <a:pt x="107" y="62"/>
                    <a:pt x="100" y="52"/>
                    <a:pt x="93" y="44"/>
                  </a:cubicBezTo>
                  <a:cubicBezTo>
                    <a:pt x="104" y="32"/>
                    <a:pt x="104" y="32"/>
                    <a:pt x="104" y="32"/>
                  </a:cubicBezTo>
                  <a:cubicBezTo>
                    <a:pt x="109" y="27"/>
                    <a:pt x="110" y="18"/>
                    <a:pt x="107" y="11"/>
                  </a:cubicBezTo>
                  <a:cubicBezTo>
                    <a:pt x="104" y="4"/>
                    <a:pt x="97" y="0"/>
                    <a:pt x="89" y="0"/>
                  </a:cubicBezTo>
                  <a:cubicBezTo>
                    <a:pt x="89" y="0"/>
                    <a:pt x="88" y="0"/>
                    <a:pt x="87" y="0"/>
                  </a:cubicBezTo>
                  <a:cubicBezTo>
                    <a:pt x="82" y="0"/>
                    <a:pt x="76" y="2"/>
                    <a:pt x="72" y="5"/>
                  </a:cubicBezTo>
                  <a:cubicBezTo>
                    <a:pt x="69" y="4"/>
                    <a:pt x="65" y="3"/>
                    <a:pt x="61" y="3"/>
                  </a:cubicBezTo>
                  <a:cubicBezTo>
                    <a:pt x="57" y="3"/>
                    <a:pt x="54" y="4"/>
                    <a:pt x="51" y="5"/>
                  </a:cubicBezTo>
                  <a:cubicBezTo>
                    <a:pt x="47" y="3"/>
                    <a:pt x="43" y="1"/>
                    <a:pt x="40" y="0"/>
                  </a:cubicBezTo>
                  <a:cubicBezTo>
                    <a:pt x="38" y="0"/>
                    <a:pt x="37" y="0"/>
                    <a:pt x="35" y="0"/>
                  </a:cubicBezTo>
                  <a:cubicBezTo>
                    <a:pt x="35" y="0"/>
                    <a:pt x="35" y="0"/>
                    <a:pt x="35" y="0"/>
                  </a:cubicBezTo>
                  <a:cubicBezTo>
                    <a:pt x="28" y="0"/>
                    <a:pt x="21" y="4"/>
                    <a:pt x="18" y="11"/>
                  </a:cubicBezTo>
                  <a:cubicBezTo>
                    <a:pt x="15" y="18"/>
                    <a:pt x="16" y="27"/>
                    <a:pt x="22" y="33"/>
                  </a:cubicBezTo>
                  <a:cubicBezTo>
                    <a:pt x="32" y="44"/>
                    <a:pt x="32" y="44"/>
                    <a:pt x="32" y="44"/>
                  </a:cubicBezTo>
                  <a:cubicBezTo>
                    <a:pt x="23" y="51"/>
                    <a:pt x="6" y="79"/>
                    <a:pt x="6" y="79"/>
                  </a:cubicBez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grpSp>
      <p:grpSp>
        <p:nvGrpSpPr>
          <p:cNvPr id="182" name="Groupe 590"/>
          <p:cNvGrpSpPr/>
          <p:nvPr/>
        </p:nvGrpSpPr>
        <p:grpSpPr>
          <a:xfrm>
            <a:off x="4890105" y="5613814"/>
            <a:ext cx="304704" cy="329862"/>
            <a:chOff x="1017588" y="3841750"/>
            <a:chExt cx="346075" cy="374650"/>
          </a:xfrm>
        </p:grpSpPr>
        <p:sp>
          <p:nvSpPr>
            <p:cNvPr id="183" name="Freeform 513"/>
            <p:cNvSpPr>
              <a:spLocks/>
            </p:cNvSpPr>
            <p:nvPr/>
          </p:nvSpPr>
          <p:spPr bwMode="auto">
            <a:xfrm>
              <a:off x="1017588" y="3841750"/>
              <a:ext cx="346075" cy="77788"/>
            </a:xfrm>
            <a:custGeom>
              <a:avLst/>
              <a:gdLst/>
              <a:ahLst/>
              <a:cxnLst>
                <a:cxn ang="0">
                  <a:pos x="177" y="49"/>
                </a:cxn>
                <a:cxn ang="0">
                  <a:pos x="177" y="49"/>
                </a:cxn>
                <a:cxn ang="0">
                  <a:pos x="218" y="49"/>
                </a:cxn>
                <a:cxn ang="0">
                  <a:pos x="109" y="0"/>
                </a:cxn>
                <a:cxn ang="0">
                  <a:pos x="0" y="49"/>
                </a:cxn>
                <a:cxn ang="0">
                  <a:pos x="148" y="49"/>
                </a:cxn>
              </a:cxnLst>
              <a:rect l="0" t="0" r="r" b="b"/>
              <a:pathLst>
                <a:path w="218" h="49">
                  <a:moveTo>
                    <a:pt x="177" y="49"/>
                  </a:moveTo>
                  <a:lnTo>
                    <a:pt x="177" y="49"/>
                  </a:lnTo>
                  <a:lnTo>
                    <a:pt x="218" y="49"/>
                  </a:lnTo>
                  <a:lnTo>
                    <a:pt x="109" y="0"/>
                  </a:lnTo>
                  <a:lnTo>
                    <a:pt x="0" y="49"/>
                  </a:lnTo>
                  <a:lnTo>
                    <a:pt x="148" y="49"/>
                  </a:ln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84" name="Freeform 514"/>
            <p:cNvSpPr>
              <a:spLocks/>
            </p:cNvSpPr>
            <p:nvPr/>
          </p:nvSpPr>
          <p:spPr bwMode="auto">
            <a:xfrm>
              <a:off x="1017588" y="4156075"/>
              <a:ext cx="95250" cy="60325"/>
            </a:xfrm>
            <a:custGeom>
              <a:avLst/>
              <a:gdLst/>
              <a:ahLst/>
              <a:cxnLst>
                <a:cxn ang="0">
                  <a:pos x="49" y="23"/>
                </a:cxn>
                <a:cxn ang="0">
                  <a:pos x="49" y="23"/>
                </a:cxn>
                <a:cxn ang="0">
                  <a:pos x="42" y="31"/>
                </a:cxn>
                <a:cxn ang="0">
                  <a:pos x="7" y="31"/>
                </a:cxn>
                <a:cxn ang="0">
                  <a:pos x="0" y="23"/>
                </a:cxn>
                <a:cxn ang="0">
                  <a:pos x="0" y="9"/>
                </a:cxn>
                <a:cxn ang="0">
                  <a:pos x="7" y="0"/>
                </a:cxn>
                <a:cxn ang="0">
                  <a:pos x="42" y="0"/>
                </a:cxn>
                <a:cxn ang="0">
                  <a:pos x="49" y="9"/>
                </a:cxn>
                <a:cxn ang="0">
                  <a:pos x="49" y="10"/>
                </a:cxn>
              </a:cxnLst>
              <a:rect l="0" t="0" r="r" b="b"/>
              <a:pathLst>
                <a:path w="49" h="31">
                  <a:moveTo>
                    <a:pt x="49" y="23"/>
                  </a:moveTo>
                  <a:cubicBezTo>
                    <a:pt x="49" y="23"/>
                    <a:pt x="49" y="23"/>
                    <a:pt x="49" y="23"/>
                  </a:cubicBezTo>
                  <a:cubicBezTo>
                    <a:pt x="49" y="28"/>
                    <a:pt x="46" y="31"/>
                    <a:pt x="42" y="31"/>
                  </a:cubicBezTo>
                  <a:cubicBezTo>
                    <a:pt x="7" y="31"/>
                    <a:pt x="7" y="31"/>
                    <a:pt x="7" y="31"/>
                  </a:cubicBezTo>
                  <a:cubicBezTo>
                    <a:pt x="3" y="31"/>
                    <a:pt x="0" y="28"/>
                    <a:pt x="0" y="23"/>
                  </a:cubicBezTo>
                  <a:cubicBezTo>
                    <a:pt x="0" y="9"/>
                    <a:pt x="0" y="9"/>
                    <a:pt x="0" y="9"/>
                  </a:cubicBezTo>
                  <a:cubicBezTo>
                    <a:pt x="0" y="4"/>
                    <a:pt x="3" y="0"/>
                    <a:pt x="7" y="0"/>
                  </a:cubicBezTo>
                  <a:cubicBezTo>
                    <a:pt x="42" y="0"/>
                    <a:pt x="42" y="0"/>
                    <a:pt x="42" y="0"/>
                  </a:cubicBezTo>
                  <a:cubicBezTo>
                    <a:pt x="46" y="0"/>
                    <a:pt x="49" y="4"/>
                    <a:pt x="49" y="9"/>
                  </a:cubicBezTo>
                  <a:cubicBezTo>
                    <a:pt x="49" y="10"/>
                    <a:pt x="49" y="10"/>
                    <a:pt x="49" y="10"/>
                  </a:cubicBez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85" name="Freeform 515"/>
            <p:cNvSpPr>
              <a:spLocks/>
            </p:cNvSpPr>
            <p:nvPr/>
          </p:nvSpPr>
          <p:spPr bwMode="auto">
            <a:xfrm>
              <a:off x="1271588" y="4156075"/>
              <a:ext cx="92075" cy="60325"/>
            </a:xfrm>
            <a:custGeom>
              <a:avLst/>
              <a:gdLst/>
              <a:ahLst/>
              <a:cxnLst>
                <a:cxn ang="0">
                  <a:pos x="48" y="23"/>
                </a:cxn>
                <a:cxn ang="0">
                  <a:pos x="48" y="23"/>
                </a:cxn>
                <a:cxn ang="0">
                  <a:pos x="41" y="31"/>
                </a:cxn>
                <a:cxn ang="0">
                  <a:pos x="7" y="31"/>
                </a:cxn>
                <a:cxn ang="0">
                  <a:pos x="0" y="23"/>
                </a:cxn>
                <a:cxn ang="0">
                  <a:pos x="0" y="9"/>
                </a:cxn>
                <a:cxn ang="0">
                  <a:pos x="7" y="0"/>
                </a:cxn>
                <a:cxn ang="0">
                  <a:pos x="41" y="0"/>
                </a:cxn>
                <a:cxn ang="0">
                  <a:pos x="48" y="9"/>
                </a:cxn>
                <a:cxn ang="0">
                  <a:pos x="48" y="10"/>
                </a:cxn>
              </a:cxnLst>
              <a:rect l="0" t="0" r="r" b="b"/>
              <a:pathLst>
                <a:path w="48" h="31">
                  <a:moveTo>
                    <a:pt x="48" y="23"/>
                  </a:moveTo>
                  <a:cubicBezTo>
                    <a:pt x="48" y="23"/>
                    <a:pt x="48" y="23"/>
                    <a:pt x="48" y="23"/>
                  </a:cubicBezTo>
                  <a:cubicBezTo>
                    <a:pt x="48" y="28"/>
                    <a:pt x="45" y="31"/>
                    <a:pt x="41" y="31"/>
                  </a:cubicBezTo>
                  <a:cubicBezTo>
                    <a:pt x="7" y="31"/>
                    <a:pt x="7" y="31"/>
                    <a:pt x="7" y="31"/>
                  </a:cubicBezTo>
                  <a:cubicBezTo>
                    <a:pt x="3" y="31"/>
                    <a:pt x="0" y="28"/>
                    <a:pt x="0" y="23"/>
                  </a:cubicBezTo>
                  <a:cubicBezTo>
                    <a:pt x="0" y="9"/>
                    <a:pt x="0" y="9"/>
                    <a:pt x="0" y="9"/>
                  </a:cubicBezTo>
                  <a:cubicBezTo>
                    <a:pt x="0" y="4"/>
                    <a:pt x="3" y="0"/>
                    <a:pt x="7" y="0"/>
                  </a:cubicBezTo>
                  <a:cubicBezTo>
                    <a:pt x="41" y="0"/>
                    <a:pt x="41" y="0"/>
                    <a:pt x="41" y="0"/>
                  </a:cubicBezTo>
                  <a:cubicBezTo>
                    <a:pt x="45" y="0"/>
                    <a:pt x="48" y="4"/>
                    <a:pt x="48" y="9"/>
                  </a:cubicBezTo>
                  <a:cubicBezTo>
                    <a:pt x="48" y="10"/>
                    <a:pt x="48" y="10"/>
                    <a:pt x="48" y="10"/>
                  </a:cubicBez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86" name="Freeform 516"/>
            <p:cNvSpPr>
              <a:spLocks/>
            </p:cNvSpPr>
            <p:nvPr/>
          </p:nvSpPr>
          <p:spPr bwMode="auto">
            <a:xfrm>
              <a:off x="1073151" y="3951288"/>
              <a:ext cx="42863" cy="176213"/>
            </a:xfrm>
            <a:custGeom>
              <a:avLst/>
              <a:gdLst/>
              <a:ahLst/>
              <a:cxnLst>
                <a:cxn ang="0">
                  <a:pos x="22" y="33"/>
                </a:cxn>
                <a:cxn ang="0">
                  <a:pos x="22" y="33"/>
                </a:cxn>
                <a:cxn ang="0">
                  <a:pos x="22" y="82"/>
                </a:cxn>
                <a:cxn ang="0">
                  <a:pos x="15" y="91"/>
                </a:cxn>
                <a:cxn ang="0">
                  <a:pos x="7" y="91"/>
                </a:cxn>
                <a:cxn ang="0">
                  <a:pos x="0" y="82"/>
                </a:cxn>
                <a:cxn ang="0">
                  <a:pos x="0" y="9"/>
                </a:cxn>
                <a:cxn ang="0">
                  <a:pos x="7" y="0"/>
                </a:cxn>
                <a:cxn ang="0">
                  <a:pos x="15" y="0"/>
                </a:cxn>
                <a:cxn ang="0">
                  <a:pos x="22" y="9"/>
                </a:cxn>
                <a:cxn ang="0">
                  <a:pos x="22" y="15"/>
                </a:cxn>
              </a:cxnLst>
              <a:rect l="0" t="0" r="r" b="b"/>
              <a:pathLst>
                <a:path w="22" h="91">
                  <a:moveTo>
                    <a:pt x="22" y="33"/>
                  </a:moveTo>
                  <a:cubicBezTo>
                    <a:pt x="22" y="33"/>
                    <a:pt x="22" y="33"/>
                    <a:pt x="22" y="33"/>
                  </a:cubicBezTo>
                  <a:cubicBezTo>
                    <a:pt x="22" y="82"/>
                    <a:pt x="22" y="82"/>
                    <a:pt x="22" y="82"/>
                  </a:cubicBezTo>
                  <a:cubicBezTo>
                    <a:pt x="22" y="87"/>
                    <a:pt x="19" y="91"/>
                    <a:pt x="15" y="91"/>
                  </a:cubicBezTo>
                  <a:cubicBezTo>
                    <a:pt x="7" y="91"/>
                    <a:pt x="7" y="91"/>
                    <a:pt x="7" y="91"/>
                  </a:cubicBezTo>
                  <a:cubicBezTo>
                    <a:pt x="3" y="91"/>
                    <a:pt x="0" y="87"/>
                    <a:pt x="0" y="82"/>
                  </a:cubicBezTo>
                  <a:cubicBezTo>
                    <a:pt x="0" y="9"/>
                    <a:pt x="0" y="9"/>
                    <a:pt x="0" y="9"/>
                  </a:cubicBezTo>
                  <a:cubicBezTo>
                    <a:pt x="0" y="4"/>
                    <a:pt x="3" y="0"/>
                    <a:pt x="7" y="0"/>
                  </a:cubicBezTo>
                  <a:cubicBezTo>
                    <a:pt x="15" y="0"/>
                    <a:pt x="15" y="0"/>
                    <a:pt x="15" y="0"/>
                  </a:cubicBezTo>
                  <a:cubicBezTo>
                    <a:pt x="19" y="0"/>
                    <a:pt x="22" y="4"/>
                    <a:pt x="22" y="9"/>
                  </a:cubicBezTo>
                  <a:cubicBezTo>
                    <a:pt x="22" y="15"/>
                    <a:pt x="22" y="15"/>
                    <a:pt x="22" y="15"/>
                  </a:cubicBez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87" name="Freeform 517"/>
            <p:cNvSpPr>
              <a:spLocks/>
            </p:cNvSpPr>
            <p:nvPr/>
          </p:nvSpPr>
          <p:spPr bwMode="auto">
            <a:xfrm>
              <a:off x="1166813" y="3951288"/>
              <a:ext cx="44450" cy="176213"/>
            </a:xfrm>
            <a:custGeom>
              <a:avLst/>
              <a:gdLst/>
              <a:ahLst/>
              <a:cxnLst>
                <a:cxn ang="0">
                  <a:pos x="23" y="33"/>
                </a:cxn>
                <a:cxn ang="0">
                  <a:pos x="23" y="33"/>
                </a:cxn>
                <a:cxn ang="0">
                  <a:pos x="23" y="82"/>
                </a:cxn>
                <a:cxn ang="0">
                  <a:pos x="16" y="91"/>
                </a:cxn>
                <a:cxn ang="0">
                  <a:pos x="8" y="91"/>
                </a:cxn>
                <a:cxn ang="0">
                  <a:pos x="0" y="82"/>
                </a:cxn>
                <a:cxn ang="0">
                  <a:pos x="0" y="9"/>
                </a:cxn>
                <a:cxn ang="0">
                  <a:pos x="8" y="0"/>
                </a:cxn>
                <a:cxn ang="0">
                  <a:pos x="16" y="0"/>
                </a:cxn>
                <a:cxn ang="0">
                  <a:pos x="23" y="9"/>
                </a:cxn>
                <a:cxn ang="0">
                  <a:pos x="23" y="15"/>
                </a:cxn>
              </a:cxnLst>
              <a:rect l="0" t="0" r="r" b="b"/>
              <a:pathLst>
                <a:path w="23" h="91">
                  <a:moveTo>
                    <a:pt x="23" y="33"/>
                  </a:moveTo>
                  <a:cubicBezTo>
                    <a:pt x="23" y="33"/>
                    <a:pt x="23" y="33"/>
                    <a:pt x="23" y="33"/>
                  </a:cubicBezTo>
                  <a:cubicBezTo>
                    <a:pt x="23" y="82"/>
                    <a:pt x="23" y="82"/>
                    <a:pt x="23" y="82"/>
                  </a:cubicBezTo>
                  <a:cubicBezTo>
                    <a:pt x="23" y="87"/>
                    <a:pt x="20" y="91"/>
                    <a:pt x="16" y="91"/>
                  </a:cubicBezTo>
                  <a:cubicBezTo>
                    <a:pt x="8" y="91"/>
                    <a:pt x="8" y="91"/>
                    <a:pt x="8" y="91"/>
                  </a:cubicBezTo>
                  <a:cubicBezTo>
                    <a:pt x="4" y="91"/>
                    <a:pt x="0" y="87"/>
                    <a:pt x="0" y="82"/>
                  </a:cubicBezTo>
                  <a:cubicBezTo>
                    <a:pt x="0" y="9"/>
                    <a:pt x="0" y="9"/>
                    <a:pt x="0" y="9"/>
                  </a:cubicBezTo>
                  <a:cubicBezTo>
                    <a:pt x="0" y="4"/>
                    <a:pt x="4" y="0"/>
                    <a:pt x="8" y="0"/>
                  </a:cubicBezTo>
                  <a:cubicBezTo>
                    <a:pt x="16" y="0"/>
                    <a:pt x="16" y="0"/>
                    <a:pt x="16" y="0"/>
                  </a:cubicBezTo>
                  <a:cubicBezTo>
                    <a:pt x="20" y="0"/>
                    <a:pt x="23" y="4"/>
                    <a:pt x="23" y="9"/>
                  </a:cubicBezTo>
                  <a:cubicBezTo>
                    <a:pt x="23" y="15"/>
                    <a:pt x="23" y="15"/>
                    <a:pt x="23" y="15"/>
                  </a:cubicBez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88" name="Freeform 518"/>
            <p:cNvSpPr>
              <a:spLocks/>
            </p:cNvSpPr>
            <p:nvPr/>
          </p:nvSpPr>
          <p:spPr bwMode="auto">
            <a:xfrm>
              <a:off x="1262063" y="3951288"/>
              <a:ext cx="42863" cy="176213"/>
            </a:xfrm>
            <a:custGeom>
              <a:avLst/>
              <a:gdLst/>
              <a:ahLst/>
              <a:cxnLst>
                <a:cxn ang="0">
                  <a:pos x="22" y="33"/>
                </a:cxn>
                <a:cxn ang="0">
                  <a:pos x="22" y="33"/>
                </a:cxn>
                <a:cxn ang="0">
                  <a:pos x="22" y="82"/>
                </a:cxn>
                <a:cxn ang="0">
                  <a:pos x="16" y="91"/>
                </a:cxn>
                <a:cxn ang="0">
                  <a:pos x="7" y="91"/>
                </a:cxn>
                <a:cxn ang="0">
                  <a:pos x="0" y="82"/>
                </a:cxn>
                <a:cxn ang="0">
                  <a:pos x="0" y="9"/>
                </a:cxn>
                <a:cxn ang="0">
                  <a:pos x="7" y="0"/>
                </a:cxn>
                <a:cxn ang="0">
                  <a:pos x="16" y="0"/>
                </a:cxn>
                <a:cxn ang="0">
                  <a:pos x="22" y="9"/>
                </a:cxn>
                <a:cxn ang="0">
                  <a:pos x="22" y="15"/>
                </a:cxn>
              </a:cxnLst>
              <a:rect l="0" t="0" r="r" b="b"/>
              <a:pathLst>
                <a:path w="22" h="91">
                  <a:moveTo>
                    <a:pt x="22" y="33"/>
                  </a:moveTo>
                  <a:cubicBezTo>
                    <a:pt x="22" y="33"/>
                    <a:pt x="22" y="33"/>
                    <a:pt x="22" y="33"/>
                  </a:cubicBezTo>
                  <a:cubicBezTo>
                    <a:pt x="22" y="82"/>
                    <a:pt x="22" y="82"/>
                    <a:pt x="22" y="82"/>
                  </a:cubicBezTo>
                  <a:cubicBezTo>
                    <a:pt x="22" y="87"/>
                    <a:pt x="19" y="91"/>
                    <a:pt x="16" y="91"/>
                  </a:cubicBezTo>
                  <a:cubicBezTo>
                    <a:pt x="7" y="91"/>
                    <a:pt x="7" y="91"/>
                    <a:pt x="7" y="91"/>
                  </a:cubicBezTo>
                  <a:cubicBezTo>
                    <a:pt x="3" y="91"/>
                    <a:pt x="0" y="87"/>
                    <a:pt x="0" y="82"/>
                  </a:cubicBezTo>
                  <a:cubicBezTo>
                    <a:pt x="0" y="9"/>
                    <a:pt x="0" y="9"/>
                    <a:pt x="0" y="9"/>
                  </a:cubicBezTo>
                  <a:cubicBezTo>
                    <a:pt x="0" y="4"/>
                    <a:pt x="3" y="0"/>
                    <a:pt x="7" y="0"/>
                  </a:cubicBezTo>
                  <a:cubicBezTo>
                    <a:pt x="16" y="0"/>
                    <a:pt x="16" y="0"/>
                    <a:pt x="16" y="0"/>
                  </a:cubicBezTo>
                  <a:cubicBezTo>
                    <a:pt x="19" y="0"/>
                    <a:pt x="22" y="4"/>
                    <a:pt x="22" y="9"/>
                  </a:cubicBezTo>
                  <a:cubicBezTo>
                    <a:pt x="22" y="15"/>
                    <a:pt x="22" y="15"/>
                    <a:pt x="22" y="15"/>
                  </a:cubicBez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89" name="Freeform 519"/>
            <p:cNvSpPr>
              <a:spLocks/>
            </p:cNvSpPr>
            <p:nvPr/>
          </p:nvSpPr>
          <p:spPr bwMode="auto">
            <a:xfrm>
              <a:off x="1133476" y="4165600"/>
              <a:ext cx="106363" cy="1588"/>
            </a:xfrm>
            <a:custGeom>
              <a:avLst/>
              <a:gdLst/>
              <a:ahLst/>
              <a:cxnLst>
                <a:cxn ang="0">
                  <a:pos x="0" y="0"/>
                </a:cxn>
                <a:cxn ang="0">
                  <a:pos x="0" y="0"/>
                </a:cxn>
                <a:cxn ang="0">
                  <a:pos x="67" y="0"/>
                </a:cxn>
              </a:cxnLst>
              <a:rect l="0" t="0" r="r" b="b"/>
              <a:pathLst>
                <a:path w="67">
                  <a:moveTo>
                    <a:pt x="0" y="0"/>
                  </a:moveTo>
                  <a:lnTo>
                    <a:pt x="0" y="0"/>
                  </a:lnTo>
                  <a:lnTo>
                    <a:pt x="67" y="0"/>
                  </a:ln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90" name="Freeform 520"/>
            <p:cNvSpPr>
              <a:spLocks/>
            </p:cNvSpPr>
            <p:nvPr/>
          </p:nvSpPr>
          <p:spPr bwMode="auto">
            <a:xfrm>
              <a:off x="1133476" y="4187825"/>
              <a:ext cx="106363" cy="1588"/>
            </a:xfrm>
            <a:custGeom>
              <a:avLst/>
              <a:gdLst/>
              <a:ahLst/>
              <a:cxnLst>
                <a:cxn ang="0">
                  <a:pos x="0" y="0"/>
                </a:cxn>
                <a:cxn ang="0">
                  <a:pos x="0" y="0"/>
                </a:cxn>
                <a:cxn ang="0">
                  <a:pos x="67" y="0"/>
                </a:cxn>
              </a:cxnLst>
              <a:rect l="0" t="0" r="r" b="b"/>
              <a:pathLst>
                <a:path w="67">
                  <a:moveTo>
                    <a:pt x="0" y="0"/>
                  </a:moveTo>
                  <a:lnTo>
                    <a:pt x="0" y="0"/>
                  </a:lnTo>
                  <a:lnTo>
                    <a:pt x="67" y="0"/>
                  </a:ln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91" name="Freeform 521"/>
            <p:cNvSpPr>
              <a:spLocks/>
            </p:cNvSpPr>
            <p:nvPr/>
          </p:nvSpPr>
          <p:spPr bwMode="auto">
            <a:xfrm>
              <a:off x="1133476" y="4211638"/>
              <a:ext cx="106363" cy="1588"/>
            </a:xfrm>
            <a:custGeom>
              <a:avLst/>
              <a:gdLst/>
              <a:ahLst/>
              <a:cxnLst>
                <a:cxn ang="0">
                  <a:pos x="0" y="0"/>
                </a:cxn>
                <a:cxn ang="0">
                  <a:pos x="0" y="0"/>
                </a:cxn>
                <a:cxn ang="0">
                  <a:pos x="67" y="0"/>
                </a:cxn>
              </a:cxnLst>
              <a:rect l="0" t="0" r="r" b="b"/>
              <a:pathLst>
                <a:path w="67">
                  <a:moveTo>
                    <a:pt x="0" y="0"/>
                  </a:moveTo>
                  <a:lnTo>
                    <a:pt x="0" y="0"/>
                  </a:lnTo>
                  <a:lnTo>
                    <a:pt x="67" y="0"/>
                  </a:ln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grpSp>
      <p:grpSp>
        <p:nvGrpSpPr>
          <p:cNvPr id="192" name="Groupe 582"/>
          <p:cNvGrpSpPr/>
          <p:nvPr/>
        </p:nvGrpSpPr>
        <p:grpSpPr>
          <a:xfrm>
            <a:off x="5469535" y="5662280"/>
            <a:ext cx="317218" cy="232932"/>
            <a:chOff x="2609851" y="3230563"/>
            <a:chExt cx="328613" cy="241300"/>
          </a:xfrm>
        </p:grpSpPr>
        <p:sp>
          <p:nvSpPr>
            <p:cNvPr id="193" name="Line 284"/>
            <p:cNvSpPr>
              <a:spLocks noChangeShapeType="1"/>
            </p:cNvSpPr>
            <p:nvPr/>
          </p:nvSpPr>
          <p:spPr bwMode="auto">
            <a:xfrm>
              <a:off x="2654301" y="3294063"/>
              <a:ext cx="1588" cy="115888"/>
            </a:xfrm>
            <a:prstGeom prst="line">
              <a:avLst/>
            </a:prstGeom>
            <a:noFill/>
            <a:ln w="9525" cap="flat">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94" name="Line 285"/>
            <p:cNvSpPr>
              <a:spLocks noChangeShapeType="1"/>
            </p:cNvSpPr>
            <p:nvPr/>
          </p:nvSpPr>
          <p:spPr bwMode="auto">
            <a:xfrm>
              <a:off x="2678114" y="3294063"/>
              <a:ext cx="1588" cy="115888"/>
            </a:xfrm>
            <a:prstGeom prst="line">
              <a:avLst/>
            </a:prstGeom>
            <a:noFill/>
            <a:ln w="9525" cap="flat">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95" name="Line 286"/>
            <p:cNvSpPr>
              <a:spLocks noChangeShapeType="1"/>
            </p:cNvSpPr>
            <p:nvPr/>
          </p:nvSpPr>
          <p:spPr bwMode="auto">
            <a:xfrm>
              <a:off x="2716214" y="3294063"/>
              <a:ext cx="1588" cy="115888"/>
            </a:xfrm>
            <a:prstGeom prst="line">
              <a:avLst/>
            </a:prstGeom>
            <a:noFill/>
            <a:ln w="9525" cap="flat">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96" name="Line 287"/>
            <p:cNvSpPr>
              <a:spLocks noChangeShapeType="1"/>
            </p:cNvSpPr>
            <p:nvPr/>
          </p:nvSpPr>
          <p:spPr bwMode="auto">
            <a:xfrm>
              <a:off x="2733676" y="3294063"/>
              <a:ext cx="1588" cy="115888"/>
            </a:xfrm>
            <a:prstGeom prst="line">
              <a:avLst/>
            </a:prstGeom>
            <a:noFill/>
            <a:ln w="9525" cap="flat">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97" name="Line 288"/>
            <p:cNvSpPr>
              <a:spLocks noChangeShapeType="1"/>
            </p:cNvSpPr>
            <p:nvPr/>
          </p:nvSpPr>
          <p:spPr bwMode="auto">
            <a:xfrm>
              <a:off x="2752726" y="3294063"/>
              <a:ext cx="1588" cy="115888"/>
            </a:xfrm>
            <a:prstGeom prst="line">
              <a:avLst/>
            </a:prstGeom>
            <a:noFill/>
            <a:ln w="9525" cap="flat">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98" name="Line 289"/>
            <p:cNvSpPr>
              <a:spLocks noChangeShapeType="1"/>
            </p:cNvSpPr>
            <p:nvPr/>
          </p:nvSpPr>
          <p:spPr bwMode="auto">
            <a:xfrm>
              <a:off x="2786064" y="3294063"/>
              <a:ext cx="1588" cy="115888"/>
            </a:xfrm>
            <a:prstGeom prst="line">
              <a:avLst/>
            </a:prstGeom>
            <a:noFill/>
            <a:ln w="9525" cap="flat">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199" name="Freeform 290"/>
            <p:cNvSpPr>
              <a:spLocks noEditPoints="1"/>
            </p:cNvSpPr>
            <p:nvPr/>
          </p:nvSpPr>
          <p:spPr bwMode="auto">
            <a:xfrm>
              <a:off x="2824164" y="3294063"/>
              <a:ext cx="23813" cy="115888"/>
            </a:xfrm>
            <a:custGeom>
              <a:avLst/>
              <a:gdLst/>
              <a:ahLst/>
              <a:cxnLst>
                <a:cxn ang="0">
                  <a:pos x="15" y="0"/>
                </a:cxn>
                <a:cxn ang="0">
                  <a:pos x="15" y="73"/>
                </a:cxn>
                <a:cxn ang="0">
                  <a:pos x="0" y="0"/>
                </a:cxn>
                <a:cxn ang="0">
                  <a:pos x="0" y="73"/>
                </a:cxn>
              </a:cxnLst>
              <a:rect l="0" t="0" r="r" b="b"/>
              <a:pathLst>
                <a:path w="15" h="73">
                  <a:moveTo>
                    <a:pt x="15" y="0"/>
                  </a:moveTo>
                  <a:lnTo>
                    <a:pt x="15" y="73"/>
                  </a:lnTo>
                  <a:moveTo>
                    <a:pt x="0" y="0"/>
                  </a:moveTo>
                  <a:lnTo>
                    <a:pt x="0" y="73"/>
                  </a:lnTo>
                </a:path>
              </a:pathLst>
            </a:custGeom>
            <a:noFill/>
            <a:ln w="9525" cap="flat">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200" name="Line 291"/>
            <p:cNvSpPr>
              <a:spLocks noChangeShapeType="1"/>
            </p:cNvSpPr>
            <p:nvPr/>
          </p:nvSpPr>
          <p:spPr bwMode="auto">
            <a:xfrm>
              <a:off x="2862264" y="3294063"/>
              <a:ext cx="1588" cy="115888"/>
            </a:xfrm>
            <a:prstGeom prst="line">
              <a:avLst/>
            </a:prstGeom>
            <a:noFill/>
            <a:ln w="9525" cap="flat">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201" name="Line 292"/>
            <p:cNvSpPr>
              <a:spLocks noChangeShapeType="1"/>
            </p:cNvSpPr>
            <p:nvPr/>
          </p:nvSpPr>
          <p:spPr bwMode="auto">
            <a:xfrm>
              <a:off x="2887664" y="3294063"/>
              <a:ext cx="1588" cy="115888"/>
            </a:xfrm>
            <a:prstGeom prst="line">
              <a:avLst/>
            </a:prstGeom>
            <a:noFill/>
            <a:ln w="9525" cap="flat">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202" name="Freeform 293"/>
            <p:cNvSpPr>
              <a:spLocks/>
            </p:cNvSpPr>
            <p:nvPr/>
          </p:nvSpPr>
          <p:spPr bwMode="auto">
            <a:xfrm>
              <a:off x="2609851" y="3230563"/>
              <a:ext cx="328613" cy="241300"/>
            </a:xfrm>
            <a:custGeom>
              <a:avLst/>
              <a:gdLst/>
              <a:ahLst/>
              <a:cxnLst>
                <a:cxn ang="0">
                  <a:pos x="162" y="152"/>
                </a:cxn>
                <a:cxn ang="0">
                  <a:pos x="0" y="152"/>
                </a:cxn>
                <a:cxn ang="0">
                  <a:pos x="0" y="0"/>
                </a:cxn>
                <a:cxn ang="0">
                  <a:pos x="207" y="0"/>
                </a:cxn>
                <a:cxn ang="0">
                  <a:pos x="207" y="152"/>
                </a:cxn>
              </a:cxnLst>
              <a:rect l="0" t="0" r="r" b="b"/>
              <a:pathLst>
                <a:path w="207" h="152">
                  <a:moveTo>
                    <a:pt x="162" y="152"/>
                  </a:moveTo>
                  <a:lnTo>
                    <a:pt x="0" y="152"/>
                  </a:lnTo>
                  <a:lnTo>
                    <a:pt x="0" y="0"/>
                  </a:lnTo>
                  <a:lnTo>
                    <a:pt x="207" y="0"/>
                  </a:lnTo>
                  <a:lnTo>
                    <a:pt x="207" y="152"/>
                  </a:lnTo>
                </a:path>
              </a:pathLst>
            </a:custGeom>
            <a:noFill/>
            <a:ln w="95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grpSp>
      <p:sp>
        <p:nvSpPr>
          <p:cNvPr id="91" name="Text Placeholder 5"/>
          <p:cNvSpPr txBox="1">
            <a:spLocks/>
          </p:cNvSpPr>
          <p:nvPr/>
        </p:nvSpPr>
        <p:spPr bwMode="auto">
          <a:xfrm>
            <a:off x="6240462" y="5176638"/>
            <a:ext cx="4535488" cy="1060362"/>
          </a:xfrm>
          <a:prstGeom prst="rect">
            <a:avLst/>
          </a:prstGeom>
          <a:solidFill>
            <a:schemeClr val="bg1"/>
          </a:solidFill>
          <a:ln w="9525">
            <a:solidFill>
              <a:schemeClr val="tx1">
                <a:lumMod val="50000"/>
                <a:lumOff val="50000"/>
              </a:schemeClr>
            </a:solidFill>
            <a:miter lim="800000"/>
            <a:headEnd/>
            <a:tailEnd/>
          </a:ln>
        </p:spPr>
        <p:txBody>
          <a:bodyPr vert="horz" wrap="square" lIns="91430" tIns="45716" rIns="91430" bIns="45716" numCol="1" anchor="t" anchorCtr="0" compatLnSpc="1">
            <a:prstTxWarp prst="textNoShape">
              <a:avLst/>
            </a:prstTxWarp>
          </a:bodyPr>
          <a:lstStyle>
            <a:lvl1pPr marL="0" indent="0" algn="l" rtl="0" eaLnBrk="0" fontAlgn="base" hangingPunct="0">
              <a:spcBef>
                <a:spcPts val="0"/>
              </a:spcBef>
              <a:spcAft>
                <a:spcPct val="0"/>
              </a:spcAft>
              <a:buFontTx/>
              <a:buNone/>
              <a:defRPr sz="1400" kern="1200" baseline="0">
                <a:solidFill>
                  <a:schemeClr val="tx1">
                    <a:lumMod val="65000"/>
                    <a:lumOff val="35000"/>
                  </a:schemeClr>
                </a:solidFill>
                <a:latin typeface="+mn-lt"/>
                <a:ea typeface="+mn-ea"/>
                <a:cs typeface="+mn-cs"/>
              </a:defRPr>
            </a:lvl1pPr>
            <a:lvl2pPr marL="457154"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2pPr>
            <a:lvl3pPr marL="914308"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3pPr>
            <a:lvl4pPr marL="1371462"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4pPr>
            <a:lvl5pPr marL="1828616" indent="0" algn="l" rtl="0" eaLnBrk="0" fontAlgn="base" hangingPunct="0">
              <a:spcBef>
                <a:spcPts val="0"/>
              </a:spcBef>
              <a:spcAft>
                <a:spcPct val="0"/>
              </a:spcAft>
              <a:buFontTx/>
              <a:buNone/>
              <a:defRPr sz="1400" kern="1200">
                <a:solidFill>
                  <a:schemeClr val="tx1">
                    <a:lumMod val="65000"/>
                    <a:lumOff val="35000"/>
                  </a:schemeClr>
                </a:solidFill>
                <a:latin typeface="+mn-lt"/>
                <a:ea typeface="+mn-ea"/>
                <a:cs typeface="+mn-cs"/>
              </a:defRPr>
            </a:lvl5pPr>
            <a:lvl6pPr marL="2514347"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01"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5"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09" indent="-228577" algn="l" defTabSz="91430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indent="-114300">
              <a:buClr>
                <a:srgbClr val="0070C0"/>
              </a:buClr>
              <a:buFont typeface="Wingdings" pitchFamily="2" charset="2"/>
              <a:buChar char="§"/>
              <a:defRPr/>
            </a:pPr>
            <a:r>
              <a:rPr lang="en-US" sz="1200" dirty="0">
                <a:solidFill>
                  <a:srgbClr val="000000"/>
                </a:solidFill>
              </a:rPr>
              <a:t>Pre-built apps – </a:t>
            </a:r>
            <a:r>
              <a:rPr lang="en-US" sz="1200" dirty="0" err="1">
                <a:solidFill>
                  <a:srgbClr val="000000"/>
                </a:solidFill>
              </a:rPr>
              <a:t>mWorkF</a:t>
            </a:r>
            <a:r>
              <a:rPr lang="en-US" sz="1200" dirty="0">
                <a:solidFill>
                  <a:srgbClr val="000000"/>
                </a:solidFill>
              </a:rPr>
              <a:t>, </a:t>
            </a:r>
            <a:r>
              <a:rPr lang="en-US" sz="1200" dirty="0" err="1">
                <a:solidFill>
                  <a:srgbClr val="000000"/>
                </a:solidFill>
              </a:rPr>
              <a:t>mPOD</a:t>
            </a:r>
            <a:r>
              <a:rPr lang="en-US" sz="1200" dirty="0">
                <a:solidFill>
                  <a:srgbClr val="000000"/>
                </a:solidFill>
              </a:rPr>
              <a:t>, Mobile Order Status, Sales Order On the Move, Customer Contacts, PO Approval, Purchase Requisition Approval, Pre-service Inspection, Service Processing, Sales Deal, Quality Inspection &amp; Mobile Metering, Private Mobile Cloud</a:t>
            </a:r>
          </a:p>
        </p:txBody>
      </p:sp>
    </p:spTree>
    <p:extLst>
      <p:ext uri="{BB962C8B-B14F-4D97-AF65-F5344CB8AC3E}">
        <p14:creationId xmlns:p14="http://schemas.microsoft.com/office/powerpoint/2010/main" val="142394344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1144588" y="1589"/>
          <a:ext cx="1587" cy="1587"/>
        </p:xfrm>
        <a:graphic>
          <a:graphicData uri="http://schemas.openxmlformats.org/presentationml/2006/ole">
            <mc:AlternateContent xmlns:mc="http://schemas.openxmlformats.org/markup-compatibility/2006">
              <mc:Choice xmlns:v="urn:schemas-microsoft-com:vml" Requires="v">
                <p:oleObj spid="_x0000_s85080" name="think-cell Slide" r:id="rId5" imgW="216" imgH="216" progId="">
                  <p:embed/>
                </p:oleObj>
              </mc:Choice>
              <mc:Fallback>
                <p:oleObj name="think-cell Slide" r:id="rId5" imgW="216" imgH="216"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4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b="1" dirty="0">
                <a:latin typeface="Calibri"/>
                <a:sym typeface="Calibri"/>
              </a:rPr>
              <a:t>Mobility</a:t>
            </a:r>
            <a:r>
              <a:rPr lang="en-US" dirty="0">
                <a:latin typeface="Calibri"/>
                <a:sym typeface="Calibri"/>
              </a:rPr>
              <a:t> has a significant impact on your business</a:t>
            </a:r>
            <a:endParaRPr lang="en-GB" dirty="0">
              <a:latin typeface="Calibri"/>
              <a:sym typeface="Calibri"/>
            </a:endParaRPr>
          </a:p>
        </p:txBody>
      </p:sp>
      <p:sp>
        <p:nvSpPr>
          <p:cNvPr id="19" name="Text Placeholder 18"/>
          <p:cNvSpPr>
            <a:spLocks noGrp="1"/>
          </p:cNvSpPr>
          <p:nvPr>
            <p:ph type="body" sz="quarter" idx="41"/>
          </p:nvPr>
        </p:nvSpPr>
        <p:spPr/>
        <p:txBody>
          <a:bodyPr/>
          <a:lstStyle/>
          <a:p>
            <a:endParaRPr lang="en-US"/>
          </a:p>
        </p:txBody>
      </p:sp>
      <p:sp>
        <p:nvSpPr>
          <p:cNvPr id="21" name="Text Placeholder 20"/>
          <p:cNvSpPr>
            <a:spLocks noGrp="1"/>
          </p:cNvSpPr>
          <p:nvPr>
            <p:ph type="body" sz="quarter" idx="42"/>
          </p:nvPr>
        </p:nvSpPr>
        <p:spPr/>
        <p:txBody>
          <a:bodyPr/>
          <a:lstStyle/>
          <a:p>
            <a:endParaRPr lang="en-US"/>
          </a:p>
        </p:txBody>
      </p:sp>
      <p:sp>
        <p:nvSpPr>
          <p:cNvPr id="10" name="Rounded Rectangle 9"/>
          <p:cNvSpPr/>
          <p:nvPr/>
        </p:nvSpPr>
        <p:spPr bwMode="auto">
          <a:xfrm>
            <a:off x="7248526" y="1905446"/>
            <a:ext cx="2105025" cy="1119188"/>
          </a:xfrm>
          <a:prstGeom prst="roundRect">
            <a:avLst/>
          </a:prstGeom>
          <a:solidFill>
            <a:schemeClr val="accent4"/>
          </a:solidFill>
          <a:ln w="6350" cap="flat" cmpd="sng" algn="ctr">
            <a:noFill/>
            <a:prstDash val="solid"/>
            <a:round/>
            <a:headEnd type="none" w="med" len="med"/>
            <a:tailEnd type="none" w="med" len="med"/>
          </a:ln>
          <a:effectLst/>
        </p:spPr>
        <p:txBody>
          <a:bodyPr vert="horz" wrap="none" lIns="411480" tIns="0" rIns="45720" bIns="0" numCol="1" rtlCol="0" anchor="ctr" anchorCtr="0" compatLnSpc="1">
            <a:prstTxWarp prst="textNoShape">
              <a:avLst/>
            </a:prstTxWarp>
          </a:bodyPr>
          <a:lstStyle/>
          <a:p>
            <a:pPr algn="ctr" eaLnBrk="0" fontAlgn="base" hangingPunct="0">
              <a:spcBef>
                <a:spcPct val="0"/>
              </a:spcBef>
              <a:spcAft>
                <a:spcPct val="0"/>
              </a:spcAft>
            </a:pPr>
            <a:r>
              <a:rPr lang="en-US" sz="1600" b="1" dirty="0">
                <a:solidFill>
                  <a:prstClr val="white"/>
                </a:solidFill>
                <a:latin typeface="Calibri" panose="020F0502020204030204" pitchFamily="34" charset="0"/>
                <a:cs typeface="Arial" charset="0"/>
              </a:rPr>
              <a:t>Increase</a:t>
            </a:r>
            <a:br>
              <a:rPr lang="en-US" sz="1600" b="1" dirty="0">
                <a:solidFill>
                  <a:prstClr val="white"/>
                </a:solidFill>
                <a:latin typeface="Calibri" panose="020F0502020204030204" pitchFamily="34" charset="0"/>
                <a:cs typeface="Arial" charset="0"/>
              </a:rPr>
            </a:br>
            <a:r>
              <a:rPr lang="en-US" sz="1600" b="1" dirty="0">
                <a:solidFill>
                  <a:prstClr val="white"/>
                </a:solidFill>
                <a:latin typeface="Calibri" panose="020F0502020204030204" pitchFamily="34" charset="0"/>
                <a:cs typeface="Arial" charset="0"/>
              </a:rPr>
              <a:t>your revenues</a:t>
            </a:r>
          </a:p>
        </p:txBody>
      </p:sp>
      <p:sp>
        <p:nvSpPr>
          <p:cNvPr id="12" name="Right Brace 11"/>
          <p:cNvSpPr/>
          <p:nvPr/>
        </p:nvSpPr>
        <p:spPr bwMode="auto">
          <a:xfrm>
            <a:off x="7368540" y="1910210"/>
            <a:ext cx="359568" cy="1109663"/>
          </a:xfrm>
          <a:prstGeom prst="rightBrace">
            <a:avLst>
              <a:gd name="adj1" fmla="val 78013"/>
              <a:gd name="adj2" fmla="val 50000"/>
            </a:avLst>
          </a:prstGeom>
          <a:solidFill>
            <a:schemeClr val="bg1">
              <a:lumMod val="95000"/>
            </a:schemeClr>
          </a:solidFill>
          <a:ln w="6350" cap="flat" cmpd="sng" algn="ctr">
            <a:noFill/>
            <a:prstDash val="solid"/>
            <a:round/>
            <a:headEnd type="none" w="med" len="med"/>
            <a:tailEnd type="none" w="med" len="med"/>
          </a:ln>
          <a:effectLst>
            <a:outerShdw blurRad="50800" dist="38100" algn="l" rotWithShape="0">
              <a:prstClr val="black">
                <a:alpha val="40000"/>
              </a:prstClr>
            </a:outerShdw>
          </a:effectLst>
        </p:spPr>
        <p:txBody>
          <a:bodyPr rtlCol="0" anchor="ctr"/>
          <a:lstStyle/>
          <a:p>
            <a:pPr algn="ctr"/>
            <a:endParaRPr lang="en-US" dirty="0">
              <a:solidFill>
                <a:srgbClr val="00234B"/>
              </a:solidFill>
              <a:latin typeface="Calibri" panose="020F0502020204030204" pitchFamily="34" charset="0"/>
            </a:endParaRPr>
          </a:p>
        </p:txBody>
      </p:sp>
      <p:sp>
        <p:nvSpPr>
          <p:cNvPr id="14" name="Rounded Rectangle 13"/>
          <p:cNvSpPr/>
          <p:nvPr/>
        </p:nvSpPr>
        <p:spPr bwMode="auto">
          <a:xfrm>
            <a:off x="4476750" y="1905446"/>
            <a:ext cx="3100388" cy="1119188"/>
          </a:xfrm>
          <a:prstGeom prst="roundRect">
            <a:avLst/>
          </a:prstGeom>
          <a:solidFill>
            <a:schemeClr val="bg1">
              <a:lumMod val="95000"/>
            </a:schemeClr>
          </a:solidFill>
          <a:ln w="6350" cap="flat" cmpd="sng" algn="ctr">
            <a:noFill/>
            <a:prstDash val="solid"/>
            <a:round/>
            <a:headEnd type="none" w="med" len="med"/>
            <a:tailEnd type="none" w="med" len="med"/>
          </a:ln>
          <a:effectLst/>
        </p:spPr>
        <p:txBody>
          <a:bodyPr vert="horz" wrap="none" lIns="640080" tIns="0" rIns="0" bIns="0" numCol="1" rtlCol="0" anchor="ctr" anchorCtr="0" compatLnSpc="1">
            <a:prstTxWarp prst="textNoShape">
              <a:avLst/>
            </a:prstTxWarp>
          </a:bodyPr>
          <a:lstStyle/>
          <a:p>
            <a:pPr algn="ctr" eaLnBrk="0" fontAlgn="base" hangingPunct="0">
              <a:spcBef>
                <a:spcPct val="0"/>
              </a:spcBef>
              <a:spcAft>
                <a:spcPct val="0"/>
              </a:spcAft>
            </a:pPr>
            <a:r>
              <a:rPr lang="en-US" sz="1600" b="1" dirty="0">
                <a:solidFill>
                  <a:srgbClr val="00234B"/>
                </a:solidFill>
                <a:latin typeface="Calibri" panose="020F0502020204030204" pitchFamily="34" charset="0"/>
                <a:cs typeface="Arial" charset="0"/>
              </a:rPr>
              <a:t> Supercharge customer</a:t>
            </a:r>
            <a:br>
              <a:rPr lang="en-US" sz="1600" b="1" dirty="0">
                <a:solidFill>
                  <a:srgbClr val="00234B"/>
                </a:solidFill>
                <a:latin typeface="Calibri" panose="020F0502020204030204" pitchFamily="34" charset="0"/>
                <a:cs typeface="Arial" charset="0"/>
              </a:rPr>
            </a:br>
            <a:r>
              <a:rPr lang="en-US" sz="1600" b="1" dirty="0">
                <a:solidFill>
                  <a:srgbClr val="00234B"/>
                </a:solidFill>
                <a:latin typeface="Calibri" panose="020F0502020204030204" pitchFamily="34" charset="0"/>
                <a:cs typeface="Arial" charset="0"/>
              </a:rPr>
              <a:t>engagement </a:t>
            </a:r>
          </a:p>
        </p:txBody>
      </p:sp>
      <p:sp>
        <p:nvSpPr>
          <p:cNvPr id="20" name="Pentagon 19"/>
          <p:cNvSpPr/>
          <p:nvPr/>
        </p:nvSpPr>
        <p:spPr bwMode="auto">
          <a:xfrm>
            <a:off x="2329544" y="1905447"/>
            <a:ext cx="2899682" cy="1119188"/>
          </a:xfrm>
          <a:prstGeom prst="homePlate">
            <a:avLst/>
          </a:prstGeom>
          <a:solidFill>
            <a:schemeClr val="bg2">
              <a:lumMod val="50000"/>
            </a:schemeClr>
          </a:solidFill>
          <a:ln w="6350"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eaLnBrk="0" fontAlgn="base" hangingPunct="0">
              <a:spcBef>
                <a:spcPts val="600"/>
              </a:spcBef>
              <a:spcAft>
                <a:spcPct val="0"/>
              </a:spcAft>
            </a:pPr>
            <a:r>
              <a:rPr lang="en-US" sz="1600" b="1" dirty="0">
                <a:solidFill>
                  <a:schemeClr val="bg1"/>
                </a:solidFill>
                <a:latin typeface="Calibri" panose="020F0502020204030204" pitchFamily="34" charset="0"/>
                <a:cs typeface="Arial" charset="0"/>
              </a:rPr>
              <a:t>Get bigger share of</a:t>
            </a:r>
            <a:br>
              <a:rPr lang="en-US" sz="1600" b="1" dirty="0">
                <a:solidFill>
                  <a:schemeClr val="bg1"/>
                </a:solidFill>
                <a:latin typeface="Calibri" panose="020F0502020204030204" pitchFamily="34" charset="0"/>
                <a:cs typeface="Arial" charset="0"/>
              </a:rPr>
            </a:br>
            <a:r>
              <a:rPr lang="en-US" sz="1600" b="1" dirty="0">
                <a:solidFill>
                  <a:schemeClr val="bg1"/>
                </a:solidFill>
                <a:latin typeface="Calibri" panose="020F0502020204030204" pitchFamily="34" charset="0"/>
                <a:cs typeface="Arial" charset="0"/>
              </a:rPr>
              <a:t>customer spend</a:t>
            </a:r>
          </a:p>
        </p:txBody>
      </p:sp>
      <p:sp>
        <p:nvSpPr>
          <p:cNvPr id="22" name="Hexagon 21"/>
          <p:cNvSpPr/>
          <p:nvPr/>
        </p:nvSpPr>
        <p:spPr bwMode="auto">
          <a:xfrm>
            <a:off x="9525001" y="1955454"/>
            <a:ext cx="1182243" cy="1019175"/>
          </a:xfrm>
          <a:prstGeom prst="hexagon">
            <a:avLst>
              <a:gd name="adj" fmla="val 34346"/>
              <a:gd name="vf" fmla="val 115470"/>
            </a:avLst>
          </a:prstGeom>
          <a:solidFill>
            <a:schemeClr val="accent4"/>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b="1" dirty="0">
              <a:solidFill>
                <a:srgbClr val="00234B"/>
              </a:solidFill>
              <a:latin typeface="Calibri" panose="020F0502020204030204" pitchFamily="34" charset="0"/>
              <a:cs typeface="Arial" charset="0"/>
            </a:endParaRPr>
          </a:p>
        </p:txBody>
      </p:sp>
      <p:sp>
        <p:nvSpPr>
          <p:cNvPr id="23" name="Hexagon 22"/>
          <p:cNvSpPr/>
          <p:nvPr/>
        </p:nvSpPr>
        <p:spPr bwMode="auto">
          <a:xfrm>
            <a:off x="9681941" y="2090747"/>
            <a:ext cx="868363" cy="748589"/>
          </a:xfrm>
          <a:prstGeom prst="hexagon">
            <a:avLst>
              <a:gd name="adj" fmla="val 34346"/>
              <a:gd name="vf" fmla="val 115470"/>
            </a:avLst>
          </a:prstGeom>
          <a:ln>
            <a:headEnd type="none" w="med" len="med"/>
            <a:tailEnd type="none" w="med" len="med"/>
          </a:ln>
          <a:effectLst>
            <a:innerShdw blurRad="114300">
              <a:prstClr val="black"/>
            </a:innerShdw>
          </a:effectLst>
        </p:spPr>
        <p:style>
          <a:lnRef idx="2">
            <a:schemeClr val="accent4"/>
          </a:lnRef>
          <a:fillRef idx="1">
            <a:schemeClr val="lt1"/>
          </a:fillRef>
          <a:effectRef idx="0">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3200" b="1" dirty="0">
              <a:solidFill>
                <a:srgbClr val="ED771A"/>
              </a:solidFill>
              <a:latin typeface="Calibri" panose="020F0502020204030204" pitchFamily="34" charset="0"/>
              <a:cs typeface="Arial" charset="0"/>
            </a:endParaRPr>
          </a:p>
        </p:txBody>
      </p:sp>
      <p:sp>
        <p:nvSpPr>
          <p:cNvPr id="25" name="Freeform 24"/>
          <p:cNvSpPr>
            <a:spLocks/>
          </p:cNvSpPr>
          <p:nvPr/>
        </p:nvSpPr>
        <p:spPr bwMode="auto">
          <a:xfrm>
            <a:off x="9851322" y="2247768"/>
            <a:ext cx="505901" cy="402046"/>
          </a:xfrm>
          <a:custGeom>
            <a:avLst/>
            <a:gdLst/>
            <a:ahLst/>
            <a:cxnLst>
              <a:cxn ang="0">
                <a:pos x="155" y="84"/>
              </a:cxn>
              <a:cxn ang="0">
                <a:pos x="235" y="0"/>
              </a:cxn>
              <a:cxn ang="0">
                <a:pos x="105" y="108"/>
              </a:cxn>
              <a:cxn ang="0">
                <a:pos x="78" y="141"/>
              </a:cxn>
              <a:cxn ang="0">
                <a:pos x="71" y="151"/>
              </a:cxn>
              <a:cxn ang="0">
                <a:pos x="13" y="97"/>
              </a:cxn>
              <a:cxn ang="0">
                <a:pos x="0" y="133"/>
              </a:cxn>
              <a:cxn ang="0">
                <a:pos x="54" y="179"/>
              </a:cxn>
              <a:cxn ang="0">
                <a:pos x="57" y="183"/>
              </a:cxn>
              <a:cxn ang="0">
                <a:pos x="83" y="183"/>
              </a:cxn>
              <a:cxn ang="0">
                <a:pos x="88" y="172"/>
              </a:cxn>
              <a:cxn ang="0">
                <a:pos x="98" y="154"/>
              </a:cxn>
              <a:cxn ang="0">
                <a:pos x="120" y="119"/>
              </a:cxn>
            </a:cxnLst>
            <a:rect l="0" t="0" r="r" b="b"/>
            <a:pathLst>
              <a:path w="235" h="183">
                <a:moveTo>
                  <a:pt x="155" y="84"/>
                </a:moveTo>
                <a:cubicBezTo>
                  <a:pt x="179" y="57"/>
                  <a:pt x="206" y="23"/>
                  <a:pt x="235" y="0"/>
                </a:cubicBezTo>
                <a:cubicBezTo>
                  <a:pt x="188" y="30"/>
                  <a:pt x="142" y="64"/>
                  <a:pt x="105" y="108"/>
                </a:cubicBezTo>
                <a:cubicBezTo>
                  <a:pt x="95" y="118"/>
                  <a:pt x="86" y="130"/>
                  <a:pt x="78" y="141"/>
                </a:cubicBezTo>
                <a:cubicBezTo>
                  <a:pt x="76" y="144"/>
                  <a:pt x="73" y="148"/>
                  <a:pt x="71" y="151"/>
                </a:cubicBezTo>
                <a:cubicBezTo>
                  <a:pt x="58" y="129"/>
                  <a:pt x="40" y="108"/>
                  <a:pt x="13" y="97"/>
                </a:cubicBezTo>
                <a:cubicBezTo>
                  <a:pt x="0" y="133"/>
                  <a:pt x="0" y="133"/>
                  <a:pt x="0" y="133"/>
                </a:cubicBezTo>
                <a:cubicBezTo>
                  <a:pt x="22" y="139"/>
                  <a:pt x="39" y="156"/>
                  <a:pt x="54" y="179"/>
                </a:cubicBezTo>
                <a:cubicBezTo>
                  <a:pt x="57" y="183"/>
                  <a:pt x="57" y="183"/>
                  <a:pt x="57" y="183"/>
                </a:cubicBezTo>
                <a:cubicBezTo>
                  <a:pt x="83" y="183"/>
                  <a:pt x="83" y="183"/>
                  <a:pt x="83" y="183"/>
                </a:cubicBezTo>
                <a:cubicBezTo>
                  <a:pt x="88" y="172"/>
                  <a:pt x="88" y="172"/>
                  <a:pt x="88" y="172"/>
                </a:cubicBezTo>
                <a:cubicBezTo>
                  <a:pt x="91" y="166"/>
                  <a:pt x="94" y="160"/>
                  <a:pt x="98" y="154"/>
                </a:cubicBezTo>
                <a:cubicBezTo>
                  <a:pt x="104" y="142"/>
                  <a:pt x="112" y="131"/>
                  <a:pt x="120" y="119"/>
                </a:cubicBezTo>
              </a:path>
            </a:pathLst>
          </a:custGeom>
          <a:noFill/>
          <a:ln w="9525"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Calibri" panose="020F0502020204030204" pitchFamily="34" charset="0"/>
            </a:endParaRPr>
          </a:p>
        </p:txBody>
      </p:sp>
      <p:sp>
        <p:nvSpPr>
          <p:cNvPr id="26" name="Freeform 25"/>
          <p:cNvSpPr>
            <a:spLocks/>
          </p:cNvSpPr>
          <p:nvPr/>
        </p:nvSpPr>
        <p:spPr bwMode="auto">
          <a:xfrm>
            <a:off x="10107463" y="2530964"/>
            <a:ext cx="249761" cy="151348"/>
          </a:xfrm>
          <a:custGeom>
            <a:avLst/>
            <a:gdLst/>
            <a:ahLst/>
            <a:cxnLst>
              <a:cxn ang="0">
                <a:pos x="1" y="31"/>
              </a:cxn>
              <a:cxn ang="0">
                <a:pos x="1" y="41"/>
              </a:cxn>
              <a:cxn ang="0">
                <a:pos x="59" y="67"/>
              </a:cxn>
              <a:cxn ang="0">
                <a:pos x="116" y="38"/>
              </a:cxn>
              <a:cxn ang="0">
                <a:pos x="116" y="30"/>
              </a:cxn>
              <a:cxn ang="0">
                <a:pos x="116" y="27"/>
              </a:cxn>
              <a:cxn ang="0">
                <a:pos x="58" y="1"/>
              </a:cxn>
              <a:cxn ang="0">
                <a:pos x="57" y="1"/>
              </a:cxn>
              <a:cxn ang="0">
                <a:pos x="57" y="1"/>
              </a:cxn>
              <a:cxn ang="0">
                <a:pos x="1" y="31"/>
              </a:cxn>
            </a:cxnLst>
            <a:rect l="0" t="0" r="r" b="b"/>
            <a:pathLst>
              <a:path w="116" h="69">
                <a:moveTo>
                  <a:pt x="1" y="31"/>
                </a:moveTo>
                <a:cubicBezTo>
                  <a:pt x="1" y="33"/>
                  <a:pt x="1" y="39"/>
                  <a:pt x="1" y="41"/>
                </a:cubicBezTo>
                <a:cubicBezTo>
                  <a:pt x="2" y="57"/>
                  <a:pt x="28" y="69"/>
                  <a:pt x="59" y="67"/>
                </a:cubicBezTo>
                <a:cubicBezTo>
                  <a:pt x="91" y="66"/>
                  <a:pt x="116" y="53"/>
                  <a:pt x="116" y="38"/>
                </a:cubicBezTo>
                <a:cubicBezTo>
                  <a:pt x="116" y="36"/>
                  <a:pt x="116" y="33"/>
                  <a:pt x="116" y="30"/>
                </a:cubicBezTo>
                <a:cubicBezTo>
                  <a:pt x="116" y="29"/>
                  <a:pt x="116" y="28"/>
                  <a:pt x="116" y="27"/>
                </a:cubicBezTo>
                <a:cubicBezTo>
                  <a:pt x="115" y="12"/>
                  <a:pt x="89" y="0"/>
                  <a:pt x="58" y="1"/>
                </a:cubicBezTo>
                <a:cubicBezTo>
                  <a:pt x="58" y="1"/>
                  <a:pt x="58" y="1"/>
                  <a:pt x="57" y="1"/>
                </a:cubicBezTo>
                <a:cubicBezTo>
                  <a:pt x="57" y="1"/>
                  <a:pt x="57" y="1"/>
                  <a:pt x="57" y="1"/>
                </a:cubicBezTo>
                <a:cubicBezTo>
                  <a:pt x="26" y="2"/>
                  <a:pt x="0" y="15"/>
                  <a:pt x="1" y="31"/>
                </a:cubicBezTo>
                <a:close/>
              </a:path>
            </a:pathLst>
          </a:custGeom>
          <a:solidFill>
            <a:schemeClr val="bg1">
              <a:lumMod val="95000"/>
            </a:schemeClr>
          </a:solidFill>
          <a:ln w="9525" cap="flat">
            <a:solidFill>
              <a:schemeClr val="tx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Calibri" panose="020F0502020204030204" pitchFamily="34" charset="0"/>
            </a:endParaRPr>
          </a:p>
        </p:txBody>
      </p:sp>
      <p:sp>
        <p:nvSpPr>
          <p:cNvPr id="27" name="Freeform 26"/>
          <p:cNvSpPr>
            <a:spLocks/>
          </p:cNvSpPr>
          <p:nvPr/>
        </p:nvSpPr>
        <p:spPr bwMode="auto">
          <a:xfrm>
            <a:off x="10122046" y="2546749"/>
            <a:ext cx="222414" cy="104922"/>
          </a:xfrm>
          <a:custGeom>
            <a:avLst/>
            <a:gdLst/>
            <a:ahLst/>
            <a:cxnLst>
              <a:cxn ang="0">
                <a:pos x="11" y="3"/>
              </a:cxn>
              <a:cxn ang="0">
                <a:pos x="0" y="23"/>
              </a:cxn>
              <a:cxn ang="0">
                <a:pos x="52" y="47"/>
              </a:cxn>
              <a:cxn ang="0">
                <a:pos x="103" y="19"/>
              </a:cxn>
              <a:cxn ang="0">
                <a:pos x="89" y="0"/>
              </a:cxn>
            </a:cxnLst>
            <a:rect l="0" t="0" r="r" b="b"/>
            <a:pathLst>
              <a:path w="103" h="48">
                <a:moveTo>
                  <a:pt x="11" y="3"/>
                </a:moveTo>
                <a:cubicBezTo>
                  <a:pt x="3" y="8"/>
                  <a:pt x="0" y="16"/>
                  <a:pt x="0" y="23"/>
                </a:cubicBezTo>
                <a:cubicBezTo>
                  <a:pt x="0" y="37"/>
                  <a:pt x="24" y="48"/>
                  <a:pt x="52" y="47"/>
                </a:cubicBezTo>
                <a:cubicBezTo>
                  <a:pt x="81" y="47"/>
                  <a:pt x="103" y="34"/>
                  <a:pt x="103" y="19"/>
                </a:cubicBezTo>
                <a:cubicBezTo>
                  <a:pt x="103" y="12"/>
                  <a:pt x="98" y="4"/>
                  <a:pt x="89" y="0"/>
                </a:cubicBezTo>
              </a:path>
            </a:pathLst>
          </a:custGeom>
          <a:solidFill>
            <a:schemeClr val="bg1"/>
          </a:solidFill>
          <a:ln w="9525" cap="flat">
            <a:solidFill>
              <a:schemeClr val="tx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Calibri" panose="020F0502020204030204" pitchFamily="34" charset="0"/>
            </a:endParaRPr>
          </a:p>
        </p:txBody>
      </p:sp>
      <p:sp>
        <p:nvSpPr>
          <p:cNvPr id="30" name="Freeform 29"/>
          <p:cNvSpPr>
            <a:spLocks/>
          </p:cNvSpPr>
          <p:nvPr/>
        </p:nvSpPr>
        <p:spPr bwMode="auto">
          <a:xfrm>
            <a:off x="10131162" y="2498466"/>
            <a:ext cx="249761" cy="151348"/>
          </a:xfrm>
          <a:custGeom>
            <a:avLst/>
            <a:gdLst/>
            <a:ahLst/>
            <a:cxnLst>
              <a:cxn ang="0">
                <a:pos x="1" y="31"/>
              </a:cxn>
              <a:cxn ang="0">
                <a:pos x="1" y="41"/>
              </a:cxn>
              <a:cxn ang="0">
                <a:pos x="59" y="67"/>
              </a:cxn>
              <a:cxn ang="0">
                <a:pos x="116" y="38"/>
              </a:cxn>
              <a:cxn ang="0">
                <a:pos x="116" y="30"/>
              </a:cxn>
              <a:cxn ang="0">
                <a:pos x="116" y="27"/>
              </a:cxn>
              <a:cxn ang="0">
                <a:pos x="58" y="1"/>
              </a:cxn>
              <a:cxn ang="0">
                <a:pos x="57" y="1"/>
              </a:cxn>
              <a:cxn ang="0">
                <a:pos x="57" y="1"/>
              </a:cxn>
              <a:cxn ang="0">
                <a:pos x="1" y="31"/>
              </a:cxn>
            </a:cxnLst>
            <a:rect l="0" t="0" r="r" b="b"/>
            <a:pathLst>
              <a:path w="116" h="69">
                <a:moveTo>
                  <a:pt x="1" y="31"/>
                </a:moveTo>
                <a:cubicBezTo>
                  <a:pt x="1" y="33"/>
                  <a:pt x="1" y="39"/>
                  <a:pt x="1" y="41"/>
                </a:cubicBezTo>
                <a:cubicBezTo>
                  <a:pt x="2" y="57"/>
                  <a:pt x="28" y="69"/>
                  <a:pt x="59" y="67"/>
                </a:cubicBezTo>
                <a:cubicBezTo>
                  <a:pt x="91" y="66"/>
                  <a:pt x="116" y="53"/>
                  <a:pt x="116" y="38"/>
                </a:cubicBezTo>
                <a:cubicBezTo>
                  <a:pt x="116" y="36"/>
                  <a:pt x="116" y="33"/>
                  <a:pt x="116" y="30"/>
                </a:cubicBezTo>
                <a:cubicBezTo>
                  <a:pt x="116" y="29"/>
                  <a:pt x="116" y="28"/>
                  <a:pt x="116" y="27"/>
                </a:cubicBezTo>
                <a:cubicBezTo>
                  <a:pt x="115" y="12"/>
                  <a:pt x="89" y="0"/>
                  <a:pt x="58" y="1"/>
                </a:cubicBezTo>
                <a:cubicBezTo>
                  <a:pt x="58" y="1"/>
                  <a:pt x="58" y="1"/>
                  <a:pt x="57" y="1"/>
                </a:cubicBezTo>
                <a:cubicBezTo>
                  <a:pt x="57" y="1"/>
                  <a:pt x="57" y="1"/>
                  <a:pt x="57" y="1"/>
                </a:cubicBezTo>
                <a:cubicBezTo>
                  <a:pt x="26" y="2"/>
                  <a:pt x="0" y="15"/>
                  <a:pt x="1" y="31"/>
                </a:cubicBezTo>
                <a:close/>
              </a:path>
            </a:pathLst>
          </a:custGeom>
          <a:solidFill>
            <a:schemeClr val="bg1">
              <a:lumMod val="95000"/>
            </a:schemeClr>
          </a:solidFill>
          <a:ln w="9525" cap="flat">
            <a:solidFill>
              <a:schemeClr val="tx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Calibri" panose="020F0502020204030204" pitchFamily="34" charset="0"/>
            </a:endParaRPr>
          </a:p>
        </p:txBody>
      </p:sp>
      <p:sp>
        <p:nvSpPr>
          <p:cNvPr id="31" name="Freeform 30"/>
          <p:cNvSpPr>
            <a:spLocks/>
          </p:cNvSpPr>
          <p:nvPr/>
        </p:nvSpPr>
        <p:spPr bwMode="auto">
          <a:xfrm>
            <a:off x="10145746" y="2513323"/>
            <a:ext cx="222414" cy="105850"/>
          </a:xfrm>
          <a:custGeom>
            <a:avLst/>
            <a:gdLst/>
            <a:ahLst/>
            <a:cxnLst>
              <a:cxn ang="0">
                <a:pos x="11" y="3"/>
              </a:cxn>
              <a:cxn ang="0">
                <a:pos x="0" y="23"/>
              </a:cxn>
              <a:cxn ang="0">
                <a:pos x="52" y="47"/>
              </a:cxn>
              <a:cxn ang="0">
                <a:pos x="103" y="19"/>
              </a:cxn>
              <a:cxn ang="0">
                <a:pos x="89" y="0"/>
              </a:cxn>
            </a:cxnLst>
            <a:rect l="0" t="0" r="r" b="b"/>
            <a:pathLst>
              <a:path w="103" h="48">
                <a:moveTo>
                  <a:pt x="11" y="3"/>
                </a:moveTo>
                <a:cubicBezTo>
                  <a:pt x="3" y="8"/>
                  <a:pt x="0" y="16"/>
                  <a:pt x="0" y="23"/>
                </a:cubicBezTo>
                <a:cubicBezTo>
                  <a:pt x="0" y="37"/>
                  <a:pt x="24" y="48"/>
                  <a:pt x="52" y="47"/>
                </a:cubicBezTo>
                <a:cubicBezTo>
                  <a:pt x="81" y="47"/>
                  <a:pt x="103" y="34"/>
                  <a:pt x="103" y="19"/>
                </a:cubicBezTo>
                <a:cubicBezTo>
                  <a:pt x="103" y="12"/>
                  <a:pt x="98" y="4"/>
                  <a:pt x="89" y="0"/>
                </a:cubicBezTo>
              </a:path>
            </a:pathLst>
          </a:custGeom>
          <a:solidFill>
            <a:schemeClr val="bg1">
              <a:lumMod val="95000"/>
            </a:schemeClr>
          </a:solidFill>
          <a:ln w="9525" cap="flat">
            <a:solidFill>
              <a:schemeClr val="tx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Calibri" panose="020F0502020204030204" pitchFamily="34" charset="0"/>
            </a:endParaRPr>
          </a:p>
        </p:txBody>
      </p:sp>
      <p:sp>
        <p:nvSpPr>
          <p:cNvPr id="32" name="Freeform 31"/>
          <p:cNvSpPr>
            <a:spLocks/>
          </p:cNvSpPr>
          <p:nvPr/>
        </p:nvSpPr>
        <p:spPr bwMode="auto">
          <a:xfrm>
            <a:off x="10126605" y="2440900"/>
            <a:ext cx="247937" cy="149491"/>
          </a:xfrm>
          <a:custGeom>
            <a:avLst/>
            <a:gdLst/>
            <a:ahLst/>
            <a:cxnLst>
              <a:cxn ang="0">
                <a:pos x="0" y="31"/>
              </a:cxn>
              <a:cxn ang="0">
                <a:pos x="0" y="41"/>
              </a:cxn>
              <a:cxn ang="0">
                <a:pos x="59" y="67"/>
              </a:cxn>
              <a:cxn ang="0">
                <a:pos x="115" y="37"/>
              </a:cxn>
              <a:cxn ang="0">
                <a:pos x="115" y="29"/>
              </a:cxn>
              <a:cxn ang="0">
                <a:pos x="115" y="27"/>
              </a:cxn>
              <a:cxn ang="0">
                <a:pos x="57" y="1"/>
              </a:cxn>
              <a:cxn ang="0">
                <a:pos x="57" y="1"/>
              </a:cxn>
              <a:cxn ang="0">
                <a:pos x="56" y="1"/>
              </a:cxn>
              <a:cxn ang="0">
                <a:pos x="0" y="31"/>
              </a:cxn>
            </a:cxnLst>
            <a:rect l="0" t="0" r="r" b="b"/>
            <a:pathLst>
              <a:path w="115" h="68">
                <a:moveTo>
                  <a:pt x="0" y="31"/>
                </a:moveTo>
                <a:cubicBezTo>
                  <a:pt x="0" y="32"/>
                  <a:pt x="0" y="39"/>
                  <a:pt x="0" y="41"/>
                </a:cubicBezTo>
                <a:cubicBezTo>
                  <a:pt x="1" y="56"/>
                  <a:pt x="27" y="68"/>
                  <a:pt x="59" y="67"/>
                </a:cubicBezTo>
                <a:cubicBezTo>
                  <a:pt x="90" y="66"/>
                  <a:pt x="115" y="53"/>
                  <a:pt x="115" y="37"/>
                </a:cubicBezTo>
                <a:cubicBezTo>
                  <a:pt x="115" y="36"/>
                  <a:pt x="115" y="32"/>
                  <a:pt x="115" y="29"/>
                </a:cubicBezTo>
                <a:cubicBezTo>
                  <a:pt x="115" y="29"/>
                  <a:pt x="115" y="28"/>
                  <a:pt x="115" y="27"/>
                </a:cubicBezTo>
                <a:cubicBezTo>
                  <a:pt x="114" y="11"/>
                  <a:pt x="88" y="0"/>
                  <a:pt x="57" y="1"/>
                </a:cubicBezTo>
                <a:cubicBezTo>
                  <a:pt x="57" y="1"/>
                  <a:pt x="57" y="1"/>
                  <a:pt x="57" y="1"/>
                </a:cubicBezTo>
                <a:cubicBezTo>
                  <a:pt x="57" y="1"/>
                  <a:pt x="56" y="1"/>
                  <a:pt x="56" y="1"/>
                </a:cubicBezTo>
                <a:cubicBezTo>
                  <a:pt x="25" y="2"/>
                  <a:pt x="0" y="15"/>
                  <a:pt x="0" y="31"/>
                </a:cubicBezTo>
                <a:close/>
              </a:path>
            </a:pathLst>
          </a:custGeom>
          <a:solidFill>
            <a:schemeClr val="bg1">
              <a:lumMod val="95000"/>
            </a:schemeClr>
          </a:solidFill>
          <a:ln w="9525" cap="flat">
            <a:solidFill>
              <a:schemeClr val="tx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Calibri" panose="020F0502020204030204" pitchFamily="34" charset="0"/>
            </a:endParaRPr>
          </a:p>
        </p:txBody>
      </p:sp>
      <p:sp>
        <p:nvSpPr>
          <p:cNvPr id="33" name="Freeform 32"/>
          <p:cNvSpPr>
            <a:spLocks/>
          </p:cNvSpPr>
          <p:nvPr/>
        </p:nvSpPr>
        <p:spPr bwMode="auto">
          <a:xfrm>
            <a:off x="10139366" y="2453899"/>
            <a:ext cx="224238" cy="107707"/>
          </a:xfrm>
          <a:custGeom>
            <a:avLst/>
            <a:gdLst/>
            <a:ahLst/>
            <a:cxnLst>
              <a:cxn ang="0">
                <a:pos x="11" y="4"/>
              </a:cxn>
              <a:cxn ang="0">
                <a:pos x="0" y="23"/>
              </a:cxn>
              <a:cxn ang="0">
                <a:pos x="52" y="48"/>
              </a:cxn>
              <a:cxn ang="0">
                <a:pos x="103" y="20"/>
              </a:cxn>
              <a:cxn ang="0">
                <a:pos x="89" y="0"/>
              </a:cxn>
            </a:cxnLst>
            <a:rect l="0" t="0" r="r" b="b"/>
            <a:pathLst>
              <a:path w="104" h="49">
                <a:moveTo>
                  <a:pt x="11" y="4"/>
                </a:moveTo>
                <a:cubicBezTo>
                  <a:pt x="3" y="9"/>
                  <a:pt x="0" y="16"/>
                  <a:pt x="0" y="23"/>
                </a:cubicBezTo>
                <a:cubicBezTo>
                  <a:pt x="1" y="38"/>
                  <a:pt x="24" y="49"/>
                  <a:pt x="52" y="48"/>
                </a:cubicBezTo>
                <a:cubicBezTo>
                  <a:pt x="81" y="47"/>
                  <a:pt x="104" y="35"/>
                  <a:pt x="103" y="20"/>
                </a:cubicBezTo>
                <a:cubicBezTo>
                  <a:pt x="103" y="13"/>
                  <a:pt x="98" y="5"/>
                  <a:pt x="89" y="0"/>
                </a:cubicBezTo>
              </a:path>
            </a:pathLst>
          </a:custGeom>
          <a:solidFill>
            <a:schemeClr val="bg1">
              <a:lumMod val="95000"/>
            </a:schemeClr>
          </a:solidFill>
          <a:ln w="9525" cap="flat">
            <a:solidFill>
              <a:schemeClr val="tx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Calibri" panose="020F0502020204030204" pitchFamily="34" charset="0"/>
            </a:endParaRPr>
          </a:p>
        </p:txBody>
      </p:sp>
      <p:sp>
        <p:nvSpPr>
          <p:cNvPr id="34" name="Rounded Rectangle 33"/>
          <p:cNvSpPr/>
          <p:nvPr/>
        </p:nvSpPr>
        <p:spPr bwMode="auto">
          <a:xfrm>
            <a:off x="7248526" y="3243709"/>
            <a:ext cx="2105025" cy="1119188"/>
          </a:xfrm>
          <a:prstGeom prst="roundRect">
            <a:avLst/>
          </a:prstGeom>
          <a:solidFill>
            <a:schemeClr val="accent1"/>
          </a:solidFill>
          <a:ln w="6350" cap="flat" cmpd="sng" algn="ctr">
            <a:noFill/>
            <a:prstDash val="solid"/>
            <a:round/>
            <a:headEnd type="none" w="med" len="med"/>
            <a:tailEnd type="none" w="med" len="med"/>
          </a:ln>
          <a:effectLst/>
        </p:spPr>
        <p:txBody>
          <a:bodyPr vert="horz" wrap="none" lIns="411480" tIns="0" rIns="45720" bIns="0" numCol="1" rtlCol="0" anchor="ctr" anchorCtr="0" compatLnSpc="1">
            <a:prstTxWarp prst="textNoShape">
              <a:avLst/>
            </a:prstTxWarp>
          </a:bodyPr>
          <a:lstStyle/>
          <a:p>
            <a:pPr algn="ctr" eaLnBrk="0" fontAlgn="base" hangingPunct="0">
              <a:spcBef>
                <a:spcPct val="0"/>
              </a:spcBef>
              <a:spcAft>
                <a:spcPct val="0"/>
              </a:spcAft>
            </a:pPr>
            <a:r>
              <a:rPr lang="en-US" sz="1600" b="1" dirty="0">
                <a:solidFill>
                  <a:prstClr val="white"/>
                </a:solidFill>
                <a:latin typeface="Calibri" panose="020F0502020204030204" pitchFamily="34" charset="0"/>
                <a:cs typeface="Arial" charset="0"/>
              </a:rPr>
              <a:t>Efficient</a:t>
            </a:r>
            <a:br>
              <a:rPr lang="en-US" sz="1600" b="1" dirty="0">
                <a:solidFill>
                  <a:prstClr val="white"/>
                </a:solidFill>
                <a:latin typeface="Calibri" panose="020F0502020204030204" pitchFamily="34" charset="0"/>
                <a:cs typeface="Arial" charset="0"/>
              </a:rPr>
            </a:br>
            <a:r>
              <a:rPr lang="en-US" sz="1600" b="1" dirty="0">
                <a:solidFill>
                  <a:prstClr val="white"/>
                </a:solidFill>
                <a:latin typeface="Calibri" panose="020F0502020204030204" pitchFamily="34" charset="0"/>
                <a:cs typeface="Arial" charset="0"/>
              </a:rPr>
              <a:t>Enterprise</a:t>
            </a:r>
          </a:p>
        </p:txBody>
      </p:sp>
      <p:sp>
        <p:nvSpPr>
          <p:cNvPr id="35" name="Right Brace 34"/>
          <p:cNvSpPr/>
          <p:nvPr/>
        </p:nvSpPr>
        <p:spPr bwMode="auto">
          <a:xfrm>
            <a:off x="7368540" y="3248473"/>
            <a:ext cx="359568" cy="1109663"/>
          </a:xfrm>
          <a:prstGeom prst="rightBrace">
            <a:avLst>
              <a:gd name="adj1" fmla="val 78013"/>
              <a:gd name="adj2" fmla="val 50000"/>
            </a:avLst>
          </a:prstGeom>
          <a:solidFill>
            <a:schemeClr val="bg1">
              <a:lumMod val="95000"/>
            </a:schemeClr>
          </a:solidFill>
          <a:ln w="6350" cap="flat" cmpd="sng" algn="ctr">
            <a:noFill/>
            <a:prstDash val="solid"/>
            <a:round/>
            <a:headEnd type="none" w="med" len="med"/>
            <a:tailEnd type="none" w="med" len="med"/>
          </a:ln>
          <a:effectLst>
            <a:outerShdw blurRad="50800" dist="38100" algn="l" rotWithShape="0">
              <a:prstClr val="black">
                <a:alpha val="40000"/>
              </a:prstClr>
            </a:outerShdw>
          </a:effectLst>
        </p:spPr>
        <p:txBody>
          <a:bodyPr rtlCol="0" anchor="ctr"/>
          <a:lstStyle/>
          <a:p>
            <a:pPr algn="ctr"/>
            <a:endParaRPr lang="en-US" dirty="0">
              <a:solidFill>
                <a:srgbClr val="00234B"/>
              </a:solidFill>
              <a:latin typeface="Calibri" panose="020F0502020204030204" pitchFamily="34" charset="0"/>
            </a:endParaRPr>
          </a:p>
        </p:txBody>
      </p:sp>
      <p:sp>
        <p:nvSpPr>
          <p:cNvPr id="36" name="Rounded Rectangle 35"/>
          <p:cNvSpPr/>
          <p:nvPr/>
        </p:nvSpPr>
        <p:spPr bwMode="auto">
          <a:xfrm>
            <a:off x="4476750" y="3243709"/>
            <a:ext cx="3100388" cy="1119188"/>
          </a:xfrm>
          <a:prstGeom prst="roundRect">
            <a:avLst/>
          </a:prstGeom>
          <a:solidFill>
            <a:schemeClr val="bg1">
              <a:lumMod val="95000"/>
            </a:schemeClr>
          </a:solidFill>
          <a:ln w="6350" cap="flat" cmpd="sng" algn="ctr">
            <a:noFill/>
            <a:prstDash val="solid"/>
            <a:round/>
            <a:headEnd type="none" w="med" len="med"/>
            <a:tailEnd type="none" w="med" len="med"/>
          </a:ln>
          <a:effectLst/>
        </p:spPr>
        <p:txBody>
          <a:bodyPr vert="horz" wrap="none" lIns="640080" tIns="0" rIns="0" bIns="0" numCol="1" rtlCol="0" anchor="ctr" anchorCtr="0" compatLnSpc="1">
            <a:prstTxWarp prst="textNoShape">
              <a:avLst/>
            </a:prstTxWarp>
          </a:bodyPr>
          <a:lstStyle/>
          <a:p>
            <a:pPr algn="ctr" eaLnBrk="0" fontAlgn="base" hangingPunct="0">
              <a:spcBef>
                <a:spcPct val="0"/>
              </a:spcBef>
              <a:spcAft>
                <a:spcPct val="0"/>
              </a:spcAft>
            </a:pPr>
            <a:r>
              <a:rPr lang="en-US" sz="1600" b="1" dirty="0">
                <a:solidFill>
                  <a:srgbClr val="00234B"/>
                </a:solidFill>
                <a:latin typeface="Calibri" panose="020F0502020204030204" pitchFamily="34" charset="0"/>
                <a:cs typeface="Arial" charset="0"/>
              </a:rPr>
              <a:t>Improve</a:t>
            </a:r>
            <a:br>
              <a:rPr lang="en-US" sz="1600" b="1" dirty="0">
                <a:solidFill>
                  <a:srgbClr val="00234B"/>
                </a:solidFill>
                <a:latin typeface="Calibri" panose="020F0502020204030204" pitchFamily="34" charset="0"/>
                <a:cs typeface="Arial" charset="0"/>
              </a:rPr>
            </a:br>
            <a:r>
              <a:rPr lang="en-US" sz="1600" b="1" dirty="0">
                <a:solidFill>
                  <a:srgbClr val="00234B"/>
                </a:solidFill>
                <a:latin typeface="Calibri" panose="020F0502020204030204" pitchFamily="34" charset="0"/>
                <a:cs typeface="Arial" charset="0"/>
              </a:rPr>
              <a:t>workforce productivity</a:t>
            </a:r>
          </a:p>
        </p:txBody>
      </p:sp>
      <p:sp>
        <p:nvSpPr>
          <p:cNvPr id="39" name="Pentagon 38"/>
          <p:cNvSpPr/>
          <p:nvPr/>
        </p:nvSpPr>
        <p:spPr bwMode="auto">
          <a:xfrm>
            <a:off x="2329544" y="3243710"/>
            <a:ext cx="2899682" cy="1119188"/>
          </a:xfrm>
          <a:prstGeom prst="homePlate">
            <a:avLst/>
          </a:prstGeom>
          <a:solidFill>
            <a:schemeClr val="bg2">
              <a:lumMod val="50000"/>
            </a:schemeClr>
          </a:solidFill>
          <a:ln w="6350"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eaLnBrk="0" fontAlgn="base" hangingPunct="0">
              <a:spcBef>
                <a:spcPts val="600"/>
              </a:spcBef>
              <a:spcAft>
                <a:spcPct val="0"/>
              </a:spcAft>
            </a:pPr>
            <a:r>
              <a:rPr lang="en-US" sz="1600" b="1" dirty="0">
                <a:solidFill>
                  <a:schemeClr val="bg1"/>
                </a:solidFill>
                <a:latin typeface="Calibri" panose="020F0502020204030204" pitchFamily="34" charset="0"/>
                <a:cs typeface="Arial" charset="0"/>
              </a:rPr>
              <a:t>Enhance </a:t>
            </a:r>
            <a:br>
              <a:rPr lang="en-US" sz="1600" b="1" dirty="0">
                <a:solidFill>
                  <a:schemeClr val="bg1"/>
                </a:solidFill>
                <a:latin typeface="Calibri" panose="020F0502020204030204" pitchFamily="34" charset="0"/>
                <a:cs typeface="Arial" charset="0"/>
              </a:rPr>
            </a:br>
            <a:r>
              <a:rPr lang="en-US" sz="1600" b="1" dirty="0">
                <a:solidFill>
                  <a:schemeClr val="bg1"/>
                </a:solidFill>
                <a:latin typeface="Calibri" panose="020F0502020204030204" pitchFamily="34" charset="0"/>
                <a:cs typeface="Arial" charset="0"/>
              </a:rPr>
              <a:t>Organizational</a:t>
            </a:r>
            <a:br>
              <a:rPr lang="en-US" sz="1600" b="1" dirty="0">
                <a:solidFill>
                  <a:schemeClr val="bg1"/>
                </a:solidFill>
                <a:latin typeface="Calibri" panose="020F0502020204030204" pitchFamily="34" charset="0"/>
                <a:cs typeface="Arial" charset="0"/>
              </a:rPr>
            </a:br>
            <a:r>
              <a:rPr lang="en-US" sz="1600" b="1" dirty="0">
                <a:solidFill>
                  <a:schemeClr val="bg1"/>
                </a:solidFill>
                <a:latin typeface="Calibri" panose="020F0502020204030204" pitchFamily="34" charset="0"/>
                <a:cs typeface="Arial" charset="0"/>
              </a:rPr>
              <a:t>effectiveness </a:t>
            </a:r>
          </a:p>
        </p:txBody>
      </p:sp>
      <p:sp>
        <p:nvSpPr>
          <p:cNvPr id="41" name="Hexagon 40"/>
          <p:cNvSpPr/>
          <p:nvPr/>
        </p:nvSpPr>
        <p:spPr bwMode="auto">
          <a:xfrm>
            <a:off x="9525001" y="3293717"/>
            <a:ext cx="1182243" cy="1019175"/>
          </a:xfrm>
          <a:prstGeom prst="hexagon">
            <a:avLst>
              <a:gd name="adj" fmla="val 34346"/>
              <a:gd name="vf" fmla="val 115470"/>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b="1" dirty="0">
              <a:solidFill>
                <a:srgbClr val="00234B"/>
              </a:solidFill>
              <a:latin typeface="Calibri" panose="020F0502020204030204" pitchFamily="34" charset="0"/>
              <a:cs typeface="Arial" charset="0"/>
            </a:endParaRPr>
          </a:p>
        </p:txBody>
      </p:sp>
      <p:sp>
        <p:nvSpPr>
          <p:cNvPr id="42" name="Hexagon 41"/>
          <p:cNvSpPr/>
          <p:nvPr/>
        </p:nvSpPr>
        <p:spPr bwMode="auto">
          <a:xfrm>
            <a:off x="9681941" y="3429010"/>
            <a:ext cx="868363" cy="748589"/>
          </a:xfrm>
          <a:prstGeom prst="hexagon">
            <a:avLst>
              <a:gd name="adj" fmla="val 34346"/>
              <a:gd name="vf" fmla="val 115470"/>
            </a:avLst>
          </a:prstGeom>
          <a:ln>
            <a:solidFill>
              <a:schemeClr val="accent1"/>
            </a:solidFill>
            <a:headEnd type="none" w="med" len="med"/>
            <a:tailEnd type="none" w="med" len="med"/>
          </a:ln>
          <a:effectLst>
            <a:innerShdw blurRad="114300">
              <a:prstClr val="black"/>
            </a:innerShdw>
          </a:effectLst>
        </p:spPr>
        <p:style>
          <a:lnRef idx="2">
            <a:schemeClr val="accent4"/>
          </a:lnRef>
          <a:fillRef idx="1">
            <a:schemeClr val="lt1"/>
          </a:fillRef>
          <a:effectRef idx="0">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3200" b="1" dirty="0">
              <a:solidFill>
                <a:srgbClr val="ED771A"/>
              </a:solidFill>
              <a:latin typeface="Calibri" panose="020F0502020204030204" pitchFamily="34" charset="0"/>
              <a:cs typeface="Arial" charset="0"/>
            </a:endParaRPr>
          </a:p>
        </p:txBody>
      </p:sp>
      <p:sp>
        <p:nvSpPr>
          <p:cNvPr id="44" name="Freeform 12"/>
          <p:cNvSpPr>
            <a:spLocks/>
          </p:cNvSpPr>
          <p:nvPr/>
        </p:nvSpPr>
        <p:spPr bwMode="auto">
          <a:xfrm>
            <a:off x="9811369" y="3655585"/>
            <a:ext cx="245726" cy="272834"/>
          </a:xfrm>
          <a:custGeom>
            <a:avLst/>
            <a:gdLst/>
            <a:ahLst/>
            <a:cxnLst>
              <a:cxn ang="0">
                <a:pos x="95" y="68"/>
              </a:cxn>
              <a:cxn ang="0">
                <a:pos x="49" y="0"/>
              </a:cxn>
              <a:cxn ang="0">
                <a:pos x="0" y="66"/>
              </a:cxn>
              <a:cxn ang="0">
                <a:pos x="27" y="67"/>
              </a:cxn>
              <a:cxn ang="0">
                <a:pos x="27" y="93"/>
              </a:cxn>
              <a:cxn ang="0">
                <a:pos x="70" y="143"/>
              </a:cxn>
              <a:cxn ang="0">
                <a:pos x="119" y="115"/>
              </a:cxn>
              <a:cxn ang="0">
                <a:pos x="86" y="115"/>
              </a:cxn>
              <a:cxn ang="0">
                <a:pos x="68" y="90"/>
              </a:cxn>
              <a:cxn ang="0">
                <a:pos x="68" y="68"/>
              </a:cxn>
            </a:cxnLst>
            <a:rect l="0" t="0" r="r" b="b"/>
            <a:pathLst>
              <a:path w="119" h="143">
                <a:moveTo>
                  <a:pt x="95" y="68"/>
                </a:moveTo>
                <a:cubicBezTo>
                  <a:pt x="49" y="0"/>
                  <a:pt x="49" y="0"/>
                  <a:pt x="49" y="0"/>
                </a:cubicBezTo>
                <a:cubicBezTo>
                  <a:pt x="0" y="66"/>
                  <a:pt x="0" y="66"/>
                  <a:pt x="0" y="66"/>
                </a:cubicBezTo>
                <a:cubicBezTo>
                  <a:pt x="27" y="67"/>
                  <a:pt x="27" y="67"/>
                  <a:pt x="27" y="67"/>
                </a:cubicBezTo>
                <a:cubicBezTo>
                  <a:pt x="27" y="67"/>
                  <a:pt x="27" y="79"/>
                  <a:pt x="27" y="93"/>
                </a:cubicBezTo>
                <a:cubicBezTo>
                  <a:pt x="27" y="111"/>
                  <a:pt x="41" y="142"/>
                  <a:pt x="70" y="143"/>
                </a:cubicBezTo>
                <a:cubicBezTo>
                  <a:pt x="94" y="143"/>
                  <a:pt x="116" y="125"/>
                  <a:pt x="119" y="115"/>
                </a:cubicBezTo>
                <a:cubicBezTo>
                  <a:pt x="119" y="115"/>
                  <a:pt x="91" y="117"/>
                  <a:pt x="86" y="115"/>
                </a:cubicBezTo>
                <a:cubicBezTo>
                  <a:pt x="83" y="115"/>
                  <a:pt x="69" y="113"/>
                  <a:pt x="68" y="90"/>
                </a:cubicBezTo>
                <a:cubicBezTo>
                  <a:pt x="68" y="68"/>
                  <a:pt x="68" y="68"/>
                  <a:pt x="68" y="68"/>
                </a:cubicBezTo>
              </a:path>
            </a:pathLst>
          </a:custGeom>
          <a:noFill/>
          <a:ln w="9525"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Calibri" panose="020F0502020204030204" pitchFamily="34" charset="0"/>
            </a:endParaRPr>
          </a:p>
        </p:txBody>
      </p:sp>
      <p:sp>
        <p:nvSpPr>
          <p:cNvPr id="45" name="Freeform 13"/>
          <p:cNvSpPr>
            <a:spLocks/>
          </p:cNvSpPr>
          <p:nvPr/>
        </p:nvSpPr>
        <p:spPr bwMode="auto">
          <a:xfrm>
            <a:off x="10008126" y="3645900"/>
            <a:ext cx="412749" cy="314809"/>
          </a:xfrm>
          <a:custGeom>
            <a:avLst/>
            <a:gdLst/>
            <a:ahLst/>
            <a:cxnLst>
              <a:cxn ang="0">
                <a:pos x="35" y="82"/>
              </a:cxn>
              <a:cxn ang="0">
                <a:pos x="64" y="91"/>
              </a:cxn>
              <a:cxn ang="0">
                <a:pos x="65" y="96"/>
              </a:cxn>
              <a:cxn ang="0">
                <a:pos x="67" y="101"/>
              </a:cxn>
              <a:cxn ang="0">
                <a:pos x="44" y="122"/>
              </a:cxn>
              <a:cxn ang="0">
                <a:pos x="53" y="136"/>
              </a:cxn>
              <a:cxn ang="0">
                <a:pos x="82" y="124"/>
              </a:cxn>
              <a:cxn ang="0">
                <a:pos x="90" y="130"/>
              </a:cxn>
              <a:cxn ang="0">
                <a:pos x="86" y="160"/>
              </a:cxn>
              <a:cxn ang="0">
                <a:pos x="102" y="165"/>
              </a:cxn>
              <a:cxn ang="0">
                <a:pos x="116" y="137"/>
              </a:cxn>
              <a:cxn ang="0">
                <a:pos x="126" y="137"/>
              </a:cxn>
              <a:cxn ang="0">
                <a:pos x="143" y="163"/>
              </a:cxn>
              <a:cxn ang="0">
                <a:pos x="158" y="156"/>
              </a:cxn>
              <a:cxn ang="0">
                <a:pos x="151" y="126"/>
              </a:cxn>
              <a:cxn ang="0">
                <a:pos x="159" y="119"/>
              </a:cxn>
              <a:cxn ang="0">
                <a:pos x="188" y="128"/>
              </a:cxn>
              <a:cxn ang="0">
                <a:pos x="196" y="113"/>
              </a:cxn>
              <a:cxn ang="0">
                <a:pos x="171" y="95"/>
              </a:cxn>
              <a:cxn ang="0">
                <a:pos x="172" y="85"/>
              </a:cxn>
              <a:cxn ang="0">
                <a:pos x="200" y="72"/>
              </a:cxn>
              <a:cxn ang="0">
                <a:pos x="197" y="56"/>
              </a:cxn>
              <a:cxn ang="0">
                <a:pos x="166" y="58"/>
              </a:cxn>
              <a:cxn ang="0">
                <a:pos x="160" y="50"/>
              </a:cxn>
              <a:cxn ang="0">
                <a:pos x="174" y="22"/>
              </a:cxn>
              <a:cxn ang="0">
                <a:pos x="161" y="12"/>
              </a:cxn>
              <a:cxn ang="0">
                <a:pos x="138" y="33"/>
              </a:cxn>
              <a:cxn ang="0">
                <a:pos x="129" y="30"/>
              </a:cxn>
              <a:cxn ang="0">
                <a:pos x="121" y="0"/>
              </a:cxn>
              <a:cxn ang="0">
                <a:pos x="105" y="1"/>
              </a:cxn>
              <a:cxn ang="0">
                <a:pos x="101" y="32"/>
              </a:cxn>
              <a:cxn ang="0">
                <a:pos x="92" y="36"/>
              </a:cxn>
              <a:cxn ang="0">
                <a:pos x="66" y="20"/>
              </a:cxn>
              <a:cxn ang="0">
                <a:pos x="56" y="26"/>
              </a:cxn>
              <a:cxn ang="0">
                <a:pos x="66" y="54"/>
              </a:cxn>
              <a:cxn ang="0">
                <a:pos x="52" y="63"/>
              </a:cxn>
              <a:cxn ang="0">
                <a:pos x="33" y="40"/>
              </a:cxn>
              <a:cxn ang="0">
                <a:pos x="21" y="44"/>
              </a:cxn>
              <a:cxn ang="0">
                <a:pos x="17" y="73"/>
              </a:cxn>
              <a:cxn ang="0">
                <a:pos x="0" y="73"/>
              </a:cxn>
            </a:cxnLst>
            <a:rect l="0" t="0" r="r" b="b"/>
            <a:pathLst>
              <a:path w="200" h="165">
                <a:moveTo>
                  <a:pt x="35" y="82"/>
                </a:moveTo>
                <a:cubicBezTo>
                  <a:pt x="64" y="91"/>
                  <a:pt x="64" y="91"/>
                  <a:pt x="64" y="91"/>
                </a:cubicBezTo>
                <a:cubicBezTo>
                  <a:pt x="64" y="92"/>
                  <a:pt x="65" y="94"/>
                  <a:pt x="65" y="96"/>
                </a:cubicBezTo>
                <a:cubicBezTo>
                  <a:pt x="66" y="97"/>
                  <a:pt x="66" y="99"/>
                  <a:pt x="67" y="101"/>
                </a:cubicBezTo>
                <a:cubicBezTo>
                  <a:pt x="44" y="122"/>
                  <a:pt x="44" y="122"/>
                  <a:pt x="44" y="122"/>
                </a:cubicBezTo>
                <a:cubicBezTo>
                  <a:pt x="53" y="136"/>
                  <a:pt x="53" y="136"/>
                  <a:pt x="53" y="136"/>
                </a:cubicBezTo>
                <a:cubicBezTo>
                  <a:pt x="82" y="124"/>
                  <a:pt x="82" y="124"/>
                  <a:pt x="82" y="124"/>
                </a:cubicBezTo>
                <a:cubicBezTo>
                  <a:pt x="84" y="126"/>
                  <a:pt x="87" y="128"/>
                  <a:pt x="90" y="130"/>
                </a:cubicBezTo>
                <a:cubicBezTo>
                  <a:pt x="86" y="160"/>
                  <a:pt x="86" y="160"/>
                  <a:pt x="86" y="160"/>
                </a:cubicBezTo>
                <a:cubicBezTo>
                  <a:pt x="102" y="165"/>
                  <a:pt x="102" y="165"/>
                  <a:pt x="102" y="165"/>
                </a:cubicBezTo>
                <a:cubicBezTo>
                  <a:pt x="116" y="137"/>
                  <a:pt x="116" y="137"/>
                  <a:pt x="116" y="137"/>
                </a:cubicBezTo>
                <a:cubicBezTo>
                  <a:pt x="119" y="138"/>
                  <a:pt x="123" y="137"/>
                  <a:pt x="126" y="137"/>
                </a:cubicBezTo>
                <a:cubicBezTo>
                  <a:pt x="143" y="163"/>
                  <a:pt x="143" y="163"/>
                  <a:pt x="143" y="163"/>
                </a:cubicBezTo>
                <a:cubicBezTo>
                  <a:pt x="158" y="156"/>
                  <a:pt x="158" y="156"/>
                  <a:pt x="158" y="156"/>
                </a:cubicBezTo>
                <a:cubicBezTo>
                  <a:pt x="151" y="126"/>
                  <a:pt x="151" y="126"/>
                  <a:pt x="151" y="126"/>
                </a:cubicBezTo>
                <a:cubicBezTo>
                  <a:pt x="154" y="124"/>
                  <a:pt x="156" y="122"/>
                  <a:pt x="159" y="119"/>
                </a:cubicBezTo>
                <a:cubicBezTo>
                  <a:pt x="188" y="128"/>
                  <a:pt x="188" y="128"/>
                  <a:pt x="188" y="128"/>
                </a:cubicBezTo>
                <a:cubicBezTo>
                  <a:pt x="196" y="113"/>
                  <a:pt x="196" y="113"/>
                  <a:pt x="196" y="113"/>
                </a:cubicBezTo>
                <a:cubicBezTo>
                  <a:pt x="171" y="95"/>
                  <a:pt x="171" y="95"/>
                  <a:pt x="171" y="95"/>
                </a:cubicBezTo>
                <a:cubicBezTo>
                  <a:pt x="172" y="91"/>
                  <a:pt x="172" y="88"/>
                  <a:pt x="172" y="85"/>
                </a:cubicBezTo>
                <a:cubicBezTo>
                  <a:pt x="200" y="72"/>
                  <a:pt x="200" y="72"/>
                  <a:pt x="200" y="72"/>
                </a:cubicBezTo>
                <a:cubicBezTo>
                  <a:pt x="197" y="56"/>
                  <a:pt x="197" y="56"/>
                  <a:pt x="197" y="56"/>
                </a:cubicBezTo>
                <a:cubicBezTo>
                  <a:pt x="166" y="58"/>
                  <a:pt x="166" y="58"/>
                  <a:pt x="166" y="58"/>
                </a:cubicBezTo>
                <a:cubicBezTo>
                  <a:pt x="164" y="55"/>
                  <a:pt x="162" y="52"/>
                  <a:pt x="160" y="50"/>
                </a:cubicBezTo>
                <a:cubicBezTo>
                  <a:pt x="174" y="22"/>
                  <a:pt x="174" y="22"/>
                  <a:pt x="174" y="22"/>
                </a:cubicBezTo>
                <a:cubicBezTo>
                  <a:pt x="161" y="12"/>
                  <a:pt x="161" y="12"/>
                  <a:pt x="161" y="12"/>
                </a:cubicBezTo>
                <a:cubicBezTo>
                  <a:pt x="138" y="33"/>
                  <a:pt x="138" y="33"/>
                  <a:pt x="138" y="33"/>
                </a:cubicBezTo>
                <a:cubicBezTo>
                  <a:pt x="135" y="32"/>
                  <a:pt x="132" y="31"/>
                  <a:pt x="129" y="30"/>
                </a:cubicBezTo>
                <a:cubicBezTo>
                  <a:pt x="121" y="0"/>
                  <a:pt x="121" y="0"/>
                  <a:pt x="121" y="0"/>
                </a:cubicBezTo>
                <a:cubicBezTo>
                  <a:pt x="105" y="1"/>
                  <a:pt x="105" y="1"/>
                  <a:pt x="105" y="1"/>
                </a:cubicBezTo>
                <a:cubicBezTo>
                  <a:pt x="101" y="32"/>
                  <a:pt x="101" y="32"/>
                  <a:pt x="101" y="32"/>
                </a:cubicBezTo>
                <a:cubicBezTo>
                  <a:pt x="98" y="33"/>
                  <a:pt x="95" y="34"/>
                  <a:pt x="92" y="36"/>
                </a:cubicBezTo>
                <a:cubicBezTo>
                  <a:pt x="66" y="20"/>
                  <a:pt x="66" y="20"/>
                  <a:pt x="66" y="20"/>
                </a:cubicBezTo>
                <a:cubicBezTo>
                  <a:pt x="56" y="26"/>
                  <a:pt x="56" y="26"/>
                  <a:pt x="56" y="26"/>
                </a:cubicBezTo>
                <a:cubicBezTo>
                  <a:pt x="66" y="54"/>
                  <a:pt x="66" y="54"/>
                  <a:pt x="66" y="54"/>
                </a:cubicBezTo>
                <a:cubicBezTo>
                  <a:pt x="52" y="63"/>
                  <a:pt x="52" y="63"/>
                  <a:pt x="52" y="63"/>
                </a:cubicBezTo>
                <a:cubicBezTo>
                  <a:pt x="33" y="40"/>
                  <a:pt x="33" y="40"/>
                  <a:pt x="33" y="40"/>
                </a:cubicBezTo>
                <a:cubicBezTo>
                  <a:pt x="29" y="42"/>
                  <a:pt x="25" y="43"/>
                  <a:pt x="21" y="44"/>
                </a:cubicBezTo>
                <a:cubicBezTo>
                  <a:pt x="17" y="73"/>
                  <a:pt x="17" y="73"/>
                  <a:pt x="17" y="73"/>
                </a:cubicBezTo>
                <a:cubicBezTo>
                  <a:pt x="0" y="73"/>
                  <a:pt x="0" y="73"/>
                  <a:pt x="0" y="73"/>
                </a:cubicBezTo>
              </a:path>
            </a:pathLst>
          </a:custGeom>
          <a:noFill/>
          <a:ln w="9525"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Calibri" panose="020F0502020204030204" pitchFamily="34" charset="0"/>
            </a:endParaRPr>
          </a:p>
        </p:txBody>
      </p:sp>
      <p:sp>
        <p:nvSpPr>
          <p:cNvPr id="46" name="Freeform 14"/>
          <p:cNvSpPr>
            <a:spLocks/>
          </p:cNvSpPr>
          <p:nvPr/>
        </p:nvSpPr>
        <p:spPr bwMode="auto">
          <a:xfrm>
            <a:off x="10193513" y="3750835"/>
            <a:ext cx="113681" cy="104936"/>
          </a:xfrm>
          <a:custGeom>
            <a:avLst/>
            <a:gdLst/>
            <a:ahLst/>
            <a:cxnLst>
              <a:cxn ang="0">
                <a:pos x="28" y="55"/>
              </a:cxn>
              <a:cxn ang="0">
                <a:pos x="0" y="28"/>
              </a:cxn>
              <a:cxn ang="0">
                <a:pos x="27" y="0"/>
              </a:cxn>
              <a:cxn ang="0">
                <a:pos x="55" y="27"/>
              </a:cxn>
              <a:cxn ang="0">
                <a:pos x="28" y="55"/>
              </a:cxn>
            </a:cxnLst>
            <a:rect l="0" t="0" r="r" b="b"/>
            <a:pathLst>
              <a:path w="55" h="55">
                <a:moveTo>
                  <a:pt x="28" y="55"/>
                </a:moveTo>
                <a:cubicBezTo>
                  <a:pt x="13" y="55"/>
                  <a:pt x="1" y="43"/>
                  <a:pt x="0" y="28"/>
                </a:cubicBezTo>
                <a:cubicBezTo>
                  <a:pt x="0" y="13"/>
                  <a:pt x="12" y="1"/>
                  <a:pt x="27" y="0"/>
                </a:cubicBezTo>
                <a:cubicBezTo>
                  <a:pt x="42" y="0"/>
                  <a:pt x="54" y="12"/>
                  <a:pt x="55" y="27"/>
                </a:cubicBezTo>
                <a:cubicBezTo>
                  <a:pt x="55" y="42"/>
                  <a:pt x="43" y="54"/>
                  <a:pt x="28" y="55"/>
                </a:cubicBezTo>
                <a:close/>
              </a:path>
            </a:pathLst>
          </a:custGeom>
          <a:noFill/>
          <a:ln w="9525"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Calibri" panose="020F0502020204030204" pitchFamily="34" charset="0"/>
            </a:endParaRPr>
          </a:p>
        </p:txBody>
      </p:sp>
      <p:sp>
        <p:nvSpPr>
          <p:cNvPr id="47" name="Rounded Rectangle 46"/>
          <p:cNvSpPr/>
          <p:nvPr/>
        </p:nvSpPr>
        <p:spPr bwMode="auto">
          <a:xfrm>
            <a:off x="7248526" y="4581971"/>
            <a:ext cx="2105025" cy="1119188"/>
          </a:xfrm>
          <a:prstGeom prst="roundRect">
            <a:avLst/>
          </a:prstGeom>
          <a:solidFill>
            <a:schemeClr val="accent3"/>
          </a:solidFill>
          <a:ln w="6350" cap="flat" cmpd="sng" algn="ctr">
            <a:noFill/>
            <a:prstDash val="solid"/>
            <a:round/>
            <a:headEnd type="none" w="med" len="med"/>
            <a:tailEnd type="none" w="med" len="med"/>
          </a:ln>
          <a:effectLst/>
        </p:spPr>
        <p:txBody>
          <a:bodyPr vert="horz" wrap="none" lIns="411480" tIns="0" rIns="45720" bIns="0" numCol="1" rtlCol="0" anchor="ctr" anchorCtr="0" compatLnSpc="1">
            <a:prstTxWarp prst="textNoShape">
              <a:avLst/>
            </a:prstTxWarp>
          </a:bodyPr>
          <a:lstStyle/>
          <a:p>
            <a:pPr algn="ctr" eaLnBrk="0" fontAlgn="base" hangingPunct="0">
              <a:spcBef>
                <a:spcPct val="0"/>
              </a:spcBef>
              <a:spcAft>
                <a:spcPct val="0"/>
              </a:spcAft>
            </a:pPr>
            <a:r>
              <a:rPr lang="en-US" sz="1600" b="1" dirty="0">
                <a:solidFill>
                  <a:prstClr val="white"/>
                </a:solidFill>
                <a:latin typeface="Calibri" panose="020F0502020204030204" pitchFamily="34" charset="0"/>
                <a:cs typeface="Arial" charset="0"/>
              </a:rPr>
              <a:t>Venture into</a:t>
            </a:r>
            <a:br>
              <a:rPr lang="en-US" sz="1600" b="1" dirty="0">
                <a:solidFill>
                  <a:prstClr val="white"/>
                </a:solidFill>
                <a:latin typeface="Calibri" panose="020F0502020204030204" pitchFamily="34" charset="0"/>
                <a:cs typeface="Arial" charset="0"/>
              </a:rPr>
            </a:br>
            <a:r>
              <a:rPr lang="en-US" sz="1600" b="1" dirty="0">
                <a:solidFill>
                  <a:prstClr val="white"/>
                </a:solidFill>
                <a:latin typeface="Calibri" panose="020F0502020204030204" pitchFamily="34" charset="0"/>
                <a:cs typeface="Arial" charset="0"/>
              </a:rPr>
              <a:t>newer areas</a:t>
            </a:r>
          </a:p>
        </p:txBody>
      </p:sp>
      <p:sp>
        <p:nvSpPr>
          <p:cNvPr id="48" name="Right Brace 47"/>
          <p:cNvSpPr/>
          <p:nvPr/>
        </p:nvSpPr>
        <p:spPr bwMode="auto">
          <a:xfrm>
            <a:off x="7368540" y="4586735"/>
            <a:ext cx="359568" cy="1109663"/>
          </a:xfrm>
          <a:prstGeom prst="rightBrace">
            <a:avLst>
              <a:gd name="adj1" fmla="val 78013"/>
              <a:gd name="adj2" fmla="val 50000"/>
            </a:avLst>
          </a:prstGeom>
          <a:solidFill>
            <a:schemeClr val="bg1">
              <a:lumMod val="95000"/>
            </a:schemeClr>
          </a:solidFill>
          <a:ln w="6350" cap="flat" cmpd="sng" algn="ctr">
            <a:noFill/>
            <a:prstDash val="solid"/>
            <a:round/>
            <a:headEnd type="none" w="med" len="med"/>
            <a:tailEnd type="none" w="med" len="med"/>
          </a:ln>
          <a:effectLst>
            <a:outerShdw blurRad="50800" dist="38100" algn="l" rotWithShape="0">
              <a:prstClr val="black">
                <a:alpha val="40000"/>
              </a:prstClr>
            </a:outerShdw>
          </a:effectLst>
        </p:spPr>
        <p:txBody>
          <a:bodyPr rtlCol="0" anchor="ctr"/>
          <a:lstStyle/>
          <a:p>
            <a:pPr algn="ctr"/>
            <a:endParaRPr lang="en-US" dirty="0">
              <a:solidFill>
                <a:srgbClr val="00234B"/>
              </a:solidFill>
              <a:latin typeface="Calibri" panose="020F0502020204030204" pitchFamily="34" charset="0"/>
            </a:endParaRPr>
          </a:p>
        </p:txBody>
      </p:sp>
      <p:sp>
        <p:nvSpPr>
          <p:cNvPr id="49" name="Rounded Rectangle 48"/>
          <p:cNvSpPr/>
          <p:nvPr/>
        </p:nvSpPr>
        <p:spPr bwMode="auto">
          <a:xfrm>
            <a:off x="4476750" y="4581971"/>
            <a:ext cx="3100388" cy="1119188"/>
          </a:xfrm>
          <a:prstGeom prst="roundRect">
            <a:avLst/>
          </a:prstGeom>
          <a:solidFill>
            <a:schemeClr val="bg1">
              <a:lumMod val="95000"/>
            </a:schemeClr>
          </a:solidFill>
          <a:ln w="6350" cap="flat" cmpd="sng" algn="ctr">
            <a:noFill/>
            <a:prstDash val="solid"/>
            <a:round/>
            <a:headEnd type="none" w="med" len="med"/>
            <a:tailEnd type="none" w="med" len="med"/>
          </a:ln>
          <a:effectLst/>
        </p:spPr>
        <p:txBody>
          <a:bodyPr vert="horz" wrap="none" lIns="640080" tIns="0" rIns="0" bIns="0" numCol="1" rtlCol="0" anchor="ctr" anchorCtr="0" compatLnSpc="1">
            <a:prstTxWarp prst="textNoShape">
              <a:avLst/>
            </a:prstTxWarp>
          </a:bodyPr>
          <a:lstStyle/>
          <a:p>
            <a:pPr algn="ctr" eaLnBrk="0" fontAlgn="base" hangingPunct="0">
              <a:spcBef>
                <a:spcPct val="0"/>
              </a:spcBef>
              <a:spcAft>
                <a:spcPct val="0"/>
              </a:spcAft>
            </a:pPr>
            <a:r>
              <a:rPr lang="en-US" sz="1600" b="1" dirty="0">
                <a:solidFill>
                  <a:srgbClr val="00234B"/>
                </a:solidFill>
                <a:latin typeface="Calibri" panose="020F0502020204030204" pitchFamily="34" charset="0"/>
                <a:cs typeface="Arial" charset="0"/>
              </a:rPr>
              <a:t>Bring in business</a:t>
            </a:r>
            <a:br>
              <a:rPr lang="en-US" sz="1600" b="1" dirty="0">
                <a:solidFill>
                  <a:srgbClr val="00234B"/>
                </a:solidFill>
                <a:latin typeface="Calibri" panose="020F0502020204030204" pitchFamily="34" charset="0"/>
                <a:cs typeface="Arial" charset="0"/>
              </a:rPr>
            </a:br>
            <a:r>
              <a:rPr lang="en-US" sz="1600" b="1" dirty="0">
                <a:solidFill>
                  <a:srgbClr val="00234B"/>
                </a:solidFill>
                <a:latin typeface="Calibri" panose="020F0502020204030204" pitchFamily="34" charset="0"/>
                <a:cs typeface="Arial" charset="0"/>
              </a:rPr>
              <a:t>transformation </a:t>
            </a:r>
          </a:p>
        </p:txBody>
      </p:sp>
      <p:sp>
        <p:nvSpPr>
          <p:cNvPr id="52" name="Pentagon 51"/>
          <p:cNvSpPr/>
          <p:nvPr/>
        </p:nvSpPr>
        <p:spPr bwMode="auto">
          <a:xfrm>
            <a:off x="2329544" y="4581972"/>
            <a:ext cx="2899682" cy="1119188"/>
          </a:xfrm>
          <a:prstGeom prst="homePlate">
            <a:avLst/>
          </a:prstGeom>
          <a:solidFill>
            <a:schemeClr val="bg2">
              <a:lumMod val="50000"/>
            </a:schemeClr>
          </a:solidFill>
          <a:ln w="6350"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eaLnBrk="0" fontAlgn="base" hangingPunct="0">
              <a:spcBef>
                <a:spcPts val="600"/>
              </a:spcBef>
              <a:spcAft>
                <a:spcPct val="0"/>
              </a:spcAft>
            </a:pPr>
            <a:r>
              <a:rPr lang="en-US" sz="1600" b="1" dirty="0">
                <a:solidFill>
                  <a:schemeClr val="bg1"/>
                </a:solidFill>
                <a:latin typeface="Calibri" panose="020F0502020204030204" pitchFamily="34" charset="0"/>
                <a:cs typeface="Arial" charset="0"/>
              </a:rPr>
              <a:t>Rewrite the</a:t>
            </a:r>
            <a:br>
              <a:rPr lang="en-US" sz="1600" b="1" dirty="0">
                <a:solidFill>
                  <a:schemeClr val="bg1"/>
                </a:solidFill>
                <a:latin typeface="Calibri" panose="020F0502020204030204" pitchFamily="34" charset="0"/>
                <a:cs typeface="Arial" charset="0"/>
              </a:rPr>
            </a:br>
            <a:r>
              <a:rPr lang="en-US" sz="1600" b="1" dirty="0">
                <a:solidFill>
                  <a:schemeClr val="bg1"/>
                </a:solidFill>
                <a:latin typeface="Calibri" panose="020F0502020204030204" pitchFamily="34" charset="0"/>
                <a:cs typeface="Arial" charset="0"/>
              </a:rPr>
              <a:t>rules of the game</a:t>
            </a:r>
          </a:p>
        </p:txBody>
      </p:sp>
      <p:sp>
        <p:nvSpPr>
          <p:cNvPr id="54" name="Hexagon 53"/>
          <p:cNvSpPr/>
          <p:nvPr/>
        </p:nvSpPr>
        <p:spPr bwMode="auto">
          <a:xfrm>
            <a:off x="9525001" y="4631979"/>
            <a:ext cx="1182243" cy="1019175"/>
          </a:xfrm>
          <a:prstGeom prst="hexagon">
            <a:avLst>
              <a:gd name="adj" fmla="val 34346"/>
              <a:gd name="vf" fmla="val 115470"/>
            </a:avLst>
          </a:prstGeom>
          <a:solidFill>
            <a:schemeClr val="accent3"/>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b="1" dirty="0">
              <a:solidFill>
                <a:srgbClr val="00234B"/>
              </a:solidFill>
              <a:latin typeface="Calibri" panose="020F0502020204030204" pitchFamily="34" charset="0"/>
              <a:cs typeface="Arial" charset="0"/>
            </a:endParaRPr>
          </a:p>
        </p:txBody>
      </p:sp>
      <p:sp>
        <p:nvSpPr>
          <p:cNvPr id="55" name="Hexagon 54"/>
          <p:cNvSpPr/>
          <p:nvPr/>
        </p:nvSpPr>
        <p:spPr bwMode="auto">
          <a:xfrm>
            <a:off x="9681941" y="4767272"/>
            <a:ext cx="868363" cy="748589"/>
          </a:xfrm>
          <a:prstGeom prst="hexagon">
            <a:avLst>
              <a:gd name="adj" fmla="val 34346"/>
              <a:gd name="vf" fmla="val 115470"/>
            </a:avLst>
          </a:prstGeom>
          <a:ln>
            <a:solidFill>
              <a:schemeClr val="accent3"/>
            </a:solidFill>
            <a:headEnd type="none" w="med" len="med"/>
            <a:tailEnd type="none" w="med" len="med"/>
          </a:ln>
          <a:effectLst>
            <a:innerShdw blurRad="114300">
              <a:prstClr val="black"/>
            </a:innerShdw>
          </a:effectLst>
        </p:spPr>
        <p:style>
          <a:lnRef idx="2">
            <a:schemeClr val="accent4"/>
          </a:lnRef>
          <a:fillRef idx="1">
            <a:schemeClr val="lt1"/>
          </a:fillRef>
          <a:effectRef idx="0">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3200" b="1" dirty="0">
              <a:solidFill>
                <a:srgbClr val="ED771A"/>
              </a:solidFill>
              <a:latin typeface="Calibri" panose="020F0502020204030204" pitchFamily="34" charset="0"/>
              <a:cs typeface="Arial" charset="0"/>
            </a:endParaRPr>
          </a:p>
        </p:txBody>
      </p:sp>
      <p:sp>
        <p:nvSpPr>
          <p:cNvPr id="57" name="Freeform 47"/>
          <p:cNvSpPr>
            <a:spLocks/>
          </p:cNvSpPr>
          <p:nvPr/>
        </p:nvSpPr>
        <p:spPr bwMode="auto">
          <a:xfrm>
            <a:off x="9851488" y="4987724"/>
            <a:ext cx="216912" cy="303010"/>
          </a:xfrm>
          <a:custGeom>
            <a:avLst/>
            <a:gdLst/>
            <a:ahLst/>
            <a:cxnLst>
              <a:cxn ang="0">
                <a:pos x="127" y="190"/>
              </a:cxn>
              <a:cxn ang="0">
                <a:pos x="127" y="187"/>
              </a:cxn>
              <a:cxn ang="0">
                <a:pos x="127" y="177"/>
              </a:cxn>
              <a:cxn ang="0">
                <a:pos x="127" y="160"/>
              </a:cxn>
              <a:cxn ang="0">
                <a:pos x="117" y="162"/>
              </a:cxn>
              <a:cxn ang="0">
                <a:pos x="78" y="123"/>
              </a:cxn>
              <a:cxn ang="0">
                <a:pos x="117" y="85"/>
              </a:cxn>
              <a:cxn ang="0">
                <a:pos x="127" y="86"/>
              </a:cxn>
              <a:cxn ang="0">
                <a:pos x="127" y="69"/>
              </a:cxn>
              <a:cxn ang="0">
                <a:pos x="127" y="59"/>
              </a:cxn>
              <a:cxn ang="0">
                <a:pos x="127" y="57"/>
              </a:cxn>
              <a:cxn ang="0">
                <a:pos x="127" y="49"/>
              </a:cxn>
              <a:cxn ang="0">
                <a:pos x="104" y="49"/>
              </a:cxn>
              <a:cxn ang="0">
                <a:pos x="95" y="41"/>
              </a:cxn>
              <a:cxn ang="0">
                <a:pos x="96" y="36"/>
              </a:cxn>
              <a:cxn ang="0">
                <a:pos x="98" y="26"/>
              </a:cxn>
              <a:cxn ang="0">
                <a:pos x="71" y="0"/>
              </a:cxn>
              <a:cxn ang="0">
                <a:pos x="45" y="26"/>
              </a:cxn>
              <a:cxn ang="0">
                <a:pos x="48" y="38"/>
              </a:cxn>
              <a:cxn ang="0">
                <a:pos x="48" y="38"/>
              </a:cxn>
              <a:cxn ang="0">
                <a:pos x="48" y="38"/>
              </a:cxn>
              <a:cxn ang="0">
                <a:pos x="48" y="40"/>
              </a:cxn>
              <a:cxn ang="0">
                <a:pos x="40" y="49"/>
              </a:cxn>
              <a:cxn ang="0">
                <a:pos x="12" y="49"/>
              </a:cxn>
              <a:cxn ang="0">
                <a:pos x="5" y="49"/>
              </a:cxn>
              <a:cxn ang="0">
                <a:pos x="0" y="54"/>
              </a:cxn>
              <a:cxn ang="0">
                <a:pos x="0" y="92"/>
              </a:cxn>
              <a:cxn ang="0">
                <a:pos x="5" y="100"/>
              </a:cxn>
              <a:cxn ang="0">
                <a:pos x="14" y="98"/>
              </a:cxn>
              <a:cxn ang="0">
                <a:pos x="22" y="97"/>
              </a:cxn>
              <a:cxn ang="0">
                <a:pos x="49" y="123"/>
              </a:cxn>
              <a:cxn ang="0">
                <a:pos x="22" y="150"/>
              </a:cxn>
              <a:cxn ang="0">
                <a:pos x="10" y="147"/>
              </a:cxn>
              <a:cxn ang="0">
                <a:pos x="10" y="147"/>
              </a:cxn>
              <a:cxn ang="0">
                <a:pos x="10" y="147"/>
              </a:cxn>
              <a:cxn ang="0">
                <a:pos x="8" y="147"/>
              </a:cxn>
              <a:cxn ang="0">
                <a:pos x="0" y="154"/>
              </a:cxn>
              <a:cxn ang="0">
                <a:pos x="0" y="187"/>
              </a:cxn>
              <a:cxn ang="0">
                <a:pos x="5" y="192"/>
              </a:cxn>
              <a:cxn ang="0">
                <a:pos x="127" y="192"/>
              </a:cxn>
              <a:cxn ang="0">
                <a:pos x="127" y="190"/>
              </a:cxn>
            </a:cxnLst>
            <a:rect l="0" t="0" r="r" b="b"/>
            <a:pathLst>
              <a:path w="127" h="192">
                <a:moveTo>
                  <a:pt x="127" y="190"/>
                </a:moveTo>
                <a:cubicBezTo>
                  <a:pt x="127" y="187"/>
                  <a:pt x="127" y="187"/>
                  <a:pt x="127" y="187"/>
                </a:cubicBezTo>
                <a:cubicBezTo>
                  <a:pt x="127" y="177"/>
                  <a:pt x="127" y="177"/>
                  <a:pt x="127" y="177"/>
                </a:cubicBezTo>
                <a:cubicBezTo>
                  <a:pt x="127" y="160"/>
                  <a:pt x="127" y="160"/>
                  <a:pt x="127" y="160"/>
                </a:cubicBezTo>
                <a:cubicBezTo>
                  <a:pt x="124" y="161"/>
                  <a:pt x="120" y="162"/>
                  <a:pt x="117" y="162"/>
                </a:cubicBezTo>
                <a:cubicBezTo>
                  <a:pt x="95" y="162"/>
                  <a:pt x="78" y="144"/>
                  <a:pt x="78" y="123"/>
                </a:cubicBezTo>
                <a:cubicBezTo>
                  <a:pt x="78" y="102"/>
                  <a:pt x="95" y="85"/>
                  <a:pt x="117" y="85"/>
                </a:cubicBezTo>
                <a:cubicBezTo>
                  <a:pt x="120" y="85"/>
                  <a:pt x="124" y="85"/>
                  <a:pt x="127" y="86"/>
                </a:cubicBezTo>
                <a:cubicBezTo>
                  <a:pt x="127" y="69"/>
                  <a:pt x="127" y="69"/>
                  <a:pt x="127" y="69"/>
                </a:cubicBezTo>
                <a:cubicBezTo>
                  <a:pt x="127" y="59"/>
                  <a:pt x="127" y="59"/>
                  <a:pt x="127" y="59"/>
                </a:cubicBezTo>
                <a:cubicBezTo>
                  <a:pt x="127" y="57"/>
                  <a:pt x="127" y="57"/>
                  <a:pt x="127" y="57"/>
                </a:cubicBezTo>
                <a:cubicBezTo>
                  <a:pt x="127" y="54"/>
                  <a:pt x="127" y="52"/>
                  <a:pt x="127" y="49"/>
                </a:cubicBezTo>
                <a:cubicBezTo>
                  <a:pt x="104" y="49"/>
                  <a:pt x="104" y="49"/>
                  <a:pt x="104" y="49"/>
                </a:cubicBezTo>
                <a:cubicBezTo>
                  <a:pt x="99" y="49"/>
                  <a:pt x="95" y="45"/>
                  <a:pt x="95" y="41"/>
                </a:cubicBezTo>
                <a:cubicBezTo>
                  <a:pt x="94" y="39"/>
                  <a:pt x="95" y="38"/>
                  <a:pt x="96" y="36"/>
                </a:cubicBezTo>
                <a:cubicBezTo>
                  <a:pt x="97" y="33"/>
                  <a:pt x="98" y="29"/>
                  <a:pt x="98" y="26"/>
                </a:cubicBezTo>
                <a:cubicBezTo>
                  <a:pt x="98" y="11"/>
                  <a:pt x="86" y="0"/>
                  <a:pt x="71" y="0"/>
                </a:cubicBezTo>
                <a:cubicBezTo>
                  <a:pt x="57" y="0"/>
                  <a:pt x="45" y="11"/>
                  <a:pt x="45" y="26"/>
                </a:cubicBezTo>
                <a:cubicBezTo>
                  <a:pt x="45" y="30"/>
                  <a:pt x="46" y="35"/>
                  <a:pt x="48" y="38"/>
                </a:cubicBezTo>
                <a:cubicBezTo>
                  <a:pt x="48" y="38"/>
                  <a:pt x="48" y="38"/>
                  <a:pt x="48" y="38"/>
                </a:cubicBezTo>
                <a:cubicBezTo>
                  <a:pt x="48" y="38"/>
                  <a:pt x="48" y="38"/>
                  <a:pt x="48" y="38"/>
                </a:cubicBezTo>
                <a:cubicBezTo>
                  <a:pt x="48" y="40"/>
                  <a:pt x="48" y="40"/>
                  <a:pt x="48" y="40"/>
                </a:cubicBezTo>
                <a:cubicBezTo>
                  <a:pt x="48" y="45"/>
                  <a:pt x="45" y="49"/>
                  <a:pt x="40" y="49"/>
                </a:cubicBezTo>
                <a:cubicBezTo>
                  <a:pt x="12" y="49"/>
                  <a:pt x="12" y="49"/>
                  <a:pt x="12" y="49"/>
                </a:cubicBezTo>
                <a:cubicBezTo>
                  <a:pt x="5" y="49"/>
                  <a:pt x="5" y="49"/>
                  <a:pt x="5" y="49"/>
                </a:cubicBezTo>
                <a:cubicBezTo>
                  <a:pt x="2" y="49"/>
                  <a:pt x="0" y="51"/>
                  <a:pt x="0" y="54"/>
                </a:cubicBezTo>
                <a:cubicBezTo>
                  <a:pt x="0" y="92"/>
                  <a:pt x="0" y="92"/>
                  <a:pt x="0" y="92"/>
                </a:cubicBezTo>
                <a:cubicBezTo>
                  <a:pt x="0" y="95"/>
                  <a:pt x="2" y="98"/>
                  <a:pt x="5" y="100"/>
                </a:cubicBezTo>
                <a:cubicBezTo>
                  <a:pt x="8" y="101"/>
                  <a:pt x="11" y="99"/>
                  <a:pt x="14" y="98"/>
                </a:cubicBezTo>
                <a:cubicBezTo>
                  <a:pt x="17" y="98"/>
                  <a:pt x="20" y="97"/>
                  <a:pt x="22" y="97"/>
                </a:cubicBezTo>
                <a:cubicBezTo>
                  <a:pt x="37" y="97"/>
                  <a:pt x="49" y="109"/>
                  <a:pt x="49" y="123"/>
                </a:cubicBezTo>
                <a:cubicBezTo>
                  <a:pt x="49" y="138"/>
                  <a:pt x="37" y="150"/>
                  <a:pt x="22" y="150"/>
                </a:cubicBezTo>
                <a:cubicBezTo>
                  <a:pt x="18" y="150"/>
                  <a:pt x="14" y="149"/>
                  <a:pt x="10" y="147"/>
                </a:cubicBezTo>
                <a:cubicBezTo>
                  <a:pt x="10" y="147"/>
                  <a:pt x="10" y="146"/>
                  <a:pt x="10" y="147"/>
                </a:cubicBezTo>
                <a:cubicBezTo>
                  <a:pt x="10" y="147"/>
                  <a:pt x="10" y="147"/>
                  <a:pt x="10" y="147"/>
                </a:cubicBezTo>
                <a:cubicBezTo>
                  <a:pt x="8" y="147"/>
                  <a:pt x="8" y="147"/>
                  <a:pt x="8" y="147"/>
                </a:cubicBezTo>
                <a:cubicBezTo>
                  <a:pt x="4" y="147"/>
                  <a:pt x="0" y="150"/>
                  <a:pt x="0" y="154"/>
                </a:cubicBezTo>
                <a:cubicBezTo>
                  <a:pt x="0" y="187"/>
                  <a:pt x="0" y="187"/>
                  <a:pt x="0" y="187"/>
                </a:cubicBezTo>
                <a:cubicBezTo>
                  <a:pt x="0" y="190"/>
                  <a:pt x="2" y="192"/>
                  <a:pt x="5" y="192"/>
                </a:cubicBezTo>
                <a:cubicBezTo>
                  <a:pt x="127" y="192"/>
                  <a:pt x="127" y="192"/>
                  <a:pt x="127" y="192"/>
                </a:cubicBezTo>
                <a:cubicBezTo>
                  <a:pt x="127" y="192"/>
                  <a:pt x="127" y="191"/>
                  <a:pt x="127" y="190"/>
                </a:cubicBezTo>
                <a:close/>
              </a:path>
            </a:pathLst>
          </a:custGeom>
          <a:noFill/>
          <a:ln w="9525"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Calibri" panose="020F0502020204030204" pitchFamily="34" charset="0"/>
            </a:endParaRPr>
          </a:p>
        </p:txBody>
      </p:sp>
      <p:sp>
        <p:nvSpPr>
          <p:cNvPr id="58" name="Freeform 48"/>
          <p:cNvSpPr>
            <a:spLocks/>
          </p:cNvSpPr>
          <p:nvPr/>
        </p:nvSpPr>
        <p:spPr bwMode="auto">
          <a:xfrm>
            <a:off x="10051048" y="5067816"/>
            <a:ext cx="329707" cy="227591"/>
          </a:xfrm>
          <a:custGeom>
            <a:avLst/>
            <a:gdLst/>
            <a:ahLst/>
            <a:cxnLst>
              <a:cxn ang="0">
                <a:pos x="193" y="139"/>
              </a:cxn>
              <a:cxn ang="0">
                <a:pos x="193" y="6"/>
              </a:cxn>
              <a:cxn ang="0">
                <a:pos x="187" y="0"/>
              </a:cxn>
              <a:cxn ang="0">
                <a:pos x="154" y="0"/>
              </a:cxn>
              <a:cxn ang="0">
                <a:pos x="147" y="9"/>
              </a:cxn>
              <a:cxn ang="0">
                <a:pos x="147" y="11"/>
              </a:cxn>
              <a:cxn ang="0">
                <a:pos x="147" y="11"/>
              </a:cxn>
              <a:cxn ang="0">
                <a:pos x="147" y="11"/>
              </a:cxn>
              <a:cxn ang="0">
                <a:pos x="150" y="23"/>
              </a:cxn>
              <a:cxn ang="0">
                <a:pos x="124" y="49"/>
              </a:cxn>
              <a:cxn ang="0">
                <a:pos x="97" y="23"/>
              </a:cxn>
              <a:cxn ang="0">
                <a:pos x="99" y="15"/>
              </a:cxn>
              <a:cxn ang="0">
                <a:pos x="100" y="6"/>
              </a:cxn>
              <a:cxn ang="0">
                <a:pos x="92" y="0"/>
              </a:cxn>
              <a:cxn ang="0">
                <a:pos x="54" y="0"/>
              </a:cxn>
              <a:cxn ang="0">
                <a:pos x="52" y="1"/>
              </a:cxn>
              <a:cxn ang="0">
                <a:pos x="49" y="6"/>
              </a:cxn>
              <a:cxn ang="0">
                <a:pos x="49" y="8"/>
              </a:cxn>
              <a:cxn ang="0">
                <a:pos x="49" y="18"/>
              </a:cxn>
              <a:cxn ang="0">
                <a:pos x="49" y="40"/>
              </a:cxn>
              <a:cxn ang="0">
                <a:pos x="42" y="49"/>
              </a:cxn>
              <a:cxn ang="0">
                <a:pos x="41" y="49"/>
              </a:cxn>
              <a:cxn ang="0">
                <a:pos x="40" y="49"/>
              </a:cxn>
              <a:cxn ang="0">
                <a:pos x="36" y="48"/>
              </a:cxn>
              <a:cxn ang="0">
                <a:pos x="30" y="46"/>
              </a:cxn>
              <a:cxn ang="0">
                <a:pos x="26" y="46"/>
              </a:cxn>
              <a:cxn ang="0">
                <a:pos x="0" y="72"/>
              </a:cxn>
              <a:cxn ang="0">
                <a:pos x="26" y="98"/>
              </a:cxn>
              <a:cxn ang="0">
                <a:pos x="26" y="98"/>
              </a:cxn>
              <a:cxn ang="0">
                <a:pos x="39" y="95"/>
              </a:cxn>
              <a:cxn ang="0">
                <a:pos x="39" y="95"/>
              </a:cxn>
              <a:cxn ang="0">
                <a:pos x="39" y="95"/>
              </a:cxn>
              <a:cxn ang="0">
                <a:pos x="39" y="95"/>
              </a:cxn>
              <a:cxn ang="0">
                <a:pos x="41" y="95"/>
              </a:cxn>
              <a:cxn ang="0">
                <a:pos x="43" y="96"/>
              </a:cxn>
              <a:cxn ang="0">
                <a:pos x="49" y="104"/>
              </a:cxn>
              <a:cxn ang="0">
                <a:pos x="49" y="126"/>
              </a:cxn>
              <a:cxn ang="0">
                <a:pos x="49" y="136"/>
              </a:cxn>
              <a:cxn ang="0">
                <a:pos x="49" y="139"/>
              </a:cxn>
              <a:cxn ang="0">
                <a:pos x="49" y="141"/>
              </a:cxn>
              <a:cxn ang="0">
                <a:pos x="54" y="144"/>
              </a:cxn>
              <a:cxn ang="0">
                <a:pos x="92" y="144"/>
              </a:cxn>
              <a:cxn ang="0">
                <a:pos x="100" y="139"/>
              </a:cxn>
              <a:cxn ang="0">
                <a:pos x="99" y="129"/>
              </a:cxn>
              <a:cxn ang="0">
                <a:pos x="97" y="121"/>
              </a:cxn>
              <a:cxn ang="0">
                <a:pos x="124" y="95"/>
              </a:cxn>
              <a:cxn ang="0">
                <a:pos x="150" y="121"/>
              </a:cxn>
              <a:cxn ang="0">
                <a:pos x="147" y="134"/>
              </a:cxn>
              <a:cxn ang="0">
                <a:pos x="147" y="134"/>
              </a:cxn>
              <a:cxn ang="0">
                <a:pos x="147" y="134"/>
              </a:cxn>
            </a:cxnLst>
            <a:rect l="0" t="0" r="r" b="b"/>
            <a:pathLst>
              <a:path w="193" h="144">
                <a:moveTo>
                  <a:pt x="193" y="139"/>
                </a:moveTo>
                <a:cubicBezTo>
                  <a:pt x="193" y="6"/>
                  <a:pt x="193" y="6"/>
                  <a:pt x="193" y="6"/>
                </a:cubicBezTo>
                <a:cubicBezTo>
                  <a:pt x="193" y="3"/>
                  <a:pt x="190" y="0"/>
                  <a:pt x="187" y="0"/>
                </a:cubicBezTo>
                <a:cubicBezTo>
                  <a:pt x="154" y="0"/>
                  <a:pt x="154" y="0"/>
                  <a:pt x="154" y="0"/>
                </a:cubicBezTo>
                <a:cubicBezTo>
                  <a:pt x="150" y="1"/>
                  <a:pt x="147" y="5"/>
                  <a:pt x="147" y="9"/>
                </a:cubicBezTo>
                <a:cubicBezTo>
                  <a:pt x="147" y="11"/>
                  <a:pt x="147" y="11"/>
                  <a:pt x="147" y="11"/>
                </a:cubicBezTo>
                <a:cubicBezTo>
                  <a:pt x="147" y="11"/>
                  <a:pt x="147" y="11"/>
                  <a:pt x="147" y="11"/>
                </a:cubicBezTo>
                <a:cubicBezTo>
                  <a:pt x="147" y="11"/>
                  <a:pt x="147" y="11"/>
                  <a:pt x="147" y="11"/>
                </a:cubicBezTo>
                <a:cubicBezTo>
                  <a:pt x="149" y="15"/>
                  <a:pt x="150" y="19"/>
                  <a:pt x="150" y="23"/>
                </a:cubicBezTo>
                <a:cubicBezTo>
                  <a:pt x="150" y="38"/>
                  <a:pt x="138" y="49"/>
                  <a:pt x="124" y="49"/>
                </a:cubicBezTo>
                <a:cubicBezTo>
                  <a:pt x="109" y="49"/>
                  <a:pt x="97" y="38"/>
                  <a:pt x="97" y="23"/>
                </a:cubicBezTo>
                <a:cubicBezTo>
                  <a:pt x="97" y="20"/>
                  <a:pt x="98" y="18"/>
                  <a:pt x="99" y="15"/>
                </a:cubicBezTo>
                <a:cubicBezTo>
                  <a:pt x="100" y="12"/>
                  <a:pt x="101" y="9"/>
                  <a:pt x="100" y="6"/>
                </a:cubicBezTo>
                <a:cubicBezTo>
                  <a:pt x="98" y="3"/>
                  <a:pt x="96" y="1"/>
                  <a:pt x="92" y="0"/>
                </a:cubicBezTo>
                <a:cubicBezTo>
                  <a:pt x="54" y="0"/>
                  <a:pt x="54" y="0"/>
                  <a:pt x="54" y="0"/>
                </a:cubicBezTo>
                <a:cubicBezTo>
                  <a:pt x="53" y="0"/>
                  <a:pt x="53" y="1"/>
                  <a:pt x="52" y="1"/>
                </a:cubicBezTo>
                <a:cubicBezTo>
                  <a:pt x="50" y="1"/>
                  <a:pt x="49" y="3"/>
                  <a:pt x="49" y="6"/>
                </a:cubicBezTo>
                <a:cubicBezTo>
                  <a:pt x="49" y="8"/>
                  <a:pt x="49" y="8"/>
                  <a:pt x="49" y="8"/>
                </a:cubicBezTo>
                <a:cubicBezTo>
                  <a:pt x="49" y="16"/>
                  <a:pt x="49" y="10"/>
                  <a:pt x="49" y="18"/>
                </a:cubicBezTo>
                <a:cubicBezTo>
                  <a:pt x="49" y="40"/>
                  <a:pt x="49" y="40"/>
                  <a:pt x="49" y="40"/>
                </a:cubicBezTo>
                <a:cubicBezTo>
                  <a:pt x="49" y="44"/>
                  <a:pt x="46" y="48"/>
                  <a:pt x="42" y="49"/>
                </a:cubicBezTo>
                <a:cubicBezTo>
                  <a:pt x="42" y="49"/>
                  <a:pt x="42" y="49"/>
                  <a:pt x="41" y="49"/>
                </a:cubicBezTo>
                <a:cubicBezTo>
                  <a:pt x="41" y="49"/>
                  <a:pt x="41" y="49"/>
                  <a:pt x="40" y="49"/>
                </a:cubicBezTo>
                <a:cubicBezTo>
                  <a:pt x="39" y="49"/>
                  <a:pt x="38" y="49"/>
                  <a:pt x="36" y="48"/>
                </a:cubicBezTo>
                <a:cubicBezTo>
                  <a:pt x="34" y="47"/>
                  <a:pt x="32" y="47"/>
                  <a:pt x="30" y="46"/>
                </a:cubicBezTo>
                <a:cubicBezTo>
                  <a:pt x="29" y="46"/>
                  <a:pt x="27" y="46"/>
                  <a:pt x="26" y="46"/>
                </a:cubicBezTo>
                <a:cubicBezTo>
                  <a:pt x="12" y="46"/>
                  <a:pt x="0" y="58"/>
                  <a:pt x="0" y="72"/>
                </a:cubicBezTo>
                <a:cubicBezTo>
                  <a:pt x="0" y="87"/>
                  <a:pt x="12" y="98"/>
                  <a:pt x="26" y="98"/>
                </a:cubicBezTo>
                <a:cubicBezTo>
                  <a:pt x="26" y="98"/>
                  <a:pt x="26" y="98"/>
                  <a:pt x="26" y="98"/>
                </a:cubicBezTo>
                <a:cubicBezTo>
                  <a:pt x="31" y="98"/>
                  <a:pt x="35" y="97"/>
                  <a:pt x="39" y="95"/>
                </a:cubicBezTo>
                <a:cubicBezTo>
                  <a:pt x="39" y="95"/>
                  <a:pt x="39" y="95"/>
                  <a:pt x="39" y="95"/>
                </a:cubicBezTo>
                <a:cubicBezTo>
                  <a:pt x="39" y="95"/>
                  <a:pt x="39" y="95"/>
                  <a:pt x="39" y="95"/>
                </a:cubicBezTo>
                <a:cubicBezTo>
                  <a:pt x="39" y="95"/>
                  <a:pt x="39" y="95"/>
                  <a:pt x="39" y="95"/>
                </a:cubicBezTo>
                <a:cubicBezTo>
                  <a:pt x="41" y="95"/>
                  <a:pt x="41" y="95"/>
                  <a:pt x="41" y="95"/>
                </a:cubicBezTo>
                <a:cubicBezTo>
                  <a:pt x="41" y="95"/>
                  <a:pt x="42" y="95"/>
                  <a:pt x="43" y="96"/>
                </a:cubicBezTo>
                <a:cubicBezTo>
                  <a:pt x="46" y="96"/>
                  <a:pt x="49" y="100"/>
                  <a:pt x="49" y="104"/>
                </a:cubicBezTo>
                <a:cubicBezTo>
                  <a:pt x="49" y="126"/>
                  <a:pt x="49" y="126"/>
                  <a:pt x="49" y="126"/>
                </a:cubicBezTo>
                <a:cubicBezTo>
                  <a:pt x="49" y="134"/>
                  <a:pt x="49" y="128"/>
                  <a:pt x="49" y="136"/>
                </a:cubicBezTo>
                <a:cubicBezTo>
                  <a:pt x="49" y="139"/>
                  <a:pt x="49" y="139"/>
                  <a:pt x="49" y="139"/>
                </a:cubicBezTo>
                <a:cubicBezTo>
                  <a:pt x="49" y="140"/>
                  <a:pt x="49" y="140"/>
                  <a:pt x="49" y="141"/>
                </a:cubicBezTo>
                <a:cubicBezTo>
                  <a:pt x="50" y="143"/>
                  <a:pt x="52" y="144"/>
                  <a:pt x="54" y="144"/>
                </a:cubicBezTo>
                <a:cubicBezTo>
                  <a:pt x="92" y="144"/>
                  <a:pt x="92" y="144"/>
                  <a:pt x="92" y="144"/>
                </a:cubicBezTo>
                <a:cubicBezTo>
                  <a:pt x="96" y="144"/>
                  <a:pt x="98" y="142"/>
                  <a:pt x="100" y="139"/>
                </a:cubicBezTo>
                <a:cubicBezTo>
                  <a:pt x="101" y="136"/>
                  <a:pt x="100" y="132"/>
                  <a:pt x="99" y="129"/>
                </a:cubicBezTo>
                <a:cubicBezTo>
                  <a:pt x="98" y="127"/>
                  <a:pt x="97" y="124"/>
                  <a:pt x="97" y="121"/>
                </a:cubicBezTo>
                <a:cubicBezTo>
                  <a:pt x="97" y="107"/>
                  <a:pt x="109" y="95"/>
                  <a:pt x="124" y="95"/>
                </a:cubicBezTo>
                <a:cubicBezTo>
                  <a:pt x="138" y="95"/>
                  <a:pt x="150" y="107"/>
                  <a:pt x="150" y="121"/>
                </a:cubicBezTo>
                <a:cubicBezTo>
                  <a:pt x="150" y="126"/>
                  <a:pt x="149" y="130"/>
                  <a:pt x="147" y="134"/>
                </a:cubicBezTo>
                <a:cubicBezTo>
                  <a:pt x="147" y="134"/>
                  <a:pt x="147" y="134"/>
                  <a:pt x="147" y="134"/>
                </a:cubicBezTo>
                <a:cubicBezTo>
                  <a:pt x="147" y="134"/>
                  <a:pt x="147" y="134"/>
                  <a:pt x="147" y="134"/>
                </a:cubicBezTo>
              </a:path>
            </a:pathLst>
          </a:custGeom>
          <a:noFill/>
          <a:ln w="9525"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Calibri" panose="020F0502020204030204" pitchFamily="34" charset="0"/>
            </a:endParaRPr>
          </a:p>
        </p:txBody>
      </p:sp>
      <p:sp>
        <p:nvSpPr>
          <p:cNvPr id="16" name="Teardrop 15"/>
          <p:cNvSpPr/>
          <p:nvPr/>
        </p:nvSpPr>
        <p:spPr bwMode="auto">
          <a:xfrm rot="2700000">
            <a:off x="1485266" y="2057054"/>
            <a:ext cx="815974" cy="815974"/>
          </a:xfrm>
          <a:prstGeom prst="teardrop">
            <a:avLst/>
          </a:prstGeom>
          <a:solidFill>
            <a:schemeClr val="accent4"/>
          </a:solidFill>
          <a:ln w="6350" cap="flat" cmpd="sng" algn="ctr">
            <a:noFill/>
            <a:prstDash val="solid"/>
            <a:round/>
            <a:headEnd type="none" w="med" len="med"/>
            <a:tailEnd type="none" w="med" len="med"/>
          </a:ln>
          <a:effectLst/>
        </p:spPr>
        <p:txBody>
          <a:bodyPr vert="horz" wrap="none" lIns="640080" tIns="0" rIns="0" bIns="0" numCol="1" rtlCol="0" anchor="ctr" anchorCtr="0" compatLnSpc="1">
            <a:prstTxWarp prst="textNoShape">
              <a:avLst/>
            </a:prstTxWarp>
          </a:bodyPr>
          <a:lstStyle/>
          <a:p>
            <a:pPr algn="ctr" eaLnBrk="0" fontAlgn="base" hangingPunct="0">
              <a:spcBef>
                <a:spcPct val="0"/>
              </a:spcBef>
              <a:spcAft>
                <a:spcPct val="0"/>
              </a:spcAft>
            </a:pPr>
            <a:endParaRPr lang="en-US" sz="1600" b="1" dirty="0">
              <a:solidFill>
                <a:srgbClr val="00234B"/>
              </a:solidFill>
              <a:latin typeface="Calibri" panose="020F0502020204030204" pitchFamily="34" charset="0"/>
              <a:cs typeface="Arial" charset="0"/>
            </a:endParaRPr>
          </a:p>
        </p:txBody>
      </p:sp>
      <p:sp>
        <p:nvSpPr>
          <p:cNvPr id="17" name="Oval 16"/>
          <p:cNvSpPr/>
          <p:nvPr/>
        </p:nvSpPr>
        <p:spPr bwMode="auto">
          <a:xfrm>
            <a:off x="1559639" y="2131427"/>
            <a:ext cx="667228" cy="667228"/>
          </a:xfrm>
          <a:prstGeom prst="ellipse">
            <a:avLst/>
          </a:prstGeom>
          <a:ln>
            <a:headEnd type="none" w="med" len="med"/>
            <a:tailEnd type="none" w="med" len="med"/>
          </a:ln>
          <a:effectLst>
            <a:outerShdw blurRad="50800" dist="38100" algn="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3600" b="1" dirty="0">
                <a:solidFill>
                  <a:schemeClr val="accent4"/>
                </a:solidFill>
                <a:latin typeface="Calibri" panose="020F0502020204030204" pitchFamily="34" charset="0"/>
                <a:cs typeface="Arial" charset="0"/>
              </a:rPr>
              <a:t>1</a:t>
            </a:r>
          </a:p>
        </p:txBody>
      </p:sp>
      <p:sp>
        <p:nvSpPr>
          <p:cNvPr id="37" name="Teardrop 36"/>
          <p:cNvSpPr/>
          <p:nvPr/>
        </p:nvSpPr>
        <p:spPr bwMode="auto">
          <a:xfrm rot="2700000">
            <a:off x="1485266" y="3395317"/>
            <a:ext cx="815974" cy="815974"/>
          </a:xfrm>
          <a:prstGeom prst="teardrop">
            <a:avLst/>
          </a:prstGeom>
          <a:solidFill>
            <a:schemeClr val="accent1"/>
          </a:solidFill>
          <a:ln w="6350" cap="flat" cmpd="sng" algn="ctr">
            <a:noFill/>
            <a:prstDash val="solid"/>
            <a:round/>
            <a:headEnd type="none" w="med" len="med"/>
            <a:tailEnd type="none" w="med" len="med"/>
          </a:ln>
          <a:effectLst/>
        </p:spPr>
        <p:txBody>
          <a:bodyPr vert="horz" wrap="none" lIns="640080" tIns="0" rIns="0" bIns="0" numCol="1" rtlCol="0" anchor="ctr" anchorCtr="0" compatLnSpc="1">
            <a:prstTxWarp prst="textNoShape">
              <a:avLst/>
            </a:prstTxWarp>
          </a:bodyPr>
          <a:lstStyle/>
          <a:p>
            <a:pPr algn="ctr" eaLnBrk="0" fontAlgn="base" hangingPunct="0">
              <a:spcBef>
                <a:spcPct val="0"/>
              </a:spcBef>
              <a:spcAft>
                <a:spcPct val="0"/>
              </a:spcAft>
            </a:pPr>
            <a:endParaRPr lang="en-US" sz="1600" b="1" dirty="0">
              <a:solidFill>
                <a:srgbClr val="00234B"/>
              </a:solidFill>
              <a:latin typeface="Calibri" panose="020F0502020204030204" pitchFamily="34" charset="0"/>
              <a:cs typeface="Arial" charset="0"/>
            </a:endParaRPr>
          </a:p>
        </p:txBody>
      </p:sp>
      <p:sp>
        <p:nvSpPr>
          <p:cNvPr id="38" name="Oval 37"/>
          <p:cNvSpPr/>
          <p:nvPr/>
        </p:nvSpPr>
        <p:spPr bwMode="auto">
          <a:xfrm>
            <a:off x="1559639" y="3469690"/>
            <a:ext cx="667228" cy="667228"/>
          </a:xfrm>
          <a:prstGeom prst="ellipse">
            <a:avLst/>
          </a:prstGeom>
          <a:ln>
            <a:headEnd type="none" w="med" len="med"/>
            <a:tailEnd type="none" w="med" len="med"/>
          </a:ln>
          <a:effectLst>
            <a:outerShdw blurRad="50800" dist="38100" algn="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3600" b="1" dirty="0">
                <a:solidFill>
                  <a:schemeClr val="accent1"/>
                </a:solidFill>
                <a:latin typeface="Calibri" panose="020F0502020204030204" pitchFamily="34" charset="0"/>
                <a:cs typeface="Arial" charset="0"/>
              </a:rPr>
              <a:t>2</a:t>
            </a:r>
          </a:p>
        </p:txBody>
      </p:sp>
      <p:sp>
        <p:nvSpPr>
          <p:cNvPr id="50" name="Teardrop 49"/>
          <p:cNvSpPr/>
          <p:nvPr/>
        </p:nvSpPr>
        <p:spPr bwMode="auto">
          <a:xfrm rot="2700000">
            <a:off x="1485266" y="4733579"/>
            <a:ext cx="815974" cy="815974"/>
          </a:xfrm>
          <a:prstGeom prst="teardrop">
            <a:avLst/>
          </a:prstGeom>
          <a:solidFill>
            <a:schemeClr val="accent3"/>
          </a:solidFill>
          <a:ln w="6350" cap="flat" cmpd="sng" algn="ctr">
            <a:noFill/>
            <a:prstDash val="solid"/>
            <a:round/>
            <a:headEnd type="none" w="med" len="med"/>
            <a:tailEnd type="none" w="med" len="med"/>
          </a:ln>
          <a:effectLst/>
        </p:spPr>
        <p:txBody>
          <a:bodyPr vert="horz" wrap="none" lIns="640080" tIns="0" rIns="0" bIns="0" numCol="1" rtlCol="0" anchor="ctr" anchorCtr="0" compatLnSpc="1">
            <a:prstTxWarp prst="textNoShape">
              <a:avLst/>
            </a:prstTxWarp>
          </a:bodyPr>
          <a:lstStyle/>
          <a:p>
            <a:pPr algn="ctr" eaLnBrk="0" fontAlgn="base" hangingPunct="0">
              <a:spcBef>
                <a:spcPct val="0"/>
              </a:spcBef>
              <a:spcAft>
                <a:spcPct val="0"/>
              </a:spcAft>
            </a:pPr>
            <a:endParaRPr lang="en-US" sz="1600" b="1" dirty="0">
              <a:solidFill>
                <a:srgbClr val="00234B"/>
              </a:solidFill>
              <a:latin typeface="Calibri" panose="020F0502020204030204" pitchFamily="34" charset="0"/>
              <a:cs typeface="Arial" charset="0"/>
            </a:endParaRPr>
          </a:p>
        </p:txBody>
      </p:sp>
      <p:sp>
        <p:nvSpPr>
          <p:cNvPr id="51" name="Oval 50"/>
          <p:cNvSpPr/>
          <p:nvPr/>
        </p:nvSpPr>
        <p:spPr bwMode="auto">
          <a:xfrm>
            <a:off x="1559639" y="4807952"/>
            <a:ext cx="667228" cy="667228"/>
          </a:xfrm>
          <a:prstGeom prst="ellipse">
            <a:avLst/>
          </a:prstGeom>
          <a:ln>
            <a:headEnd type="none" w="med" len="med"/>
            <a:tailEnd type="none" w="med" len="med"/>
          </a:ln>
          <a:effectLst>
            <a:outerShdw blurRad="50800" dist="38100" algn="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3600" b="1" dirty="0">
                <a:solidFill>
                  <a:schemeClr val="accent3"/>
                </a:solidFill>
                <a:latin typeface="Calibri" panose="020F0502020204030204" pitchFamily="34" charset="0"/>
                <a:cs typeface="Arial" charset="0"/>
              </a:rPr>
              <a:t>3</a:t>
            </a:r>
          </a:p>
        </p:txBody>
      </p:sp>
      <p:cxnSp>
        <p:nvCxnSpPr>
          <p:cNvPr id="4" name="Straight Connector 3"/>
          <p:cNvCxnSpPr/>
          <p:nvPr/>
        </p:nvCxnSpPr>
        <p:spPr>
          <a:xfrm>
            <a:off x="2324100" y="2316956"/>
            <a:ext cx="146134" cy="148084"/>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V="1">
            <a:off x="2281238" y="2462213"/>
            <a:ext cx="188118" cy="194496"/>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2324100" y="3656806"/>
            <a:ext cx="146134" cy="148084"/>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V="1">
            <a:off x="2281238" y="3802063"/>
            <a:ext cx="188118" cy="194496"/>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2324100" y="4990306"/>
            <a:ext cx="146134" cy="148084"/>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V="1">
            <a:off x="2281238" y="5135563"/>
            <a:ext cx="188118" cy="194496"/>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1955754"/>
      </p:ext>
    </p:extLst>
  </p:cSld>
  <p:clrMapOvr>
    <a:masterClrMapping/>
  </p:clrMapOvr>
  <p:transition spd="med"/>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26"/>
          <p:cNvSpPr>
            <a:spLocks noChangeArrowheads="1"/>
          </p:cNvSpPr>
          <p:nvPr/>
        </p:nvSpPr>
        <p:spPr bwMode="auto">
          <a:xfrm>
            <a:off x="3798207" y="1897273"/>
            <a:ext cx="6945993" cy="487751"/>
          </a:xfrm>
          <a:prstGeom prst="roundRect">
            <a:avLst>
              <a:gd name="adj" fmla="val 9722"/>
            </a:avLst>
          </a:prstGeom>
          <a:solidFill>
            <a:srgbClr val="F2F2F2"/>
          </a:solidFill>
          <a:ln w="9525">
            <a:noFill/>
            <a:round/>
            <a:headEnd/>
            <a:tailEnd/>
          </a:ln>
          <a:effectLst/>
        </p:spPr>
        <p:txBody>
          <a:bodyPr lIns="228600" tIns="0" bIns="0" anchor="ctr"/>
          <a:lstStyle/>
          <a:p>
            <a:pPr marL="0" lvl="1" defTabSz="622300">
              <a:buClr>
                <a:srgbClr val="A91F5B"/>
              </a:buClr>
            </a:pPr>
            <a:r>
              <a:rPr lang="en-US" sz="1100" dirty="0">
                <a:latin typeface="Calibri" panose="020F0502020204030204" pitchFamily="34" charset="0"/>
              </a:rPr>
              <a:t>Focus on native apps is decreasing with rise in the development of hybrid apps based on HTML5</a:t>
            </a:r>
            <a:endParaRPr lang="en-GB" sz="1100" dirty="0">
              <a:solidFill>
                <a:srgbClr val="2E2E2E"/>
              </a:solidFill>
              <a:latin typeface="Calibri" panose="020F0502020204030204" pitchFamily="34" charset="0"/>
            </a:endParaRPr>
          </a:p>
        </p:txBody>
      </p:sp>
      <p:sp>
        <p:nvSpPr>
          <p:cNvPr id="6" name="Rounded Rectangle 18"/>
          <p:cNvSpPr>
            <a:spLocks noChangeArrowheads="1"/>
          </p:cNvSpPr>
          <p:nvPr/>
        </p:nvSpPr>
        <p:spPr bwMode="auto">
          <a:xfrm>
            <a:off x="1815103" y="4077032"/>
            <a:ext cx="1888788" cy="487751"/>
          </a:xfrm>
          <a:prstGeom prst="roundRect">
            <a:avLst>
              <a:gd name="adj" fmla="val 9519"/>
            </a:avLst>
          </a:prstGeom>
          <a:solidFill>
            <a:schemeClr val="accent6"/>
          </a:solidFill>
          <a:ln w="9525">
            <a:noFill/>
            <a:round/>
            <a:headEnd/>
            <a:tailEnd/>
          </a:ln>
          <a:effectLst/>
        </p:spPr>
        <p:txBody>
          <a:bodyPr lIns="182880" tIns="0" rIns="0" bIns="0" anchor="ctr"/>
          <a:lstStyle/>
          <a:p>
            <a:pPr defTabSz="711200">
              <a:lnSpc>
                <a:spcPct val="90000"/>
              </a:lnSpc>
              <a:spcAft>
                <a:spcPts val="200"/>
              </a:spcAft>
              <a:defRPr/>
            </a:pPr>
            <a:r>
              <a:rPr lang="en-US" sz="1300" b="1" dirty="0">
                <a:solidFill>
                  <a:schemeClr val="bg1"/>
                </a:solidFill>
                <a:latin typeface="Calibri" panose="020F0502020204030204" pitchFamily="34" charset="0"/>
              </a:rPr>
              <a:t>App Security</a:t>
            </a:r>
          </a:p>
        </p:txBody>
      </p:sp>
      <p:sp>
        <p:nvSpPr>
          <p:cNvPr id="7" name="Rounded Rectangle 18"/>
          <p:cNvSpPr>
            <a:spLocks noChangeArrowheads="1"/>
          </p:cNvSpPr>
          <p:nvPr/>
        </p:nvSpPr>
        <p:spPr bwMode="auto">
          <a:xfrm>
            <a:off x="1815127" y="3537372"/>
            <a:ext cx="1888788" cy="487751"/>
          </a:xfrm>
          <a:prstGeom prst="roundRect">
            <a:avLst>
              <a:gd name="adj" fmla="val 9519"/>
            </a:avLst>
          </a:prstGeom>
          <a:solidFill>
            <a:schemeClr val="accent6"/>
          </a:solidFill>
          <a:ln w="9525">
            <a:noFill/>
            <a:round/>
            <a:headEnd/>
            <a:tailEnd/>
          </a:ln>
          <a:effectLst/>
        </p:spPr>
        <p:txBody>
          <a:bodyPr lIns="182880" tIns="0" rIns="0" bIns="0" anchor="ctr"/>
          <a:lstStyle/>
          <a:p>
            <a:pPr defTabSz="711200">
              <a:lnSpc>
                <a:spcPct val="90000"/>
              </a:lnSpc>
              <a:spcAft>
                <a:spcPts val="200"/>
              </a:spcAft>
              <a:defRPr/>
            </a:pPr>
            <a:r>
              <a:rPr lang="en-US" sz="1300" b="1" dirty="0">
                <a:solidFill>
                  <a:schemeClr val="bg1"/>
                </a:solidFill>
                <a:latin typeface="Calibri" panose="020F0502020204030204" pitchFamily="34" charset="0"/>
              </a:rPr>
              <a:t>Wearable</a:t>
            </a:r>
          </a:p>
        </p:txBody>
      </p:sp>
      <p:sp>
        <p:nvSpPr>
          <p:cNvPr id="8" name="Rounded Rectangle 18"/>
          <p:cNvSpPr>
            <a:spLocks noChangeArrowheads="1"/>
          </p:cNvSpPr>
          <p:nvPr/>
        </p:nvSpPr>
        <p:spPr bwMode="auto">
          <a:xfrm>
            <a:off x="1815127" y="5696012"/>
            <a:ext cx="1888788" cy="487751"/>
          </a:xfrm>
          <a:prstGeom prst="roundRect">
            <a:avLst>
              <a:gd name="adj" fmla="val 9519"/>
            </a:avLst>
          </a:prstGeom>
          <a:solidFill>
            <a:schemeClr val="accent6"/>
          </a:solidFill>
          <a:ln w="9525">
            <a:noFill/>
            <a:round/>
            <a:headEnd/>
            <a:tailEnd/>
          </a:ln>
          <a:effectLst/>
        </p:spPr>
        <p:txBody>
          <a:bodyPr lIns="182880" tIns="0" rIns="0" bIns="0" anchor="ctr"/>
          <a:lstStyle/>
          <a:p>
            <a:pPr defTabSz="711200">
              <a:lnSpc>
                <a:spcPct val="90000"/>
              </a:lnSpc>
              <a:spcAft>
                <a:spcPts val="200"/>
              </a:spcAft>
              <a:defRPr/>
            </a:pPr>
            <a:r>
              <a:rPr lang="en-US" sz="1300" b="1" dirty="0">
                <a:solidFill>
                  <a:schemeClr val="bg1"/>
                </a:solidFill>
                <a:latin typeface="Calibri" panose="020F0502020204030204" pitchFamily="34" charset="0"/>
              </a:rPr>
              <a:t>Enterprise Mobility</a:t>
            </a:r>
            <a:br>
              <a:rPr lang="en-US" sz="1300" b="1" dirty="0">
                <a:solidFill>
                  <a:schemeClr val="bg1"/>
                </a:solidFill>
                <a:latin typeface="Calibri" panose="020F0502020204030204" pitchFamily="34" charset="0"/>
              </a:rPr>
            </a:br>
            <a:r>
              <a:rPr lang="en-US" sz="1300" b="1" dirty="0">
                <a:solidFill>
                  <a:schemeClr val="bg1"/>
                </a:solidFill>
                <a:latin typeface="Calibri" panose="020F0502020204030204" pitchFamily="34" charset="0"/>
              </a:rPr>
              <a:t>Management</a:t>
            </a:r>
          </a:p>
        </p:txBody>
      </p:sp>
      <p:sp>
        <p:nvSpPr>
          <p:cNvPr id="9" name="Rounded Rectangle 18"/>
          <p:cNvSpPr>
            <a:spLocks noChangeArrowheads="1"/>
          </p:cNvSpPr>
          <p:nvPr/>
        </p:nvSpPr>
        <p:spPr bwMode="auto">
          <a:xfrm>
            <a:off x="1810314" y="4616692"/>
            <a:ext cx="1888788" cy="487751"/>
          </a:xfrm>
          <a:prstGeom prst="roundRect">
            <a:avLst>
              <a:gd name="adj" fmla="val 9519"/>
            </a:avLst>
          </a:prstGeom>
          <a:solidFill>
            <a:schemeClr val="accent6"/>
          </a:solidFill>
          <a:ln w="9525">
            <a:noFill/>
            <a:round/>
            <a:headEnd/>
            <a:tailEnd/>
          </a:ln>
          <a:effectLst/>
        </p:spPr>
        <p:txBody>
          <a:bodyPr lIns="182880" tIns="0" rIns="0" bIns="0" anchor="ctr"/>
          <a:lstStyle/>
          <a:p>
            <a:pPr defTabSz="711200">
              <a:lnSpc>
                <a:spcPct val="90000"/>
              </a:lnSpc>
              <a:spcAft>
                <a:spcPts val="200"/>
              </a:spcAft>
              <a:defRPr/>
            </a:pPr>
            <a:r>
              <a:rPr lang="en-US" sz="1300" b="1" dirty="0">
                <a:solidFill>
                  <a:schemeClr val="bg1"/>
                </a:solidFill>
                <a:latin typeface="Calibri" panose="020F0502020204030204" pitchFamily="34" charset="0"/>
              </a:rPr>
              <a:t>Enterprise </a:t>
            </a:r>
          </a:p>
          <a:p>
            <a:pPr defTabSz="711200">
              <a:lnSpc>
                <a:spcPct val="90000"/>
              </a:lnSpc>
              <a:spcAft>
                <a:spcPts val="200"/>
              </a:spcAft>
              <a:defRPr/>
            </a:pPr>
            <a:r>
              <a:rPr lang="en-US" sz="1300" b="1" dirty="0">
                <a:solidFill>
                  <a:schemeClr val="bg1"/>
                </a:solidFill>
                <a:latin typeface="Calibri" panose="020F0502020204030204" pitchFamily="34" charset="0"/>
              </a:rPr>
              <a:t>Apps</a:t>
            </a:r>
          </a:p>
        </p:txBody>
      </p:sp>
      <p:sp>
        <p:nvSpPr>
          <p:cNvPr id="10" name="Text Box 26"/>
          <p:cNvSpPr>
            <a:spLocks noChangeArrowheads="1"/>
          </p:cNvSpPr>
          <p:nvPr/>
        </p:nvSpPr>
        <p:spPr bwMode="auto">
          <a:xfrm>
            <a:off x="3798207" y="1355786"/>
            <a:ext cx="6945993" cy="487751"/>
          </a:xfrm>
          <a:prstGeom prst="roundRect">
            <a:avLst>
              <a:gd name="adj" fmla="val 9722"/>
            </a:avLst>
          </a:prstGeom>
          <a:solidFill>
            <a:srgbClr val="F2F2F2"/>
          </a:solidFill>
          <a:ln w="9525">
            <a:noFill/>
            <a:round/>
            <a:headEnd/>
            <a:tailEnd/>
          </a:ln>
          <a:effectLst/>
        </p:spPr>
        <p:txBody>
          <a:bodyPr lIns="228600" tIns="0" bIns="0" anchor="ctr"/>
          <a:lstStyle/>
          <a:p>
            <a:pPr marL="0" lvl="1" defTabSz="622300">
              <a:buClr>
                <a:srgbClr val="A91F5B"/>
              </a:buClr>
            </a:pPr>
            <a:r>
              <a:rPr lang="en-US" sz="1100" dirty="0">
                <a:latin typeface="Calibri" panose="020F0502020204030204" pitchFamily="34" charset="0"/>
              </a:rPr>
              <a:t>Multiplatform/Multiarchitecture Application Development Tools</a:t>
            </a:r>
          </a:p>
        </p:txBody>
      </p:sp>
      <p:sp>
        <p:nvSpPr>
          <p:cNvPr id="11" name="Text Box 26"/>
          <p:cNvSpPr>
            <a:spLocks noChangeArrowheads="1"/>
          </p:cNvSpPr>
          <p:nvPr/>
        </p:nvSpPr>
        <p:spPr bwMode="auto">
          <a:xfrm>
            <a:off x="3798207" y="5146195"/>
            <a:ext cx="6945993" cy="487751"/>
          </a:xfrm>
          <a:prstGeom prst="roundRect">
            <a:avLst>
              <a:gd name="adj" fmla="val 9722"/>
            </a:avLst>
          </a:prstGeom>
          <a:solidFill>
            <a:srgbClr val="F2F2F2"/>
          </a:solidFill>
          <a:ln w="9525">
            <a:noFill/>
            <a:round/>
            <a:headEnd/>
            <a:tailEnd/>
          </a:ln>
          <a:effectLst/>
        </p:spPr>
        <p:txBody>
          <a:bodyPr lIns="228600" tIns="0" bIns="0" anchor="ctr"/>
          <a:lstStyle/>
          <a:p>
            <a:pPr marL="0" lvl="1" defTabSz="622300">
              <a:buClr>
                <a:srgbClr val="A91F5B"/>
              </a:buClr>
            </a:pPr>
            <a:r>
              <a:rPr lang="en-US" sz="1100" dirty="0">
                <a:latin typeface="Calibri" panose="020F0502020204030204" pitchFamily="34" charset="0"/>
              </a:rPr>
              <a:t>With the rise in the usage of multiple mobile devices and wearable, focus is on the ability to integrate and sync apps on multiple devices</a:t>
            </a:r>
            <a:endParaRPr lang="en-GB" sz="1100" dirty="0">
              <a:solidFill>
                <a:srgbClr val="2E2E2E"/>
              </a:solidFill>
              <a:latin typeface="Calibri" panose="020F0502020204030204" pitchFamily="34" charset="0"/>
            </a:endParaRPr>
          </a:p>
        </p:txBody>
      </p:sp>
      <p:sp>
        <p:nvSpPr>
          <p:cNvPr id="12" name="Text Box 26"/>
          <p:cNvSpPr>
            <a:spLocks noChangeArrowheads="1"/>
          </p:cNvSpPr>
          <p:nvPr/>
        </p:nvSpPr>
        <p:spPr bwMode="auto">
          <a:xfrm>
            <a:off x="3798207" y="4063221"/>
            <a:ext cx="6945993" cy="487751"/>
          </a:xfrm>
          <a:prstGeom prst="roundRect">
            <a:avLst>
              <a:gd name="adj" fmla="val 9722"/>
            </a:avLst>
          </a:prstGeom>
          <a:solidFill>
            <a:srgbClr val="F2F2F2"/>
          </a:solidFill>
          <a:ln w="9525">
            <a:noFill/>
            <a:round/>
            <a:headEnd/>
            <a:tailEnd/>
          </a:ln>
          <a:effectLst/>
        </p:spPr>
        <p:txBody>
          <a:bodyPr lIns="228600" tIns="0" bIns="0" anchor="ctr"/>
          <a:lstStyle/>
          <a:p>
            <a:pPr marL="0" lvl="1" defTabSz="622300">
              <a:buClr>
                <a:srgbClr val="A91F5B"/>
              </a:buClr>
            </a:pPr>
            <a:r>
              <a:rPr lang="en-US" sz="1100" dirty="0">
                <a:latin typeface="Calibri" panose="020F0502020204030204" pitchFamily="34" charset="0"/>
              </a:rPr>
              <a:t>Security remains a big challenge on mobile devices</a:t>
            </a:r>
            <a:endParaRPr lang="en-GB" sz="1100" dirty="0">
              <a:solidFill>
                <a:srgbClr val="2E2E2E"/>
              </a:solidFill>
              <a:latin typeface="Calibri" panose="020F0502020204030204" pitchFamily="34" charset="0"/>
            </a:endParaRPr>
          </a:p>
        </p:txBody>
      </p:sp>
      <p:sp>
        <p:nvSpPr>
          <p:cNvPr id="20" name="Text Box 26"/>
          <p:cNvSpPr>
            <a:spLocks noChangeArrowheads="1"/>
          </p:cNvSpPr>
          <p:nvPr/>
        </p:nvSpPr>
        <p:spPr bwMode="auto">
          <a:xfrm>
            <a:off x="3798207" y="3521734"/>
            <a:ext cx="6945993" cy="487751"/>
          </a:xfrm>
          <a:prstGeom prst="roundRect">
            <a:avLst>
              <a:gd name="adj" fmla="val 9722"/>
            </a:avLst>
          </a:prstGeom>
          <a:solidFill>
            <a:srgbClr val="F2F2F2"/>
          </a:solidFill>
          <a:ln w="9525">
            <a:noFill/>
            <a:round/>
            <a:headEnd/>
            <a:tailEnd/>
          </a:ln>
          <a:effectLst/>
        </p:spPr>
        <p:txBody>
          <a:bodyPr lIns="228600" tIns="0" bIns="0" anchor="ctr"/>
          <a:lstStyle/>
          <a:p>
            <a:pPr marL="0" lvl="1" defTabSz="622300">
              <a:buClr>
                <a:srgbClr val="A91F5B"/>
              </a:buClr>
            </a:pPr>
            <a:r>
              <a:rPr lang="en-US" sz="1100" dirty="0">
                <a:latin typeface="Calibri" panose="020F0502020204030204" pitchFamily="34" charset="0"/>
              </a:rPr>
              <a:t>Focus to move from smart phones to wearable for enterprise applications </a:t>
            </a:r>
            <a:endParaRPr lang="en-GB" sz="1100" dirty="0">
              <a:solidFill>
                <a:srgbClr val="2E2E2E"/>
              </a:solidFill>
              <a:latin typeface="Calibri" panose="020F0502020204030204" pitchFamily="34" charset="0"/>
            </a:endParaRPr>
          </a:p>
        </p:txBody>
      </p:sp>
      <p:sp>
        <p:nvSpPr>
          <p:cNvPr id="28" name="Text Box 26"/>
          <p:cNvSpPr>
            <a:spLocks noChangeArrowheads="1"/>
          </p:cNvSpPr>
          <p:nvPr/>
        </p:nvSpPr>
        <p:spPr bwMode="auto">
          <a:xfrm>
            <a:off x="3798207" y="5687681"/>
            <a:ext cx="6945993" cy="487751"/>
          </a:xfrm>
          <a:prstGeom prst="roundRect">
            <a:avLst>
              <a:gd name="adj" fmla="val 9722"/>
            </a:avLst>
          </a:prstGeom>
          <a:solidFill>
            <a:srgbClr val="F2F2F2"/>
          </a:solidFill>
          <a:ln w="9525">
            <a:noFill/>
            <a:round/>
            <a:headEnd/>
            <a:tailEnd/>
          </a:ln>
          <a:effectLst/>
        </p:spPr>
        <p:txBody>
          <a:bodyPr lIns="228600" tIns="0" bIns="0" anchor="ctr"/>
          <a:lstStyle/>
          <a:p>
            <a:pPr marL="0" lvl="1" defTabSz="622300">
              <a:buClr>
                <a:srgbClr val="A91F5B"/>
              </a:buClr>
            </a:pPr>
            <a:r>
              <a:rPr lang="en-US" sz="1100" dirty="0">
                <a:latin typeface="Calibri" panose="020F0502020204030204" pitchFamily="34" charset="0"/>
              </a:rPr>
              <a:t>Mobile device management, mobile application management, application wrapping and containerization, and some elements of enterprise file synchronization and sharing</a:t>
            </a:r>
            <a:endParaRPr lang="en-GB" sz="1100" dirty="0">
              <a:solidFill>
                <a:srgbClr val="2E2E2E"/>
              </a:solidFill>
              <a:latin typeface="Calibri" panose="020F0502020204030204" pitchFamily="34" charset="0"/>
            </a:endParaRPr>
          </a:p>
        </p:txBody>
      </p:sp>
      <p:sp>
        <p:nvSpPr>
          <p:cNvPr id="36" name="Text Box 26"/>
          <p:cNvSpPr>
            <a:spLocks noChangeArrowheads="1"/>
          </p:cNvSpPr>
          <p:nvPr/>
        </p:nvSpPr>
        <p:spPr bwMode="auto">
          <a:xfrm>
            <a:off x="3798207" y="4604708"/>
            <a:ext cx="6945993" cy="487751"/>
          </a:xfrm>
          <a:prstGeom prst="roundRect">
            <a:avLst>
              <a:gd name="adj" fmla="val 9722"/>
            </a:avLst>
          </a:prstGeom>
          <a:solidFill>
            <a:srgbClr val="F2F2F2"/>
          </a:solidFill>
          <a:ln w="9525">
            <a:noFill/>
            <a:round/>
            <a:headEnd/>
            <a:tailEnd/>
          </a:ln>
          <a:effectLst/>
        </p:spPr>
        <p:txBody>
          <a:bodyPr lIns="228600" tIns="0" bIns="0" anchor="ctr"/>
          <a:lstStyle/>
          <a:p>
            <a:pPr marL="0" lvl="1" defTabSz="622300">
              <a:buClr>
                <a:srgbClr val="A91F5B"/>
              </a:buClr>
            </a:pPr>
            <a:r>
              <a:rPr lang="en-US" sz="1100" dirty="0">
                <a:latin typeface="Calibri" panose="020F0502020204030204" pitchFamily="34" charset="0"/>
              </a:rPr>
              <a:t>Growing opportunity for development and management of enterprise applications</a:t>
            </a:r>
            <a:endParaRPr lang="en-GB" sz="1100" dirty="0">
              <a:solidFill>
                <a:srgbClr val="2E2E2E"/>
              </a:solidFill>
              <a:latin typeface="Calibri" panose="020F0502020204030204" pitchFamily="34" charset="0"/>
            </a:endParaRPr>
          </a:p>
        </p:txBody>
      </p:sp>
      <p:sp>
        <p:nvSpPr>
          <p:cNvPr id="44" name="Rounded Rectangle 18"/>
          <p:cNvSpPr>
            <a:spLocks noChangeArrowheads="1"/>
          </p:cNvSpPr>
          <p:nvPr/>
        </p:nvSpPr>
        <p:spPr bwMode="auto">
          <a:xfrm>
            <a:off x="1823694" y="1358266"/>
            <a:ext cx="1888788" cy="508216"/>
          </a:xfrm>
          <a:prstGeom prst="roundRect">
            <a:avLst>
              <a:gd name="adj" fmla="val 9519"/>
            </a:avLst>
          </a:prstGeom>
          <a:solidFill>
            <a:schemeClr val="accent6"/>
          </a:solidFill>
          <a:ln w="9525">
            <a:noFill/>
            <a:round/>
            <a:headEnd/>
            <a:tailEnd/>
          </a:ln>
          <a:effectLst/>
        </p:spPr>
        <p:txBody>
          <a:bodyPr lIns="182880" tIns="0" rIns="0" bIns="0" anchor="ctr"/>
          <a:lstStyle/>
          <a:p>
            <a:pPr defTabSz="711200">
              <a:lnSpc>
                <a:spcPct val="90000"/>
              </a:lnSpc>
              <a:spcAft>
                <a:spcPts val="200"/>
              </a:spcAft>
              <a:defRPr/>
            </a:pPr>
            <a:r>
              <a:rPr lang="en-US" sz="1300" b="1" dirty="0">
                <a:solidFill>
                  <a:schemeClr val="bg1"/>
                </a:solidFill>
                <a:latin typeface="Calibri" panose="020F0502020204030204" pitchFamily="34" charset="0"/>
              </a:rPr>
              <a:t>Faster Development</a:t>
            </a:r>
          </a:p>
        </p:txBody>
      </p:sp>
      <p:sp>
        <p:nvSpPr>
          <p:cNvPr id="45" name="Rounded Rectangle 18"/>
          <p:cNvSpPr>
            <a:spLocks noChangeArrowheads="1"/>
          </p:cNvSpPr>
          <p:nvPr/>
        </p:nvSpPr>
        <p:spPr bwMode="auto">
          <a:xfrm>
            <a:off x="1803228" y="5156352"/>
            <a:ext cx="1888788" cy="487751"/>
          </a:xfrm>
          <a:prstGeom prst="roundRect">
            <a:avLst>
              <a:gd name="adj" fmla="val 9519"/>
            </a:avLst>
          </a:prstGeom>
          <a:solidFill>
            <a:schemeClr val="accent6"/>
          </a:solidFill>
          <a:ln w="9525">
            <a:noFill/>
            <a:round/>
            <a:headEnd/>
            <a:tailEnd/>
          </a:ln>
          <a:effectLst/>
        </p:spPr>
        <p:txBody>
          <a:bodyPr lIns="182880" tIns="0" rIns="0" bIns="0" anchor="ctr"/>
          <a:lstStyle/>
          <a:p>
            <a:pPr defTabSz="711200">
              <a:lnSpc>
                <a:spcPct val="90000"/>
              </a:lnSpc>
              <a:spcAft>
                <a:spcPts val="200"/>
              </a:spcAft>
              <a:defRPr/>
            </a:pPr>
            <a:r>
              <a:rPr lang="en-US" sz="1300" b="1" dirty="0">
                <a:solidFill>
                  <a:schemeClr val="bg1"/>
                </a:solidFill>
                <a:latin typeface="Calibri" panose="020F0502020204030204" pitchFamily="34" charset="0"/>
              </a:rPr>
              <a:t>Cloud Technology</a:t>
            </a:r>
          </a:p>
        </p:txBody>
      </p:sp>
      <p:sp>
        <p:nvSpPr>
          <p:cNvPr id="60" name="Rounded Rectangle 18"/>
          <p:cNvSpPr>
            <a:spLocks noChangeArrowheads="1"/>
          </p:cNvSpPr>
          <p:nvPr/>
        </p:nvSpPr>
        <p:spPr bwMode="auto">
          <a:xfrm>
            <a:off x="1823694" y="1918392"/>
            <a:ext cx="1888788" cy="487751"/>
          </a:xfrm>
          <a:prstGeom prst="roundRect">
            <a:avLst>
              <a:gd name="adj" fmla="val 9519"/>
            </a:avLst>
          </a:prstGeom>
          <a:solidFill>
            <a:schemeClr val="accent6"/>
          </a:solidFill>
          <a:ln w="9525">
            <a:noFill/>
            <a:round/>
            <a:headEnd/>
            <a:tailEnd/>
          </a:ln>
          <a:effectLst/>
        </p:spPr>
        <p:txBody>
          <a:bodyPr lIns="182880" tIns="0" rIns="0" bIns="0" anchor="ctr"/>
          <a:lstStyle/>
          <a:p>
            <a:pPr defTabSz="711200">
              <a:lnSpc>
                <a:spcPct val="90000"/>
              </a:lnSpc>
              <a:spcAft>
                <a:spcPts val="200"/>
              </a:spcAft>
              <a:defRPr/>
            </a:pPr>
            <a:r>
              <a:rPr lang="en-US" sz="1300" b="1" dirty="0">
                <a:solidFill>
                  <a:schemeClr val="bg1"/>
                </a:solidFill>
                <a:latin typeface="Calibri" panose="020F0502020204030204" pitchFamily="34" charset="0"/>
              </a:rPr>
              <a:t>HTML5</a:t>
            </a:r>
          </a:p>
        </p:txBody>
      </p:sp>
      <p:sp>
        <p:nvSpPr>
          <p:cNvPr id="68" name="Rounded Rectangle 18"/>
          <p:cNvSpPr>
            <a:spLocks noChangeArrowheads="1"/>
          </p:cNvSpPr>
          <p:nvPr/>
        </p:nvSpPr>
        <p:spPr bwMode="auto">
          <a:xfrm>
            <a:off x="1823694" y="2458052"/>
            <a:ext cx="1888788" cy="487751"/>
          </a:xfrm>
          <a:prstGeom prst="roundRect">
            <a:avLst>
              <a:gd name="adj" fmla="val 9519"/>
            </a:avLst>
          </a:prstGeom>
          <a:solidFill>
            <a:schemeClr val="accent6"/>
          </a:solidFill>
          <a:ln w="9525">
            <a:noFill/>
            <a:round/>
            <a:headEnd/>
            <a:tailEnd/>
          </a:ln>
          <a:effectLst/>
        </p:spPr>
        <p:txBody>
          <a:bodyPr lIns="182880" tIns="0" rIns="0" bIns="0" anchor="ctr"/>
          <a:lstStyle/>
          <a:p>
            <a:pPr defTabSz="711200">
              <a:lnSpc>
                <a:spcPct val="90000"/>
              </a:lnSpc>
              <a:spcAft>
                <a:spcPts val="200"/>
              </a:spcAft>
              <a:defRPr/>
            </a:pPr>
            <a:r>
              <a:rPr lang="en-US" sz="1300" b="1" dirty="0">
                <a:solidFill>
                  <a:schemeClr val="bg1"/>
                </a:solidFill>
                <a:latin typeface="Calibri" panose="020F0502020204030204" pitchFamily="34" charset="0"/>
              </a:rPr>
              <a:t>User </a:t>
            </a:r>
          </a:p>
          <a:p>
            <a:pPr defTabSz="711200">
              <a:lnSpc>
                <a:spcPct val="90000"/>
              </a:lnSpc>
              <a:spcAft>
                <a:spcPts val="200"/>
              </a:spcAft>
              <a:defRPr/>
            </a:pPr>
            <a:r>
              <a:rPr lang="en-US" sz="1300" b="1" dirty="0">
                <a:solidFill>
                  <a:schemeClr val="bg1"/>
                </a:solidFill>
                <a:latin typeface="Calibri" panose="020F0502020204030204" pitchFamily="34" charset="0"/>
              </a:rPr>
              <a:t>Experience</a:t>
            </a:r>
          </a:p>
        </p:txBody>
      </p:sp>
      <p:sp>
        <p:nvSpPr>
          <p:cNvPr id="69" name="Text Box 26"/>
          <p:cNvSpPr>
            <a:spLocks noChangeArrowheads="1"/>
          </p:cNvSpPr>
          <p:nvPr/>
        </p:nvSpPr>
        <p:spPr bwMode="auto">
          <a:xfrm>
            <a:off x="3798207" y="2438760"/>
            <a:ext cx="6945993" cy="487751"/>
          </a:xfrm>
          <a:prstGeom prst="roundRect">
            <a:avLst>
              <a:gd name="adj" fmla="val 9722"/>
            </a:avLst>
          </a:prstGeom>
          <a:solidFill>
            <a:srgbClr val="F2F2F2"/>
          </a:solidFill>
          <a:ln w="9525">
            <a:noFill/>
            <a:round/>
            <a:headEnd/>
            <a:tailEnd/>
          </a:ln>
          <a:effectLst/>
        </p:spPr>
        <p:txBody>
          <a:bodyPr lIns="228600" tIns="0" bIns="0" anchor="ctr"/>
          <a:lstStyle/>
          <a:p>
            <a:pPr marL="0" lvl="1" defTabSz="622300">
              <a:buClr>
                <a:srgbClr val="A91F5B"/>
              </a:buClr>
            </a:pPr>
            <a:r>
              <a:rPr lang="en-US" sz="1100" dirty="0">
                <a:latin typeface="Calibri" panose="020F0502020204030204" pitchFamily="34" charset="0"/>
              </a:rPr>
              <a:t>Advanced Mobile User Experience Design</a:t>
            </a:r>
            <a:endParaRPr lang="en-GB" sz="1100" dirty="0">
              <a:latin typeface="Calibri" panose="020F0502020204030204" pitchFamily="34" charset="0"/>
            </a:endParaRPr>
          </a:p>
        </p:txBody>
      </p:sp>
      <p:sp>
        <p:nvSpPr>
          <p:cNvPr id="77" name="Rounded Rectangle 18"/>
          <p:cNvSpPr>
            <a:spLocks noChangeArrowheads="1"/>
          </p:cNvSpPr>
          <p:nvPr/>
        </p:nvSpPr>
        <p:spPr bwMode="auto">
          <a:xfrm>
            <a:off x="1827003" y="2997712"/>
            <a:ext cx="1888788" cy="487751"/>
          </a:xfrm>
          <a:prstGeom prst="roundRect">
            <a:avLst>
              <a:gd name="adj" fmla="val 9519"/>
            </a:avLst>
          </a:prstGeom>
          <a:solidFill>
            <a:schemeClr val="accent6"/>
          </a:solidFill>
          <a:ln w="9525">
            <a:noFill/>
            <a:round/>
            <a:headEnd/>
            <a:tailEnd/>
          </a:ln>
          <a:effectLst/>
        </p:spPr>
        <p:txBody>
          <a:bodyPr lIns="182880" tIns="0" rIns="0" bIns="0" anchor="ctr"/>
          <a:lstStyle/>
          <a:p>
            <a:pPr defTabSz="711200">
              <a:lnSpc>
                <a:spcPct val="90000"/>
              </a:lnSpc>
              <a:spcAft>
                <a:spcPts val="200"/>
              </a:spcAft>
              <a:defRPr/>
            </a:pPr>
            <a:r>
              <a:rPr lang="en-US" sz="1300" b="1" dirty="0">
                <a:solidFill>
                  <a:schemeClr val="bg1"/>
                </a:solidFill>
                <a:latin typeface="Calibri" panose="020F0502020204030204" pitchFamily="34" charset="0"/>
              </a:rPr>
              <a:t>Location</a:t>
            </a:r>
          </a:p>
          <a:p>
            <a:pPr defTabSz="711200">
              <a:lnSpc>
                <a:spcPct val="90000"/>
              </a:lnSpc>
              <a:spcAft>
                <a:spcPts val="200"/>
              </a:spcAft>
              <a:defRPr/>
            </a:pPr>
            <a:r>
              <a:rPr lang="en-US" sz="1300" b="1" dirty="0">
                <a:solidFill>
                  <a:schemeClr val="bg1"/>
                </a:solidFill>
                <a:latin typeface="Calibri" panose="020F0502020204030204" pitchFamily="34" charset="0"/>
              </a:rPr>
              <a:t>based services</a:t>
            </a:r>
          </a:p>
        </p:txBody>
      </p:sp>
      <p:sp>
        <p:nvSpPr>
          <p:cNvPr id="78" name="Text Box 26"/>
          <p:cNvSpPr>
            <a:spLocks noChangeArrowheads="1"/>
          </p:cNvSpPr>
          <p:nvPr/>
        </p:nvSpPr>
        <p:spPr bwMode="auto">
          <a:xfrm>
            <a:off x="3798207" y="2980247"/>
            <a:ext cx="6945993" cy="487751"/>
          </a:xfrm>
          <a:prstGeom prst="roundRect">
            <a:avLst>
              <a:gd name="adj" fmla="val 9722"/>
            </a:avLst>
          </a:prstGeom>
          <a:solidFill>
            <a:srgbClr val="F2F2F2"/>
          </a:solidFill>
          <a:ln w="9525">
            <a:noFill/>
            <a:round/>
            <a:headEnd/>
            <a:tailEnd/>
          </a:ln>
          <a:effectLst/>
        </p:spPr>
        <p:txBody>
          <a:bodyPr lIns="228600" tIns="0" bIns="0" anchor="ctr"/>
          <a:lstStyle/>
          <a:p>
            <a:pPr marL="0" lvl="1" defTabSz="622300">
              <a:buClr>
                <a:srgbClr val="A91F5B"/>
              </a:buClr>
            </a:pPr>
            <a:r>
              <a:rPr lang="en-US" sz="1100" dirty="0">
                <a:latin typeface="Calibri" panose="020F0502020204030204" pitchFamily="34" charset="0"/>
              </a:rPr>
              <a:t>More businesses and app developers adopting these technologies to offer right information at right place based on the consumer location</a:t>
            </a:r>
            <a:endParaRPr lang="en-GB" sz="1100" dirty="0">
              <a:solidFill>
                <a:srgbClr val="2E2E2E"/>
              </a:solidFill>
              <a:latin typeface="Calibri" panose="020F0502020204030204" pitchFamily="34" charset="0"/>
            </a:endParaRPr>
          </a:p>
        </p:txBody>
      </p:sp>
      <p:grpSp>
        <p:nvGrpSpPr>
          <p:cNvPr id="96" name="Group 95"/>
          <p:cNvGrpSpPr/>
          <p:nvPr/>
        </p:nvGrpSpPr>
        <p:grpSpPr>
          <a:xfrm>
            <a:off x="3565244" y="1487524"/>
            <a:ext cx="377897" cy="4793533"/>
            <a:chOff x="1605361" y="1487523"/>
            <a:chExt cx="377897" cy="4793533"/>
          </a:xfrm>
        </p:grpSpPr>
        <p:sp>
          <p:nvSpPr>
            <p:cNvPr id="14" name="Oval 13"/>
            <p:cNvSpPr/>
            <p:nvPr/>
          </p:nvSpPr>
          <p:spPr bwMode="auto">
            <a:xfrm>
              <a:off x="1620521" y="4193484"/>
              <a:ext cx="101600" cy="88481"/>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15" name="Oval 14"/>
            <p:cNvSpPr/>
            <p:nvPr/>
          </p:nvSpPr>
          <p:spPr bwMode="auto">
            <a:xfrm>
              <a:off x="1869758" y="4193484"/>
              <a:ext cx="101600" cy="88481"/>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16" name="Arc 15"/>
            <p:cNvSpPr/>
            <p:nvPr/>
          </p:nvSpPr>
          <p:spPr bwMode="auto">
            <a:xfrm rot="18697675">
              <a:off x="1652592" y="4172525"/>
              <a:ext cx="296218" cy="338138"/>
            </a:xfrm>
            <a:prstGeom prst="arc">
              <a:avLst>
                <a:gd name="adj1" fmla="val 16289639"/>
                <a:gd name="adj2" fmla="val 39554"/>
              </a:avLst>
            </a:prstGeom>
            <a:noFill/>
            <a:ln w="38100" cap="rnd" cmpd="sng" algn="ctr">
              <a:solidFill>
                <a:schemeClr val="tx2">
                  <a:lumMod val="50000"/>
                  <a:lumOff val="50000"/>
                </a:schemeClr>
              </a:solidFill>
              <a:prstDash val="solid"/>
              <a:round/>
              <a:headEnd type="none" w="med" len="med"/>
              <a:tailEnd type="none" w="med" len="med"/>
            </a:ln>
            <a:effectLst/>
          </p:spPr>
          <p:txBody>
            <a:bodyPr anchor="ctr"/>
            <a:lstStyle/>
            <a:p>
              <a:pPr algn="ctr">
                <a:defRPr/>
              </a:pPr>
              <a:endParaRPr lang="en-US" sz="1100" dirty="0">
                <a:solidFill>
                  <a:srgbClr val="2E2E2E"/>
                </a:solidFill>
                <a:latin typeface="Calibri" panose="020F0502020204030204" pitchFamily="34" charset="0"/>
              </a:endParaRPr>
            </a:p>
          </p:txBody>
        </p:sp>
        <p:sp>
          <p:nvSpPr>
            <p:cNvPr id="17" name="Oval 16"/>
            <p:cNvSpPr/>
            <p:nvPr/>
          </p:nvSpPr>
          <p:spPr bwMode="auto">
            <a:xfrm>
              <a:off x="1620521" y="4358905"/>
              <a:ext cx="101600" cy="88480"/>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18" name="Oval 17"/>
            <p:cNvSpPr/>
            <p:nvPr/>
          </p:nvSpPr>
          <p:spPr bwMode="auto">
            <a:xfrm>
              <a:off x="1869758" y="4358905"/>
              <a:ext cx="101600" cy="88480"/>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19" name="Arc 18"/>
            <p:cNvSpPr/>
            <p:nvPr/>
          </p:nvSpPr>
          <p:spPr bwMode="auto">
            <a:xfrm rot="18697675">
              <a:off x="1652593" y="4337945"/>
              <a:ext cx="296218" cy="338138"/>
            </a:xfrm>
            <a:prstGeom prst="arc">
              <a:avLst>
                <a:gd name="adj1" fmla="val 16289639"/>
                <a:gd name="adj2" fmla="val 39554"/>
              </a:avLst>
            </a:prstGeom>
            <a:noFill/>
            <a:ln w="38100" cap="rnd" cmpd="sng" algn="ctr">
              <a:solidFill>
                <a:schemeClr val="tx2">
                  <a:lumMod val="50000"/>
                  <a:lumOff val="50000"/>
                </a:schemeClr>
              </a:solidFill>
              <a:prstDash val="solid"/>
              <a:round/>
              <a:headEnd type="none" w="med" len="med"/>
              <a:tailEnd type="none" w="med" len="med"/>
            </a:ln>
            <a:effectLst/>
          </p:spPr>
          <p:txBody>
            <a:bodyPr anchor="ctr"/>
            <a:lstStyle/>
            <a:p>
              <a:pPr algn="ctr">
                <a:defRPr/>
              </a:pPr>
              <a:endParaRPr lang="en-US" sz="1100" dirty="0">
                <a:solidFill>
                  <a:srgbClr val="2E2E2E"/>
                </a:solidFill>
                <a:latin typeface="Calibri" panose="020F0502020204030204" pitchFamily="34" charset="0"/>
              </a:endParaRPr>
            </a:p>
          </p:txBody>
        </p:sp>
        <p:sp>
          <p:nvSpPr>
            <p:cNvPr id="22" name="Oval 21"/>
            <p:cNvSpPr/>
            <p:nvPr/>
          </p:nvSpPr>
          <p:spPr bwMode="auto">
            <a:xfrm>
              <a:off x="1620545" y="3660069"/>
              <a:ext cx="101600" cy="88481"/>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23" name="Oval 22"/>
            <p:cNvSpPr/>
            <p:nvPr/>
          </p:nvSpPr>
          <p:spPr bwMode="auto">
            <a:xfrm>
              <a:off x="1869782" y="3660069"/>
              <a:ext cx="101600" cy="88481"/>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24" name="Arc 23"/>
            <p:cNvSpPr/>
            <p:nvPr/>
          </p:nvSpPr>
          <p:spPr bwMode="auto">
            <a:xfrm rot="18697675">
              <a:off x="1652616" y="3639110"/>
              <a:ext cx="296218" cy="338138"/>
            </a:xfrm>
            <a:prstGeom prst="arc">
              <a:avLst>
                <a:gd name="adj1" fmla="val 16289639"/>
                <a:gd name="adj2" fmla="val 39554"/>
              </a:avLst>
            </a:prstGeom>
            <a:noFill/>
            <a:ln w="38100" cap="rnd" cmpd="sng" algn="ctr">
              <a:solidFill>
                <a:schemeClr val="tx2">
                  <a:lumMod val="50000"/>
                  <a:lumOff val="50000"/>
                </a:schemeClr>
              </a:solidFill>
              <a:prstDash val="solid"/>
              <a:round/>
              <a:headEnd type="none" w="med" len="med"/>
              <a:tailEnd type="none" w="med" len="med"/>
            </a:ln>
            <a:effectLst/>
          </p:spPr>
          <p:txBody>
            <a:bodyPr anchor="ctr"/>
            <a:lstStyle/>
            <a:p>
              <a:pPr algn="ctr">
                <a:defRPr/>
              </a:pPr>
              <a:endParaRPr lang="en-US" sz="1100" dirty="0">
                <a:solidFill>
                  <a:srgbClr val="2E2E2E"/>
                </a:solidFill>
                <a:latin typeface="Calibri" panose="020F0502020204030204" pitchFamily="34" charset="0"/>
              </a:endParaRPr>
            </a:p>
          </p:txBody>
        </p:sp>
        <p:sp>
          <p:nvSpPr>
            <p:cNvPr id="25" name="Oval 24"/>
            <p:cNvSpPr/>
            <p:nvPr/>
          </p:nvSpPr>
          <p:spPr bwMode="auto">
            <a:xfrm>
              <a:off x="1620545" y="3825490"/>
              <a:ext cx="101600" cy="88480"/>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26" name="Oval 25"/>
            <p:cNvSpPr/>
            <p:nvPr/>
          </p:nvSpPr>
          <p:spPr bwMode="auto">
            <a:xfrm>
              <a:off x="1869782" y="3825490"/>
              <a:ext cx="101600" cy="88480"/>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27" name="Arc 26"/>
            <p:cNvSpPr/>
            <p:nvPr/>
          </p:nvSpPr>
          <p:spPr bwMode="auto">
            <a:xfrm rot="18697675">
              <a:off x="1652617" y="3804530"/>
              <a:ext cx="296218" cy="338138"/>
            </a:xfrm>
            <a:prstGeom prst="arc">
              <a:avLst>
                <a:gd name="adj1" fmla="val 16289639"/>
                <a:gd name="adj2" fmla="val 39554"/>
              </a:avLst>
            </a:prstGeom>
            <a:noFill/>
            <a:ln w="38100" cap="rnd" cmpd="sng" algn="ctr">
              <a:solidFill>
                <a:schemeClr val="tx2">
                  <a:lumMod val="50000"/>
                  <a:lumOff val="50000"/>
                </a:schemeClr>
              </a:solidFill>
              <a:prstDash val="solid"/>
              <a:round/>
              <a:headEnd type="none" w="med" len="med"/>
              <a:tailEnd type="none" w="med" len="med"/>
            </a:ln>
            <a:effectLst/>
          </p:spPr>
          <p:txBody>
            <a:bodyPr anchor="ctr"/>
            <a:lstStyle/>
            <a:p>
              <a:pPr algn="ctr">
                <a:defRPr/>
              </a:pPr>
              <a:endParaRPr lang="en-US" sz="1100" dirty="0">
                <a:solidFill>
                  <a:srgbClr val="2E2E2E"/>
                </a:solidFill>
                <a:latin typeface="Calibri" panose="020F0502020204030204" pitchFamily="34" charset="0"/>
              </a:endParaRPr>
            </a:p>
          </p:txBody>
        </p:sp>
        <p:sp>
          <p:nvSpPr>
            <p:cNvPr id="30" name="Oval 29"/>
            <p:cNvSpPr/>
            <p:nvPr/>
          </p:nvSpPr>
          <p:spPr bwMode="auto">
            <a:xfrm>
              <a:off x="1620545" y="5819417"/>
              <a:ext cx="101600" cy="88481"/>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31" name="Oval 30"/>
            <p:cNvSpPr/>
            <p:nvPr/>
          </p:nvSpPr>
          <p:spPr bwMode="auto">
            <a:xfrm>
              <a:off x="1869782" y="5819417"/>
              <a:ext cx="101600" cy="88481"/>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32" name="Arc 31"/>
            <p:cNvSpPr/>
            <p:nvPr/>
          </p:nvSpPr>
          <p:spPr bwMode="auto">
            <a:xfrm rot="18697675">
              <a:off x="1652616" y="5798458"/>
              <a:ext cx="296218" cy="338138"/>
            </a:xfrm>
            <a:prstGeom prst="arc">
              <a:avLst>
                <a:gd name="adj1" fmla="val 16289639"/>
                <a:gd name="adj2" fmla="val 39554"/>
              </a:avLst>
            </a:prstGeom>
            <a:noFill/>
            <a:ln w="38100" cap="rnd" cmpd="sng" algn="ctr">
              <a:solidFill>
                <a:schemeClr val="tx2">
                  <a:lumMod val="50000"/>
                  <a:lumOff val="50000"/>
                </a:schemeClr>
              </a:solidFill>
              <a:prstDash val="solid"/>
              <a:round/>
              <a:headEnd type="none" w="med" len="med"/>
              <a:tailEnd type="none" w="med" len="med"/>
            </a:ln>
            <a:effectLst/>
          </p:spPr>
          <p:txBody>
            <a:bodyPr anchor="ctr"/>
            <a:lstStyle/>
            <a:p>
              <a:pPr algn="ctr">
                <a:defRPr/>
              </a:pPr>
              <a:endParaRPr lang="en-US" sz="1100" dirty="0">
                <a:solidFill>
                  <a:srgbClr val="2E2E2E"/>
                </a:solidFill>
                <a:latin typeface="Calibri" panose="020F0502020204030204" pitchFamily="34" charset="0"/>
              </a:endParaRPr>
            </a:p>
          </p:txBody>
        </p:sp>
        <p:sp>
          <p:nvSpPr>
            <p:cNvPr id="33" name="Oval 32"/>
            <p:cNvSpPr/>
            <p:nvPr/>
          </p:nvSpPr>
          <p:spPr bwMode="auto">
            <a:xfrm>
              <a:off x="1620545" y="5984838"/>
              <a:ext cx="101600" cy="88480"/>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34" name="Oval 33"/>
            <p:cNvSpPr/>
            <p:nvPr/>
          </p:nvSpPr>
          <p:spPr bwMode="auto">
            <a:xfrm>
              <a:off x="1869782" y="5984838"/>
              <a:ext cx="101600" cy="88480"/>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35" name="Arc 34"/>
            <p:cNvSpPr/>
            <p:nvPr/>
          </p:nvSpPr>
          <p:spPr bwMode="auto">
            <a:xfrm rot="18697675">
              <a:off x="1652617" y="5963878"/>
              <a:ext cx="296218" cy="338138"/>
            </a:xfrm>
            <a:prstGeom prst="arc">
              <a:avLst>
                <a:gd name="adj1" fmla="val 16289639"/>
                <a:gd name="adj2" fmla="val 39554"/>
              </a:avLst>
            </a:prstGeom>
            <a:noFill/>
            <a:ln w="38100" cap="rnd" cmpd="sng" algn="ctr">
              <a:solidFill>
                <a:schemeClr val="tx2">
                  <a:lumMod val="50000"/>
                  <a:lumOff val="50000"/>
                </a:schemeClr>
              </a:solidFill>
              <a:prstDash val="solid"/>
              <a:round/>
              <a:headEnd type="none" w="med" len="med"/>
              <a:tailEnd type="none" w="med" len="med"/>
            </a:ln>
            <a:effectLst/>
          </p:spPr>
          <p:txBody>
            <a:bodyPr anchor="ctr"/>
            <a:lstStyle/>
            <a:p>
              <a:pPr algn="ctr">
                <a:defRPr/>
              </a:pPr>
              <a:endParaRPr lang="en-US" sz="1100" dirty="0">
                <a:solidFill>
                  <a:srgbClr val="2E2E2E"/>
                </a:solidFill>
                <a:latin typeface="Calibri" panose="020F0502020204030204" pitchFamily="34" charset="0"/>
              </a:endParaRPr>
            </a:p>
          </p:txBody>
        </p:sp>
        <p:sp>
          <p:nvSpPr>
            <p:cNvPr id="38" name="Oval 37"/>
            <p:cNvSpPr/>
            <p:nvPr/>
          </p:nvSpPr>
          <p:spPr bwMode="auto">
            <a:xfrm>
              <a:off x="1615732" y="4760909"/>
              <a:ext cx="101600" cy="88481"/>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39" name="Oval 38"/>
            <p:cNvSpPr/>
            <p:nvPr/>
          </p:nvSpPr>
          <p:spPr bwMode="auto">
            <a:xfrm>
              <a:off x="1864969" y="4760909"/>
              <a:ext cx="101600" cy="88481"/>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40" name="Arc 39"/>
            <p:cNvSpPr/>
            <p:nvPr/>
          </p:nvSpPr>
          <p:spPr bwMode="auto">
            <a:xfrm rot="18697675">
              <a:off x="1647803" y="4739950"/>
              <a:ext cx="296218" cy="338138"/>
            </a:xfrm>
            <a:prstGeom prst="arc">
              <a:avLst>
                <a:gd name="adj1" fmla="val 16289639"/>
                <a:gd name="adj2" fmla="val 39554"/>
              </a:avLst>
            </a:prstGeom>
            <a:noFill/>
            <a:ln w="38100" cap="rnd" cmpd="sng" algn="ctr">
              <a:solidFill>
                <a:schemeClr val="tx2">
                  <a:lumMod val="50000"/>
                  <a:lumOff val="50000"/>
                </a:schemeClr>
              </a:solidFill>
              <a:prstDash val="solid"/>
              <a:round/>
              <a:headEnd type="none" w="med" len="med"/>
              <a:tailEnd type="none" w="med" len="med"/>
            </a:ln>
            <a:effectLst/>
          </p:spPr>
          <p:txBody>
            <a:bodyPr anchor="ctr"/>
            <a:lstStyle/>
            <a:p>
              <a:pPr algn="ctr">
                <a:defRPr/>
              </a:pPr>
              <a:endParaRPr lang="en-US" sz="1100" dirty="0">
                <a:solidFill>
                  <a:srgbClr val="2E2E2E"/>
                </a:solidFill>
                <a:latin typeface="Calibri" panose="020F0502020204030204" pitchFamily="34" charset="0"/>
              </a:endParaRPr>
            </a:p>
          </p:txBody>
        </p:sp>
        <p:sp>
          <p:nvSpPr>
            <p:cNvPr id="41" name="Oval 40"/>
            <p:cNvSpPr/>
            <p:nvPr/>
          </p:nvSpPr>
          <p:spPr bwMode="auto">
            <a:xfrm>
              <a:off x="1615732" y="4926330"/>
              <a:ext cx="101600" cy="88480"/>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42" name="Oval 41"/>
            <p:cNvSpPr/>
            <p:nvPr/>
          </p:nvSpPr>
          <p:spPr bwMode="auto">
            <a:xfrm>
              <a:off x="1864969" y="4926330"/>
              <a:ext cx="101600" cy="88480"/>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43" name="Arc 42"/>
            <p:cNvSpPr/>
            <p:nvPr/>
          </p:nvSpPr>
          <p:spPr bwMode="auto">
            <a:xfrm rot="18697675">
              <a:off x="1647804" y="4905370"/>
              <a:ext cx="296218" cy="338138"/>
            </a:xfrm>
            <a:prstGeom prst="arc">
              <a:avLst>
                <a:gd name="adj1" fmla="val 16289639"/>
                <a:gd name="adj2" fmla="val 39554"/>
              </a:avLst>
            </a:prstGeom>
            <a:noFill/>
            <a:ln w="38100" cap="rnd" cmpd="sng" algn="ctr">
              <a:solidFill>
                <a:schemeClr val="tx2">
                  <a:lumMod val="50000"/>
                  <a:lumOff val="50000"/>
                </a:schemeClr>
              </a:solidFill>
              <a:prstDash val="solid"/>
              <a:round/>
              <a:headEnd type="none" w="med" len="med"/>
              <a:tailEnd type="none" w="med" len="med"/>
            </a:ln>
            <a:effectLst/>
          </p:spPr>
          <p:txBody>
            <a:bodyPr anchor="ctr"/>
            <a:lstStyle/>
            <a:p>
              <a:pPr algn="ctr">
                <a:defRPr/>
              </a:pPr>
              <a:endParaRPr lang="en-US" sz="1100" dirty="0">
                <a:solidFill>
                  <a:srgbClr val="2E2E2E"/>
                </a:solidFill>
                <a:latin typeface="Calibri" panose="020F0502020204030204" pitchFamily="34" charset="0"/>
              </a:endParaRPr>
            </a:p>
          </p:txBody>
        </p:sp>
        <p:sp>
          <p:nvSpPr>
            <p:cNvPr id="47" name="Oval 46"/>
            <p:cNvSpPr/>
            <p:nvPr/>
          </p:nvSpPr>
          <p:spPr bwMode="auto">
            <a:xfrm>
              <a:off x="1629112" y="1487523"/>
              <a:ext cx="101600" cy="88481"/>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48" name="Oval 47"/>
            <p:cNvSpPr/>
            <p:nvPr/>
          </p:nvSpPr>
          <p:spPr bwMode="auto">
            <a:xfrm>
              <a:off x="1878349" y="1487523"/>
              <a:ext cx="101600" cy="88481"/>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49" name="Arc 48"/>
            <p:cNvSpPr/>
            <p:nvPr/>
          </p:nvSpPr>
          <p:spPr bwMode="auto">
            <a:xfrm rot="18697675">
              <a:off x="1661183" y="1466564"/>
              <a:ext cx="296218" cy="338138"/>
            </a:xfrm>
            <a:prstGeom prst="arc">
              <a:avLst>
                <a:gd name="adj1" fmla="val 16289639"/>
                <a:gd name="adj2" fmla="val 39554"/>
              </a:avLst>
            </a:prstGeom>
            <a:noFill/>
            <a:ln w="38100" cap="rnd" cmpd="sng" algn="ctr">
              <a:solidFill>
                <a:schemeClr val="tx2">
                  <a:lumMod val="50000"/>
                  <a:lumOff val="50000"/>
                </a:schemeClr>
              </a:solidFill>
              <a:prstDash val="solid"/>
              <a:round/>
              <a:headEnd type="none" w="med" len="med"/>
              <a:tailEnd type="none" w="med" len="med"/>
            </a:ln>
            <a:effectLst/>
          </p:spPr>
          <p:txBody>
            <a:bodyPr anchor="ctr"/>
            <a:lstStyle/>
            <a:p>
              <a:pPr algn="ctr">
                <a:defRPr/>
              </a:pPr>
              <a:endParaRPr lang="en-US" sz="1100" dirty="0">
                <a:solidFill>
                  <a:srgbClr val="2E2E2E"/>
                </a:solidFill>
                <a:latin typeface="Calibri" panose="020F0502020204030204" pitchFamily="34" charset="0"/>
              </a:endParaRPr>
            </a:p>
          </p:txBody>
        </p:sp>
        <p:sp>
          <p:nvSpPr>
            <p:cNvPr id="50" name="Oval 49"/>
            <p:cNvSpPr/>
            <p:nvPr/>
          </p:nvSpPr>
          <p:spPr bwMode="auto">
            <a:xfrm>
              <a:off x="1629112" y="1652944"/>
              <a:ext cx="101600" cy="88480"/>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51" name="Oval 50"/>
            <p:cNvSpPr/>
            <p:nvPr/>
          </p:nvSpPr>
          <p:spPr bwMode="auto">
            <a:xfrm>
              <a:off x="1878349" y="1652944"/>
              <a:ext cx="101600" cy="88480"/>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52" name="Arc 51"/>
            <p:cNvSpPr/>
            <p:nvPr/>
          </p:nvSpPr>
          <p:spPr bwMode="auto">
            <a:xfrm rot="18697675">
              <a:off x="1661184" y="1631984"/>
              <a:ext cx="296218" cy="338138"/>
            </a:xfrm>
            <a:prstGeom prst="arc">
              <a:avLst>
                <a:gd name="adj1" fmla="val 16289639"/>
                <a:gd name="adj2" fmla="val 39554"/>
              </a:avLst>
            </a:prstGeom>
            <a:noFill/>
            <a:ln w="38100" cap="rnd" cmpd="sng" algn="ctr">
              <a:solidFill>
                <a:schemeClr val="tx2">
                  <a:lumMod val="50000"/>
                  <a:lumOff val="50000"/>
                </a:schemeClr>
              </a:solidFill>
              <a:prstDash val="solid"/>
              <a:round/>
              <a:headEnd type="none" w="med" len="med"/>
              <a:tailEnd type="none" w="med" len="med"/>
            </a:ln>
            <a:effectLst/>
          </p:spPr>
          <p:txBody>
            <a:bodyPr anchor="ctr"/>
            <a:lstStyle/>
            <a:p>
              <a:pPr algn="ctr">
                <a:defRPr/>
              </a:pPr>
              <a:endParaRPr lang="en-US" sz="1100" dirty="0">
                <a:solidFill>
                  <a:srgbClr val="2E2E2E"/>
                </a:solidFill>
                <a:latin typeface="Calibri" panose="020F0502020204030204" pitchFamily="34" charset="0"/>
              </a:endParaRPr>
            </a:p>
          </p:txBody>
        </p:sp>
        <p:sp>
          <p:nvSpPr>
            <p:cNvPr id="54" name="Oval 53"/>
            <p:cNvSpPr/>
            <p:nvPr/>
          </p:nvSpPr>
          <p:spPr bwMode="auto">
            <a:xfrm>
              <a:off x="1608646" y="5277316"/>
              <a:ext cx="101600" cy="88481"/>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55" name="Oval 54"/>
            <p:cNvSpPr/>
            <p:nvPr/>
          </p:nvSpPr>
          <p:spPr bwMode="auto">
            <a:xfrm>
              <a:off x="1857883" y="5277316"/>
              <a:ext cx="101600" cy="88481"/>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56" name="Arc 55"/>
            <p:cNvSpPr/>
            <p:nvPr/>
          </p:nvSpPr>
          <p:spPr bwMode="auto">
            <a:xfrm rot="18697675">
              <a:off x="1640717" y="5256357"/>
              <a:ext cx="296218" cy="338138"/>
            </a:xfrm>
            <a:prstGeom prst="arc">
              <a:avLst>
                <a:gd name="adj1" fmla="val 16289639"/>
                <a:gd name="adj2" fmla="val 39554"/>
              </a:avLst>
            </a:prstGeom>
            <a:noFill/>
            <a:ln w="38100" cap="rnd" cmpd="sng" algn="ctr">
              <a:solidFill>
                <a:schemeClr val="tx2">
                  <a:lumMod val="50000"/>
                  <a:lumOff val="50000"/>
                </a:schemeClr>
              </a:solidFill>
              <a:prstDash val="solid"/>
              <a:round/>
              <a:headEnd type="none" w="med" len="med"/>
              <a:tailEnd type="none" w="med" len="med"/>
            </a:ln>
            <a:effectLst/>
          </p:spPr>
          <p:txBody>
            <a:bodyPr anchor="ctr"/>
            <a:lstStyle/>
            <a:p>
              <a:pPr algn="ctr">
                <a:defRPr/>
              </a:pPr>
              <a:endParaRPr lang="en-US" sz="1100" dirty="0">
                <a:solidFill>
                  <a:srgbClr val="2E2E2E"/>
                </a:solidFill>
                <a:latin typeface="Calibri" panose="020F0502020204030204" pitchFamily="34" charset="0"/>
              </a:endParaRPr>
            </a:p>
          </p:txBody>
        </p:sp>
        <p:sp>
          <p:nvSpPr>
            <p:cNvPr id="57" name="Oval 56"/>
            <p:cNvSpPr/>
            <p:nvPr/>
          </p:nvSpPr>
          <p:spPr bwMode="auto">
            <a:xfrm>
              <a:off x="1608646" y="5442737"/>
              <a:ext cx="101600" cy="88480"/>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58" name="Oval 57"/>
            <p:cNvSpPr/>
            <p:nvPr/>
          </p:nvSpPr>
          <p:spPr bwMode="auto">
            <a:xfrm>
              <a:off x="1857883" y="5442737"/>
              <a:ext cx="101600" cy="88480"/>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59" name="Arc 58"/>
            <p:cNvSpPr/>
            <p:nvPr/>
          </p:nvSpPr>
          <p:spPr bwMode="auto">
            <a:xfrm rot="18697675">
              <a:off x="1640718" y="5421777"/>
              <a:ext cx="296218" cy="338138"/>
            </a:xfrm>
            <a:prstGeom prst="arc">
              <a:avLst>
                <a:gd name="adj1" fmla="val 16289639"/>
                <a:gd name="adj2" fmla="val 39554"/>
              </a:avLst>
            </a:prstGeom>
            <a:noFill/>
            <a:ln w="38100" cap="rnd" cmpd="sng" algn="ctr">
              <a:solidFill>
                <a:schemeClr val="tx2">
                  <a:lumMod val="50000"/>
                  <a:lumOff val="50000"/>
                </a:schemeClr>
              </a:solidFill>
              <a:prstDash val="solid"/>
              <a:round/>
              <a:headEnd type="none" w="med" len="med"/>
              <a:tailEnd type="none" w="med" len="med"/>
            </a:ln>
            <a:effectLst/>
          </p:spPr>
          <p:txBody>
            <a:bodyPr anchor="ctr"/>
            <a:lstStyle/>
            <a:p>
              <a:pPr algn="ctr">
                <a:defRPr/>
              </a:pPr>
              <a:endParaRPr lang="en-US" sz="1100" dirty="0">
                <a:solidFill>
                  <a:srgbClr val="2E2E2E"/>
                </a:solidFill>
                <a:latin typeface="Calibri" panose="020F0502020204030204" pitchFamily="34" charset="0"/>
              </a:endParaRPr>
            </a:p>
          </p:txBody>
        </p:sp>
        <p:sp>
          <p:nvSpPr>
            <p:cNvPr id="62" name="Oval 61"/>
            <p:cNvSpPr/>
            <p:nvPr/>
          </p:nvSpPr>
          <p:spPr bwMode="auto">
            <a:xfrm>
              <a:off x="1629112" y="2063581"/>
              <a:ext cx="101600" cy="88481"/>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63" name="Oval 62"/>
            <p:cNvSpPr/>
            <p:nvPr/>
          </p:nvSpPr>
          <p:spPr bwMode="auto">
            <a:xfrm>
              <a:off x="1878349" y="2063581"/>
              <a:ext cx="101600" cy="88481"/>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64" name="Arc 63"/>
            <p:cNvSpPr/>
            <p:nvPr/>
          </p:nvSpPr>
          <p:spPr bwMode="auto">
            <a:xfrm rot="18697675">
              <a:off x="1661183" y="2042622"/>
              <a:ext cx="296218" cy="338138"/>
            </a:xfrm>
            <a:prstGeom prst="arc">
              <a:avLst>
                <a:gd name="adj1" fmla="val 16289639"/>
                <a:gd name="adj2" fmla="val 39554"/>
              </a:avLst>
            </a:prstGeom>
            <a:noFill/>
            <a:ln w="38100" cap="rnd" cmpd="sng" algn="ctr">
              <a:solidFill>
                <a:schemeClr val="tx2">
                  <a:lumMod val="50000"/>
                  <a:lumOff val="50000"/>
                </a:schemeClr>
              </a:solidFill>
              <a:prstDash val="solid"/>
              <a:round/>
              <a:headEnd type="none" w="med" len="med"/>
              <a:tailEnd type="none" w="med" len="med"/>
            </a:ln>
            <a:effectLst/>
          </p:spPr>
          <p:txBody>
            <a:bodyPr anchor="ctr"/>
            <a:lstStyle/>
            <a:p>
              <a:pPr algn="ctr">
                <a:defRPr/>
              </a:pPr>
              <a:endParaRPr lang="en-US" sz="1100" dirty="0">
                <a:solidFill>
                  <a:srgbClr val="2E2E2E"/>
                </a:solidFill>
                <a:latin typeface="Calibri" panose="020F0502020204030204" pitchFamily="34" charset="0"/>
              </a:endParaRPr>
            </a:p>
          </p:txBody>
        </p:sp>
        <p:sp>
          <p:nvSpPr>
            <p:cNvPr id="65" name="Oval 64"/>
            <p:cNvSpPr/>
            <p:nvPr/>
          </p:nvSpPr>
          <p:spPr bwMode="auto">
            <a:xfrm>
              <a:off x="1629112" y="2229002"/>
              <a:ext cx="101600" cy="88480"/>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66" name="Oval 65"/>
            <p:cNvSpPr/>
            <p:nvPr/>
          </p:nvSpPr>
          <p:spPr bwMode="auto">
            <a:xfrm>
              <a:off x="1878349" y="2229002"/>
              <a:ext cx="101600" cy="88480"/>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67" name="Arc 66"/>
            <p:cNvSpPr/>
            <p:nvPr/>
          </p:nvSpPr>
          <p:spPr bwMode="auto">
            <a:xfrm rot="18697675">
              <a:off x="1661184" y="2208042"/>
              <a:ext cx="296218" cy="338138"/>
            </a:xfrm>
            <a:prstGeom prst="arc">
              <a:avLst>
                <a:gd name="adj1" fmla="val 16289639"/>
                <a:gd name="adj2" fmla="val 39554"/>
              </a:avLst>
            </a:prstGeom>
            <a:noFill/>
            <a:ln w="38100" cap="rnd" cmpd="sng" algn="ctr">
              <a:solidFill>
                <a:schemeClr val="tx2">
                  <a:lumMod val="50000"/>
                  <a:lumOff val="50000"/>
                </a:schemeClr>
              </a:solidFill>
              <a:prstDash val="solid"/>
              <a:round/>
              <a:headEnd type="none" w="med" len="med"/>
              <a:tailEnd type="none" w="med" len="med"/>
            </a:ln>
            <a:effectLst/>
          </p:spPr>
          <p:txBody>
            <a:bodyPr anchor="ctr"/>
            <a:lstStyle/>
            <a:p>
              <a:pPr algn="ctr">
                <a:defRPr/>
              </a:pPr>
              <a:endParaRPr lang="en-US" sz="1100" dirty="0">
                <a:solidFill>
                  <a:srgbClr val="2E2E2E"/>
                </a:solidFill>
                <a:latin typeface="Calibri" panose="020F0502020204030204" pitchFamily="34" charset="0"/>
              </a:endParaRPr>
            </a:p>
          </p:txBody>
        </p:sp>
        <p:sp>
          <p:nvSpPr>
            <p:cNvPr id="71" name="Oval 70"/>
            <p:cNvSpPr/>
            <p:nvPr/>
          </p:nvSpPr>
          <p:spPr bwMode="auto">
            <a:xfrm>
              <a:off x="1605361" y="2602494"/>
              <a:ext cx="101600" cy="88481"/>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72" name="Oval 71"/>
            <p:cNvSpPr/>
            <p:nvPr/>
          </p:nvSpPr>
          <p:spPr bwMode="auto">
            <a:xfrm>
              <a:off x="1854598" y="2602494"/>
              <a:ext cx="101600" cy="88481"/>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73" name="Arc 72"/>
            <p:cNvSpPr/>
            <p:nvPr/>
          </p:nvSpPr>
          <p:spPr bwMode="auto">
            <a:xfrm rot="18697675">
              <a:off x="1637432" y="2581535"/>
              <a:ext cx="296218" cy="338138"/>
            </a:xfrm>
            <a:prstGeom prst="arc">
              <a:avLst>
                <a:gd name="adj1" fmla="val 16289639"/>
                <a:gd name="adj2" fmla="val 39554"/>
              </a:avLst>
            </a:prstGeom>
            <a:noFill/>
            <a:ln w="38100" cap="rnd" cmpd="sng" algn="ctr">
              <a:solidFill>
                <a:schemeClr val="tx2">
                  <a:lumMod val="50000"/>
                  <a:lumOff val="50000"/>
                </a:schemeClr>
              </a:solidFill>
              <a:prstDash val="solid"/>
              <a:round/>
              <a:headEnd type="none" w="med" len="med"/>
              <a:tailEnd type="none" w="med" len="med"/>
            </a:ln>
            <a:effectLst/>
          </p:spPr>
          <p:txBody>
            <a:bodyPr anchor="ctr"/>
            <a:lstStyle/>
            <a:p>
              <a:pPr algn="ctr">
                <a:defRPr/>
              </a:pPr>
              <a:endParaRPr lang="en-US" sz="1100" dirty="0">
                <a:solidFill>
                  <a:srgbClr val="2E2E2E"/>
                </a:solidFill>
                <a:latin typeface="Calibri" panose="020F0502020204030204" pitchFamily="34" charset="0"/>
              </a:endParaRPr>
            </a:p>
          </p:txBody>
        </p:sp>
        <p:sp>
          <p:nvSpPr>
            <p:cNvPr id="74" name="Oval 73"/>
            <p:cNvSpPr/>
            <p:nvPr/>
          </p:nvSpPr>
          <p:spPr bwMode="auto">
            <a:xfrm>
              <a:off x="1605361" y="2767915"/>
              <a:ext cx="101600" cy="88480"/>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75" name="Oval 74"/>
            <p:cNvSpPr/>
            <p:nvPr/>
          </p:nvSpPr>
          <p:spPr bwMode="auto">
            <a:xfrm>
              <a:off x="1854598" y="2767915"/>
              <a:ext cx="101600" cy="88480"/>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76" name="Arc 75"/>
            <p:cNvSpPr/>
            <p:nvPr/>
          </p:nvSpPr>
          <p:spPr bwMode="auto">
            <a:xfrm rot="18697675">
              <a:off x="1637433" y="2746955"/>
              <a:ext cx="296218" cy="338138"/>
            </a:xfrm>
            <a:prstGeom prst="arc">
              <a:avLst>
                <a:gd name="adj1" fmla="val 16289639"/>
                <a:gd name="adj2" fmla="val 39554"/>
              </a:avLst>
            </a:prstGeom>
            <a:noFill/>
            <a:ln w="38100" cap="rnd" cmpd="sng" algn="ctr">
              <a:solidFill>
                <a:schemeClr val="tx2">
                  <a:lumMod val="50000"/>
                  <a:lumOff val="50000"/>
                </a:schemeClr>
              </a:solidFill>
              <a:prstDash val="solid"/>
              <a:round/>
              <a:headEnd type="none" w="med" len="med"/>
              <a:tailEnd type="none" w="med" len="med"/>
            </a:ln>
            <a:effectLst/>
          </p:spPr>
          <p:txBody>
            <a:bodyPr anchor="ctr"/>
            <a:lstStyle/>
            <a:p>
              <a:pPr algn="ctr">
                <a:defRPr/>
              </a:pPr>
              <a:endParaRPr lang="en-US" sz="1100" dirty="0">
                <a:solidFill>
                  <a:srgbClr val="2E2E2E"/>
                </a:solidFill>
                <a:latin typeface="Calibri" panose="020F0502020204030204" pitchFamily="34" charset="0"/>
              </a:endParaRPr>
            </a:p>
          </p:txBody>
        </p:sp>
        <p:sp>
          <p:nvSpPr>
            <p:cNvPr id="80" name="Oval 79"/>
            <p:cNvSpPr/>
            <p:nvPr/>
          </p:nvSpPr>
          <p:spPr bwMode="auto">
            <a:xfrm>
              <a:off x="1632421" y="3122317"/>
              <a:ext cx="101600" cy="88481"/>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81" name="Oval 80"/>
            <p:cNvSpPr/>
            <p:nvPr/>
          </p:nvSpPr>
          <p:spPr bwMode="auto">
            <a:xfrm>
              <a:off x="1881658" y="3122317"/>
              <a:ext cx="101600" cy="88481"/>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82" name="Arc 81"/>
            <p:cNvSpPr/>
            <p:nvPr/>
          </p:nvSpPr>
          <p:spPr bwMode="auto">
            <a:xfrm rot="18697675">
              <a:off x="1664492" y="3101358"/>
              <a:ext cx="296218" cy="338138"/>
            </a:xfrm>
            <a:prstGeom prst="arc">
              <a:avLst>
                <a:gd name="adj1" fmla="val 16289639"/>
                <a:gd name="adj2" fmla="val 39554"/>
              </a:avLst>
            </a:prstGeom>
            <a:noFill/>
            <a:ln w="38100" cap="rnd" cmpd="sng" algn="ctr">
              <a:solidFill>
                <a:schemeClr val="tx2">
                  <a:lumMod val="50000"/>
                  <a:lumOff val="50000"/>
                </a:schemeClr>
              </a:solidFill>
              <a:prstDash val="solid"/>
              <a:round/>
              <a:headEnd type="none" w="med" len="med"/>
              <a:tailEnd type="none" w="med" len="med"/>
            </a:ln>
            <a:effectLst/>
          </p:spPr>
          <p:txBody>
            <a:bodyPr anchor="ctr"/>
            <a:lstStyle/>
            <a:p>
              <a:pPr algn="ctr">
                <a:defRPr/>
              </a:pPr>
              <a:endParaRPr lang="en-US" sz="1100" dirty="0">
                <a:solidFill>
                  <a:srgbClr val="2E2E2E"/>
                </a:solidFill>
                <a:latin typeface="Calibri" panose="020F0502020204030204" pitchFamily="34" charset="0"/>
              </a:endParaRPr>
            </a:p>
          </p:txBody>
        </p:sp>
        <p:sp>
          <p:nvSpPr>
            <p:cNvPr id="83" name="Oval 82"/>
            <p:cNvSpPr/>
            <p:nvPr/>
          </p:nvSpPr>
          <p:spPr bwMode="auto">
            <a:xfrm>
              <a:off x="1632421" y="3287738"/>
              <a:ext cx="101600" cy="88480"/>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84" name="Oval 83"/>
            <p:cNvSpPr/>
            <p:nvPr/>
          </p:nvSpPr>
          <p:spPr bwMode="auto">
            <a:xfrm>
              <a:off x="1881658" y="3287738"/>
              <a:ext cx="101600" cy="88480"/>
            </a:xfrm>
            <a:prstGeom prst="ellipse">
              <a:avLst/>
            </a:prstGeom>
            <a:solidFill>
              <a:schemeClr val="bg1"/>
            </a:solidFill>
            <a:ln w="6350" cap="flat" cmpd="sng" algn="ctr">
              <a:solidFill>
                <a:schemeClr val="tx1">
                  <a:lumMod val="90000"/>
                  <a:lumOff val="10000"/>
                </a:schemeClr>
              </a:solid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algn="ctr" eaLnBrk="0" hangingPunct="0">
                <a:lnSpc>
                  <a:spcPct val="85000"/>
                </a:lnSpc>
                <a:defRPr/>
              </a:pPr>
              <a:endParaRPr lang="en-US" sz="1100" b="1" dirty="0">
                <a:solidFill>
                  <a:srgbClr val="2E2E2E"/>
                </a:solidFill>
                <a:latin typeface="Calibri" panose="020F0502020204030204" pitchFamily="34" charset="0"/>
                <a:cs typeface="Arial" charset="0"/>
              </a:endParaRPr>
            </a:p>
          </p:txBody>
        </p:sp>
        <p:sp>
          <p:nvSpPr>
            <p:cNvPr id="85" name="Arc 84"/>
            <p:cNvSpPr/>
            <p:nvPr/>
          </p:nvSpPr>
          <p:spPr bwMode="auto">
            <a:xfrm rot="18697675">
              <a:off x="1664493" y="3266778"/>
              <a:ext cx="296218" cy="338138"/>
            </a:xfrm>
            <a:prstGeom prst="arc">
              <a:avLst>
                <a:gd name="adj1" fmla="val 16289639"/>
                <a:gd name="adj2" fmla="val 39554"/>
              </a:avLst>
            </a:prstGeom>
            <a:noFill/>
            <a:ln w="38100" cap="rnd" cmpd="sng" algn="ctr">
              <a:solidFill>
                <a:schemeClr val="tx2">
                  <a:lumMod val="50000"/>
                  <a:lumOff val="50000"/>
                </a:schemeClr>
              </a:solidFill>
              <a:prstDash val="solid"/>
              <a:round/>
              <a:headEnd type="none" w="med" len="med"/>
              <a:tailEnd type="none" w="med" len="med"/>
            </a:ln>
            <a:effectLst/>
          </p:spPr>
          <p:txBody>
            <a:bodyPr anchor="ctr"/>
            <a:lstStyle/>
            <a:p>
              <a:pPr algn="ctr">
                <a:defRPr/>
              </a:pPr>
              <a:endParaRPr lang="en-US" sz="1100" dirty="0">
                <a:solidFill>
                  <a:srgbClr val="2E2E2E"/>
                </a:solidFill>
                <a:latin typeface="Calibri" panose="020F0502020204030204" pitchFamily="34" charset="0"/>
              </a:endParaRPr>
            </a:p>
          </p:txBody>
        </p:sp>
      </p:grpSp>
      <p:sp>
        <p:nvSpPr>
          <p:cNvPr id="97" name="Oval 96"/>
          <p:cNvSpPr/>
          <p:nvPr/>
        </p:nvSpPr>
        <p:spPr bwMode="auto">
          <a:xfrm>
            <a:off x="1447564" y="1392535"/>
            <a:ext cx="439528" cy="439528"/>
          </a:xfrm>
          <a:prstGeom prst="ellipse">
            <a:avLst/>
          </a:prstGeom>
          <a:solidFill>
            <a:schemeClr val="accent6"/>
          </a:solidFill>
          <a:ln w="2540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GB" sz="1600" dirty="0">
              <a:solidFill>
                <a:schemeClr val="tx2"/>
              </a:solidFill>
              <a:latin typeface="Calibri" panose="020F0502020204030204" pitchFamily="34" charset="0"/>
              <a:cs typeface="Arial" charset="0"/>
            </a:endParaRPr>
          </a:p>
        </p:txBody>
      </p:sp>
      <p:sp>
        <p:nvSpPr>
          <p:cNvPr id="98" name="Oval 97"/>
          <p:cNvSpPr/>
          <p:nvPr/>
        </p:nvSpPr>
        <p:spPr bwMode="auto">
          <a:xfrm>
            <a:off x="1447564" y="1933178"/>
            <a:ext cx="439528" cy="439528"/>
          </a:xfrm>
          <a:prstGeom prst="ellipse">
            <a:avLst/>
          </a:prstGeom>
          <a:solidFill>
            <a:schemeClr val="accent6"/>
          </a:solidFill>
          <a:ln w="2540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GB" sz="1600" dirty="0">
              <a:solidFill>
                <a:schemeClr val="tx2"/>
              </a:solidFill>
              <a:latin typeface="Calibri" panose="020F0502020204030204" pitchFamily="34" charset="0"/>
              <a:cs typeface="Arial" charset="0"/>
            </a:endParaRPr>
          </a:p>
        </p:txBody>
      </p:sp>
      <p:sp>
        <p:nvSpPr>
          <p:cNvPr id="99" name="Oval 98"/>
          <p:cNvSpPr/>
          <p:nvPr/>
        </p:nvSpPr>
        <p:spPr bwMode="auto">
          <a:xfrm>
            <a:off x="1447564" y="2473821"/>
            <a:ext cx="439528" cy="439528"/>
          </a:xfrm>
          <a:prstGeom prst="ellipse">
            <a:avLst/>
          </a:prstGeom>
          <a:solidFill>
            <a:schemeClr val="accent6"/>
          </a:solidFill>
          <a:ln w="2540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GB" sz="1600" dirty="0">
              <a:solidFill>
                <a:schemeClr val="tx2"/>
              </a:solidFill>
              <a:latin typeface="Calibri" panose="020F0502020204030204" pitchFamily="34" charset="0"/>
              <a:cs typeface="Arial" charset="0"/>
            </a:endParaRPr>
          </a:p>
        </p:txBody>
      </p:sp>
      <p:sp>
        <p:nvSpPr>
          <p:cNvPr id="100" name="Oval 99"/>
          <p:cNvSpPr/>
          <p:nvPr/>
        </p:nvSpPr>
        <p:spPr bwMode="auto">
          <a:xfrm>
            <a:off x="1447564" y="3014464"/>
            <a:ext cx="439528" cy="439528"/>
          </a:xfrm>
          <a:prstGeom prst="ellipse">
            <a:avLst/>
          </a:prstGeom>
          <a:solidFill>
            <a:schemeClr val="accent6"/>
          </a:solidFill>
          <a:ln w="2540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GB" sz="1600" dirty="0">
              <a:solidFill>
                <a:schemeClr val="tx2"/>
              </a:solidFill>
              <a:latin typeface="Calibri" panose="020F0502020204030204" pitchFamily="34" charset="0"/>
              <a:cs typeface="Arial" charset="0"/>
            </a:endParaRPr>
          </a:p>
        </p:txBody>
      </p:sp>
      <p:sp>
        <p:nvSpPr>
          <p:cNvPr id="101" name="Oval 100"/>
          <p:cNvSpPr/>
          <p:nvPr/>
        </p:nvSpPr>
        <p:spPr bwMode="auto">
          <a:xfrm>
            <a:off x="1447564" y="3555107"/>
            <a:ext cx="439528" cy="439528"/>
          </a:xfrm>
          <a:prstGeom prst="ellipse">
            <a:avLst/>
          </a:prstGeom>
          <a:solidFill>
            <a:schemeClr val="accent6"/>
          </a:solidFill>
          <a:ln w="2540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GB" sz="1600" dirty="0">
              <a:solidFill>
                <a:schemeClr val="tx2"/>
              </a:solidFill>
              <a:latin typeface="Calibri" panose="020F0502020204030204" pitchFamily="34" charset="0"/>
              <a:cs typeface="Arial" charset="0"/>
            </a:endParaRPr>
          </a:p>
        </p:txBody>
      </p:sp>
      <p:sp>
        <p:nvSpPr>
          <p:cNvPr id="102" name="Oval 101"/>
          <p:cNvSpPr/>
          <p:nvPr/>
        </p:nvSpPr>
        <p:spPr bwMode="auto">
          <a:xfrm>
            <a:off x="1447564" y="4095750"/>
            <a:ext cx="439528" cy="439528"/>
          </a:xfrm>
          <a:prstGeom prst="ellipse">
            <a:avLst/>
          </a:prstGeom>
          <a:solidFill>
            <a:schemeClr val="accent6"/>
          </a:solidFill>
          <a:ln w="2540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GB" sz="1600" dirty="0">
              <a:solidFill>
                <a:schemeClr val="tx2"/>
              </a:solidFill>
              <a:latin typeface="Calibri" panose="020F0502020204030204" pitchFamily="34" charset="0"/>
              <a:cs typeface="Arial" charset="0"/>
            </a:endParaRPr>
          </a:p>
        </p:txBody>
      </p:sp>
      <p:sp>
        <p:nvSpPr>
          <p:cNvPr id="103" name="Oval 102"/>
          <p:cNvSpPr/>
          <p:nvPr/>
        </p:nvSpPr>
        <p:spPr bwMode="auto">
          <a:xfrm>
            <a:off x="1447564" y="4636393"/>
            <a:ext cx="439528" cy="439528"/>
          </a:xfrm>
          <a:prstGeom prst="ellipse">
            <a:avLst/>
          </a:prstGeom>
          <a:solidFill>
            <a:schemeClr val="accent6"/>
          </a:solidFill>
          <a:ln w="2540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GB" sz="1600" dirty="0">
              <a:solidFill>
                <a:schemeClr val="tx2"/>
              </a:solidFill>
              <a:latin typeface="Calibri" panose="020F0502020204030204" pitchFamily="34" charset="0"/>
              <a:cs typeface="Arial" charset="0"/>
            </a:endParaRPr>
          </a:p>
        </p:txBody>
      </p:sp>
      <p:sp>
        <p:nvSpPr>
          <p:cNvPr id="104" name="Oval 103"/>
          <p:cNvSpPr/>
          <p:nvPr/>
        </p:nvSpPr>
        <p:spPr bwMode="auto">
          <a:xfrm>
            <a:off x="1447564" y="5177036"/>
            <a:ext cx="439528" cy="439528"/>
          </a:xfrm>
          <a:prstGeom prst="ellipse">
            <a:avLst/>
          </a:prstGeom>
          <a:solidFill>
            <a:schemeClr val="accent6"/>
          </a:solidFill>
          <a:ln w="2540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GB" sz="1600" dirty="0">
              <a:solidFill>
                <a:schemeClr val="tx2"/>
              </a:solidFill>
              <a:latin typeface="Calibri" panose="020F0502020204030204" pitchFamily="34" charset="0"/>
              <a:cs typeface="Arial" charset="0"/>
            </a:endParaRPr>
          </a:p>
        </p:txBody>
      </p:sp>
      <p:sp>
        <p:nvSpPr>
          <p:cNvPr id="105" name="Oval 104"/>
          <p:cNvSpPr/>
          <p:nvPr/>
        </p:nvSpPr>
        <p:spPr bwMode="auto">
          <a:xfrm>
            <a:off x="1447564" y="5717678"/>
            <a:ext cx="439528" cy="439528"/>
          </a:xfrm>
          <a:prstGeom prst="ellipse">
            <a:avLst/>
          </a:prstGeom>
          <a:solidFill>
            <a:schemeClr val="accent6"/>
          </a:solidFill>
          <a:ln w="2540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GB" sz="1600" dirty="0">
              <a:solidFill>
                <a:schemeClr val="tx2"/>
              </a:solidFill>
              <a:latin typeface="Calibri" panose="020F0502020204030204" pitchFamily="34" charset="0"/>
              <a:cs typeface="Arial" charset="0"/>
            </a:endParaRPr>
          </a:p>
        </p:txBody>
      </p:sp>
      <p:sp>
        <p:nvSpPr>
          <p:cNvPr id="106" name="Freeform 480"/>
          <p:cNvSpPr>
            <a:spLocks noEditPoints="1"/>
          </p:cNvSpPr>
          <p:nvPr/>
        </p:nvSpPr>
        <p:spPr bwMode="auto">
          <a:xfrm>
            <a:off x="1497314" y="1465470"/>
            <a:ext cx="338842" cy="287131"/>
          </a:xfrm>
          <a:custGeom>
            <a:avLst/>
            <a:gdLst/>
            <a:ahLst/>
            <a:cxnLst>
              <a:cxn ang="0">
                <a:pos x="140" y="144"/>
              </a:cxn>
              <a:cxn ang="0">
                <a:pos x="174" y="178"/>
              </a:cxn>
              <a:cxn ang="0">
                <a:pos x="140" y="211"/>
              </a:cxn>
              <a:cxn ang="0">
                <a:pos x="67" y="178"/>
              </a:cxn>
              <a:cxn ang="0">
                <a:pos x="134" y="178"/>
              </a:cxn>
              <a:cxn ang="0">
                <a:pos x="215" y="71"/>
              </a:cxn>
              <a:cxn ang="0">
                <a:pos x="249" y="104"/>
              </a:cxn>
              <a:cxn ang="0">
                <a:pos x="215" y="140"/>
              </a:cxn>
              <a:cxn ang="0">
                <a:pos x="141" y="104"/>
              </a:cxn>
              <a:cxn ang="0">
                <a:pos x="209" y="104"/>
              </a:cxn>
              <a:cxn ang="0">
                <a:pos x="74" y="71"/>
              </a:cxn>
              <a:cxn ang="0">
                <a:pos x="108" y="104"/>
              </a:cxn>
              <a:cxn ang="0">
                <a:pos x="74" y="140"/>
              </a:cxn>
              <a:cxn ang="0">
                <a:pos x="0" y="104"/>
              </a:cxn>
              <a:cxn ang="0">
                <a:pos x="69" y="104"/>
              </a:cxn>
              <a:cxn ang="0">
                <a:pos x="140" y="0"/>
              </a:cxn>
              <a:cxn ang="0">
                <a:pos x="174" y="33"/>
              </a:cxn>
              <a:cxn ang="0">
                <a:pos x="140" y="67"/>
              </a:cxn>
              <a:cxn ang="0">
                <a:pos x="67" y="33"/>
              </a:cxn>
              <a:cxn ang="0">
                <a:pos x="134" y="33"/>
              </a:cxn>
            </a:cxnLst>
            <a:rect l="0" t="0" r="r" b="b"/>
            <a:pathLst>
              <a:path w="249" h="211">
                <a:moveTo>
                  <a:pt x="140" y="144"/>
                </a:moveTo>
                <a:lnTo>
                  <a:pt x="174" y="178"/>
                </a:lnTo>
                <a:lnTo>
                  <a:pt x="140" y="211"/>
                </a:lnTo>
                <a:moveTo>
                  <a:pt x="67" y="178"/>
                </a:moveTo>
                <a:lnTo>
                  <a:pt x="134" y="178"/>
                </a:lnTo>
                <a:moveTo>
                  <a:pt x="215" y="71"/>
                </a:moveTo>
                <a:lnTo>
                  <a:pt x="249" y="104"/>
                </a:lnTo>
                <a:lnTo>
                  <a:pt x="215" y="140"/>
                </a:lnTo>
                <a:moveTo>
                  <a:pt x="141" y="104"/>
                </a:moveTo>
                <a:lnTo>
                  <a:pt x="209" y="104"/>
                </a:lnTo>
                <a:moveTo>
                  <a:pt x="74" y="71"/>
                </a:moveTo>
                <a:lnTo>
                  <a:pt x="108" y="104"/>
                </a:lnTo>
                <a:lnTo>
                  <a:pt x="74" y="140"/>
                </a:lnTo>
                <a:moveTo>
                  <a:pt x="0" y="104"/>
                </a:moveTo>
                <a:lnTo>
                  <a:pt x="69" y="104"/>
                </a:lnTo>
                <a:moveTo>
                  <a:pt x="140" y="0"/>
                </a:moveTo>
                <a:lnTo>
                  <a:pt x="174" y="33"/>
                </a:lnTo>
                <a:lnTo>
                  <a:pt x="140" y="67"/>
                </a:lnTo>
                <a:moveTo>
                  <a:pt x="67" y="33"/>
                </a:moveTo>
                <a:lnTo>
                  <a:pt x="134" y="33"/>
                </a:ln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nvGrpSpPr>
          <p:cNvPr id="107" name="Groupe 240"/>
          <p:cNvGrpSpPr>
            <a:grpSpLocks noChangeAspect="1"/>
          </p:cNvGrpSpPr>
          <p:nvPr/>
        </p:nvGrpSpPr>
        <p:grpSpPr>
          <a:xfrm>
            <a:off x="1509545" y="2063751"/>
            <a:ext cx="303887" cy="193675"/>
            <a:chOff x="1131888" y="2006600"/>
            <a:chExt cx="450850" cy="287338"/>
          </a:xfrm>
        </p:grpSpPr>
        <p:sp>
          <p:nvSpPr>
            <p:cNvPr id="108" name="Freeform 689"/>
            <p:cNvSpPr>
              <a:spLocks/>
            </p:cNvSpPr>
            <p:nvPr/>
          </p:nvSpPr>
          <p:spPr bwMode="auto">
            <a:xfrm>
              <a:off x="1131888" y="2006600"/>
              <a:ext cx="450850" cy="287338"/>
            </a:xfrm>
            <a:custGeom>
              <a:avLst/>
              <a:gdLst/>
              <a:ahLst/>
              <a:cxnLst>
                <a:cxn ang="0">
                  <a:pos x="232" y="132"/>
                </a:cxn>
                <a:cxn ang="0">
                  <a:pos x="217" y="148"/>
                </a:cxn>
                <a:cxn ang="0">
                  <a:pos x="15" y="148"/>
                </a:cxn>
                <a:cxn ang="0">
                  <a:pos x="0" y="132"/>
                </a:cxn>
                <a:cxn ang="0">
                  <a:pos x="211" y="132"/>
                </a:cxn>
                <a:cxn ang="0">
                  <a:pos x="211" y="0"/>
                </a:cxn>
                <a:cxn ang="0">
                  <a:pos x="21" y="0"/>
                </a:cxn>
                <a:cxn ang="0">
                  <a:pos x="21" y="114"/>
                </a:cxn>
              </a:cxnLst>
              <a:rect l="0" t="0" r="r" b="b"/>
              <a:pathLst>
                <a:path w="232" h="148">
                  <a:moveTo>
                    <a:pt x="232" y="132"/>
                  </a:moveTo>
                  <a:cubicBezTo>
                    <a:pt x="232" y="141"/>
                    <a:pt x="225" y="148"/>
                    <a:pt x="217" y="148"/>
                  </a:cubicBezTo>
                  <a:cubicBezTo>
                    <a:pt x="15" y="148"/>
                    <a:pt x="15" y="148"/>
                    <a:pt x="15" y="148"/>
                  </a:cubicBezTo>
                  <a:cubicBezTo>
                    <a:pt x="7" y="148"/>
                    <a:pt x="0" y="141"/>
                    <a:pt x="0" y="132"/>
                  </a:cubicBezTo>
                  <a:cubicBezTo>
                    <a:pt x="211" y="132"/>
                    <a:pt x="211" y="132"/>
                    <a:pt x="211" y="132"/>
                  </a:cubicBezTo>
                  <a:cubicBezTo>
                    <a:pt x="211" y="0"/>
                    <a:pt x="211" y="0"/>
                    <a:pt x="211" y="0"/>
                  </a:cubicBezTo>
                  <a:cubicBezTo>
                    <a:pt x="21" y="0"/>
                    <a:pt x="21" y="0"/>
                    <a:pt x="21" y="0"/>
                  </a:cubicBezTo>
                  <a:cubicBezTo>
                    <a:pt x="21" y="114"/>
                    <a:pt x="21" y="114"/>
                    <a:pt x="21" y="114"/>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09" name="Freeform 690"/>
            <p:cNvSpPr>
              <a:spLocks noEditPoints="1"/>
            </p:cNvSpPr>
            <p:nvPr/>
          </p:nvSpPr>
          <p:spPr bwMode="auto">
            <a:xfrm>
              <a:off x="1190625" y="2081213"/>
              <a:ext cx="28575" cy="39688"/>
            </a:xfrm>
            <a:custGeom>
              <a:avLst/>
              <a:gdLst/>
              <a:ahLst/>
              <a:cxnLst>
                <a:cxn ang="0">
                  <a:pos x="8" y="17"/>
                </a:cxn>
                <a:cxn ang="0">
                  <a:pos x="11" y="10"/>
                </a:cxn>
                <a:cxn ang="0">
                  <a:pos x="8" y="4"/>
                </a:cxn>
                <a:cxn ang="0">
                  <a:pos x="4" y="10"/>
                </a:cxn>
                <a:cxn ang="0">
                  <a:pos x="8" y="17"/>
                </a:cxn>
                <a:cxn ang="0">
                  <a:pos x="8" y="0"/>
                </a:cxn>
                <a:cxn ang="0">
                  <a:pos x="15" y="10"/>
                </a:cxn>
                <a:cxn ang="0">
                  <a:pos x="8" y="21"/>
                </a:cxn>
                <a:cxn ang="0">
                  <a:pos x="0" y="10"/>
                </a:cxn>
                <a:cxn ang="0">
                  <a:pos x="8" y="0"/>
                </a:cxn>
              </a:cxnLst>
              <a:rect l="0" t="0" r="r" b="b"/>
              <a:pathLst>
                <a:path w="15" h="21">
                  <a:moveTo>
                    <a:pt x="8" y="17"/>
                  </a:moveTo>
                  <a:cubicBezTo>
                    <a:pt x="10" y="17"/>
                    <a:pt x="11" y="15"/>
                    <a:pt x="11" y="10"/>
                  </a:cubicBezTo>
                  <a:cubicBezTo>
                    <a:pt x="11" y="6"/>
                    <a:pt x="10" y="4"/>
                    <a:pt x="8" y="4"/>
                  </a:cubicBezTo>
                  <a:cubicBezTo>
                    <a:pt x="5" y="4"/>
                    <a:pt x="4" y="6"/>
                    <a:pt x="4" y="10"/>
                  </a:cubicBezTo>
                  <a:cubicBezTo>
                    <a:pt x="4" y="15"/>
                    <a:pt x="6" y="17"/>
                    <a:pt x="8" y="17"/>
                  </a:cubicBezTo>
                  <a:moveTo>
                    <a:pt x="8" y="0"/>
                  </a:moveTo>
                  <a:cubicBezTo>
                    <a:pt x="12" y="0"/>
                    <a:pt x="15" y="4"/>
                    <a:pt x="15" y="10"/>
                  </a:cubicBezTo>
                  <a:cubicBezTo>
                    <a:pt x="15" y="15"/>
                    <a:pt x="14" y="21"/>
                    <a:pt x="8" y="21"/>
                  </a:cubicBezTo>
                  <a:cubicBezTo>
                    <a:pt x="2" y="21"/>
                    <a:pt x="0" y="15"/>
                    <a:pt x="0" y="10"/>
                  </a:cubicBezTo>
                  <a:cubicBezTo>
                    <a:pt x="0" y="4"/>
                    <a:pt x="3" y="0"/>
                    <a:pt x="8" y="0"/>
                  </a:cubicBezTo>
                </a:path>
              </a:pathLst>
            </a:custGeom>
            <a:solidFill>
              <a:srgbClr val="1A171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10" name="Freeform 691"/>
            <p:cNvSpPr>
              <a:spLocks/>
            </p:cNvSpPr>
            <p:nvPr/>
          </p:nvSpPr>
          <p:spPr bwMode="auto">
            <a:xfrm>
              <a:off x="1222375" y="2081213"/>
              <a:ext cx="17463" cy="39688"/>
            </a:xfrm>
            <a:custGeom>
              <a:avLst/>
              <a:gdLst/>
              <a:ahLst/>
              <a:cxnLst>
                <a:cxn ang="0">
                  <a:pos x="5" y="8"/>
                </a:cxn>
                <a:cxn ang="0">
                  <a:pos x="1" y="8"/>
                </a:cxn>
                <a:cxn ang="0">
                  <a:pos x="0" y="6"/>
                </a:cxn>
                <a:cxn ang="0">
                  <a:pos x="2" y="4"/>
                </a:cxn>
                <a:cxn ang="0">
                  <a:pos x="3" y="4"/>
                </a:cxn>
                <a:cxn ang="0">
                  <a:pos x="8" y="0"/>
                </a:cxn>
                <a:cxn ang="0">
                  <a:pos x="9" y="2"/>
                </a:cxn>
                <a:cxn ang="0">
                  <a:pos x="9" y="18"/>
                </a:cxn>
                <a:cxn ang="0">
                  <a:pos x="7" y="21"/>
                </a:cxn>
                <a:cxn ang="0">
                  <a:pos x="5" y="18"/>
                </a:cxn>
                <a:cxn ang="0">
                  <a:pos x="5" y="8"/>
                </a:cxn>
              </a:cxnLst>
              <a:rect l="0" t="0" r="r" b="b"/>
              <a:pathLst>
                <a:path w="9" h="21">
                  <a:moveTo>
                    <a:pt x="5" y="8"/>
                  </a:moveTo>
                  <a:cubicBezTo>
                    <a:pt x="1" y="8"/>
                    <a:pt x="1" y="8"/>
                    <a:pt x="1" y="8"/>
                  </a:cubicBezTo>
                  <a:cubicBezTo>
                    <a:pt x="0" y="8"/>
                    <a:pt x="0" y="7"/>
                    <a:pt x="0" y="6"/>
                  </a:cubicBezTo>
                  <a:cubicBezTo>
                    <a:pt x="0" y="5"/>
                    <a:pt x="1" y="5"/>
                    <a:pt x="2" y="4"/>
                  </a:cubicBezTo>
                  <a:cubicBezTo>
                    <a:pt x="3" y="4"/>
                    <a:pt x="3" y="4"/>
                    <a:pt x="3" y="4"/>
                  </a:cubicBezTo>
                  <a:cubicBezTo>
                    <a:pt x="6" y="4"/>
                    <a:pt x="5" y="0"/>
                    <a:pt x="8" y="0"/>
                  </a:cubicBezTo>
                  <a:cubicBezTo>
                    <a:pt x="8" y="0"/>
                    <a:pt x="9" y="1"/>
                    <a:pt x="9" y="2"/>
                  </a:cubicBezTo>
                  <a:cubicBezTo>
                    <a:pt x="9" y="18"/>
                    <a:pt x="9" y="18"/>
                    <a:pt x="9" y="18"/>
                  </a:cubicBezTo>
                  <a:cubicBezTo>
                    <a:pt x="9" y="20"/>
                    <a:pt x="9" y="21"/>
                    <a:pt x="7" y="21"/>
                  </a:cubicBezTo>
                  <a:cubicBezTo>
                    <a:pt x="6" y="21"/>
                    <a:pt x="5" y="20"/>
                    <a:pt x="5" y="18"/>
                  </a:cubicBezTo>
                  <a:cubicBezTo>
                    <a:pt x="5" y="8"/>
                    <a:pt x="5" y="8"/>
                    <a:pt x="5" y="8"/>
                  </a:cubicBezTo>
                </a:path>
              </a:pathLst>
            </a:custGeom>
            <a:solidFill>
              <a:srgbClr val="1A171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11" name="Freeform 692"/>
            <p:cNvSpPr>
              <a:spLocks noEditPoints="1"/>
            </p:cNvSpPr>
            <p:nvPr/>
          </p:nvSpPr>
          <p:spPr bwMode="auto">
            <a:xfrm>
              <a:off x="1246188" y="2081213"/>
              <a:ext cx="28575" cy="39688"/>
            </a:xfrm>
            <a:custGeom>
              <a:avLst/>
              <a:gdLst/>
              <a:ahLst/>
              <a:cxnLst>
                <a:cxn ang="0">
                  <a:pos x="7" y="17"/>
                </a:cxn>
                <a:cxn ang="0">
                  <a:pos x="10" y="10"/>
                </a:cxn>
                <a:cxn ang="0">
                  <a:pos x="7" y="4"/>
                </a:cxn>
                <a:cxn ang="0">
                  <a:pos x="4" y="10"/>
                </a:cxn>
                <a:cxn ang="0">
                  <a:pos x="7" y="17"/>
                </a:cxn>
                <a:cxn ang="0">
                  <a:pos x="7" y="0"/>
                </a:cxn>
                <a:cxn ang="0">
                  <a:pos x="14" y="10"/>
                </a:cxn>
                <a:cxn ang="0">
                  <a:pos x="7" y="21"/>
                </a:cxn>
                <a:cxn ang="0">
                  <a:pos x="0" y="10"/>
                </a:cxn>
                <a:cxn ang="0">
                  <a:pos x="7" y="0"/>
                </a:cxn>
              </a:cxnLst>
              <a:rect l="0" t="0" r="r" b="b"/>
              <a:pathLst>
                <a:path w="14" h="21">
                  <a:moveTo>
                    <a:pt x="7" y="17"/>
                  </a:moveTo>
                  <a:cubicBezTo>
                    <a:pt x="9" y="17"/>
                    <a:pt x="10" y="15"/>
                    <a:pt x="10" y="10"/>
                  </a:cubicBezTo>
                  <a:cubicBezTo>
                    <a:pt x="10" y="6"/>
                    <a:pt x="9" y="4"/>
                    <a:pt x="7" y="4"/>
                  </a:cubicBezTo>
                  <a:cubicBezTo>
                    <a:pt x="5" y="4"/>
                    <a:pt x="4" y="6"/>
                    <a:pt x="4" y="10"/>
                  </a:cubicBezTo>
                  <a:cubicBezTo>
                    <a:pt x="4" y="15"/>
                    <a:pt x="5" y="17"/>
                    <a:pt x="7" y="17"/>
                  </a:cubicBezTo>
                  <a:moveTo>
                    <a:pt x="7" y="0"/>
                  </a:moveTo>
                  <a:cubicBezTo>
                    <a:pt x="12" y="0"/>
                    <a:pt x="14" y="4"/>
                    <a:pt x="14" y="10"/>
                  </a:cubicBezTo>
                  <a:cubicBezTo>
                    <a:pt x="14" y="15"/>
                    <a:pt x="13" y="21"/>
                    <a:pt x="7" y="21"/>
                  </a:cubicBezTo>
                  <a:cubicBezTo>
                    <a:pt x="1" y="21"/>
                    <a:pt x="0" y="15"/>
                    <a:pt x="0" y="10"/>
                  </a:cubicBezTo>
                  <a:cubicBezTo>
                    <a:pt x="0" y="4"/>
                    <a:pt x="3" y="0"/>
                    <a:pt x="7" y="0"/>
                  </a:cubicBezTo>
                </a:path>
              </a:pathLst>
            </a:custGeom>
            <a:solidFill>
              <a:srgbClr val="1A171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12" name="Freeform 693"/>
            <p:cNvSpPr>
              <a:spLocks noEditPoints="1"/>
            </p:cNvSpPr>
            <p:nvPr/>
          </p:nvSpPr>
          <p:spPr bwMode="auto">
            <a:xfrm>
              <a:off x="1279525" y="2081213"/>
              <a:ext cx="26988" cy="39688"/>
            </a:xfrm>
            <a:custGeom>
              <a:avLst/>
              <a:gdLst/>
              <a:ahLst/>
              <a:cxnLst>
                <a:cxn ang="0">
                  <a:pos x="7" y="17"/>
                </a:cxn>
                <a:cxn ang="0">
                  <a:pos x="10" y="10"/>
                </a:cxn>
                <a:cxn ang="0">
                  <a:pos x="7" y="4"/>
                </a:cxn>
                <a:cxn ang="0">
                  <a:pos x="4" y="10"/>
                </a:cxn>
                <a:cxn ang="0">
                  <a:pos x="7" y="17"/>
                </a:cxn>
                <a:cxn ang="0">
                  <a:pos x="7" y="0"/>
                </a:cxn>
                <a:cxn ang="0">
                  <a:pos x="14" y="10"/>
                </a:cxn>
                <a:cxn ang="0">
                  <a:pos x="7" y="21"/>
                </a:cxn>
                <a:cxn ang="0">
                  <a:pos x="0" y="10"/>
                </a:cxn>
                <a:cxn ang="0">
                  <a:pos x="7" y="0"/>
                </a:cxn>
              </a:cxnLst>
              <a:rect l="0" t="0" r="r" b="b"/>
              <a:pathLst>
                <a:path w="14" h="21">
                  <a:moveTo>
                    <a:pt x="7" y="17"/>
                  </a:moveTo>
                  <a:cubicBezTo>
                    <a:pt x="9" y="17"/>
                    <a:pt x="10" y="15"/>
                    <a:pt x="10" y="10"/>
                  </a:cubicBezTo>
                  <a:cubicBezTo>
                    <a:pt x="10" y="6"/>
                    <a:pt x="9" y="4"/>
                    <a:pt x="7" y="4"/>
                  </a:cubicBezTo>
                  <a:cubicBezTo>
                    <a:pt x="5" y="4"/>
                    <a:pt x="4" y="6"/>
                    <a:pt x="4" y="10"/>
                  </a:cubicBezTo>
                  <a:cubicBezTo>
                    <a:pt x="4" y="15"/>
                    <a:pt x="5" y="17"/>
                    <a:pt x="7" y="17"/>
                  </a:cubicBezTo>
                  <a:moveTo>
                    <a:pt x="7" y="0"/>
                  </a:moveTo>
                  <a:cubicBezTo>
                    <a:pt x="12" y="0"/>
                    <a:pt x="14" y="4"/>
                    <a:pt x="14" y="10"/>
                  </a:cubicBezTo>
                  <a:cubicBezTo>
                    <a:pt x="14" y="15"/>
                    <a:pt x="13" y="21"/>
                    <a:pt x="7" y="21"/>
                  </a:cubicBezTo>
                  <a:cubicBezTo>
                    <a:pt x="1" y="21"/>
                    <a:pt x="0" y="15"/>
                    <a:pt x="0" y="10"/>
                  </a:cubicBezTo>
                  <a:cubicBezTo>
                    <a:pt x="0" y="4"/>
                    <a:pt x="3" y="0"/>
                    <a:pt x="7" y="0"/>
                  </a:cubicBezTo>
                </a:path>
              </a:pathLst>
            </a:custGeom>
            <a:solidFill>
              <a:srgbClr val="1A171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13" name="Freeform 694"/>
            <p:cNvSpPr>
              <a:spLocks/>
            </p:cNvSpPr>
            <p:nvPr/>
          </p:nvSpPr>
          <p:spPr bwMode="auto">
            <a:xfrm>
              <a:off x="1308100" y="2081213"/>
              <a:ext cx="20638" cy="39688"/>
            </a:xfrm>
            <a:custGeom>
              <a:avLst/>
              <a:gdLst/>
              <a:ahLst/>
              <a:cxnLst>
                <a:cxn ang="0">
                  <a:pos x="5" y="8"/>
                </a:cxn>
                <a:cxn ang="0">
                  <a:pos x="2" y="8"/>
                </a:cxn>
                <a:cxn ang="0">
                  <a:pos x="0" y="6"/>
                </a:cxn>
                <a:cxn ang="0">
                  <a:pos x="2" y="4"/>
                </a:cxn>
                <a:cxn ang="0">
                  <a:pos x="3" y="4"/>
                </a:cxn>
                <a:cxn ang="0">
                  <a:pos x="8" y="0"/>
                </a:cxn>
                <a:cxn ang="0">
                  <a:pos x="10" y="2"/>
                </a:cxn>
                <a:cxn ang="0">
                  <a:pos x="10" y="18"/>
                </a:cxn>
                <a:cxn ang="0">
                  <a:pos x="7" y="21"/>
                </a:cxn>
                <a:cxn ang="0">
                  <a:pos x="5" y="18"/>
                </a:cxn>
                <a:cxn ang="0">
                  <a:pos x="5" y="8"/>
                </a:cxn>
              </a:cxnLst>
              <a:rect l="0" t="0" r="r" b="b"/>
              <a:pathLst>
                <a:path w="10" h="21">
                  <a:moveTo>
                    <a:pt x="5" y="8"/>
                  </a:moveTo>
                  <a:cubicBezTo>
                    <a:pt x="2" y="8"/>
                    <a:pt x="2" y="8"/>
                    <a:pt x="2" y="8"/>
                  </a:cubicBezTo>
                  <a:cubicBezTo>
                    <a:pt x="1" y="8"/>
                    <a:pt x="0" y="7"/>
                    <a:pt x="0" y="6"/>
                  </a:cubicBezTo>
                  <a:cubicBezTo>
                    <a:pt x="0" y="5"/>
                    <a:pt x="1" y="5"/>
                    <a:pt x="2" y="4"/>
                  </a:cubicBezTo>
                  <a:cubicBezTo>
                    <a:pt x="3" y="4"/>
                    <a:pt x="3" y="4"/>
                    <a:pt x="3" y="4"/>
                  </a:cubicBezTo>
                  <a:cubicBezTo>
                    <a:pt x="6" y="4"/>
                    <a:pt x="6" y="0"/>
                    <a:pt x="8" y="0"/>
                  </a:cubicBezTo>
                  <a:cubicBezTo>
                    <a:pt x="9" y="0"/>
                    <a:pt x="10" y="1"/>
                    <a:pt x="10" y="2"/>
                  </a:cubicBezTo>
                  <a:cubicBezTo>
                    <a:pt x="10" y="18"/>
                    <a:pt x="10" y="18"/>
                    <a:pt x="10" y="18"/>
                  </a:cubicBezTo>
                  <a:cubicBezTo>
                    <a:pt x="10" y="20"/>
                    <a:pt x="9" y="21"/>
                    <a:pt x="7" y="21"/>
                  </a:cubicBezTo>
                  <a:cubicBezTo>
                    <a:pt x="6" y="21"/>
                    <a:pt x="5" y="20"/>
                    <a:pt x="5" y="18"/>
                  </a:cubicBezTo>
                  <a:cubicBezTo>
                    <a:pt x="5" y="8"/>
                    <a:pt x="5" y="8"/>
                    <a:pt x="5" y="8"/>
                  </a:cubicBezTo>
                </a:path>
              </a:pathLst>
            </a:custGeom>
            <a:solidFill>
              <a:srgbClr val="1A171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14" name="Freeform 695"/>
            <p:cNvSpPr>
              <a:spLocks noEditPoints="1"/>
            </p:cNvSpPr>
            <p:nvPr/>
          </p:nvSpPr>
          <p:spPr bwMode="auto">
            <a:xfrm>
              <a:off x="1333500" y="2081213"/>
              <a:ext cx="30163" cy="39688"/>
            </a:xfrm>
            <a:custGeom>
              <a:avLst/>
              <a:gdLst/>
              <a:ahLst/>
              <a:cxnLst>
                <a:cxn ang="0">
                  <a:pos x="7" y="17"/>
                </a:cxn>
                <a:cxn ang="0">
                  <a:pos x="11" y="10"/>
                </a:cxn>
                <a:cxn ang="0">
                  <a:pos x="7" y="4"/>
                </a:cxn>
                <a:cxn ang="0">
                  <a:pos x="4" y="10"/>
                </a:cxn>
                <a:cxn ang="0">
                  <a:pos x="7" y="17"/>
                </a:cxn>
                <a:cxn ang="0">
                  <a:pos x="7" y="0"/>
                </a:cxn>
                <a:cxn ang="0">
                  <a:pos x="15" y="10"/>
                </a:cxn>
                <a:cxn ang="0">
                  <a:pos x="7" y="21"/>
                </a:cxn>
                <a:cxn ang="0">
                  <a:pos x="0" y="10"/>
                </a:cxn>
                <a:cxn ang="0">
                  <a:pos x="7" y="0"/>
                </a:cxn>
              </a:cxnLst>
              <a:rect l="0" t="0" r="r" b="b"/>
              <a:pathLst>
                <a:path w="15" h="21">
                  <a:moveTo>
                    <a:pt x="7" y="17"/>
                  </a:moveTo>
                  <a:cubicBezTo>
                    <a:pt x="10" y="17"/>
                    <a:pt x="11" y="15"/>
                    <a:pt x="11" y="10"/>
                  </a:cubicBezTo>
                  <a:cubicBezTo>
                    <a:pt x="11" y="6"/>
                    <a:pt x="10" y="4"/>
                    <a:pt x="7" y="4"/>
                  </a:cubicBezTo>
                  <a:cubicBezTo>
                    <a:pt x="5" y="4"/>
                    <a:pt x="4" y="6"/>
                    <a:pt x="4" y="10"/>
                  </a:cubicBezTo>
                  <a:cubicBezTo>
                    <a:pt x="4" y="15"/>
                    <a:pt x="5" y="17"/>
                    <a:pt x="7" y="17"/>
                  </a:cubicBezTo>
                  <a:moveTo>
                    <a:pt x="7" y="0"/>
                  </a:moveTo>
                  <a:cubicBezTo>
                    <a:pt x="12" y="0"/>
                    <a:pt x="15" y="4"/>
                    <a:pt x="15" y="10"/>
                  </a:cubicBezTo>
                  <a:cubicBezTo>
                    <a:pt x="15" y="15"/>
                    <a:pt x="13" y="21"/>
                    <a:pt x="7" y="21"/>
                  </a:cubicBezTo>
                  <a:cubicBezTo>
                    <a:pt x="1" y="21"/>
                    <a:pt x="0" y="15"/>
                    <a:pt x="0" y="10"/>
                  </a:cubicBezTo>
                  <a:cubicBezTo>
                    <a:pt x="0" y="4"/>
                    <a:pt x="3" y="0"/>
                    <a:pt x="7" y="0"/>
                  </a:cubicBezTo>
                </a:path>
              </a:pathLst>
            </a:custGeom>
            <a:solidFill>
              <a:srgbClr val="1A171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15" name="Freeform 696"/>
            <p:cNvSpPr>
              <a:spLocks/>
            </p:cNvSpPr>
            <p:nvPr/>
          </p:nvSpPr>
          <p:spPr bwMode="auto">
            <a:xfrm>
              <a:off x="1365250" y="2081213"/>
              <a:ext cx="17463" cy="39688"/>
            </a:xfrm>
            <a:custGeom>
              <a:avLst/>
              <a:gdLst/>
              <a:ahLst/>
              <a:cxnLst>
                <a:cxn ang="0">
                  <a:pos x="5" y="8"/>
                </a:cxn>
                <a:cxn ang="0">
                  <a:pos x="1" y="8"/>
                </a:cxn>
                <a:cxn ang="0">
                  <a:pos x="0" y="6"/>
                </a:cxn>
                <a:cxn ang="0">
                  <a:pos x="2" y="4"/>
                </a:cxn>
                <a:cxn ang="0">
                  <a:pos x="3" y="4"/>
                </a:cxn>
                <a:cxn ang="0">
                  <a:pos x="7" y="0"/>
                </a:cxn>
                <a:cxn ang="0">
                  <a:pos x="9" y="2"/>
                </a:cxn>
                <a:cxn ang="0">
                  <a:pos x="9" y="18"/>
                </a:cxn>
                <a:cxn ang="0">
                  <a:pos x="7" y="21"/>
                </a:cxn>
                <a:cxn ang="0">
                  <a:pos x="5" y="18"/>
                </a:cxn>
                <a:cxn ang="0">
                  <a:pos x="5" y="8"/>
                </a:cxn>
              </a:cxnLst>
              <a:rect l="0" t="0" r="r" b="b"/>
              <a:pathLst>
                <a:path w="9" h="21">
                  <a:moveTo>
                    <a:pt x="5" y="8"/>
                  </a:moveTo>
                  <a:cubicBezTo>
                    <a:pt x="1" y="8"/>
                    <a:pt x="1" y="8"/>
                    <a:pt x="1" y="8"/>
                  </a:cubicBezTo>
                  <a:cubicBezTo>
                    <a:pt x="0" y="8"/>
                    <a:pt x="0" y="7"/>
                    <a:pt x="0" y="6"/>
                  </a:cubicBezTo>
                  <a:cubicBezTo>
                    <a:pt x="0" y="5"/>
                    <a:pt x="0" y="5"/>
                    <a:pt x="2" y="4"/>
                  </a:cubicBezTo>
                  <a:cubicBezTo>
                    <a:pt x="3" y="4"/>
                    <a:pt x="3" y="4"/>
                    <a:pt x="3" y="4"/>
                  </a:cubicBezTo>
                  <a:cubicBezTo>
                    <a:pt x="6" y="4"/>
                    <a:pt x="5" y="0"/>
                    <a:pt x="7" y="0"/>
                  </a:cubicBezTo>
                  <a:cubicBezTo>
                    <a:pt x="8" y="0"/>
                    <a:pt x="9" y="1"/>
                    <a:pt x="9" y="2"/>
                  </a:cubicBezTo>
                  <a:cubicBezTo>
                    <a:pt x="9" y="18"/>
                    <a:pt x="9" y="18"/>
                    <a:pt x="9" y="18"/>
                  </a:cubicBezTo>
                  <a:cubicBezTo>
                    <a:pt x="9" y="20"/>
                    <a:pt x="8" y="21"/>
                    <a:pt x="7" y="21"/>
                  </a:cubicBezTo>
                  <a:cubicBezTo>
                    <a:pt x="5" y="21"/>
                    <a:pt x="5" y="20"/>
                    <a:pt x="5" y="18"/>
                  </a:cubicBezTo>
                  <a:cubicBezTo>
                    <a:pt x="5" y="8"/>
                    <a:pt x="5" y="8"/>
                    <a:pt x="5" y="8"/>
                  </a:cubicBezTo>
                </a:path>
              </a:pathLst>
            </a:custGeom>
            <a:solidFill>
              <a:srgbClr val="1A171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16" name="Freeform 697"/>
            <p:cNvSpPr>
              <a:spLocks/>
            </p:cNvSpPr>
            <p:nvPr/>
          </p:nvSpPr>
          <p:spPr bwMode="auto">
            <a:xfrm>
              <a:off x="1385888" y="2081213"/>
              <a:ext cx="17463" cy="39688"/>
            </a:xfrm>
            <a:custGeom>
              <a:avLst/>
              <a:gdLst/>
              <a:ahLst/>
              <a:cxnLst>
                <a:cxn ang="0">
                  <a:pos x="5" y="8"/>
                </a:cxn>
                <a:cxn ang="0">
                  <a:pos x="1" y="8"/>
                </a:cxn>
                <a:cxn ang="0">
                  <a:pos x="0" y="6"/>
                </a:cxn>
                <a:cxn ang="0">
                  <a:pos x="2" y="4"/>
                </a:cxn>
                <a:cxn ang="0">
                  <a:pos x="3" y="4"/>
                </a:cxn>
                <a:cxn ang="0">
                  <a:pos x="8" y="0"/>
                </a:cxn>
                <a:cxn ang="0">
                  <a:pos x="9" y="2"/>
                </a:cxn>
                <a:cxn ang="0">
                  <a:pos x="9" y="18"/>
                </a:cxn>
                <a:cxn ang="0">
                  <a:pos x="7" y="21"/>
                </a:cxn>
                <a:cxn ang="0">
                  <a:pos x="5" y="18"/>
                </a:cxn>
                <a:cxn ang="0">
                  <a:pos x="5" y="8"/>
                </a:cxn>
              </a:cxnLst>
              <a:rect l="0" t="0" r="r" b="b"/>
              <a:pathLst>
                <a:path w="9" h="21">
                  <a:moveTo>
                    <a:pt x="5" y="8"/>
                  </a:moveTo>
                  <a:cubicBezTo>
                    <a:pt x="1" y="8"/>
                    <a:pt x="1" y="8"/>
                    <a:pt x="1" y="8"/>
                  </a:cubicBezTo>
                  <a:cubicBezTo>
                    <a:pt x="0" y="8"/>
                    <a:pt x="0" y="7"/>
                    <a:pt x="0" y="6"/>
                  </a:cubicBezTo>
                  <a:cubicBezTo>
                    <a:pt x="0" y="5"/>
                    <a:pt x="0" y="5"/>
                    <a:pt x="2" y="4"/>
                  </a:cubicBezTo>
                  <a:cubicBezTo>
                    <a:pt x="3" y="4"/>
                    <a:pt x="3" y="4"/>
                    <a:pt x="3" y="4"/>
                  </a:cubicBezTo>
                  <a:cubicBezTo>
                    <a:pt x="6" y="4"/>
                    <a:pt x="5" y="0"/>
                    <a:pt x="8" y="0"/>
                  </a:cubicBezTo>
                  <a:cubicBezTo>
                    <a:pt x="8" y="0"/>
                    <a:pt x="9" y="1"/>
                    <a:pt x="9" y="2"/>
                  </a:cubicBezTo>
                  <a:cubicBezTo>
                    <a:pt x="9" y="18"/>
                    <a:pt x="9" y="18"/>
                    <a:pt x="9" y="18"/>
                  </a:cubicBezTo>
                  <a:cubicBezTo>
                    <a:pt x="9" y="20"/>
                    <a:pt x="9" y="21"/>
                    <a:pt x="7" y="21"/>
                  </a:cubicBezTo>
                  <a:cubicBezTo>
                    <a:pt x="5" y="21"/>
                    <a:pt x="5" y="20"/>
                    <a:pt x="5" y="18"/>
                  </a:cubicBezTo>
                  <a:cubicBezTo>
                    <a:pt x="5" y="8"/>
                    <a:pt x="5" y="8"/>
                    <a:pt x="5" y="8"/>
                  </a:cubicBezTo>
                </a:path>
              </a:pathLst>
            </a:custGeom>
            <a:solidFill>
              <a:srgbClr val="1A171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17" name="Freeform 698"/>
            <p:cNvSpPr>
              <a:spLocks noEditPoints="1"/>
            </p:cNvSpPr>
            <p:nvPr/>
          </p:nvSpPr>
          <p:spPr bwMode="auto">
            <a:xfrm>
              <a:off x="1411288" y="2081213"/>
              <a:ext cx="26988" cy="39688"/>
            </a:xfrm>
            <a:custGeom>
              <a:avLst/>
              <a:gdLst/>
              <a:ahLst/>
              <a:cxnLst>
                <a:cxn ang="0">
                  <a:pos x="7" y="17"/>
                </a:cxn>
                <a:cxn ang="0">
                  <a:pos x="10" y="10"/>
                </a:cxn>
                <a:cxn ang="0">
                  <a:pos x="7" y="4"/>
                </a:cxn>
                <a:cxn ang="0">
                  <a:pos x="4" y="10"/>
                </a:cxn>
                <a:cxn ang="0">
                  <a:pos x="7" y="17"/>
                </a:cxn>
                <a:cxn ang="0">
                  <a:pos x="7" y="0"/>
                </a:cxn>
                <a:cxn ang="0">
                  <a:pos x="14" y="10"/>
                </a:cxn>
                <a:cxn ang="0">
                  <a:pos x="7" y="21"/>
                </a:cxn>
                <a:cxn ang="0">
                  <a:pos x="0" y="10"/>
                </a:cxn>
                <a:cxn ang="0">
                  <a:pos x="7" y="0"/>
                </a:cxn>
              </a:cxnLst>
              <a:rect l="0" t="0" r="r" b="b"/>
              <a:pathLst>
                <a:path w="14" h="21">
                  <a:moveTo>
                    <a:pt x="7" y="17"/>
                  </a:moveTo>
                  <a:cubicBezTo>
                    <a:pt x="9" y="17"/>
                    <a:pt x="10" y="15"/>
                    <a:pt x="10" y="10"/>
                  </a:cubicBezTo>
                  <a:cubicBezTo>
                    <a:pt x="10" y="6"/>
                    <a:pt x="9" y="4"/>
                    <a:pt x="7" y="4"/>
                  </a:cubicBezTo>
                  <a:cubicBezTo>
                    <a:pt x="5" y="4"/>
                    <a:pt x="4" y="6"/>
                    <a:pt x="4" y="10"/>
                  </a:cubicBezTo>
                  <a:cubicBezTo>
                    <a:pt x="4" y="15"/>
                    <a:pt x="5" y="17"/>
                    <a:pt x="7" y="17"/>
                  </a:cubicBezTo>
                  <a:moveTo>
                    <a:pt x="7" y="0"/>
                  </a:moveTo>
                  <a:cubicBezTo>
                    <a:pt x="11" y="0"/>
                    <a:pt x="14" y="4"/>
                    <a:pt x="14" y="10"/>
                  </a:cubicBezTo>
                  <a:cubicBezTo>
                    <a:pt x="14" y="15"/>
                    <a:pt x="13" y="21"/>
                    <a:pt x="7" y="21"/>
                  </a:cubicBezTo>
                  <a:cubicBezTo>
                    <a:pt x="1" y="21"/>
                    <a:pt x="0" y="15"/>
                    <a:pt x="0" y="10"/>
                  </a:cubicBezTo>
                  <a:cubicBezTo>
                    <a:pt x="0" y="4"/>
                    <a:pt x="2" y="0"/>
                    <a:pt x="7" y="0"/>
                  </a:cubicBezTo>
                </a:path>
              </a:pathLst>
            </a:custGeom>
            <a:solidFill>
              <a:srgbClr val="1A171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18" name="Freeform 699"/>
            <p:cNvSpPr>
              <a:spLocks/>
            </p:cNvSpPr>
            <p:nvPr/>
          </p:nvSpPr>
          <p:spPr bwMode="auto">
            <a:xfrm>
              <a:off x="1439863" y="2081213"/>
              <a:ext cx="17463" cy="39688"/>
            </a:xfrm>
            <a:custGeom>
              <a:avLst/>
              <a:gdLst/>
              <a:ahLst/>
              <a:cxnLst>
                <a:cxn ang="0">
                  <a:pos x="5" y="8"/>
                </a:cxn>
                <a:cxn ang="0">
                  <a:pos x="2" y="8"/>
                </a:cxn>
                <a:cxn ang="0">
                  <a:pos x="0" y="6"/>
                </a:cxn>
                <a:cxn ang="0">
                  <a:pos x="2" y="4"/>
                </a:cxn>
                <a:cxn ang="0">
                  <a:pos x="3" y="4"/>
                </a:cxn>
                <a:cxn ang="0">
                  <a:pos x="8" y="0"/>
                </a:cxn>
                <a:cxn ang="0">
                  <a:pos x="9" y="2"/>
                </a:cxn>
                <a:cxn ang="0">
                  <a:pos x="9" y="18"/>
                </a:cxn>
                <a:cxn ang="0">
                  <a:pos x="7" y="21"/>
                </a:cxn>
                <a:cxn ang="0">
                  <a:pos x="5" y="18"/>
                </a:cxn>
                <a:cxn ang="0">
                  <a:pos x="5" y="8"/>
                </a:cxn>
              </a:cxnLst>
              <a:rect l="0" t="0" r="r" b="b"/>
              <a:pathLst>
                <a:path w="9" h="21">
                  <a:moveTo>
                    <a:pt x="5" y="8"/>
                  </a:moveTo>
                  <a:cubicBezTo>
                    <a:pt x="2" y="8"/>
                    <a:pt x="2" y="8"/>
                    <a:pt x="2" y="8"/>
                  </a:cubicBezTo>
                  <a:cubicBezTo>
                    <a:pt x="1" y="8"/>
                    <a:pt x="0" y="7"/>
                    <a:pt x="0" y="6"/>
                  </a:cubicBezTo>
                  <a:cubicBezTo>
                    <a:pt x="0" y="5"/>
                    <a:pt x="1" y="5"/>
                    <a:pt x="2" y="4"/>
                  </a:cubicBezTo>
                  <a:cubicBezTo>
                    <a:pt x="3" y="4"/>
                    <a:pt x="3" y="4"/>
                    <a:pt x="3" y="4"/>
                  </a:cubicBezTo>
                  <a:cubicBezTo>
                    <a:pt x="6" y="4"/>
                    <a:pt x="5" y="0"/>
                    <a:pt x="8" y="0"/>
                  </a:cubicBezTo>
                  <a:cubicBezTo>
                    <a:pt x="9" y="0"/>
                    <a:pt x="9" y="1"/>
                    <a:pt x="9" y="2"/>
                  </a:cubicBezTo>
                  <a:cubicBezTo>
                    <a:pt x="9" y="18"/>
                    <a:pt x="9" y="18"/>
                    <a:pt x="9" y="18"/>
                  </a:cubicBezTo>
                  <a:cubicBezTo>
                    <a:pt x="9" y="20"/>
                    <a:pt x="9" y="21"/>
                    <a:pt x="7" y="21"/>
                  </a:cubicBezTo>
                  <a:cubicBezTo>
                    <a:pt x="6" y="21"/>
                    <a:pt x="5" y="20"/>
                    <a:pt x="5" y="18"/>
                  </a:cubicBezTo>
                  <a:cubicBezTo>
                    <a:pt x="5" y="8"/>
                    <a:pt x="5" y="8"/>
                    <a:pt x="5" y="8"/>
                  </a:cubicBezTo>
                </a:path>
              </a:pathLst>
            </a:custGeom>
            <a:solidFill>
              <a:srgbClr val="1A171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19" name="Freeform 700"/>
            <p:cNvSpPr>
              <a:spLocks noEditPoints="1"/>
            </p:cNvSpPr>
            <p:nvPr/>
          </p:nvSpPr>
          <p:spPr bwMode="auto">
            <a:xfrm>
              <a:off x="1465263" y="2081213"/>
              <a:ext cx="30163" cy="39688"/>
            </a:xfrm>
            <a:custGeom>
              <a:avLst/>
              <a:gdLst/>
              <a:ahLst/>
              <a:cxnLst>
                <a:cxn ang="0">
                  <a:pos x="7" y="17"/>
                </a:cxn>
                <a:cxn ang="0">
                  <a:pos x="11" y="10"/>
                </a:cxn>
                <a:cxn ang="0">
                  <a:pos x="7" y="4"/>
                </a:cxn>
                <a:cxn ang="0">
                  <a:pos x="4" y="10"/>
                </a:cxn>
                <a:cxn ang="0">
                  <a:pos x="7" y="17"/>
                </a:cxn>
                <a:cxn ang="0">
                  <a:pos x="7" y="0"/>
                </a:cxn>
                <a:cxn ang="0">
                  <a:pos x="15" y="10"/>
                </a:cxn>
                <a:cxn ang="0">
                  <a:pos x="7" y="21"/>
                </a:cxn>
                <a:cxn ang="0">
                  <a:pos x="0" y="10"/>
                </a:cxn>
                <a:cxn ang="0">
                  <a:pos x="7" y="0"/>
                </a:cxn>
              </a:cxnLst>
              <a:rect l="0" t="0" r="r" b="b"/>
              <a:pathLst>
                <a:path w="15" h="21">
                  <a:moveTo>
                    <a:pt x="7" y="17"/>
                  </a:moveTo>
                  <a:cubicBezTo>
                    <a:pt x="9" y="17"/>
                    <a:pt x="11" y="15"/>
                    <a:pt x="11" y="10"/>
                  </a:cubicBezTo>
                  <a:cubicBezTo>
                    <a:pt x="11" y="6"/>
                    <a:pt x="10" y="4"/>
                    <a:pt x="7" y="4"/>
                  </a:cubicBezTo>
                  <a:cubicBezTo>
                    <a:pt x="5" y="4"/>
                    <a:pt x="4" y="6"/>
                    <a:pt x="4" y="10"/>
                  </a:cubicBezTo>
                  <a:cubicBezTo>
                    <a:pt x="4" y="15"/>
                    <a:pt x="5" y="17"/>
                    <a:pt x="7" y="17"/>
                  </a:cubicBezTo>
                  <a:moveTo>
                    <a:pt x="7" y="0"/>
                  </a:moveTo>
                  <a:cubicBezTo>
                    <a:pt x="12" y="0"/>
                    <a:pt x="15" y="4"/>
                    <a:pt x="15" y="10"/>
                  </a:cubicBezTo>
                  <a:cubicBezTo>
                    <a:pt x="15" y="15"/>
                    <a:pt x="13" y="21"/>
                    <a:pt x="7" y="21"/>
                  </a:cubicBezTo>
                  <a:cubicBezTo>
                    <a:pt x="1" y="21"/>
                    <a:pt x="0" y="15"/>
                    <a:pt x="0" y="10"/>
                  </a:cubicBezTo>
                  <a:cubicBezTo>
                    <a:pt x="0" y="4"/>
                    <a:pt x="3" y="0"/>
                    <a:pt x="7" y="0"/>
                  </a:cubicBezTo>
                </a:path>
              </a:pathLst>
            </a:custGeom>
            <a:solidFill>
              <a:srgbClr val="1A171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20" name="Freeform 701"/>
            <p:cNvSpPr>
              <a:spLocks noEditPoints="1"/>
            </p:cNvSpPr>
            <p:nvPr/>
          </p:nvSpPr>
          <p:spPr bwMode="auto">
            <a:xfrm>
              <a:off x="1498600" y="2081213"/>
              <a:ext cx="28575" cy="39688"/>
            </a:xfrm>
            <a:custGeom>
              <a:avLst/>
              <a:gdLst/>
              <a:ahLst/>
              <a:cxnLst>
                <a:cxn ang="0">
                  <a:pos x="7" y="17"/>
                </a:cxn>
                <a:cxn ang="0">
                  <a:pos x="11" y="10"/>
                </a:cxn>
                <a:cxn ang="0">
                  <a:pos x="7" y="4"/>
                </a:cxn>
                <a:cxn ang="0">
                  <a:pos x="4" y="10"/>
                </a:cxn>
                <a:cxn ang="0">
                  <a:pos x="7" y="17"/>
                </a:cxn>
                <a:cxn ang="0">
                  <a:pos x="7" y="0"/>
                </a:cxn>
                <a:cxn ang="0">
                  <a:pos x="15" y="10"/>
                </a:cxn>
                <a:cxn ang="0">
                  <a:pos x="7" y="21"/>
                </a:cxn>
                <a:cxn ang="0">
                  <a:pos x="0" y="10"/>
                </a:cxn>
                <a:cxn ang="0">
                  <a:pos x="7" y="0"/>
                </a:cxn>
              </a:cxnLst>
              <a:rect l="0" t="0" r="r" b="b"/>
              <a:pathLst>
                <a:path w="15" h="21">
                  <a:moveTo>
                    <a:pt x="7" y="17"/>
                  </a:moveTo>
                  <a:cubicBezTo>
                    <a:pt x="9" y="17"/>
                    <a:pt x="11" y="15"/>
                    <a:pt x="11" y="10"/>
                  </a:cubicBezTo>
                  <a:cubicBezTo>
                    <a:pt x="11" y="6"/>
                    <a:pt x="10" y="4"/>
                    <a:pt x="7" y="4"/>
                  </a:cubicBezTo>
                  <a:cubicBezTo>
                    <a:pt x="5" y="4"/>
                    <a:pt x="4" y="6"/>
                    <a:pt x="4" y="10"/>
                  </a:cubicBezTo>
                  <a:cubicBezTo>
                    <a:pt x="4" y="15"/>
                    <a:pt x="5" y="17"/>
                    <a:pt x="7" y="17"/>
                  </a:cubicBezTo>
                  <a:moveTo>
                    <a:pt x="7" y="0"/>
                  </a:moveTo>
                  <a:cubicBezTo>
                    <a:pt x="12" y="0"/>
                    <a:pt x="15" y="4"/>
                    <a:pt x="15" y="10"/>
                  </a:cubicBezTo>
                  <a:cubicBezTo>
                    <a:pt x="15" y="15"/>
                    <a:pt x="13" y="21"/>
                    <a:pt x="7" y="21"/>
                  </a:cubicBezTo>
                  <a:cubicBezTo>
                    <a:pt x="1" y="21"/>
                    <a:pt x="0" y="15"/>
                    <a:pt x="0" y="10"/>
                  </a:cubicBezTo>
                  <a:cubicBezTo>
                    <a:pt x="0" y="4"/>
                    <a:pt x="3" y="0"/>
                    <a:pt x="7" y="0"/>
                  </a:cubicBezTo>
                </a:path>
              </a:pathLst>
            </a:custGeom>
            <a:solidFill>
              <a:srgbClr val="1A171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21" name="Freeform 702"/>
            <p:cNvSpPr>
              <a:spLocks noEditPoints="1"/>
            </p:cNvSpPr>
            <p:nvPr/>
          </p:nvSpPr>
          <p:spPr bwMode="auto">
            <a:xfrm>
              <a:off x="1190625" y="2146300"/>
              <a:ext cx="28575" cy="39688"/>
            </a:xfrm>
            <a:custGeom>
              <a:avLst/>
              <a:gdLst/>
              <a:ahLst/>
              <a:cxnLst>
                <a:cxn ang="0">
                  <a:pos x="8" y="17"/>
                </a:cxn>
                <a:cxn ang="0">
                  <a:pos x="11" y="10"/>
                </a:cxn>
                <a:cxn ang="0">
                  <a:pos x="8" y="3"/>
                </a:cxn>
                <a:cxn ang="0">
                  <a:pos x="4" y="10"/>
                </a:cxn>
                <a:cxn ang="0">
                  <a:pos x="8" y="17"/>
                </a:cxn>
                <a:cxn ang="0">
                  <a:pos x="8" y="0"/>
                </a:cxn>
                <a:cxn ang="0">
                  <a:pos x="15" y="10"/>
                </a:cxn>
                <a:cxn ang="0">
                  <a:pos x="8" y="20"/>
                </a:cxn>
                <a:cxn ang="0">
                  <a:pos x="0" y="10"/>
                </a:cxn>
                <a:cxn ang="0">
                  <a:pos x="8" y="0"/>
                </a:cxn>
              </a:cxnLst>
              <a:rect l="0" t="0" r="r" b="b"/>
              <a:pathLst>
                <a:path w="15" h="20">
                  <a:moveTo>
                    <a:pt x="8" y="17"/>
                  </a:moveTo>
                  <a:cubicBezTo>
                    <a:pt x="10" y="17"/>
                    <a:pt x="11" y="15"/>
                    <a:pt x="11" y="10"/>
                  </a:cubicBezTo>
                  <a:cubicBezTo>
                    <a:pt x="11" y="6"/>
                    <a:pt x="10" y="3"/>
                    <a:pt x="8" y="3"/>
                  </a:cubicBezTo>
                  <a:cubicBezTo>
                    <a:pt x="5" y="3"/>
                    <a:pt x="4" y="6"/>
                    <a:pt x="4" y="10"/>
                  </a:cubicBezTo>
                  <a:cubicBezTo>
                    <a:pt x="4" y="15"/>
                    <a:pt x="6" y="17"/>
                    <a:pt x="8" y="17"/>
                  </a:cubicBezTo>
                  <a:moveTo>
                    <a:pt x="8" y="0"/>
                  </a:moveTo>
                  <a:cubicBezTo>
                    <a:pt x="12" y="0"/>
                    <a:pt x="15" y="3"/>
                    <a:pt x="15" y="10"/>
                  </a:cubicBezTo>
                  <a:cubicBezTo>
                    <a:pt x="15" y="14"/>
                    <a:pt x="14" y="20"/>
                    <a:pt x="8" y="20"/>
                  </a:cubicBezTo>
                  <a:cubicBezTo>
                    <a:pt x="2" y="20"/>
                    <a:pt x="0" y="14"/>
                    <a:pt x="0" y="10"/>
                  </a:cubicBezTo>
                  <a:cubicBezTo>
                    <a:pt x="0" y="3"/>
                    <a:pt x="3" y="0"/>
                    <a:pt x="8" y="0"/>
                  </a:cubicBezTo>
                </a:path>
              </a:pathLst>
            </a:custGeom>
            <a:solidFill>
              <a:srgbClr val="1A171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22" name="Freeform 703"/>
            <p:cNvSpPr>
              <a:spLocks/>
            </p:cNvSpPr>
            <p:nvPr/>
          </p:nvSpPr>
          <p:spPr bwMode="auto">
            <a:xfrm>
              <a:off x="1222375" y="2146300"/>
              <a:ext cx="17463" cy="39688"/>
            </a:xfrm>
            <a:custGeom>
              <a:avLst/>
              <a:gdLst/>
              <a:ahLst/>
              <a:cxnLst>
                <a:cxn ang="0">
                  <a:pos x="5" y="7"/>
                </a:cxn>
                <a:cxn ang="0">
                  <a:pos x="1" y="7"/>
                </a:cxn>
                <a:cxn ang="0">
                  <a:pos x="0" y="5"/>
                </a:cxn>
                <a:cxn ang="0">
                  <a:pos x="2" y="4"/>
                </a:cxn>
                <a:cxn ang="0">
                  <a:pos x="3" y="4"/>
                </a:cxn>
                <a:cxn ang="0">
                  <a:pos x="8" y="0"/>
                </a:cxn>
                <a:cxn ang="0">
                  <a:pos x="9" y="2"/>
                </a:cxn>
                <a:cxn ang="0">
                  <a:pos x="9" y="17"/>
                </a:cxn>
                <a:cxn ang="0">
                  <a:pos x="7" y="20"/>
                </a:cxn>
                <a:cxn ang="0">
                  <a:pos x="5" y="17"/>
                </a:cxn>
                <a:cxn ang="0">
                  <a:pos x="5" y="7"/>
                </a:cxn>
              </a:cxnLst>
              <a:rect l="0" t="0" r="r" b="b"/>
              <a:pathLst>
                <a:path w="9" h="20">
                  <a:moveTo>
                    <a:pt x="5" y="7"/>
                  </a:moveTo>
                  <a:cubicBezTo>
                    <a:pt x="1" y="7"/>
                    <a:pt x="1" y="7"/>
                    <a:pt x="1" y="7"/>
                  </a:cubicBezTo>
                  <a:cubicBezTo>
                    <a:pt x="0" y="7"/>
                    <a:pt x="0" y="7"/>
                    <a:pt x="0" y="5"/>
                  </a:cubicBezTo>
                  <a:cubicBezTo>
                    <a:pt x="0" y="4"/>
                    <a:pt x="1" y="4"/>
                    <a:pt x="2" y="4"/>
                  </a:cubicBezTo>
                  <a:cubicBezTo>
                    <a:pt x="3" y="4"/>
                    <a:pt x="3" y="4"/>
                    <a:pt x="3" y="4"/>
                  </a:cubicBezTo>
                  <a:cubicBezTo>
                    <a:pt x="6" y="3"/>
                    <a:pt x="5" y="0"/>
                    <a:pt x="8" y="0"/>
                  </a:cubicBezTo>
                  <a:cubicBezTo>
                    <a:pt x="8" y="0"/>
                    <a:pt x="9" y="0"/>
                    <a:pt x="9" y="2"/>
                  </a:cubicBezTo>
                  <a:cubicBezTo>
                    <a:pt x="9" y="17"/>
                    <a:pt x="9" y="17"/>
                    <a:pt x="9" y="17"/>
                  </a:cubicBezTo>
                  <a:cubicBezTo>
                    <a:pt x="9" y="19"/>
                    <a:pt x="9" y="20"/>
                    <a:pt x="7" y="20"/>
                  </a:cubicBezTo>
                  <a:cubicBezTo>
                    <a:pt x="6" y="20"/>
                    <a:pt x="5" y="19"/>
                    <a:pt x="5" y="17"/>
                  </a:cubicBezTo>
                  <a:cubicBezTo>
                    <a:pt x="5" y="7"/>
                    <a:pt x="5" y="7"/>
                    <a:pt x="5" y="7"/>
                  </a:cubicBezTo>
                </a:path>
              </a:pathLst>
            </a:custGeom>
            <a:solidFill>
              <a:srgbClr val="1A171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23" name="Freeform 704"/>
            <p:cNvSpPr>
              <a:spLocks noEditPoints="1"/>
            </p:cNvSpPr>
            <p:nvPr/>
          </p:nvSpPr>
          <p:spPr bwMode="auto">
            <a:xfrm>
              <a:off x="1246188" y="2146300"/>
              <a:ext cx="28575" cy="39688"/>
            </a:xfrm>
            <a:custGeom>
              <a:avLst/>
              <a:gdLst/>
              <a:ahLst/>
              <a:cxnLst>
                <a:cxn ang="0">
                  <a:pos x="7" y="17"/>
                </a:cxn>
                <a:cxn ang="0">
                  <a:pos x="10" y="10"/>
                </a:cxn>
                <a:cxn ang="0">
                  <a:pos x="7" y="3"/>
                </a:cxn>
                <a:cxn ang="0">
                  <a:pos x="4" y="10"/>
                </a:cxn>
                <a:cxn ang="0">
                  <a:pos x="7" y="17"/>
                </a:cxn>
                <a:cxn ang="0">
                  <a:pos x="7" y="0"/>
                </a:cxn>
                <a:cxn ang="0">
                  <a:pos x="14" y="10"/>
                </a:cxn>
                <a:cxn ang="0">
                  <a:pos x="7" y="20"/>
                </a:cxn>
                <a:cxn ang="0">
                  <a:pos x="0" y="10"/>
                </a:cxn>
                <a:cxn ang="0">
                  <a:pos x="7" y="0"/>
                </a:cxn>
              </a:cxnLst>
              <a:rect l="0" t="0" r="r" b="b"/>
              <a:pathLst>
                <a:path w="14" h="20">
                  <a:moveTo>
                    <a:pt x="7" y="17"/>
                  </a:moveTo>
                  <a:cubicBezTo>
                    <a:pt x="9" y="17"/>
                    <a:pt x="10" y="15"/>
                    <a:pt x="10" y="10"/>
                  </a:cubicBezTo>
                  <a:cubicBezTo>
                    <a:pt x="10" y="6"/>
                    <a:pt x="9" y="3"/>
                    <a:pt x="7" y="3"/>
                  </a:cubicBezTo>
                  <a:cubicBezTo>
                    <a:pt x="5" y="3"/>
                    <a:pt x="4" y="6"/>
                    <a:pt x="4" y="10"/>
                  </a:cubicBezTo>
                  <a:cubicBezTo>
                    <a:pt x="4" y="15"/>
                    <a:pt x="5" y="17"/>
                    <a:pt x="7" y="17"/>
                  </a:cubicBezTo>
                  <a:moveTo>
                    <a:pt x="7" y="0"/>
                  </a:moveTo>
                  <a:cubicBezTo>
                    <a:pt x="12" y="0"/>
                    <a:pt x="14" y="3"/>
                    <a:pt x="14" y="10"/>
                  </a:cubicBezTo>
                  <a:cubicBezTo>
                    <a:pt x="14" y="14"/>
                    <a:pt x="13" y="20"/>
                    <a:pt x="7" y="20"/>
                  </a:cubicBezTo>
                  <a:cubicBezTo>
                    <a:pt x="1" y="20"/>
                    <a:pt x="0" y="14"/>
                    <a:pt x="0" y="10"/>
                  </a:cubicBezTo>
                  <a:cubicBezTo>
                    <a:pt x="0" y="3"/>
                    <a:pt x="3" y="0"/>
                    <a:pt x="7" y="0"/>
                  </a:cubicBezTo>
                </a:path>
              </a:pathLst>
            </a:custGeom>
            <a:solidFill>
              <a:srgbClr val="1A171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24" name="Freeform 705"/>
            <p:cNvSpPr>
              <a:spLocks/>
            </p:cNvSpPr>
            <p:nvPr/>
          </p:nvSpPr>
          <p:spPr bwMode="auto">
            <a:xfrm>
              <a:off x="1276350" y="2146300"/>
              <a:ext cx="19050" cy="39688"/>
            </a:xfrm>
            <a:custGeom>
              <a:avLst/>
              <a:gdLst/>
              <a:ahLst/>
              <a:cxnLst>
                <a:cxn ang="0">
                  <a:pos x="5" y="7"/>
                </a:cxn>
                <a:cxn ang="0">
                  <a:pos x="2" y="7"/>
                </a:cxn>
                <a:cxn ang="0">
                  <a:pos x="0" y="5"/>
                </a:cxn>
                <a:cxn ang="0">
                  <a:pos x="2" y="4"/>
                </a:cxn>
                <a:cxn ang="0">
                  <a:pos x="3" y="4"/>
                </a:cxn>
                <a:cxn ang="0">
                  <a:pos x="8" y="0"/>
                </a:cxn>
                <a:cxn ang="0">
                  <a:pos x="10" y="2"/>
                </a:cxn>
                <a:cxn ang="0">
                  <a:pos x="10" y="17"/>
                </a:cxn>
                <a:cxn ang="0">
                  <a:pos x="7" y="20"/>
                </a:cxn>
                <a:cxn ang="0">
                  <a:pos x="5" y="17"/>
                </a:cxn>
                <a:cxn ang="0">
                  <a:pos x="5" y="7"/>
                </a:cxn>
              </a:cxnLst>
              <a:rect l="0" t="0" r="r" b="b"/>
              <a:pathLst>
                <a:path w="10" h="20">
                  <a:moveTo>
                    <a:pt x="5" y="7"/>
                  </a:moveTo>
                  <a:cubicBezTo>
                    <a:pt x="2" y="7"/>
                    <a:pt x="2" y="7"/>
                    <a:pt x="2" y="7"/>
                  </a:cubicBezTo>
                  <a:cubicBezTo>
                    <a:pt x="1" y="7"/>
                    <a:pt x="0" y="7"/>
                    <a:pt x="0" y="5"/>
                  </a:cubicBezTo>
                  <a:cubicBezTo>
                    <a:pt x="0" y="4"/>
                    <a:pt x="1" y="4"/>
                    <a:pt x="2" y="4"/>
                  </a:cubicBezTo>
                  <a:cubicBezTo>
                    <a:pt x="3" y="4"/>
                    <a:pt x="3" y="4"/>
                    <a:pt x="3" y="4"/>
                  </a:cubicBezTo>
                  <a:cubicBezTo>
                    <a:pt x="6" y="3"/>
                    <a:pt x="6" y="0"/>
                    <a:pt x="8" y="0"/>
                  </a:cubicBezTo>
                  <a:cubicBezTo>
                    <a:pt x="9" y="0"/>
                    <a:pt x="10" y="0"/>
                    <a:pt x="10" y="2"/>
                  </a:cubicBezTo>
                  <a:cubicBezTo>
                    <a:pt x="10" y="17"/>
                    <a:pt x="10" y="17"/>
                    <a:pt x="10" y="17"/>
                  </a:cubicBezTo>
                  <a:cubicBezTo>
                    <a:pt x="10" y="19"/>
                    <a:pt x="9" y="20"/>
                    <a:pt x="7" y="20"/>
                  </a:cubicBezTo>
                  <a:cubicBezTo>
                    <a:pt x="6" y="20"/>
                    <a:pt x="5" y="19"/>
                    <a:pt x="5" y="17"/>
                  </a:cubicBezTo>
                  <a:cubicBezTo>
                    <a:pt x="5" y="7"/>
                    <a:pt x="5" y="7"/>
                    <a:pt x="5" y="7"/>
                  </a:cubicBezTo>
                </a:path>
              </a:pathLst>
            </a:custGeom>
            <a:solidFill>
              <a:srgbClr val="1A171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25" name="Freeform 706"/>
            <p:cNvSpPr>
              <a:spLocks/>
            </p:cNvSpPr>
            <p:nvPr/>
          </p:nvSpPr>
          <p:spPr bwMode="auto">
            <a:xfrm>
              <a:off x="1298575" y="2146300"/>
              <a:ext cx="17463" cy="39688"/>
            </a:xfrm>
            <a:custGeom>
              <a:avLst/>
              <a:gdLst/>
              <a:ahLst/>
              <a:cxnLst>
                <a:cxn ang="0">
                  <a:pos x="5" y="7"/>
                </a:cxn>
                <a:cxn ang="0">
                  <a:pos x="1" y="7"/>
                </a:cxn>
                <a:cxn ang="0">
                  <a:pos x="0" y="5"/>
                </a:cxn>
                <a:cxn ang="0">
                  <a:pos x="2" y="4"/>
                </a:cxn>
                <a:cxn ang="0">
                  <a:pos x="3" y="4"/>
                </a:cxn>
                <a:cxn ang="0">
                  <a:pos x="7" y="0"/>
                </a:cxn>
                <a:cxn ang="0">
                  <a:pos x="9" y="2"/>
                </a:cxn>
                <a:cxn ang="0">
                  <a:pos x="9" y="17"/>
                </a:cxn>
                <a:cxn ang="0">
                  <a:pos x="7" y="20"/>
                </a:cxn>
                <a:cxn ang="0">
                  <a:pos x="5" y="17"/>
                </a:cxn>
                <a:cxn ang="0">
                  <a:pos x="5" y="7"/>
                </a:cxn>
              </a:cxnLst>
              <a:rect l="0" t="0" r="r" b="b"/>
              <a:pathLst>
                <a:path w="9" h="20">
                  <a:moveTo>
                    <a:pt x="5" y="7"/>
                  </a:moveTo>
                  <a:cubicBezTo>
                    <a:pt x="1" y="7"/>
                    <a:pt x="1" y="7"/>
                    <a:pt x="1" y="7"/>
                  </a:cubicBezTo>
                  <a:cubicBezTo>
                    <a:pt x="0" y="7"/>
                    <a:pt x="0" y="7"/>
                    <a:pt x="0" y="5"/>
                  </a:cubicBezTo>
                  <a:cubicBezTo>
                    <a:pt x="0" y="4"/>
                    <a:pt x="0" y="4"/>
                    <a:pt x="2" y="4"/>
                  </a:cubicBezTo>
                  <a:cubicBezTo>
                    <a:pt x="3" y="4"/>
                    <a:pt x="3" y="4"/>
                    <a:pt x="3" y="4"/>
                  </a:cubicBezTo>
                  <a:cubicBezTo>
                    <a:pt x="6" y="3"/>
                    <a:pt x="5" y="0"/>
                    <a:pt x="7" y="0"/>
                  </a:cubicBezTo>
                  <a:cubicBezTo>
                    <a:pt x="8" y="0"/>
                    <a:pt x="9" y="0"/>
                    <a:pt x="9" y="2"/>
                  </a:cubicBezTo>
                  <a:cubicBezTo>
                    <a:pt x="9" y="17"/>
                    <a:pt x="9" y="17"/>
                    <a:pt x="9" y="17"/>
                  </a:cubicBezTo>
                  <a:cubicBezTo>
                    <a:pt x="9" y="19"/>
                    <a:pt x="8" y="20"/>
                    <a:pt x="7" y="20"/>
                  </a:cubicBezTo>
                  <a:cubicBezTo>
                    <a:pt x="5" y="20"/>
                    <a:pt x="5" y="19"/>
                    <a:pt x="5" y="17"/>
                  </a:cubicBezTo>
                  <a:cubicBezTo>
                    <a:pt x="5" y="7"/>
                    <a:pt x="5" y="7"/>
                    <a:pt x="5" y="7"/>
                  </a:cubicBezTo>
                </a:path>
              </a:pathLst>
            </a:custGeom>
            <a:solidFill>
              <a:srgbClr val="1A171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26" name="Freeform 707"/>
            <p:cNvSpPr>
              <a:spLocks noEditPoints="1"/>
            </p:cNvSpPr>
            <p:nvPr/>
          </p:nvSpPr>
          <p:spPr bwMode="auto">
            <a:xfrm>
              <a:off x="1322388" y="2146300"/>
              <a:ext cx="28575" cy="39688"/>
            </a:xfrm>
            <a:custGeom>
              <a:avLst/>
              <a:gdLst/>
              <a:ahLst/>
              <a:cxnLst>
                <a:cxn ang="0">
                  <a:pos x="8" y="17"/>
                </a:cxn>
                <a:cxn ang="0">
                  <a:pos x="11" y="10"/>
                </a:cxn>
                <a:cxn ang="0">
                  <a:pos x="8" y="3"/>
                </a:cxn>
                <a:cxn ang="0">
                  <a:pos x="4" y="10"/>
                </a:cxn>
                <a:cxn ang="0">
                  <a:pos x="8" y="17"/>
                </a:cxn>
                <a:cxn ang="0">
                  <a:pos x="8" y="0"/>
                </a:cxn>
                <a:cxn ang="0">
                  <a:pos x="15" y="10"/>
                </a:cxn>
                <a:cxn ang="0">
                  <a:pos x="8" y="20"/>
                </a:cxn>
                <a:cxn ang="0">
                  <a:pos x="0" y="10"/>
                </a:cxn>
                <a:cxn ang="0">
                  <a:pos x="8" y="0"/>
                </a:cxn>
              </a:cxnLst>
              <a:rect l="0" t="0" r="r" b="b"/>
              <a:pathLst>
                <a:path w="15" h="20">
                  <a:moveTo>
                    <a:pt x="8" y="17"/>
                  </a:moveTo>
                  <a:cubicBezTo>
                    <a:pt x="10" y="17"/>
                    <a:pt x="11" y="15"/>
                    <a:pt x="11" y="10"/>
                  </a:cubicBezTo>
                  <a:cubicBezTo>
                    <a:pt x="11" y="6"/>
                    <a:pt x="10" y="3"/>
                    <a:pt x="8" y="3"/>
                  </a:cubicBezTo>
                  <a:cubicBezTo>
                    <a:pt x="5" y="3"/>
                    <a:pt x="4" y="6"/>
                    <a:pt x="4" y="10"/>
                  </a:cubicBezTo>
                  <a:cubicBezTo>
                    <a:pt x="4" y="15"/>
                    <a:pt x="6" y="17"/>
                    <a:pt x="8" y="17"/>
                  </a:cubicBezTo>
                  <a:moveTo>
                    <a:pt x="8" y="0"/>
                  </a:moveTo>
                  <a:cubicBezTo>
                    <a:pt x="12" y="0"/>
                    <a:pt x="15" y="3"/>
                    <a:pt x="15" y="10"/>
                  </a:cubicBezTo>
                  <a:cubicBezTo>
                    <a:pt x="15" y="14"/>
                    <a:pt x="14" y="20"/>
                    <a:pt x="8" y="20"/>
                  </a:cubicBezTo>
                  <a:cubicBezTo>
                    <a:pt x="2" y="20"/>
                    <a:pt x="0" y="14"/>
                    <a:pt x="0" y="10"/>
                  </a:cubicBezTo>
                  <a:cubicBezTo>
                    <a:pt x="0" y="3"/>
                    <a:pt x="3" y="0"/>
                    <a:pt x="8" y="0"/>
                  </a:cubicBezTo>
                </a:path>
              </a:pathLst>
            </a:custGeom>
            <a:solidFill>
              <a:srgbClr val="1A171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27" name="Freeform 708"/>
            <p:cNvSpPr>
              <a:spLocks/>
            </p:cNvSpPr>
            <p:nvPr/>
          </p:nvSpPr>
          <p:spPr bwMode="auto">
            <a:xfrm>
              <a:off x="1354138" y="2146300"/>
              <a:ext cx="17463" cy="39688"/>
            </a:xfrm>
            <a:custGeom>
              <a:avLst/>
              <a:gdLst/>
              <a:ahLst/>
              <a:cxnLst>
                <a:cxn ang="0">
                  <a:pos x="5" y="7"/>
                </a:cxn>
                <a:cxn ang="0">
                  <a:pos x="1" y="7"/>
                </a:cxn>
                <a:cxn ang="0">
                  <a:pos x="0" y="5"/>
                </a:cxn>
                <a:cxn ang="0">
                  <a:pos x="2" y="4"/>
                </a:cxn>
                <a:cxn ang="0">
                  <a:pos x="3" y="4"/>
                </a:cxn>
                <a:cxn ang="0">
                  <a:pos x="8" y="0"/>
                </a:cxn>
                <a:cxn ang="0">
                  <a:pos x="9" y="2"/>
                </a:cxn>
                <a:cxn ang="0">
                  <a:pos x="9" y="17"/>
                </a:cxn>
                <a:cxn ang="0">
                  <a:pos x="7" y="20"/>
                </a:cxn>
                <a:cxn ang="0">
                  <a:pos x="5" y="17"/>
                </a:cxn>
                <a:cxn ang="0">
                  <a:pos x="5" y="7"/>
                </a:cxn>
              </a:cxnLst>
              <a:rect l="0" t="0" r="r" b="b"/>
              <a:pathLst>
                <a:path w="9" h="20">
                  <a:moveTo>
                    <a:pt x="5" y="7"/>
                  </a:moveTo>
                  <a:cubicBezTo>
                    <a:pt x="1" y="7"/>
                    <a:pt x="1" y="7"/>
                    <a:pt x="1" y="7"/>
                  </a:cubicBezTo>
                  <a:cubicBezTo>
                    <a:pt x="0" y="7"/>
                    <a:pt x="0" y="7"/>
                    <a:pt x="0" y="5"/>
                  </a:cubicBezTo>
                  <a:cubicBezTo>
                    <a:pt x="0" y="4"/>
                    <a:pt x="0" y="4"/>
                    <a:pt x="2" y="4"/>
                  </a:cubicBezTo>
                  <a:cubicBezTo>
                    <a:pt x="3" y="4"/>
                    <a:pt x="3" y="4"/>
                    <a:pt x="3" y="4"/>
                  </a:cubicBezTo>
                  <a:cubicBezTo>
                    <a:pt x="6" y="3"/>
                    <a:pt x="5" y="0"/>
                    <a:pt x="8" y="0"/>
                  </a:cubicBezTo>
                  <a:cubicBezTo>
                    <a:pt x="8" y="0"/>
                    <a:pt x="9" y="0"/>
                    <a:pt x="9" y="2"/>
                  </a:cubicBezTo>
                  <a:cubicBezTo>
                    <a:pt x="9" y="17"/>
                    <a:pt x="9" y="17"/>
                    <a:pt x="9" y="17"/>
                  </a:cubicBezTo>
                  <a:cubicBezTo>
                    <a:pt x="9" y="19"/>
                    <a:pt x="9" y="20"/>
                    <a:pt x="7" y="20"/>
                  </a:cubicBezTo>
                  <a:cubicBezTo>
                    <a:pt x="5" y="20"/>
                    <a:pt x="5" y="19"/>
                    <a:pt x="5" y="17"/>
                  </a:cubicBezTo>
                  <a:cubicBezTo>
                    <a:pt x="5" y="7"/>
                    <a:pt x="5" y="7"/>
                    <a:pt x="5" y="7"/>
                  </a:cubicBezTo>
                </a:path>
              </a:pathLst>
            </a:custGeom>
            <a:solidFill>
              <a:srgbClr val="1A171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28" name="Freeform 709"/>
            <p:cNvSpPr>
              <a:spLocks noEditPoints="1"/>
            </p:cNvSpPr>
            <p:nvPr/>
          </p:nvSpPr>
          <p:spPr bwMode="auto">
            <a:xfrm>
              <a:off x="1377950" y="2146300"/>
              <a:ext cx="28575" cy="39688"/>
            </a:xfrm>
            <a:custGeom>
              <a:avLst/>
              <a:gdLst/>
              <a:ahLst/>
              <a:cxnLst>
                <a:cxn ang="0">
                  <a:pos x="7" y="17"/>
                </a:cxn>
                <a:cxn ang="0">
                  <a:pos x="10" y="10"/>
                </a:cxn>
                <a:cxn ang="0">
                  <a:pos x="7" y="3"/>
                </a:cxn>
                <a:cxn ang="0">
                  <a:pos x="4" y="10"/>
                </a:cxn>
                <a:cxn ang="0">
                  <a:pos x="7" y="17"/>
                </a:cxn>
                <a:cxn ang="0">
                  <a:pos x="7" y="0"/>
                </a:cxn>
                <a:cxn ang="0">
                  <a:pos x="14" y="10"/>
                </a:cxn>
                <a:cxn ang="0">
                  <a:pos x="7" y="20"/>
                </a:cxn>
                <a:cxn ang="0">
                  <a:pos x="0" y="10"/>
                </a:cxn>
                <a:cxn ang="0">
                  <a:pos x="7" y="0"/>
                </a:cxn>
              </a:cxnLst>
              <a:rect l="0" t="0" r="r" b="b"/>
              <a:pathLst>
                <a:path w="14" h="20">
                  <a:moveTo>
                    <a:pt x="7" y="17"/>
                  </a:moveTo>
                  <a:cubicBezTo>
                    <a:pt x="9" y="17"/>
                    <a:pt x="10" y="15"/>
                    <a:pt x="10" y="10"/>
                  </a:cubicBezTo>
                  <a:cubicBezTo>
                    <a:pt x="10" y="6"/>
                    <a:pt x="9" y="3"/>
                    <a:pt x="7" y="3"/>
                  </a:cubicBezTo>
                  <a:cubicBezTo>
                    <a:pt x="5" y="3"/>
                    <a:pt x="4" y="6"/>
                    <a:pt x="4" y="10"/>
                  </a:cubicBezTo>
                  <a:cubicBezTo>
                    <a:pt x="4" y="15"/>
                    <a:pt x="5" y="17"/>
                    <a:pt x="7" y="17"/>
                  </a:cubicBezTo>
                  <a:moveTo>
                    <a:pt x="7" y="0"/>
                  </a:moveTo>
                  <a:cubicBezTo>
                    <a:pt x="11" y="0"/>
                    <a:pt x="14" y="3"/>
                    <a:pt x="14" y="10"/>
                  </a:cubicBezTo>
                  <a:cubicBezTo>
                    <a:pt x="14" y="14"/>
                    <a:pt x="13" y="20"/>
                    <a:pt x="7" y="20"/>
                  </a:cubicBezTo>
                  <a:cubicBezTo>
                    <a:pt x="1" y="20"/>
                    <a:pt x="0" y="14"/>
                    <a:pt x="0" y="10"/>
                  </a:cubicBezTo>
                  <a:cubicBezTo>
                    <a:pt x="0" y="3"/>
                    <a:pt x="2" y="0"/>
                    <a:pt x="7" y="0"/>
                  </a:cubicBezTo>
                </a:path>
              </a:pathLst>
            </a:custGeom>
            <a:solidFill>
              <a:srgbClr val="1A171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29" name="Freeform 710"/>
            <p:cNvSpPr>
              <a:spLocks noEditPoints="1"/>
            </p:cNvSpPr>
            <p:nvPr/>
          </p:nvSpPr>
          <p:spPr bwMode="auto">
            <a:xfrm>
              <a:off x="1411288" y="2146300"/>
              <a:ext cx="26988" cy="39688"/>
            </a:xfrm>
            <a:custGeom>
              <a:avLst/>
              <a:gdLst/>
              <a:ahLst/>
              <a:cxnLst>
                <a:cxn ang="0">
                  <a:pos x="7" y="17"/>
                </a:cxn>
                <a:cxn ang="0">
                  <a:pos x="10" y="10"/>
                </a:cxn>
                <a:cxn ang="0">
                  <a:pos x="7" y="3"/>
                </a:cxn>
                <a:cxn ang="0">
                  <a:pos x="4" y="10"/>
                </a:cxn>
                <a:cxn ang="0">
                  <a:pos x="7" y="17"/>
                </a:cxn>
                <a:cxn ang="0">
                  <a:pos x="7" y="0"/>
                </a:cxn>
                <a:cxn ang="0">
                  <a:pos x="14" y="10"/>
                </a:cxn>
                <a:cxn ang="0">
                  <a:pos x="7" y="20"/>
                </a:cxn>
                <a:cxn ang="0">
                  <a:pos x="0" y="10"/>
                </a:cxn>
                <a:cxn ang="0">
                  <a:pos x="7" y="0"/>
                </a:cxn>
              </a:cxnLst>
              <a:rect l="0" t="0" r="r" b="b"/>
              <a:pathLst>
                <a:path w="14" h="20">
                  <a:moveTo>
                    <a:pt x="7" y="17"/>
                  </a:moveTo>
                  <a:cubicBezTo>
                    <a:pt x="9" y="17"/>
                    <a:pt x="10" y="15"/>
                    <a:pt x="10" y="10"/>
                  </a:cubicBezTo>
                  <a:cubicBezTo>
                    <a:pt x="10" y="6"/>
                    <a:pt x="9" y="3"/>
                    <a:pt x="7" y="3"/>
                  </a:cubicBezTo>
                  <a:cubicBezTo>
                    <a:pt x="5" y="3"/>
                    <a:pt x="4" y="6"/>
                    <a:pt x="4" y="10"/>
                  </a:cubicBezTo>
                  <a:cubicBezTo>
                    <a:pt x="4" y="15"/>
                    <a:pt x="5" y="17"/>
                    <a:pt x="7" y="17"/>
                  </a:cubicBezTo>
                  <a:moveTo>
                    <a:pt x="7" y="0"/>
                  </a:moveTo>
                  <a:cubicBezTo>
                    <a:pt x="11" y="0"/>
                    <a:pt x="14" y="3"/>
                    <a:pt x="14" y="10"/>
                  </a:cubicBezTo>
                  <a:cubicBezTo>
                    <a:pt x="14" y="14"/>
                    <a:pt x="13" y="20"/>
                    <a:pt x="7" y="20"/>
                  </a:cubicBezTo>
                  <a:cubicBezTo>
                    <a:pt x="1" y="20"/>
                    <a:pt x="0" y="14"/>
                    <a:pt x="0" y="10"/>
                  </a:cubicBezTo>
                  <a:cubicBezTo>
                    <a:pt x="0" y="3"/>
                    <a:pt x="2" y="0"/>
                    <a:pt x="7" y="0"/>
                  </a:cubicBezTo>
                </a:path>
              </a:pathLst>
            </a:custGeom>
            <a:solidFill>
              <a:srgbClr val="1A171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30" name="Freeform 711"/>
            <p:cNvSpPr>
              <a:spLocks/>
            </p:cNvSpPr>
            <p:nvPr/>
          </p:nvSpPr>
          <p:spPr bwMode="auto">
            <a:xfrm>
              <a:off x="1439863" y="2146300"/>
              <a:ext cx="17463" cy="39688"/>
            </a:xfrm>
            <a:custGeom>
              <a:avLst/>
              <a:gdLst/>
              <a:ahLst/>
              <a:cxnLst>
                <a:cxn ang="0">
                  <a:pos x="5" y="7"/>
                </a:cxn>
                <a:cxn ang="0">
                  <a:pos x="2" y="7"/>
                </a:cxn>
                <a:cxn ang="0">
                  <a:pos x="0" y="5"/>
                </a:cxn>
                <a:cxn ang="0">
                  <a:pos x="2" y="4"/>
                </a:cxn>
                <a:cxn ang="0">
                  <a:pos x="3" y="4"/>
                </a:cxn>
                <a:cxn ang="0">
                  <a:pos x="8" y="0"/>
                </a:cxn>
                <a:cxn ang="0">
                  <a:pos x="9" y="2"/>
                </a:cxn>
                <a:cxn ang="0">
                  <a:pos x="9" y="17"/>
                </a:cxn>
                <a:cxn ang="0">
                  <a:pos x="7" y="20"/>
                </a:cxn>
                <a:cxn ang="0">
                  <a:pos x="5" y="17"/>
                </a:cxn>
                <a:cxn ang="0">
                  <a:pos x="5" y="7"/>
                </a:cxn>
              </a:cxnLst>
              <a:rect l="0" t="0" r="r" b="b"/>
              <a:pathLst>
                <a:path w="9" h="20">
                  <a:moveTo>
                    <a:pt x="5" y="7"/>
                  </a:moveTo>
                  <a:cubicBezTo>
                    <a:pt x="2" y="7"/>
                    <a:pt x="2" y="7"/>
                    <a:pt x="2" y="7"/>
                  </a:cubicBezTo>
                  <a:cubicBezTo>
                    <a:pt x="1" y="7"/>
                    <a:pt x="0" y="7"/>
                    <a:pt x="0" y="5"/>
                  </a:cubicBezTo>
                  <a:cubicBezTo>
                    <a:pt x="0" y="4"/>
                    <a:pt x="1" y="4"/>
                    <a:pt x="2" y="4"/>
                  </a:cubicBezTo>
                  <a:cubicBezTo>
                    <a:pt x="3" y="4"/>
                    <a:pt x="3" y="4"/>
                    <a:pt x="3" y="4"/>
                  </a:cubicBezTo>
                  <a:cubicBezTo>
                    <a:pt x="6" y="3"/>
                    <a:pt x="5" y="0"/>
                    <a:pt x="8" y="0"/>
                  </a:cubicBezTo>
                  <a:cubicBezTo>
                    <a:pt x="9" y="0"/>
                    <a:pt x="9" y="0"/>
                    <a:pt x="9" y="2"/>
                  </a:cubicBezTo>
                  <a:cubicBezTo>
                    <a:pt x="9" y="17"/>
                    <a:pt x="9" y="17"/>
                    <a:pt x="9" y="17"/>
                  </a:cubicBezTo>
                  <a:cubicBezTo>
                    <a:pt x="9" y="19"/>
                    <a:pt x="9" y="20"/>
                    <a:pt x="7" y="20"/>
                  </a:cubicBezTo>
                  <a:cubicBezTo>
                    <a:pt x="6" y="20"/>
                    <a:pt x="5" y="19"/>
                    <a:pt x="5" y="17"/>
                  </a:cubicBezTo>
                  <a:cubicBezTo>
                    <a:pt x="5" y="7"/>
                    <a:pt x="5" y="7"/>
                    <a:pt x="5" y="7"/>
                  </a:cubicBezTo>
                </a:path>
              </a:pathLst>
            </a:custGeom>
            <a:solidFill>
              <a:srgbClr val="1A171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31" name="Freeform 712"/>
            <p:cNvSpPr>
              <a:spLocks/>
            </p:cNvSpPr>
            <p:nvPr/>
          </p:nvSpPr>
          <p:spPr bwMode="auto">
            <a:xfrm>
              <a:off x="1463675" y="2146300"/>
              <a:ext cx="17463" cy="39688"/>
            </a:xfrm>
            <a:custGeom>
              <a:avLst/>
              <a:gdLst/>
              <a:ahLst/>
              <a:cxnLst>
                <a:cxn ang="0">
                  <a:pos x="5" y="7"/>
                </a:cxn>
                <a:cxn ang="0">
                  <a:pos x="1" y="7"/>
                </a:cxn>
                <a:cxn ang="0">
                  <a:pos x="0" y="5"/>
                </a:cxn>
                <a:cxn ang="0">
                  <a:pos x="2" y="4"/>
                </a:cxn>
                <a:cxn ang="0">
                  <a:pos x="3" y="4"/>
                </a:cxn>
                <a:cxn ang="0">
                  <a:pos x="7" y="0"/>
                </a:cxn>
                <a:cxn ang="0">
                  <a:pos x="9" y="2"/>
                </a:cxn>
                <a:cxn ang="0">
                  <a:pos x="9" y="17"/>
                </a:cxn>
                <a:cxn ang="0">
                  <a:pos x="7" y="20"/>
                </a:cxn>
                <a:cxn ang="0">
                  <a:pos x="5" y="17"/>
                </a:cxn>
                <a:cxn ang="0">
                  <a:pos x="5" y="7"/>
                </a:cxn>
              </a:cxnLst>
              <a:rect l="0" t="0" r="r" b="b"/>
              <a:pathLst>
                <a:path w="9" h="20">
                  <a:moveTo>
                    <a:pt x="5" y="7"/>
                  </a:moveTo>
                  <a:cubicBezTo>
                    <a:pt x="1" y="7"/>
                    <a:pt x="1" y="7"/>
                    <a:pt x="1" y="7"/>
                  </a:cubicBezTo>
                  <a:cubicBezTo>
                    <a:pt x="0" y="7"/>
                    <a:pt x="0" y="7"/>
                    <a:pt x="0" y="5"/>
                  </a:cubicBezTo>
                  <a:cubicBezTo>
                    <a:pt x="0" y="4"/>
                    <a:pt x="0" y="4"/>
                    <a:pt x="2" y="4"/>
                  </a:cubicBezTo>
                  <a:cubicBezTo>
                    <a:pt x="3" y="4"/>
                    <a:pt x="3" y="4"/>
                    <a:pt x="3" y="4"/>
                  </a:cubicBezTo>
                  <a:cubicBezTo>
                    <a:pt x="6" y="3"/>
                    <a:pt x="5" y="0"/>
                    <a:pt x="7" y="0"/>
                  </a:cubicBezTo>
                  <a:cubicBezTo>
                    <a:pt x="8" y="0"/>
                    <a:pt x="9" y="0"/>
                    <a:pt x="9" y="2"/>
                  </a:cubicBezTo>
                  <a:cubicBezTo>
                    <a:pt x="9" y="17"/>
                    <a:pt x="9" y="17"/>
                    <a:pt x="9" y="17"/>
                  </a:cubicBezTo>
                  <a:cubicBezTo>
                    <a:pt x="9" y="19"/>
                    <a:pt x="8" y="20"/>
                    <a:pt x="7" y="20"/>
                  </a:cubicBezTo>
                  <a:cubicBezTo>
                    <a:pt x="5" y="20"/>
                    <a:pt x="5" y="19"/>
                    <a:pt x="5" y="17"/>
                  </a:cubicBezTo>
                  <a:cubicBezTo>
                    <a:pt x="5" y="7"/>
                    <a:pt x="5" y="7"/>
                    <a:pt x="5" y="7"/>
                  </a:cubicBezTo>
                </a:path>
              </a:pathLst>
            </a:custGeom>
            <a:solidFill>
              <a:srgbClr val="1A171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32" name="Freeform 713"/>
            <p:cNvSpPr>
              <a:spLocks/>
            </p:cNvSpPr>
            <p:nvPr/>
          </p:nvSpPr>
          <p:spPr bwMode="auto">
            <a:xfrm>
              <a:off x="1485900" y="2146300"/>
              <a:ext cx="17463" cy="39688"/>
            </a:xfrm>
            <a:custGeom>
              <a:avLst/>
              <a:gdLst/>
              <a:ahLst/>
              <a:cxnLst>
                <a:cxn ang="0">
                  <a:pos x="5" y="7"/>
                </a:cxn>
                <a:cxn ang="0">
                  <a:pos x="1" y="7"/>
                </a:cxn>
                <a:cxn ang="0">
                  <a:pos x="0" y="5"/>
                </a:cxn>
                <a:cxn ang="0">
                  <a:pos x="2" y="4"/>
                </a:cxn>
                <a:cxn ang="0">
                  <a:pos x="3" y="4"/>
                </a:cxn>
                <a:cxn ang="0">
                  <a:pos x="7" y="0"/>
                </a:cxn>
                <a:cxn ang="0">
                  <a:pos x="9" y="2"/>
                </a:cxn>
                <a:cxn ang="0">
                  <a:pos x="9" y="17"/>
                </a:cxn>
                <a:cxn ang="0">
                  <a:pos x="7" y="20"/>
                </a:cxn>
                <a:cxn ang="0">
                  <a:pos x="5" y="17"/>
                </a:cxn>
                <a:cxn ang="0">
                  <a:pos x="5" y="7"/>
                </a:cxn>
              </a:cxnLst>
              <a:rect l="0" t="0" r="r" b="b"/>
              <a:pathLst>
                <a:path w="9" h="20">
                  <a:moveTo>
                    <a:pt x="5" y="7"/>
                  </a:moveTo>
                  <a:cubicBezTo>
                    <a:pt x="1" y="7"/>
                    <a:pt x="1" y="7"/>
                    <a:pt x="1" y="7"/>
                  </a:cubicBezTo>
                  <a:cubicBezTo>
                    <a:pt x="0" y="7"/>
                    <a:pt x="0" y="7"/>
                    <a:pt x="0" y="5"/>
                  </a:cubicBezTo>
                  <a:cubicBezTo>
                    <a:pt x="0" y="4"/>
                    <a:pt x="0" y="4"/>
                    <a:pt x="2" y="4"/>
                  </a:cubicBezTo>
                  <a:cubicBezTo>
                    <a:pt x="3" y="4"/>
                    <a:pt x="3" y="4"/>
                    <a:pt x="3" y="4"/>
                  </a:cubicBezTo>
                  <a:cubicBezTo>
                    <a:pt x="6" y="3"/>
                    <a:pt x="5" y="0"/>
                    <a:pt x="7" y="0"/>
                  </a:cubicBezTo>
                  <a:cubicBezTo>
                    <a:pt x="8" y="0"/>
                    <a:pt x="9" y="0"/>
                    <a:pt x="9" y="2"/>
                  </a:cubicBezTo>
                  <a:cubicBezTo>
                    <a:pt x="9" y="17"/>
                    <a:pt x="9" y="17"/>
                    <a:pt x="9" y="17"/>
                  </a:cubicBezTo>
                  <a:cubicBezTo>
                    <a:pt x="9" y="19"/>
                    <a:pt x="9" y="20"/>
                    <a:pt x="7" y="20"/>
                  </a:cubicBezTo>
                  <a:cubicBezTo>
                    <a:pt x="5" y="20"/>
                    <a:pt x="5" y="19"/>
                    <a:pt x="5" y="17"/>
                  </a:cubicBezTo>
                  <a:cubicBezTo>
                    <a:pt x="5" y="7"/>
                    <a:pt x="5" y="7"/>
                    <a:pt x="5" y="7"/>
                  </a:cubicBezTo>
                </a:path>
              </a:pathLst>
            </a:custGeom>
            <a:solidFill>
              <a:srgbClr val="1A171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33" name="Freeform 714"/>
            <p:cNvSpPr>
              <a:spLocks noEditPoints="1"/>
            </p:cNvSpPr>
            <p:nvPr/>
          </p:nvSpPr>
          <p:spPr bwMode="auto">
            <a:xfrm>
              <a:off x="1509713" y="2146300"/>
              <a:ext cx="28575" cy="39688"/>
            </a:xfrm>
            <a:custGeom>
              <a:avLst/>
              <a:gdLst/>
              <a:ahLst/>
              <a:cxnLst>
                <a:cxn ang="0">
                  <a:pos x="7" y="17"/>
                </a:cxn>
                <a:cxn ang="0">
                  <a:pos x="10" y="10"/>
                </a:cxn>
                <a:cxn ang="0">
                  <a:pos x="7" y="3"/>
                </a:cxn>
                <a:cxn ang="0">
                  <a:pos x="4" y="10"/>
                </a:cxn>
                <a:cxn ang="0">
                  <a:pos x="7" y="17"/>
                </a:cxn>
                <a:cxn ang="0">
                  <a:pos x="7" y="0"/>
                </a:cxn>
                <a:cxn ang="0">
                  <a:pos x="14" y="10"/>
                </a:cxn>
                <a:cxn ang="0">
                  <a:pos x="7" y="20"/>
                </a:cxn>
                <a:cxn ang="0">
                  <a:pos x="0" y="10"/>
                </a:cxn>
                <a:cxn ang="0">
                  <a:pos x="7" y="0"/>
                </a:cxn>
              </a:cxnLst>
              <a:rect l="0" t="0" r="r" b="b"/>
              <a:pathLst>
                <a:path w="14" h="20">
                  <a:moveTo>
                    <a:pt x="7" y="17"/>
                  </a:moveTo>
                  <a:cubicBezTo>
                    <a:pt x="9" y="17"/>
                    <a:pt x="10" y="15"/>
                    <a:pt x="10" y="10"/>
                  </a:cubicBezTo>
                  <a:cubicBezTo>
                    <a:pt x="10" y="6"/>
                    <a:pt x="9" y="3"/>
                    <a:pt x="7" y="3"/>
                  </a:cubicBezTo>
                  <a:cubicBezTo>
                    <a:pt x="4" y="3"/>
                    <a:pt x="4" y="6"/>
                    <a:pt x="4" y="10"/>
                  </a:cubicBezTo>
                  <a:cubicBezTo>
                    <a:pt x="4" y="15"/>
                    <a:pt x="5" y="17"/>
                    <a:pt x="7" y="17"/>
                  </a:cubicBezTo>
                  <a:moveTo>
                    <a:pt x="7" y="0"/>
                  </a:moveTo>
                  <a:cubicBezTo>
                    <a:pt x="11" y="0"/>
                    <a:pt x="14" y="3"/>
                    <a:pt x="14" y="10"/>
                  </a:cubicBezTo>
                  <a:cubicBezTo>
                    <a:pt x="14" y="14"/>
                    <a:pt x="13" y="20"/>
                    <a:pt x="7" y="20"/>
                  </a:cubicBezTo>
                  <a:cubicBezTo>
                    <a:pt x="1" y="20"/>
                    <a:pt x="0" y="14"/>
                    <a:pt x="0" y="10"/>
                  </a:cubicBezTo>
                  <a:cubicBezTo>
                    <a:pt x="0" y="3"/>
                    <a:pt x="2" y="0"/>
                    <a:pt x="7" y="0"/>
                  </a:cubicBezTo>
                </a:path>
              </a:pathLst>
            </a:custGeom>
            <a:solidFill>
              <a:srgbClr val="1A171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grpSp>
        <p:nvGrpSpPr>
          <p:cNvPr id="134" name="Groupe 655"/>
          <p:cNvGrpSpPr/>
          <p:nvPr/>
        </p:nvGrpSpPr>
        <p:grpSpPr>
          <a:xfrm>
            <a:off x="1522156" y="2583708"/>
            <a:ext cx="280790" cy="197593"/>
            <a:chOff x="4048126" y="2000251"/>
            <a:chExt cx="471488" cy="331788"/>
          </a:xfrm>
        </p:grpSpPr>
        <p:sp>
          <p:nvSpPr>
            <p:cNvPr id="135" name="Freeform 121"/>
            <p:cNvSpPr>
              <a:spLocks/>
            </p:cNvSpPr>
            <p:nvPr/>
          </p:nvSpPr>
          <p:spPr bwMode="auto">
            <a:xfrm>
              <a:off x="4048126" y="2000251"/>
              <a:ext cx="471488" cy="331788"/>
            </a:xfrm>
            <a:custGeom>
              <a:avLst/>
              <a:gdLst/>
              <a:ahLst/>
              <a:cxnLst>
                <a:cxn ang="0">
                  <a:pos x="243" y="152"/>
                </a:cxn>
                <a:cxn ang="0">
                  <a:pos x="226" y="171"/>
                </a:cxn>
                <a:cxn ang="0">
                  <a:pos x="16" y="171"/>
                </a:cxn>
                <a:cxn ang="0">
                  <a:pos x="0" y="152"/>
                </a:cxn>
                <a:cxn ang="0">
                  <a:pos x="221" y="152"/>
                </a:cxn>
                <a:cxn ang="0">
                  <a:pos x="221" y="0"/>
                </a:cxn>
                <a:cxn ang="0">
                  <a:pos x="22" y="0"/>
                </a:cxn>
                <a:cxn ang="0">
                  <a:pos x="22" y="131"/>
                </a:cxn>
              </a:cxnLst>
              <a:rect l="0" t="0" r="r" b="b"/>
              <a:pathLst>
                <a:path w="243" h="171">
                  <a:moveTo>
                    <a:pt x="243" y="152"/>
                  </a:moveTo>
                  <a:cubicBezTo>
                    <a:pt x="243" y="162"/>
                    <a:pt x="236" y="171"/>
                    <a:pt x="226" y="171"/>
                  </a:cubicBezTo>
                  <a:cubicBezTo>
                    <a:pt x="16" y="171"/>
                    <a:pt x="16" y="171"/>
                    <a:pt x="16" y="171"/>
                  </a:cubicBezTo>
                  <a:cubicBezTo>
                    <a:pt x="7" y="171"/>
                    <a:pt x="0" y="162"/>
                    <a:pt x="0" y="152"/>
                  </a:cubicBezTo>
                  <a:cubicBezTo>
                    <a:pt x="221" y="152"/>
                    <a:pt x="221" y="152"/>
                    <a:pt x="221" y="152"/>
                  </a:cubicBezTo>
                  <a:cubicBezTo>
                    <a:pt x="221" y="0"/>
                    <a:pt x="221" y="0"/>
                    <a:pt x="221" y="0"/>
                  </a:cubicBezTo>
                  <a:cubicBezTo>
                    <a:pt x="22" y="0"/>
                    <a:pt x="22" y="0"/>
                    <a:pt x="22" y="0"/>
                  </a:cubicBezTo>
                  <a:cubicBezTo>
                    <a:pt x="22" y="131"/>
                    <a:pt x="22" y="131"/>
                    <a:pt x="22" y="131"/>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Calibri" panose="020F0502020204030204" pitchFamily="34" charset="0"/>
                <a:cs typeface="Arial" pitchFamily="34" charset="0"/>
              </a:endParaRPr>
            </a:p>
          </p:txBody>
        </p:sp>
        <p:sp>
          <p:nvSpPr>
            <p:cNvPr id="136" name="Freeform 122"/>
            <p:cNvSpPr>
              <a:spLocks/>
            </p:cNvSpPr>
            <p:nvPr/>
          </p:nvSpPr>
          <p:spPr bwMode="auto">
            <a:xfrm>
              <a:off x="4248151" y="2047876"/>
              <a:ext cx="22225" cy="36513"/>
            </a:xfrm>
            <a:custGeom>
              <a:avLst/>
              <a:gdLst/>
              <a:ahLst/>
              <a:cxnLst>
                <a:cxn ang="0">
                  <a:pos x="0" y="19"/>
                </a:cxn>
                <a:cxn ang="0">
                  <a:pos x="12" y="0"/>
                </a:cxn>
              </a:cxnLst>
              <a:rect l="0" t="0" r="r" b="b"/>
              <a:pathLst>
                <a:path w="12" h="19">
                  <a:moveTo>
                    <a:pt x="0" y="19"/>
                  </a:moveTo>
                  <a:cubicBezTo>
                    <a:pt x="0" y="10"/>
                    <a:pt x="5" y="2"/>
                    <a:pt x="12"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Calibri" panose="020F0502020204030204" pitchFamily="34" charset="0"/>
                <a:cs typeface="Arial" pitchFamily="34" charset="0"/>
              </a:endParaRPr>
            </a:p>
          </p:txBody>
        </p:sp>
        <p:sp>
          <p:nvSpPr>
            <p:cNvPr id="137" name="Freeform 123"/>
            <p:cNvSpPr>
              <a:spLocks/>
            </p:cNvSpPr>
            <p:nvPr/>
          </p:nvSpPr>
          <p:spPr bwMode="auto">
            <a:xfrm>
              <a:off x="4210051" y="2084388"/>
              <a:ext cx="57150" cy="158750"/>
            </a:xfrm>
            <a:custGeom>
              <a:avLst/>
              <a:gdLst/>
              <a:ahLst/>
              <a:cxnLst>
                <a:cxn ang="0">
                  <a:pos x="19" y="0"/>
                </a:cxn>
                <a:cxn ang="0">
                  <a:pos x="19" y="2"/>
                </a:cxn>
                <a:cxn ang="0">
                  <a:pos x="29" y="23"/>
                </a:cxn>
                <a:cxn ang="0">
                  <a:pos x="0" y="82"/>
                </a:cxn>
              </a:cxnLst>
              <a:rect l="0" t="0" r="r" b="b"/>
              <a:pathLst>
                <a:path w="29" h="82">
                  <a:moveTo>
                    <a:pt x="19" y="0"/>
                  </a:moveTo>
                  <a:cubicBezTo>
                    <a:pt x="19" y="1"/>
                    <a:pt x="19" y="2"/>
                    <a:pt x="19" y="2"/>
                  </a:cubicBezTo>
                  <a:cubicBezTo>
                    <a:pt x="19" y="10"/>
                    <a:pt x="24" y="18"/>
                    <a:pt x="29" y="23"/>
                  </a:cubicBezTo>
                  <a:cubicBezTo>
                    <a:pt x="7" y="29"/>
                    <a:pt x="0" y="53"/>
                    <a:pt x="0" y="82"/>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Calibri" panose="020F0502020204030204" pitchFamily="34" charset="0"/>
                <a:cs typeface="Arial" pitchFamily="34" charset="0"/>
              </a:endParaRPr>
            </a:p>
          </p:txBody>
        </p:sp>
        <p:sp>
          <p:nvSpPr>
            <p:cNvPr id="138" name="Freeform 124"/>
            <p:cNvSpPr>
              <a:spLocks/>
            </p:cNvSpPr>
            <p:nvPr/>
          </p:nvSpPr>
          <p:spPr bwMode="auto">
            <a:xfrm>
              <a:off x="4252913" y="2146301"/>
              <a:ext cx="103188" cy="104775"/>
            </a:xfrm>
            <a:custGeom>
              <a:avLst/>
              <a:gdLst/>
              <a:ahLst/>
              <a:cxnLst>
                <a:cxn ang="0">
                  <a:pos x="39" y="0"/>
                </a:cxn>
                <a:cxn ang="0">
                  <a:pos x="53" y="50"/>
                </a:cxn>
                <a:cxn ang="0">
                  <a:pos x="0" y="53"/>
                </a:cxn>
              </a:cxnLst>
              <a:rect l="0" t="0" r="r" b="b"/>
              <a:pathLst>
                <a:path w="53" h="54">
                  <a:moveTo>
                    <a:pt x="39" y="0"/>
                  </a:moveTo>
                  <a:cubicBezTo>
                    <a:pt x="49" y="11"/>
                    <a:pt x="53" y="29"/>
                    <a:pt x="53" y="50"/>
                  </a:cubicBezTo>
                  <a:cubicBezTo>
                    <a:pt x="53" y="53"/>
                    <a:pt x="22" y="54"/>
                    <a:pt x="0" y="53"/>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Calibri" panose="020F0502020204030204" pitchFamily="34" charset="0"/>
                <a:cs typeface="Arial" pitchFamily="34" charset="0"/>
              </a:endParaRPr>
            </a:p>
          </p:txBody>
        </p:sp>
        <p:sp>
          <p:nvSpPr>
            <p:cNvPr id="139" name="Freeform 125"/>
            <p:cNvSpPr>
              <a:spLocks/>
            </p:cNvSpPr>
            <p:nvPr/>
          </p:nvSpPr>
          <p:spPr bwMode="auto">
            <a:xfrm>
              <a:off x="4270376" y="2046288"/>
              <a:ext cx="42863" cy="20638"/>
            </a:xfrm>
            <a:custGeom>
              <a:avLst/>
              <a:gdLst/>
              <a:ahLst/>
              <a:cxnLst>
                <a:cxn ang="0">
                  <a:pos x="0" y="1"/>
                </a:cxn>
                <a:cxn ang="0">
                  <a:pos x="6" y="0"/>
                </a:cxn>
                <a:cxn ang="0">
                  <a:pos x="22" y="11"/>
                </a:cxn>
              </a:cxnLst>
              <a:rect l="0" t="0" r="r" b="b"/>
              <a:pathLst>
                <a:path w="22" h="11">
                  <a:moveTo>
                    <a:pt x="0" y="1"/>
                  </a:moveTo>
                  <a:cubicBezTo>
                    <a:pt x="2" y="0"/>
                    <a:pt x="4" y="0"/>
                    <a:pt x="6" y="0"/>
                  </a:cubicBezTo>
                  <a:cubicBezTo>
                    <a:pt x="13" y="0"/>
                    <a:pt x="19" y="4"/>
                    <a:pt x="22" y="11"/>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Calibri" panose="020F0502020204030204" pitchFamily="34" charset="0"/>
                <a:cs typeface="Arial" pitchFamily="34" charset="0"/>
              </a:endParaRPr>
            </a:p>
          </p:txBody>
        </p:sp>
        <p:sp>
          <p:nvSpPr>
            <p:cNvPr id="140" name="Freeform 126"/>
            <p:cNvSpPr>
              <a:spLocks/>
            </p:cNvSpPr>
            <p:nvPr/>
          </p:nvSpPr>
          <p:spPr bwMode="auto">
            <a:xfrm>
              <a:off x="4300538" y="2066926"/>
              <a:ext cx="28575" cy="79375"/>
            </a:xfrm>
            <a:custGeom>
              <a:avLst/>
              <a:gdLst/>
              <a:ahLst/>
              <a:cxnLst>
                <a:cxn ang="0">
                  <a:pos x="7" y="0"/>
                </a:cxn>
                <a:cxn ang="0">
                  <a:pos x="10" y="11"/>
                </a:cxn>
                <a:cxn ang="0">
                  <a:pos x="0" y="32"/>
                </a:cxn>
                <a:cxn ang="0">
                  <a:pos x="15" y="41"/>
                </a:cxn>
              </a:cxnLst>
              <a:rect l="0" t="0" r="r" b="b"/>
              <a:pathLst>
                <a:path w="15" h="41">
                  <a:moveTo>
                    <a:pt x="7" y="0"/>
                  </a:moveTo>
                  <a:cubicBezTo>
                    <a:pt x="9" y="3"/>
                    <a:pt x="10" y="7"/>
                    <a:pt x="10" y="11"/>
                  </a:cubicBezTo>
                  <a:cubicBezTo>
                    <a:pt x="10" y="19"/>
                    <a:pt x="4" y="27"/>
                    <a:pt x="0" y="32"/>
                  </a:cubicBezTo>
                  <a:cubicBezTo>
                    <a:pt x="6" y="34"/>
                    <a:pt x="11" y="37"/>
                    <a:pt x="15" y="41"/>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Calibri" panose="020F0502020204030204" pitchFamily="34" charset="0"/>
                <a:cs typeface="Arial" pitchFamily="34" charset="0"/>
              </a:endParaRPr>
            </a:p>
          </p:txBody>
        </p:sp>
      </p:grpSp>
      <p:grpSp>
        <p:nvGrpSpPr>
          <p:cNvPr id="141" name="Group 140"/>
          <p:cNvGrpSpPr/>
          <p:nvPr/>
        </p:nvGrpSpPr>
        <p:grpSpPr>
          <a:xfrm>
            <a:off x="1520106" y="3114572"/>
            <a:ext cx="314624" cy="226323"/>
            <a:chOff x="3161506" y="4918075"/>
            <a:chExt cx="503321" cy="362061"/>
          </a:xfrm>
        </p:grpSpPr>
        <p:grpSp>
          <p:nvGrpSpPr>
            <p:cNvPr id="142" name="Groupe 295"/>
            <p:cNvGrpSpPr/>
            <p:nvPr/>
          </p:nvGrpSpPr>
          <p:grpSpPr>
            <a:xfrm>
              <a:off x="3161506" y="4918075"/>
              <a:ext cx="325438" cy="325438"/>
              <a:chOff x="1711325" y="5184775"/>
              <a:chExt cx="325438" cy="325438"/>
            </a:xfrm>
          </p:grpSpPr>
          <p:sp>
            <p:nvSpPr>
              <p:cNvPr id="147" name="Freeform 739"/>
              <p:cNvSpPr>
                <a:spLocks/>
              </p:cNvSpPr>
              <p:nvPr/>
            </p:nvSpPr>
            <p:spPr bwMode="auto">
              <a:xfrm>
                <a:off x="1751013" y="5240338"/>
                <a:ext cx="285750" cy="269875"/>
              </a:xfrm>
              <a:custGeom>
                <a:avLst/>
                <a:gdLst/>
                <a:ahLst/>
                <a:cxnLst>
                  <a:cxn ang="0">
                    <a:pos x="0" y="109"/>
                  </a:cxn>
                  <a:cxn ang="0">
                    <a:pos x="64" y="139"/>
                  </a:cxn>
                  <a:cxn ang="0">
                    <a:pos x="148" y="55"/>
                  </a:cxn>
                  <a:cxn ang="0">
                    <a:pos x="128" y="0"/>
                  </a:cxn>
                </a:cxnLst>
                <a:rect l="0" t="0" r="r" b="b"/>
                <a:pathLst>
                  <a:path w="148" h="139">
                    <a:moveTo>
                      <a:pt x="0" y="109"/>
                    </a:moveTo>
                    <a:cubicBezTo>
                      <a:pt x="15" y="127"/>
                      <a:pt x="38" y="139"/>
                      <a:pt x="64" y="139"/>
                    </a:cubicBezTo>
                    <a:cubicBezTo>
                      <a:pt x="110" y="139"/>
                      <a:pt x="148" y="101"/>
                      <a:pt x="148" y="55"/>
                    </a:cubicBezTo>
                    <a:cubicBezTo>
                      <a:pt x="148" y="34"/>
                      <a:pt x="141" y="15"/>
                      <a:pt x="128"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cs typeface="Arial" pitchFamily="34" charset="0"/>
                </a:endParaRPr>
              </a:p>
            </p:txBody>
          </p:sp>
          <p:sp>
            <p:nvSpPr>
              <p:cNvPr id="148" name="Freeform 740"/>
              <p:cNvSpPr>
                <a:spLocks/>
              </p:cNvSpPr>
              <p:nvPr/>
            </p:nvSpPr>
            <p:spPr bwMode="auto">
              <a:xfrm>
                <a:off x="1711325" y="5241925"/>
                <a:ext cx="39688" cy="149225"/>
              </a:xfrm>
              <a:custGeom>
                <a:avLst/>
                <a:gdLst/>
                <a:ahLst/>
                <a:cxnLst>
                  <a:cxn ang="0">
                    <a:pos x="20" y="0"/>
                  </a:cxn>
                  <a:cxn ang="0">
                    <a:pos x="0" y="54"/>
                  </a:cxn>
                  <a:cxn ang="0">
                    <a:pos x="3" y="77"/>
                  </a:cxn>
                </a:cxnLst>
                <a:rect l="0" t="0" r="r" b="b"/>
                <a:pathLst>
                  <a:path w="20" h="77">
                    <a:moveTo>
                      <a:pt x="20" y="0"/>
                    </a:moveTo>
                    <a:cubicBezTo>
                      <a:pt x="7" y="14"/>
                      <a:pt x="0" y="33"/>
                      <a:pt x="0" y="54"/>
                    </a:cubicBezTo>
                    <a:cubicBezTo>
                      <a:pt x="0" y="62"/>
                      <a:pt x="1" y="69"/>
                      <a:pt x="3" y="77"/>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cs typeface="Arial" pitchFamily="34" charset="0"/>
                </a:endParaRPr>
              </a:p>
            </p:txBody>
          </p:sp>
          <p:sp>
            <p:nvSpPr>
              <p:cNvPr id="149" name="Freeform 741"/>
              <p:cNvSpPr>
                <a:spLocks/>
              </p:cNvSpPr>
              <p:nvPr/>
            </p:nvSpPr>
            <p:spPr bwMode="auto">
              <a:xfrm>
                <a:off x="1751013" y="5184775"/>
                <a:ext cx="247650" cy="57150"/>
              </a:xfrm>
              <a:custGeom>
                <a:avLst/>
                <a:gdLst/>
                <a:ahLst/>
                <a:cxnLst>
                  <a:cxn ang="0">
                    <a:pos x="0" y="30"/>
                  </a:cxn>
                  <a:cxn ang="0">
                    <a:pos x="64" y="0"/>
                  </a:cxn>
                  <a:cxn ang="0">
                    <a:pos x="128" y="29"/>
                  </a:cxn>
                </a:cxnLst>
                <a:rect l="0" t="0" r="r" b="b"/>
                <a:pathLst>
                  <a:path w="128" h="30">
                    <a:moveTo>
                      <a:pt x="0" y="30"/>
                    </a:moveTo>
                    <a:cubicBezTo>
                      <a:pt x="15" y="11"/>
                      <a:pt x="38" y="0"/>
                      <a:pt x="64" y="0"/>
                    </a:cubicBezTo>
                    <a:cubicBezTo>
                      <a:pt x="90" y="0"/>
                      <a:pt x="113" y="11"/>
                      <a:pt x="128" y="29"/>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cs typeface="Arial" pitchFamily="34" charset="0"/>
                </a:endParaRPr>
              </a:p>
            </p:txBody>
          </p:sp>
          <p:sp>
            <p:nvSpPr>
              <p:cNvPr id="150" name="Freeform 742"/>
              <p:cNvSpPr>
                <a:spLocks/>
              </p:cNvSpPr>
              <p:nvPr/>
            </p:nvSpPr>
            <p:spPr bwMode="auto">
              <a:xfrm>
                <a:off x="1965325" y="5240338"/>
                <a:ext cx="33338" cy="15875"/>
              </a:xfrm>
              <a:custGeom>
                <a:avLst/>
                <a:gdLst/>
                <a:ahLst/>
                <a:cxnLst>
                  <a:cxn ang="0">
                    <a:pos x="0" y="8"/>
                  </a:cxn>
                  <a:cxn ang="0">
                    <a:pos x="17" y="0"/>
                  </a:cxn>
                </a:cxnLst>
                <a:rect l="0" t="0" r="r" b="b"/>
                <a:pathLst>
                  <a:path w="17" h="8">
                    <a:moveTo>
                      <a:pt x="0" y="8"/>
                    </a:moveTo>
                    <a:cubicBezTo>
                      <a:pt x="7" y="6"/>
                      <a:pt x="12" y="3"/>
                      <a:pt x="17"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cs typeface="Arial" pitchFamily="34" charset="0"/>
                </a:endParaRPr>
              </a:p>
            </p:txBody>
          </p:sp>
          <p:sp>
            <p:nvSpPr>
              <p:cNvPr id="151" name="Freeform 743"/>
              <p:cNvSpPr>
                <a:spLocks/>
              </p:cNvSpPr>
              <p:nvPr/>
            </p:nvSpPr>
            <p:spPr bwMode="auto">
              <a:xfrm>
                <a:off x="1751013" y="5241925"/>
                <a:ext cx="179388" cy="26988"/>
              </a:xfrm>
              <a:custGeom>
                <a:avLst/>
                <a:gdLst/>
                <a:ahLst/>
                <a:cxnLst>
                  <a:cxn ang="0">
                    <a:pos x="0" y="0"/>
                  </a:cxn>
                  <a:cxn ang="0">
                    <a:pos x="64" y="14"/>
                  </a:cxn>
                  <a:cxn ang="0">
                    <a:pos x="93" y="12"/>
                  </a:cxn>
                </a:cxnLst>
                <a:rect l="0" t="0" r="r" b="b"/>
                <a:pathLst>
                  <a:path w="93" h="14">
                    <a:moveTo>
                      <a:pt x="0" y="0"/>
                    </a:moveTo>
                    <a:cubicBezTo>
                      <a:pt x="15" y="8"/>
                      <a:pt x="38" y="14"/>
                      <a:pt x="64" y="14"/>
                    </a:cubicBezTo>
                    <a:cubicBezTo>
                      <a:pt x="74" y="14"/>
                      <a:pt x="84" y="13"/>
                      <a:pt x="93" y="12"/>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cs typeface="Arial" pitchFamily="34" charset="0"/>
                </a:endParaRPr>
              </a:p>
            </p:txBody>
          </p:sp>
          <p:sp>
            <p:nvSpPr>
              <p:cNvPr id="152" name="Freeform 744"/>
              <p:cNvSpPr>
                <a:spLocks/>
              </p:cNvSpPr>
              <p:nvPr/>
            </p:nvSpPr>
            <p:spPr bwMode="auto">
              <a:xfrm>
                <a:off x="1751013" y="5422900"/>
                <a:ext cx="247650" cy="28575"/>
              </a:xfrm>
              <a:custGeom>
                <a:avLst/>
                <a:gdLst/>
                <a:ahLst/>
                <a:cxnLst>
                  <a:cxn ang="0">
                    <a:pos x="128" y="14"/>
                  </a:cxn>
                  <a:cxn ang="0">
                    <a:pos x="64" y="0"/>
                  </a:cxn>
                  <a:cxn ang="0">
                    <a:pos x="0" y="15"/>
                  </a:cxn>
                </a:cxnLst>
                <a:rect l="0" t="0" r="r" b="b"/>
                <a:pathLst>
                  <a:path w="128" h="15">
                    <a:moveTo>
                      <a:pt x="128" y="14"/>
                    </a:moveTo>
                    <a:cubicBezTo>
                      <a:pt x="113" y="5"/>
                      <a:pt x="90" y="0"/>
                      <a:pt x="64" y="0"/>
                    </a:cubicBezTo>
                    <a:cubicBezTo>
                      <a:pt x="38" y="0"/>
                      <a:pt x="15" y="5"/>
                      <a:pt x="0" y="15"/>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cs typeface="Arial" pitchFamily="34" charset="0"/>
                </a:endParaRPr>
              </a:p>
            </p:txBody>
          </p:sp>
          <p:sp>
            <p:nvSpPr>
              <p:cNvPr id="153" name="Freeform 745"/>
              <p:cNvSpPr>
                <a:spLocks/>
              </p:cNvSpPr>
              <p:nvPr/>
            </p:nvSpPr>
            <p:spPr bwMode="auto">
              <a:xfrm>
                <a:off x="1790700" y="5184775"/>
                <a:ext cx="152400" cy="101600"/>
              </a:xfrm>
              <a:custGeom>
                <a:avLst/>
                <a:gdLst/>
                <a:ahLst/>
                <a:cxnLst>
                  <a:cxn ang="0">
                    <a:pos x="0" y="53"/>
                  </a:cxn>
                  <a:cxn ang="0">
                    <a:pos x="43" y="0"/>
                  </a:cxn>
                  <a:cxn ang="0">
                    <a:pos x="78" y="30"/>
                  </a:cxn>
                </a:cxnLst>
                <a:rect l="0" t="0" r="r" b="b"/>
                <a:pathLst>
                  <a:path w="78" h="53">
                    <a:moveTo>
                      <a:pt x="0" y="53"/>
                    </a:moveTo>
                    <a:cubicBezTo>
                      <a:pt x="7" y="22"/>
                      <a:pt x="24" y="0"/>
                      <a:pt x="43" y="0"/>
                    </a:cubicBezTo>
                    <a:cubicBezTo>
                      <a:pt x="57" y="0"/>
                      <a:pt x="70" y="11"/>
                      <a:pt x="78" y="3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cs typeface="Arial" pitchFamily="34" charset="0"/>
                </a:endParaRPr>
              </a:p>
            </p:txBody>
          </p:sp>
          <p:sp>
            <p:nvSpPr>
              <p:cNvPr id="154" name="Freeform 746"/>
              <p:cNvSpPr>
                <a:spLocks/>
              </p:cNvSpPr>
              <p:nvPr/>
            </p:nvSpPr>
            <p:spPr bwMode="auto">
              <a:xfrm>
                <a:off x="1787525" y="5276850"/>
                <a:ext cx="176213" cy="233363"/>
              </a:xfrm>
              <a:custGeom>
                <a:avLst/>
                <a:gdLst/>
                <a:ahLst/>
                <a:cxnLst>
                  <a:cxn ang="0">
                    <a:pos x="86" y="0"/>
                  </a:cxn>
                  <a:cxn ang="0">
                    <a:pos x="91" y="36"/>
                  </a:cxn>
                  <a:cxn ang="0">
                    <a:pos x="45" y="120"/>
                  </a:cxn>
                  <a:cxn ang="0">
                    <a:pos x="0" y="36"/>
                  </a:cxn>
                  <a:cxn ang="0">
                    <a:pos x="0" y="26"/>
                  </a:cxn>
                </a:cxnLst>
                <a:rect l="0" t="0" r="r" b="b"/>
                <a:pathLst>
                  <a:path w="91" h="120">
                    <a:moveTo>
                      <a:pt x="86" y="0"/>
                    </a:moveTo>
                    <a:cubicBezTo>
                      <a:pt x="89" y="11"/>
                      <a:pt x="91" y="22"/>
                      <a:pt x="91" y="36"/>
                    </a:cubicBezTo>
                    <a:cubicBezTo>
                      <a:pt x="91" y="82"/>
                      <a:pt x="70" y="120"/>
                      <a:pt x="45" y="120"/>
                    </a:cubicBezTo>
                    <a:cubicBezTo>
                      <a:pt x="20" y="120"/>
                      <a:pt x="0" y="82"/>
                      <a:pt x="0" y="36"/>
                    </a:cubicBezTo>
                    <a:cubicBezTo>
                      <a:pt x="0" y="32"/>
                      <a:pt x="0" y="29"/>
                      <a:pt x="0" y="26"/>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cs typeface="Arial" pitchFamily="34" charset="0"/>
                </a:endParaRPr>
              </a:p>
            </p:txBody>
          </p:sp>
          <p:sp>
            <p:nvSpPr>
              <p:cNvPr id="155" name="Line 747"/>
              <p:cNvSpPr>
                <a:spLocks noChangeShapeType="1"/>
              </p:cNvSpPr>
              <p:nvPr/>
            </p:nvSpPr>
            <p:spPr bwMode="auto">
              <a:xfrm>
                <a:off x="1936750" y="5346700"/>
                <a:ext cx="100013" cy="1588"/>
              </a:xfrm>
              <a:prstGeom prst="line">
                <a:avLst/>
              </a:prstGeom>
              <a:no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cs typeface="Arial" pitchFamily="34" charset="0"/>
                </a:endParaRPr>
              </a:p>
            </p:txBody>
          </p:sp>
          <p:sp>
            <p:nvSpPr>
              <p:cNvPr id="156" name="Line 748"/>
              <p:cNvSpPr>
                <a:spLocks noChangeShapeType="1"/>
              </p:cNvSpPr>
              <p:nvPr/>
            </p:nvSpPr>
            <p:spPr bwMode="auto">
              <a:xfrm>
                <a:off x="1936750" y="5346700"/>
                <a:ext cx="1588"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cs typeface="Arial" pitchFamily="34" charset="0"/>
                </a:endParaRPr>
              </a:p>
            </p:txBody>
          </p:sp>
          <p:sp>
            <p:nvSpPr>
              <p:cNvPr id="157" name="Line 749"/>
              <p:cNvSpPr>
                <a:spLocks noChangeShapeType="1"/>
              </p:cNvSpPr>
              <p:nvPr/>
            </p:nvSpPr>
            <p:spPr bwMode="auto">
              <a:xfrm>
                <a:off x="1901825" y="5346700"/>
                <a:ext cx="1588"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cs typeface="Arial" pitchFamily="34" charset="0"/>
                </a:endParaRPr>
              </a:p>
            </p:txBody>
          </p:sp>
          <p:sp>
            <p:nvSpPr>
              <p:cNvPr id="158" name="Line 750"/>
              <p:cNvSpPr>
                <a:spLocks noChangeShapeType="1"/>
              </p:cNvSpPr>
              <p:nvPr/>
            </p:nvSpPr>
            <p:spPr bwMode="auto">
              <a:xfrm>
                <a:off x="1711325" y="5346700"/>
                <a:ext cx="190500"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cs typeface="Arial" pitchFamily="34" charset="0"/>
                </a:endParaRPr>
              </a:p>
            </p:txBody>
          </p:sp>
          <p:sp>
            <p:nvSpPr>
              <p:cNvPr id="159" name="Line 751"/>
              <p:cNvSpPr>
                <a:spLocks noChangeShapeType="1"/>
              </p:cNvSpPr>
              <p:nvPr/>
            </p:nvSpPr>
            <p:spPr bwMode="auto">
              <a:xfrm flipV="1">
                <a:off x="1874838" y="5184775"/>
                <a:ext cx="1588" cy="32543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cs typeface="Arial" pitchFamily="34" charset="0"/>
                </a:endParaRPr>
              </a:p>
            </p:txBody>
          </p:sp>
          <p:sp>
            <p:nvSpPr>
              <p:cNvPr id="160" name="Oval 752"/>
              <p:cNvSpPr>
                <a:spLocks noChangeArrowheads="1"/>
              </p:cNvSpPr>
              <p:nvPr/>
            </p:nvSpPr>
            <p:spPr bwMode="auto">
              <a:xfrm>
                <a:off x="1930400" y="5241925"/>
                <a:ext cx="34925" cy="34925"/>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cs typeface="Arial" pitchFamily="34" charset="0"/>
                </a:endParaRPr>
              </a:p>
            </p:txBody>
          </p:sp>
          <p:sp>
            <p:nvSpPr>
              <p:cNvPr id="161" name="Oval 753"/>
              <p:cNvSpPr>
                <a:spLocks noChangeArrowheads="1"/>
              </p:cNvSpPr>
              <p:nvPr/>
            </p:nvSpPr>
            <p:spPr bwMode="auto">
              <a:xfrm>
                <a:off x="1770063" y="5289550"/>
                <a:ext cx="38100" cy="36513"/>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cs typeface="Arial" pitchFamily="34" charset="0"/>
                </a:endParaRPr>
              </a:p>
            </p:txBody>
          </p:sp>
          <p:sp>
            <p:nvSpPr>
              <p:cNvPr id="162" name="Oval 754"/>
              <p:cNvSpPr>
                <a:spLocks noChangeArrowheads="1"/>
              </p:cNvSpPr>
              <p:nvPr/>
            </p:nvSpPr>
            <p:spPr bwMode="auto">
              <a:xfrm>
                <a:off x="1901825" y="5330825"/>
                <a:ext cx="34925" cy="33338"/>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cs typeface="Arial" pitchFamily="34" charset="0"/>
                </a:endParaRPr>
              </a:p>
            </p:txBody>
          </p:sp>
        </p:grpSp>
        <p:grpSp>
          <p:nvGrpSpPr>
            <p:cNvPr id="143" name="Group 142"/>
            <p:cNvGrpSpPr/>
            <p:nvPr/>
          </p:nvGrpSpPr>
          <p:grpSpPr>
            <a:xfrm>
              <a:off x="3358529" y="5059363"/>
              <a:ext cx="306298" cy="220773"/>
              <a:chOff x="6655110" y="1993627"/>
              <a:chExt cx="306298" cy="220773"/>
            </a:xfrm>
          </p:grpSpPr>
          <p:sp>
            <p:nvSpPr>
              <p:cNvPr id="144" name="Freeform 783"/>
              <p:cNvSpPr>
                <a:spLocks/>
              </p:cNvSpPr>
              <p:nvPr/>
            </p:nvSpPr>
            <p:spPr bwMode="auto">
              <a:xfrm>
                <a:off x="6852015" y="2132853"/>
                <a:ext cx="109393" cy="81547"/>
              </a:xfrm>
              <a:custGeom>
                <a:avLst/>
                <a:gdLst/>
                <a:ahLst/>
                <a:cxnLst>
                  <a:cxn ang="0">
                    <a:pos x="43" y="30"/>
                  </a:cxn>
                  <a:cxn ang="0">
                    <a:pos x="38" y="33"/>
                  </a:cxn>
                  <a:cxn ang="0">
                    <a:pos x="1" y="9"/>
                  </a:cxn>
                  <a:cxn ang="0">
                    <a:pos x="1" y="3"/>
                  </a:cxn>
                  <a:cxn ang="0">
                    <a:pos x="1" y="3"/>
                  </a:cxn>
                  <a:cxn ang="0">
                    <a:pos x="6" y="1"/>
                  </a:cxn>
                  <a:cxn ang="0">
                    <a:pos x="43" y="25"/>
                  </a:cxn>
                  <a:cxn ang="0">
                    <a:pos x="43" y="30"/>
                  </a:cxn>
                </a:cxnLst>
                <a:rect l="0" t="0" r="r" b="b"/>
                <a:pathLst>
                  <a:path w="45" h="34">
                    <a:moveTo>
                      <a:pt x="43" y="30"/>
                    </a:moveTo>
                    <a:cubicBezTo>
                      <a:pt x="42" y="33"/>
                      <a:pt x="40" y="34"/>
                      <a:pt x="38" y="33"/>
                    </a:cubicBezTo>
                    <a:cubicBezTo>
                      <a:pt x="1" y="9"/>
                      <a:pt x="1" y="9"/>
                      <a:pt x="1" y="9"/>
                    </a:cubicBezTo>
                    <a:cubicBezTo>
                      <a:pt x="0" y="8"/>
                      <a:pt x="0" y="6"/>
                      <a:pt x="1" y="3"/>
                    </a:cubicBezTo>
                    <a:cubicBezTo>
                      <a:pt x="1" y="3"/>
                      <a:pt x="1" y="3"/>
                      <a:pt x="1" y="3"/>
                    </a:cubicBezTo>
                    <a:cubicBezTo>
                      <a:pt x="2" y="1"/>
                      <a:pt x="5" y="0"/>
                      <a:pt x="6" y="1"/>
                    </a:cubicBezTo>
                    <a:cubicBezTo>
                      <a:pt x="43" y="25"/>
                      <a:pt x="43" y="25"/>
                      <a:pt x="43" y="25"/>
                    </a:cubicBezTo>
                    <a:cubicBezTo>
                      <a:pt x="45" y="26"/>
                      <a:pt x="45" y="28"/>
                      <a:pt x="43" y="30"/>
                    </a:cubicBezTo>
                    <a:close/>
                  </a:path>
                </a:pathLst>
              </a:custGeom>
              <a:solidFill>
                <a:srgbClr val="1A171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45" name="Freeform 784"/>
              <p:cNvSpPr>
                <a:spLocks/>
              </p:cNvSpPr>
              <p:nvPr/>
            </p:nvSpPr>
            <p:spPr bwMode="auto">
              <a:xfrm>
                <a:off x="6655110" y="1993627"/>
                <a:ext cx="224751" cy="200884"/>
              </a:xfrm>
              <a:custGeom>
                <a:avLst/>
                <a:gdLst/>
                <a:ahLst/>
                <a:cxnLst>
                  <a:cxn ang="0">
                    <a:pos x="71" y="8"/>
                  </a:cxn>
                  <a:cxn ang="0">
                    <a:pos x="71" y="8"/>
                  </a:cxn>
                  <a:cxn ang="0">
                    <a:pos x="87" y="33"/>
                  </a:cxn>
                  <a:cxn ang="0">
                    <a:pos x="54" y="79"/>
                  </a:cxn>
                  <a:cxn ang="0">
                    <a:pos x="5" y="47"/>
                  </a:cxn>
                  <a:cxn ang="0">
                    <a:pos x="39" y="1"/>
                  </a:cxn>
                  <a:cxn ang="0">
                    <a:pos x="54" y="1"/>
                  </a:cxn>
                </a:cxnLst>
                <a:rect l="0" t="0" r="r" b="b"/>
                <a:pathLst>
                  <a:path w="92" h="83">
                    <a:moveTo>
                      <a:pt x="71" y="8"/>
                    </a:moveTo>
                    <a:cubicBezTo>
                      <a:pt x="71" y="8"/>
                      <a:pt x="71" y="8"/>
                      <a:pt x="71" y="8"/>
                    </a:cubicBezTo>
                    <a:cubicBezTo>
                      <a:pt x="79" y="14"/>
                      <a:pt x="85" y="22"/>
                      <a:pt x="87" y="33"/>
                    </a:cubicBezTo>
                    <a:cubicBezTo>
                      <a:pt x="92" y="54"/>
                      <a:pt x="76" y="75"/>
                      <a:pt x="54" y="79"/>
                    </a:cubicBezTo>
                    <a:cubicBezTo>
                      <a:pt x="31" y="83"/>
                      <a:pt x="9" y="69"/>
                      <a:pt x="5" y="47"/>
                    </a:cubicBezTo>
                    <a:cubicBezTo>
                      <a:pt x="0" y="25"/>
                      <a:pt x="16" y="5"/>
                      <a:pt x="39" y="1"/>
                    </a:cubicBezTo>
                    <a:cubicBezTo>
                      <a:pt x="44" y="0"/>
                      <a:pt x="49" y="0"/>
                      <a:pt x="54" y="1"/>
                    </a:cubicBezTo>
                  </a:path>
                </a:pathLst>
              </a:custGeom>
              <a:solidFill>
                <a:schemeClr val="accent6"/>
              </a:solidFill>
              <a:ln w="79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46" name="Freeform 785"/>
              <p:cNvSpPr>
                <a:spLocks/>
              </p:cNvSpPr>
              <p:nvPr/>
            </p:nvSpPr>
            <p:spPr bwMode="auto">
              <a:xfrm>
                <a:off x="6676988" y="2005561"/>
                <a:ext cx="180995" cy="167072"/>
              </a:xfrm>
              <a:custGeom>
                <a:avLst/>
                <a:gdLst/>
                <a:ahLst/>
                <a:cxnLst>
                  <a:cxn ang="0">
                    <a:pos x="4" y="41"/>
                  </a:cxn>
                  <a:cxn ang="0">
                    <a:pos x="31" y="3"/>
                  </a:cxn>
                  <a:cxn ang="0">
                    <a:pos x="31" y="3"/>
                  </a:cxn>
                  <a:cxn ang="0">
                    <a:pos x="31" y="3"/>
                  </a:cxn>
                  <a:cxn ang="0">
                    <a:pos x="70" y="29"/>
                  </a:cxn>
                  <a:cxn ang="0">
                    <a:pos x="70" y="29"/>
                  </a:cxn>
                  <a:cxn ang="0">
                    <a:pos x="70" y="29"/>
                  </a:cxn>
                  <a:cxn ang="0">
                    <a:pos x="43" y="66"/>
                  </a:cxn>
                  <a:cxn ang="0">
                    <a:pos x="43" y="66"/>
                  </a:cxn>
                  <a:cxn ang="0">
                    <a:pos x="43" y="66"/>
                  </a:cxn>
                  <a:cxn ang="0">
                    <a:pos x="4" y="41"/>
                  </a:cxn>
                  <a:cxn ang="0">
                    <a:pos x="4" y="41"/>
                  </a:cxn>
                </a:cxnLst>
                <a:rect l="0" t="0" r="r" b="b"/>
                <a:pathLst>
                  <a:path w="74" h="69">
                    <a:moveTo>
                      <a:pt x="4" y="41"/>
                    </a:moveTo>
                    <a:cubicBezTo>
                      <a:pt x="0" y="23"/>
                      <a:pt x="13" y="6"/>
                      <a:pt x="31" y="3"/>
                    </a:cubicBezTo>
                    <a:cubicBezTo>
                      <a:pt x="31" y="3"/>
                      <a:pt x="31" y="3"/>
                      <a:pt x="31" y="3"/>
                    </a:cubicBezTo>
                    <a:cubicBezTo>
                      <a:pt x="31" y="3"/>
                      <a:pt x="31" y="3"/>
                      <a:pt x="31" y="3"/>
                    </a:cubicBezTo>
                    <a:cubicBezTo>
                      <a:pt x="49" y="0"/>
                      <a:pt x="67" y="12"/>
                      <a:pt x="70" y="29"/>
                    </a:cubicBezTo>
                    <a:cubicBezTo>
                      <a:pt x="70" y="29"/>
                      <a:pt x="70" y="29"/>
                      <a:pt x="70" y="29"/>
                    </a:cubicBezTo>
                    <a:cubicBezTo>
                      <a:pt x="70" y="29"/>
                      <a:pt x="70" y="29"/>
                      <a:pt x="70" y="29"/>
                    </a:cubicBezTo>
                    <a:cubicBezTo>
                      <a:pt x="74" y="46"/>
                      <a:pt x="61" y="63"/>
                      <a:pt x="43" y="66"/>
                    </a:cubicBezTo>
                    <a:cubicBezTo>
                      <a:pt x="43" y="66"/>
                      <a:pt x="43" y="66"/>
                      <a:pt x="43" y="66"/>
                    </a:cubicBezTo>
                    <a:cubicBezTo>
                      <a:pt x="43" y="66"/>
                      <a:pt x="43" y="66"/>
                      <a:pt x="43" y="66"/>
                    </a:cubicBezTo>
                    <a:cubicBezTo>
                      <a:pt x="25" y="69"/>
                      <a:pt x="7" y="58"/>
                      <a:pt x="4" y="41"/>
                    </a:cubicBezTo>
                    <a:cubicBezTo>
                      <a:pt x="4" y="41"/>
                      <a:pt x="4" y="41"/>
                      <a:pt x="4" y="41"/>
                    </a:cubicBezTo>
                    <a:close/>
                  </a:path>
                </a:pathLst>
              </a:custGeom>
              <a:noFill/>
              <a:ln w="79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grpSp>
      <p:pic>
        <p:nvPicPr>
          <p:cNvPr id="163" name="Picture 162" descr="wearables.ai"/>
          <p:cNvPicPr>
            <a:picLocks noChangeAspect="1"/>
          </p:cNvPicPr>
          <p:nvPr/>
        </p:nvPicPr>
        <p:blipFill>
          <a:blip r:embed="rId3" cstate="email">
            <a:lum bright="100000"/>
            <a:extLst>
              <a:ext uri="{28A0092B-C50C-407E-A947-70E740481C1C}">
                <a14:useLocalDpi xmlns:a14="http://schemas.microsoft.com/office/drawing/2010/main"/>
              </a:ext>
            </a:extLst>
          </a:blip>
          <a:stretch>
            <a:fillRect/>
          </a:stretch>
        </p:blipFill>
        <p:spPr>
          <a:xfrm>
            <a:off x="1535662" y="3603823"/>
            <a:ext cx="256998" cy="341910"/>
          </a:xfrm>
          <a:prstGeom prst="rect">
            <a:avLst/>
          </a:prstGeom>
          <a:effectLst>
            <a:reflection stA="47000" endPos="16000" dist="63500" dir="5400000" sy="-100000" algn="bl" rotWithShape="0"/>
          </a:effectLst>
        </p:spPr>
      </p:pic>
      <p:grpSp>
        <p:nvGrpSpPr>
          <p:cNvPr id="165" name="Groupe 376"/>
          <p:cNvGrpSpPr/>
          <p:nvPr/>
        </p:nvGrpSpPr>
        <p:grpSpPr>
          <a:xfrm>
            <a:off x="1561136" y="4153326"/>
            <a:ext cx="182732" cy="275800"/>
            <a:chOff x="6343650" y="2687638"/>
            <a:chExt cx="255588" cy="385763"/>
          </a:xfrm>
        </p:grpSpPr>
        <p:sp>
          <p:nvSpPr>
            <p:cNvPr id="166" name="Freeform 481"/>
            <p:cNvSpPr>
              <a:spLocks noEditPoints="1"/>
            </p:cNvSpPr>
            <p:nvPr/>
          </p:nvSpPr>
          <p:spPr bwMode="auto">
            <a:xfrm>
              <a:off x="6343650" y="2687638"/>
              <a:ext cx="255588" cy="385763"/>
            </a:xfrm>
            <a:custGeom>
              <a:avLst/>
              <a:gdLst/>
              <a:ahLst/>
              <a:cxnLst>
                <a:cxn ang="0">
                  <a:pos x="20" y="61"/>
                </a:cxn>
                <a:cxn ang="0">
                  <a:pos x="20" y="36"/>
                </a:cxn>
                <a:cxn ang="0">
                  <a:pos x="57" y="0"/>
                </a:cxn>
                <a:cxn ang="0">
                  <a:pos x="94" y="36"/>
                </a:cxn>
                <a:cxn ang="0">
                  <a:pos x="94" y="61"/>
                </a:cxn>
                <a:cxn ang="0">
                  <a:pos x="30" y="138"/>
                </a:cxn>
                <a:cxn ang="0">
                  <a:pos x="114" y="138"/>
                </a:cxn>
                <a:cxn ang="0">
                  <a:pos x="114" y="61"/>
                </a:cxn>
                <a:cxn ang="0">
                  <a:pos x="0" y="61"/>
                </a:cxn>
                <a:cxn ang="0">
                  <a:pos x="0" y="170"/>
                </a:cxn>
                <a:cxn ang="0">
                  <a:pos x="106" y="170"/>
                </a:cxn>
              </a:cxnLst>
              <a:rect l="0" t="0" r="r" b="b"/>
              <a:pathLst>
                <a:path w="114" h="171">
                  <a:moveTo>
                    <a:pt x="20" y="61"/>
                  </a:moveTo>
                  <a:cubicBezTo>
                    <a:pt x="20" y="36"/>
                    <a:pt x="20" y="36"/>
                    <a:pt x="20" y="36"/>
                  </a:cubicBezTo>
                  <a:cubicBezTo>
                    <a:pt x="20" y="16"/>
                    <a:pt x="37" y="0"/>
                    <a:pt x="57" y="0"/>
                  </a:cubicBezTo>
                  <a:cubicBezTo>
                    <a:pt x="78" y="0"/>
                    <a:pt x="94" y="16"/>
                    <a:pt x="94" y="36"/>
                  </a:cubicBezTo>
                  <a:cubicBezTo>
                    <a:pt x="94" y="61"/>
                    <a:pt x="94" y="61"/>
                    <a:pt x="94" y="61"/>
                  </a:cubicBezTo>
                  <a:moveTo>
                    <a:pt x="30" y="138"/>
                  </a:moveTo>
                  <a:cubicBezTo>
                    <a:pt x="114" y="138"/>
                    <a:pt x="114" y="138"/>
                    <a:pt x="114" y="138"/>
                  </a:cubicBezTo>
                  <a:cubicBezTo>
                    <a:pt x="114" y="61"/>
                    <a:pt x="114" y="61"/>
                    <a:pt x="114" y="61"/>
                  </a:cubicBezTo>
                  <a:cubicBezTo>
                    <a:pt x="0" y="61"/>
                    <a:pt x="0" y="61"/>
                    <a:pt x="0" y="61"/>
                  </a:cubicBezTo>
                  <a:cubicBezTo>
                    <a:pt x="0" y="61"/>
                    <a:pt x="0" y="171"/>
                    <a:pt x="0" y="170"/>
                  </a:cubicBezTo>
                  <a:cubicBezTo>
                    <a:pt x="1" y="170"/>
                    <a:pt x="106" y="170"/>
                    <a:pt x="106" y="17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67" name="Freeform 482"/>
            <p:cNvSpPr>
              <a:spLocks/>
            </p:cNvSpPr>
            <p:nvPr/>
          </p:nvSpPr>
          <p:spPr bwMode="auto">
            <a:xfrm>
              <a:off x="6446838" y="2859088"/>
              <a:ext cx="42863" cy="84138"/>
            </a:xfrm>
            <a:custGeom>
              <a:avLst/>
              <a:gdLst/>
              <a:ahLst/>
              <a:cxnLst>
                <a:cxn ang="0">
                  <a:pos x="19" y="10"/>
                </a:cxn>
                <a:cxn ang="0">
                  <a:pos x="9" y="0"/>
                </a:cxn>
                <a:cxn ang="0">
                  <a:pos x="0" y="10"/>
                </a:cxn>
                <a:cxn ang="0">
                  <a:pos x="6" y="20"/>
                </a:cxn>
                <a:cxn ang="0">
                  <a:pos x="4" y="37"/>
                </a:cxn>
                <a:cxn ang="0">
                  <a:pos x="15" y="37"/>
                </a:cxn>
                <a:cxn ang="0">
                  <a:pos x="12" y="20"/>
                </a:cxn>
                <a:cxn ang="0">
                  <a:pos x="19" y="10"/>
                </a:cxn>
              </a:cxnLst>
              <a:rect l="0" t="0" r="r" b="b"/>
              <a:pathLst>
                <a:path w="19" h="37">
                  <a:moveTo>
                    <a:pt x="19" y="10"/>
                  </a:moveTo>
                  <a:cubicBezTo>
                    <a:pt x="19" y="4"/>
                    <a:pt x="14" y="0"/>
                    <a:pt x="9" y="0"/>
                  </a:cubicBezTo>
                  <a:cubicBezTo>
                    <a:pt x="4" y="0"/>
                    <a:pt x="0" y="4"/>
                    <a:pt x="0" y="10"/>
                  </a:cubicBezTo>
                  <a:cubicBezTo>
                    <a:pt x="0" y="14"/>
                    <a:pt x="2" y="18"/>
                    <a:pt x="6" y="20"/>
                  </a:cubicBezTo>
                  <a:cubicBezTo>
                    <a:pt x="4" y="37"/>
                    <a:pt x="4" y="37"/>
                    <a:pt x="4" y="37"/>
                  </a:cubicBezTo>
                  <a:cubicBezTo>
                    <a:pt x="15" y="37"/>
                    <a:pt x="15" y="37"/>
                    <a:pt x="15" y="37"/>
                  </a:cubicBezTo>
                  <a:cubicBezTo>
                    <a:pt x="12" y="20"/>
                    <a:pt x="12" y="20"/>
                    <a:pt x="12" y="20"/>
                  </a:cubicBezTo>
                  <a:cubicBezTo>
                    <a:pt x="16" y="18"/>
                    <a:pt x="19" y="14"/>
                    <a:pt x="19" y="10"/>
                  </a:cubicBezTo>
                  <a:close/>
                </a:path>
              </a:pathLst>
            </a:custGeom>
            <a:no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grpSp>
        <p:nvGrpSpPr>
          <p:cNvPr id="168" name="Groupe 574"/>
          <p:cNvGrpSpPr/>
          <p:nvPr/>
        </p:nvGrpSpPr>
        <p:grpSpPr>
          <a:xfrm>
            <a:off x="1574942" y="4711937"/>
            <a:ext cx="175042" cy="288689"/>
            <a:chOff x="4446588" y="1770063"/>
            <a:chExt cx="212725" cy="350838"/>
          </a:xfrm>
        </p:grpSpPr>
        <p:sp>
          <p:nvSpPr>
            <p:cNvPr id="169" name="Freeform 435"/>
            <p:cNvSpPr>
              <a:spLocks/>
            </p:cNvSpPr>
            <p:nvPr/>
          </p:nvSpPr>
          <p:spPr bwMode="auto">
            <a:xfrm>
              <a:off x="4446588" y="1770063"/>
              <a:ext cx="212725" cy="350838"/>
            </a:xfrm>
            <a:custGeom>
              <a:avLst/>
              <a:gdLst/>
              <a:ahLst/>
              <a:cxnLst>
                <a:cxn ang="0">
                  <a:pos x="110" y="171"/>
                </a:cxn>
                <a:cxn ang="0">
                  <a:pos x="110" y="9"/>
                </a:cxn>
                <a:cxn ang="0">
                  <a:pos x="99" y="0"/>
                </a:cxn>
                <a:cxn ang="0">
                  <a:pos x="10" y="0"/>
                </a:cxn>
                <a:cxn ang="0">
                  <a:pos x="0" y="9"/>
                </a:cxn>
                <a:cxn ang="0">
                  <a:pos x="0" y="171"/>
                </a:cxn>
                <a:cxn ang="0">
                  <a:pos x="10" y="181"/>
                </a:cxn>
                <a:cxn ang="0">
                  <a:pos x="89" y="181"/>
                </a:cxn>
                <a:cxn ang="0">
                  <a:pos x="99" y="171"/>
                </a:cxn>
                <a:cxn ang="0">
                  <a:pos x="99" y="19"/>
                </a:cxn>
                <a:cxn ang="0">
                  <a:pos x="89" y="9"/>
                </a:cxn>
                <a:cxn ang="0">
                  <a:pos x="21" y="9"/>
                </a:cxn>
                <a:cxn ang="0">
                  <a:pos x="10" y="19"/>
                </a:cxn>
                <a:cxn ang="0">
                  <a:pos x="10" y="143"/>
                </a:cxn>
                <a:cxn ang="0">
                  <a:pos x="21" y="152"/>
                </a:cxn>
                <a:cxn ang="0">
                  <a:pos x="83" y="152"/>
                </a:cxn>
              </a:cxnLst>
              <a:rect l="0" t="0" r="r" b="b"/>
              <a:pathLst>
                <a:path w="110" h="181">
                  <a:moveTo>
                    <a:pt x="110" y="171"/>
                  </a:moveTo>
                  <a:cubicBezTo>
                    <a:pt x="110" y="9"/>
                    <a:pt x="110" y="9"/>
                    <a:pt x="110" y="9"/>
                  </a:cubicBezTo>
                  <a:cubicBezTo>
                    <a:pt x="110" y="5"/>
                    <a:pt x="104" y="0"/>
                    <a:pt x="99" y="0"/>
                  </a:cubicBezTo>
                  <a:cubicBezTo>
                    <a:pt x="10" y="0"/>
                    <a:pt x="10" y="0"/>
                    <a:pt x="10" y="0"/>
                  </a:cubicBezTo>
                  <a:cubicBezTo>
                    <a:pt x="5" y="0"/>
                    <a:pt x="0" y="5"/>
                    <a:pt x="0" y="9"/>
                  </a:cubicBezTo>
                  <a:cubicBezTo>
                    <a:pt x="0" y="171"/>
                    <a:pt x="0" y="171"/>
                    <a:pt x="0" y="171"/>
                  </a:cubicBezTo>
                  <a:cubicBezTo>
                    <a:pt x="0" y="176"/>
                    <a:pt x="4" y="181"/>
                    <a:pt x="10" y="181"/>
                  </a:cubicBezTo>
                  <a:cubicBezTo>
                    <a:pt x="89" y="181"/>
                    <a:pt x="89" y="181"/>
                    <a:pt x="89" y="181"/>
                  </a:cubicBezTo>
                  <a:cubicBezTo>
                    <a:pt x="95" y="181"/>
                    <a:pt x="99" y="176"/>
                    <a:pt x="99" y="171"/>
                  </a:cubicBezTo>
                  <a:cubicBezTo>
                    <a:pt x="99" y="19"/>
                    <a:pt x="99" y="19"/>
                    <a:pt x="99" y="19"/>
                  </a:cubicBezTo>
                  <a:cubicBezTo>
                    <a:pt x="99" y="15"/>
                    <a:pt x="95" y="9"/>
                    <a:pt x="89" y="9"/>
                  </a:cubicBezTo>
                  <a:cubicBezTo>
                    <a:pt x="21" y="9"/>
                    <a:pt x="21" y="9"/>
                    <a:pt x="21" y="9"/>
                  </a:cubicBezTo>
                  <a:cubicBezTo>
                    <a:pt x="15" y="9"/>
                    <a:pt x="10" y="14"/>
                    <a:pt x="10" y="19"/>
                  </a:cubicBezTo>
                  <a:cubicBezTo>
                    <a:pt x="10" y="143"/>
                    <a:pt x="10" y="143"/>
                    <a:pt x="10" y="143"/>
                  </a:cubicBezTo>
                  <a:cubicBezTo>
                    <a:pt x="10" y="147"/>
                    <a:pt x="15" y="152"/>
                    <a:pt x="21" y="152"/>
                  </a:cubicBezTo>
                  <a:cubicBezTo>
                    <a:pt x="83" y="152"/>
                    <a:pt x="83" y="152"/>
                    <a:pt x="83" y="152"/>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Calibri" panose="020F0502020204030204" pitchFamily="34" charset="0"/>
                <a:cs typeface="Arial" pitchFamily="34" charset="0"/>
              </a:endParaRPr>
            </a:p>
          </p:txBody>
        </p:sp>
        <p:sp>
          <p:nvSpPr>
            <p:cNvPr id="170" name="Line 436"/>
            <p:cNvSpPr>
              <a:spLocks noChangeShapeType="1"/>
            </p:cNvSpPr>
            <p:nvPr/>
          </p:nvSpPr>
          <p:spPr bwMode="auto">
            <a:xfrm>
              <a:off x="4484688" y="2081213"/>
              <a:ext cx="122238" cy="1588"/>
            </a:xfrm>
            <a:prstGeom prst="line">
              <a:avLst/>
            </a:pr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Calibri" panose="020F0502020204030204" pitchFamily="34" charset="0"/>
                <a:cs typeface="Arial" pitchFamily="34" charset="0"/>
              </a:endParaRPr>
            </a:p>
          </p:txBody>
        </p:sp>
        <p:sp>
          <p:nvSpPr>
            <p:cNvPr id="171" name="Line 437"/>
            <p:cNvSpPr>
              <a:spLocks noChangeShapeType="1"/>
            </p:cNvSpPr>
            <p:nvPr/>
          </p:nvSpPr>
          <p:spPr bwMode="auto">
            <a:xfrm>
              <a:off x="4579938" y="2087563"/>
              <a:ext cx="1588" cy="15875"/>
            </a:xfrm>
            <a:prstGeom prst="line">
              <a:avLst/>
            </a:pr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Calibri" panose="020F0502020204030204" pitchFamily="34" charset="0"/>
                <a:cs typeface="Arial" pitchFamily="34" charset="0"/>
              </a:endParaRPr>
            </a:p>
          </p:txBody>
        </p:sp>
        <p:sp>
          <p:nvSpPr>
            <p:cNvPr id="172" name="Line 438"/>
            <p:cNvSpPr>
              <a:spLocks noChangeShapeType="1"/>
            </p:cNvSpPr>
            <p:nvPr/>
          </p:nvSpPr>
          <p:spPr bwMode="auto">
            <a:xfrm>
              <a:off x="4516438" y="2087563"/>
              <a:ext cx="1588" cy="15875"/>
            </a:xfrm>
            <a:prstGeom prst="line">
              <a:avLst/>
            </a:pr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Calibri" panose="020F0502020204030204" pitchFamily="34" charset="0"/>
                <a:cs typeface="Arial" pitchFamily="34" charset="0"/>
              </a:endParaRPr>
            </a:p>
          </p:txBody>
        </p:sp>
      </p:grpSp>
      <p:grpSp>
        <p:nvGrpSpPr>
          <p:cNvPr id="173" name="Groupe 375"/>
          <p:cNvGrpSpPr/>
          <p:nvPr/>
        </p:nvGrpSpPr>
        <p:grpSpPr>
          <a:xfrm>
            <a:off x="1503446" y="5285643"/>
            <a:ext cx="310727" cy="205521"/>
            <a:chOff x="4649788" y="3203575"/>
            <a:chExt cx="403225" cy="266701"/>
          </a:xfrm>
        </p:grpSpPr>
        <p:sp>
          <p:nvSpPr>
            <p:cNvPr id="174" name="Freeform 814"/>
            <p:cNvSpPr>
              <a:spLocks/>
            </p:cNvSpPr>
            <p:nvPr/>
          </p:nvSpPr>
          <p:spPr bwMode="auto">
            <a:xfrm>
              <a:off x="4799013" y="3290888"/>
              <a:ext cx="104775" cy="179388"/>
            </a:xfrm>
            <a:custGeom>
              <a:avLst/>
              <a:gdLst/>
              <a:ahLst/>
              <a:cxnLst>
                <a:cxn ang="0">
                  <a:pos x="42" y="92"/>
                </a:cxn>
                <a:cxn ang="0">
                  <a:pos x="10" y="92"/>
                </a:cxn>
                <a:cxn ang="0">
                  <a:pos x="0" y="83"/>
                </a:cxn>
                <a:cxn ang="0">
                  <a:pos x="0" y="9"/>
                </a:cxn>
                <a:cxn ang="0">
                  <a:pos x="9" y="0"/>
                </a:cxn>
                <a:cxn ang="0">
                  <a:pos x="44" y="0"/>
                </a:cxn>
                <a:cxn ang="0">
                  <a:pos x="54" y="9"/>
                </a:cxn>
                <a:cxn ang="0">
                  <a:pos x="54" y="91"/>
                </a:cxn>
              </a:cxnLst>
              <a:rect l="0" t="0" r="r" b="b"/>
              <a:pathLst>
                <a:path w="54" h="92">
                  <a:moveTo>
                    <a:pt x="42" y="92"/>
                  </a:moveTo>
                  <a:cubicBezTo>
                    <a:pt x="10" y="92"/>
                    <a:pt x="10" y="92"/>
                    <a:pt x="10" y="92"/>
                  </a:cubicBezTo>
                  <a:cubicBezTo>
                    <a:pt x="3" y="92"/>
                    <a:pt x="0" y="89"/>
                    <a:pt x="0" y="83"/>
                  </a:cubicBezTo>
                  <a:cubicBezTo>
                    <a:pt x="0" y="9"/>
                    <a:pt x="0" y="9"/>
                    <a:pt x="0" y="9"/>
                  </a:cubicBezTo>
                  <a:cubicBezTo>
                    <a:pt x="0" y="2"/>
                    <a:pt x="2" y="0"/>
                    <a:pt x="9" y="0"/>
                  </a:cubicBezTo>
                  <a:cubicBezTo>
                    <a:pt x="44" y="0"/>
                    <a:pt x="44" y="0"/>
                    <a:pt x="44" y="0"/>
                  </a:cubicBezTo>
                  <a:cubicBezTo>
                    <a:pt x="51" y="0"/>
                    <a:pt x="54" y="2"/>
                    <a:pt x="54" y="9"/>
                  </a:cubicBezTo>
                  <a:cubicBezTo>
                    <a:pt x="54" y="91"/>
                    <a:pt x="54" y="91"/>
                    <a:pt x="54" y="91"/>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cs typeface="Arial" pitchFamily="34" charset="0"/>
              </a:endParaRPr>
            </a:p>
          </p:txBody>
        </p:sp>
        <p:sp>
          <p:nvSpPr>
            <p:cNvPr id="175" name="Freeform 815"/>
            <p:cNvSpPr>
              <a:spLocks/>
            </p:cNvSpPr>
            <p:nvPr/>
          </p:nvSpPr>
          <p:spPr bwMode="auto">
            <a:xfrm>
              <a:off x="4814888" y="3305175"/>
              <a:ext cx="73025" cy="165100"/>
            </a:xfrm>
            <a:custGeom>
              <a:avLst/>
              <a:gdLst/>
              <a:ahLst/>
              <a:cxnLst>
                <a:cxn ang="0">
                  <a:pos x="20" y="65"/>
                </a:cxn>
                <a:cxn ang="0">
                  <a:pos x="4" y="65"/>
                </a:cxn>
                <a:cxn ang="0">
                  <a:pos x="0" y="61"/>
                </a:cxn>
                <a:cxn ang="0">
                  <a:pos x="0" y="4"/>
                </a:cxn>
                <a:cxn ang="0">
                  <a:pos x="4" y="0"/>
                </a:cxn>
                <a:cxn ang="0">
                  <a:pos x="34" y="0"/>
                </a:cxn>
                <a:cxn ang="0">
                  <a:pos x="38" y="4"/>
                </a:cxn>
                <a:cxn ang="0">
                  <a:pos x="38" y="81"/>
                </a:cxn>
                <a:cxn ang="0">
                  <a:pos x="34" y="85"/>
                </a:cxn>
              </a:cxnLst>
              <a:rect l="0" t="0" r="r" b="b"/>
              <a:pathLst>
                <a:path w="38" h="85">
                  <a:moveTo>
                    <a:pt x="20" y="65"/>
                  </a:moveTo>
                  <a:cubicBezTo>
                    <a:pt x="4" y="65"/>
                    <a:pt x="4" y="65"/>
                    <a:pt x="4" y="65"/>
                  </a:cubicBezTo>
                  <a:cubicBezTo>
                    <a:pt x="2" y="65"/>
                    <a:pt x="0" y="63"/>
                    <a:pt x="0" y="61"/>
                  </a:cubicBezTo>
                  <a:cubicBezTo>
                    <a:pt x="0" y="4"/>
                    <a:pt x="0" y="4"/>
                    <a:pt x="0" y="4"/>
                  </a:cubicBezTo>
                  <a:cubicBezTo>
                    <a:pt x="0" y="2"/>
                    <a:pt x="2" y="0"/>
                    <a:pt x="4" y="0"/>
                  </a:cubicBezTo>
                  <a:cubicBezTo>
                    <a:pt x="34" y="0"/>
                    <a:pt x="34" y="0"/>
                    <a:pt x="34" y="0"/>
                  </a:cubicBezTo>
                  <a:cubicBezTo>
                    <a:pt x="36" y="0"/>
                    <a:pt x="38" y="2"/>
                    <a:pt x="38" y="4"/>
                  </a:cubicBezTo>
                  <a:cubicBezTo>
                    <a:pt x="38" y="81"/>
                    <a:pt x="38" y="81"/>
                    <a:pt x="38" y="81"/>
                  </a:cubicBezTo>
                  <a:cubicBezTo>
                    <a:pt x="38" y="83"/>
                    <a:pt x="36" y="85"/>
                    <a:pt x="34" y="85"/>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cs typeface="Arial" pitchFamily="34" charset="0"/>
              </a:endParaRPr>
            </a:p>
          </p:txBody>
        </p:sp>
        <p:sp>
          <p:nvSpPr>
            <p:cNvPr id="176" name="Freeform 816"/>
            <p:cNvSpPr>
              <a:spLocks/>
            </p:cNvSpPr>
            <p:nvPr/>
          </p:nvSpPr>
          <p:spPr bwMode="auto">
            <a:xfrm>
              <a:off x="4837113" y="3430588"/>
              <a:ext cx="26988" cy="17463"/>
            </a:xfrm>
            <a:custGeom>
              <a:avLst/>
              <a:gdLst/>
              <a:ahLst/>
              <a:cxnLst>
                <a:cxn ang="0">
                  <a:pos x="8" y="0"/>
                </a:cxn>
                <a:cxn ang="0">
                  <a:pos x="11" y="0"/>
                </a:cxn>
                <a:cxn ang="0">
                  <a:pos x="14" y="2"/>
                </a:cxn>
                <a:cxn ang="0">
                  <a:pos x="14" y="6"/>
                </a:cxn>
                <a:cxn ang="0">
                  <a:pos x="11" y="9"/>
                </a:cxn>
                <a:cxn ang="0">
                  <a:pos x="3" y="9"/>
                </a:cxn>
                <a:cxn ang="0">
                  <a:pos x="0" y="6"/>
                </a:cxn>
              </a:cxnLst>
              <a:rect l="0" t="0" r="r" b="b"/>
              <a:pathLst>
                <a:path w="14" h="9">
                  <a:moveTo>
                    <a:pt x="8" y="0"/>
                  </a:moveTo>
                  <a:cubicBezTo>
                    <a:pt x="11" y="0"/>
                    <a:pt x="11" y="0"/>
                    <a:pt x="11" y="0"/>
                  </a:cubicBezTo>
                  <a:cubicBezTo>
                    <a:pt x="13" y="0"/>
                    <a:pt x="14" y="1"/>
                    <a:pt x="14" y="2"/>
                  </a:cubicBezTo>
                  <a:cubicBezTo>
                    <a:pt x="14" y="6"/>
                    <a:pt x="14" y="6"/>
                    <a:pt x="14" y="6"/>
                  </a:cubicBezTo>
                  <a:cubicBezTo>
                    <a:pt x="14" y="8"/>
                    <a:pt x="13" y="9"/>
                    <a:pt x="11" y="9"/>
                  </a:cubicBezTo>
                  <a:cubicBezTo>
                    <a:pt x="3" y="9"/>
                    <a:pt x="3" y="9"/>
                    <a:pt x="3" y="9"/>
                  </a:cubicBezTo>
                  <a:cubicBezTo>
                    <a:pt x="1" y="9"/>
                    <a:pt x="0" y="8"/>
                    <a:pt x="0" y="6"/>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cs typeface="Arial" pitchFamily="34" charset="0"/>
              </a:endParaRPr>
            </a:p>
          </p:txBody>
        </p:sp>
        <p:sp>
          <p:nvSpPr>
            <p:cNvPr id="177" name="Freeform 817"/>
            <p:cNvSpPr>
              <a:spLocks/>
            </p:cNvSpPr>
            <p:nvPr/>
          </p:nvSpPr>
          <p:spPr bwMode="auto">
            <a:xfrm>
              <a:off x="4649788" y="3203575"/>
              <a:ext cx="403225" cy="249238"/>
            </a:xfrm>
            <a:custGeom>
              <a:avLst/>
              <a:gdLst/>
              <a:ahLst/>
              <a:cxnLst>
                <a:cxn ang="0">
                  <a:pos x="174" y="128"/>
                </a:cxn>
                <a:cxn ang="0">
                  <a:pos x="208" y="94"/>
                </a:cxn>
                <a:cxn ang="0">
                  <a:pos x="174" y="60"/>
                </a:cxn>
                <a:cxn ang="0">
                  <a:pos x="173" y="60"/>
                </a:cxn>
                <a:cxn ang="0">
                  <a:pos x="174" y="58"/>
                </a:cxn>
                <a:cxn ang="0">
                  <a:pos x="115" y="0"/>
                </a:cxn>
                <a:cxn ang="0">
                  <a:pos x="60" y="38"/>
                </a:cxn>
                <a:cxn ang="0">
                  <a:pos x="46" y="36"/>
                </a:cxn>
                <a:cxn ang="0">
                  <a:pos x="0" y="82"/>
                </a:cxn>
                <a:cxn ang="0">
                  <a:pos x="46" y="128"/>
                </a:cxn>
                <a:cxn ang="0">
                  <a:pos x="72" y="128"/>
                </a:cxn>
              </a:cxnLst>
              <a:rect l="0" t="0" r="r" b="b"/>
              <a:pathLst>
                <a:path w="208" h="128">
                  <a:moveTo>
                    <a:pt x="174" y="128"/>
                  </a:moveTo>
                  <a:cubicBezTo>
                    <a:pt x="193" y="128"/>
                    <a:pt x="208" y="112"/>
                    <a:pt x="208" y="94"/>
                  </a:cubicBezTo>
                  <a:cubicBezTo>
                    <a:pt x="208" y="75"/>
                    <a:pt x="193" y="60"/>
                    <a:pt x="174" y="60"/>
                  </a:cubicBezTo>
                  <a:cubicBezTo>
                    <a:pt x="174" y="60"/>
                    <a:pt x="174" y="60"/>
                    <a:pt x="173" y="60"/>
                  </a:cubicBezTo>
                  <a:cubicBezTo>
                    <a:pt x="173" y="59"/>
                    <a:pt x="174" y="59"/>
                    <a:pt x="174" y="58"/>
                  </a:cubicBezTo>
                  <a:cubicBezTo>
                    <a:pt x="174" y="26"/>
                    <a:pt x="147" y="0"/>
                    <a:pt x="115" y="0"/>
                  </a:cubicBezTo>
                  <a:cubicBezTo>
                    <a:pt x="90" y="0"/>
                    <a:pt x="69" y="16"/>
                    <a:pt x="60" y="38"/>
                  </a:cubicBezTo>
                  <a:cubicBezTo>
                    <a:pt x="56" y="36"/>
                    <a:pt x="51" y="36"/>
                    <a:pt x="46" y="36"/>
                  </a:cubicBezTo>
                  <a:cubicBezTo>
                    <a:pt x="20" y="36"/>
                    <a:pt x="0" y="56"/>
                    <a:pt x="0" y="82"/>
                  </a:cubicBezTo>
                  <a:cubicBezTo>
                    <a:pt x="0" y="107"/>
                    <a:pt x="20" y="128"/>
                    <a:pt x="46" y="128"/>
                  </a:cubicBezTo>
                  <a:cubicBezTo>
                    <a:pt x="72" y="128"/>
                    <a:pt x="72" y="128"/>
                    <a:pt x="72" y="128"/>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cs typeface="Arial" pitchFamily="34" charset="0"/>
              </a:endParaRPr>
            </a:p>
          </p:txBody>
        </p:sp>
      </p:grpSp>
      <p:sp>
        <p:nvSpPr>
          <p:cNvPr id="2" name="Title 1"/>
          <p:cNvSpPr>
            <a:spLocks noGrp="1"/>
          </p:cNvSpPr>
          <p:nvPr>
            <p:ph type="title"/>
          </p:nvPr>
        </p:nvSpPr>
        <p:spPr/>
        <p:txBody>
          <a:bodyPr/>
          <a:lstStyle/>
          <a:p>
            <a:r>
              <a:rPr lang="en-US" dirty="0"/>
              <a:t>Technology trends in Mobility Industry</a:t>
            </a:r>
            <a:endParaRPr lang="en-GB" dirty="0"/>
          </a:p>
        </p:txBody>
      </p:sp>
      <p:grpSp>
        <p:nvGrpSpPr>
          <p:cNvPr id="178" name="Groupe 364"/>
          <p:cNvGrpSpPr/>
          <p:nvPr/>
        </p:nvGrpSpPr>
        <p:grpSpPr>
          <a:xfrm>
            <a:off x="1567517" y="5786016"/>
            <a:ext cx="201565" cy="317129"/>
            <a:chOff x="2097088" y="1989138"/>
            <a:chExt cx="238125" cy="374650"/>
          </a:xfrm>
        </p:grpSpPr>
        <p:sp>
          <p:nvSpPr>
            <p:cNvPr id="179" name="Freeform 356"/>
            <p:cNvSpPr>
              <a:spLocks/>
            </p:cNvSpPr>
            <p:nvPr/>
          </p:nvSpPr>
          <p:spPr bwMode="auto">
            <a:xfrm>
              <a:off x="2097088" y="1989138"/>
              <a:ext cx="238125" cy="200025"/>
            </a:xfrm>
            <a:custGeom>
              <a:avLst/>
              <a:gdLst/>
              <a:ahLst/>
              <a:cxnLst>
                <a:cxn ang="0">
                  <a:pos x="50" y="71"/>
                </a:cxn>
                <a:cxn ang="0">
                  <a:pos x="0" y="36"/>
                </a:cxn>
                <a:cxn ang="0">
                  <a:pos x="50" y="0"/>
                </a:cxn>
                <a:cxn ang="0">
                  <a:pos x="50" y="20"/>
                </a:cxn>
                <a:cxn ang="0">
                  <a:pos x="70" y="20"/>
                </a:cxn>
                <a:cxn ang="0">
                  <a:pos x="106" y="53"/>
                </a:cxn>
                <a:cxn ang="0">
                  <a:pos x="85" y="89"/>
                </a:cxn>
                <a:cxn ang="0">
                  <a:pos x="85" y="65"/>
                </a:cxn>
                <a:cxn ang="0">
                  <a:pos x="67" y="51"/>
                </a:cxn>
                <a:cxn ang="0">
                  <a:pos x="50" y="51"/>
                </a:cxn>
              </a:cxnLst>
              <a:rect l="0" t="0" r="r" b="b"/>
              <a:pathLst>
                <a:path w="106" h="89">
                  <a:moveTo>
                    <a:pt x="50" y="71"/>
                  </a:moveTo>
                  <a:cubicBezTo>
                    <a:pt x="0" y="36"/>
                    <a:pt x="0" y="36"/>
                    <a:pt x="0" y="36"/>
                  </a:cubicBezTo>
                  <a:cubicBezTo>
                    <a:pt x="50" y="0"/>
                    <a:pt x="50" y="0"/>
                    <a:pt x="50" y="0"/>
                  </a:cubicBezTo>
                  <a:cubicBezTo>
                    <a:pt x="50" y="20"/>
                    <a:pt x="50" y="20"/>
                    <a:pt x="50" y="20"/>
                  </a:cubicBezTo>
                  <a:cubicBezTo>
                    <a:pt x="50" y="20"/>
                    <a:pt x="59" y="20"/>
                    <a:pt x="70" y="20"/>
                  </a:cubicBezTo>
                  <a:cubicBezTo>
                    <a:pt x="83" y="20"/>
                    <a:pt x="106" y="31"/>
                    <a:pt x="106" y="53"/>
                  </a:cubicBezTo>
                  <a:cubicBezTo>
                    <a:pt x="106" y="70"/>
                    <a:pt x="92" y="87"/>
                    <a:pt x="85" y="89"/>
                  </a:cubicBezTo>
                  <a:cubicBezTo>
                    <a:pt x="85" y="89"/>
                    <a:pt x="86" y="68"/>
                    <a:pt x="85" y="65"/>
                  </a:cubicBezTo>
                  <a:cubicBezTo>
                    <a:pt x="85" y="62"/>
                    <a:pt x="84" y="51"/>
                    <a:pt x="67" y="51"/>
                  </a:cubicBezTo>
                  <a:cubicBezTo>
                    <a:pt x="50" y="51"/>
                    <a:pt x="50" y="51"/>
                    <a:pt x="50" y="51"/>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80" name="Freeform 357"/>
            <p:cNvSpPr>
              <a:spLocks/>
            </p:cNvSpPr>
            <p:nvPr/>
          </p:nvSpPr>
          <p:spPr bwMode="auto">
            <a:xfrm>
              <a:off x="2097088" y="2160588"/>
              <a:ext cx="238125" cy="203200"/>
            </a:xfrm>
            <a:custGeom>
              <a:avLst/>
              <a:gdLst/>
              <a:ahLst/>
              <a:cxnLst>
                <a:cxn ang="0">
                  <a:pos x="55" y="19"/>
                </a:cxn>
                <a:cxn ang="0">
                  <a:pos x="106" y="54"/>
                </a:cxn>
                <a:cxn ang="0">
                  <a:pos x="56" y="90"/>
                </a:cxn>
                <a:cxn ang="0">
                  <a:pos x="55" y="70"/>
                </a:cxn>
                <a:cxn ang="0">
                  <a:pos x="36" y="70"/>
                </a:cxn>
                <a:cxn ang="0">
                  <a:pos x="0" y="36"/>
                </a:cxn>
                <a:cxn ang="0">
                  <a:pos x="21" y="0"/>
                </a:cxn>
                <a:cxn ang="0">
                  <a:pos x="20" y="25"/>
                </a:cxn>
                <a:cxn ang="0">
                  <a:pos x="39" y="39"/>
                </a:cxn>
                <a:cxn ang="0">
                  <a:pos x="55" y="39"/>
                </a:cxn>
              </a:cxnLst>
              <a:rect l="0" t="0" r="r" b="b"/>
              <a:pathLst>
                <a:path w="106" h="90">
                  <a:moveTo>
                    <a:pt x="55" y="19"/>
                  </a:moveTo>
                  <a:cubicBezTo>
                    <a:pt x="106" y="54"/>
                    <a:pt x="106" y="54"/>
                    <a:pt x="106" y="54"/>
                  </a:cubicBezTo>
                  <a:cubicBezTo>
                    <a:pt x="56" y="90"/>
                    <a:pt x="56" y="90"/>
                    <a:pt x="56" y="90"/>
                  </a:cubicBezTo>
                  <a:cubicBezTo>
                    <a:pt x="55" y="70"/>
                    <a:pt x="55" y="70"/>
                    <a:pt x="55" y="70"/>
                  </a:cubicBezTo>
                  <a:cubicBezTo>
                    <a:pt x="55" y="70"/>
                    <a:pt x="46" y="70"/>
                    <a:pt x="36" y="70"/>
                  </a:cubicBezTo>
                  <a:cubicBezTo>
                    <a:pt x="23" y="69"/>
                    <a:pt x="0" y="59"/>
                    <a:pt x="0" y="36"/>
                  </a:cubicBezTo>
                  <a:cubicBezTo>
                    <a:pt x="0" y="19"/>
                    <a:pt x="14" y="2"/>
                    <a:pt x="21" y="0"/>
                  </a:cubicBezTo>
                  <a:cubicBezTo>
                    <a:pt x="21" y="0"/>
                    <a:pt x="19" y="21"/>
                    <a:pt x="20" y="25"/>
                  </a:cubicBezTo>
                  <a:cubicBezTo>
                    <a:pt x="21" y="27"/>
                    <a:pt x="22" y="38"/>
                    <a:pt x="39" y="39"/>
                  </a:cubicBezTo>
                  <a:cubicBezTo>
                    <a:pt x="55" y="39"/>
                    <a:pt x="55" y="39"/>
                    <a:pt x="55" y="39"/>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spTree>
    <p:extLst>
      <p:ext uri="{BB962C8B-B14F-4D97-AF65-F5344CB8AC3E}">
        <p14:creationId xmlns:p14="http://schemas.microsoft.com/office/powerpoint/2010/main" val="127101856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CX Team</a:t>
            </a:r>
            <a:endParaRPr lang="en-US" dirty="0"/>
          </a:p>
        </p:txBody>
      </p:sp>
      <p:sp>
        <p:nvSpPr>
          <p:cNvPr id="3" name="Text Placeholder 2"/>
          <p:cNvSpPr>
            <a:spLocks noGrp="1"/>
          </p:cNvSpPr>
          <p:nvPr>
            <p:ph type="body" sz="quarter" idx="11"/>
          </p:nvPr>
        </p:nvSpPr>
        <p:spPr>
          <a:xfrm>
            <a:off x="7104955" y="1104900"/>
            <a:ext cx="4247630" cy="555448"/>
          </a:xfrm>
        </p:spPr>
        <p:txBody>
          <a:bodyPr/>
          <a:lstStyle/>
          <a:p>
            <a:r>
              <a:rPr lang="en-US" sz="1800" dirty="0" smtClean="0">
                <a:solidFill>
                  <a:schemeClr val="accent1"/>
                </a:solidFill>
              </a:rPr>
              <a:t>Pankaj Rathor - </a:t>
            </a:r>
            <a:r>
              <a:rPr lang="en-US" sz="1800" i="1" dirty="0" smtClean="0">
                <a:solidFill>
                  <a:schemeClr val="accent1"/>
                </a:solidFill>
              </a:rPr>
              <a:t>Technical Architect</a:t>
            </a:r>
          </a:p>
        </p:txBody>
      </p:sp>
      <p:sp>
        <p:nvSpPr>
          <p:cNvPr id="4" name="Text Placeholder 3"/>
          <p:cNvSpPr>
            <a:spLocks noGrp="1"/>
          </p:cNvSpPr>
          <p:nvPr>
            <p:ph type="body" sz="quarter" idx="12"/>
          </p:nvPr>
        </p:nvSpPr>
        <p:spPr>
          <a:xfrm>
            <a:off x="7104955" y="1941899"/>
            <a:ext cx="4247630" cy="555448"/>
          </a:xfrm>
        </p:spPr>
        <p:txBody>
          <a:bodyPr/>
          <a:lstStyle/>
          <a:p>
            <a:r>
              <a:rPr lang="en-US" sz="1800" dirty="0" smtClean="0">
                <a:solidFill>
                  <a:schemeClr val="accent1"/>
                </a:solidFill>
              </a:rPr>
              <a:t>Vipul Raut </a:t>
            </a:r>
            <a:r>
              <a:rPr lang="mr-IN" sz="1800" dirty="0" smtClean="0">
                <a:solidFill>
                  <a:schemeClr val="accent1"/>
                </a:solidFill>
              </a:rPr>
              <a:t>–</a:t>
            </a:r>
            <a:r>
              <a:rPr lang="en-US" sz="1800" dirty="0" smtClean="0">
                <a:solidFill>
                  <a:schemeClr val="accent1"/>
                </a:solidFill>
              </a:rPr>
              <a:t> </a:t>
            </a:r>
            <a:r>
              <a:rPr lang="en-US" sz="1800" i="1" dirty="0" smtClean="0">
                <a:solidFill>
                  <a:schemeClr val="accent1"/>
                </a:solidFill>
              </a:rPr>
              <a:t>Technical Architect</a:t>
            </a:r>
            <a:endParaRPr lang="en-US" sz="1800" i="1" dirty="0">
              <a:solidFill>
                <a:schemeClr val="accent1"/>
              </a:solidFill>
            </a:endParaRPr>
          </a:p>
        </p:txBody>
      </p:sp>
      <p:sp>
        <p:nvSpPr>
          <p:cNvPr id="5" name="Text Placeholder 4"/>
          <p:cNvSpPr>
            <a:spLocks noGrp="1"/>
          </p:cNvSpPr>
          <p:nvPr>
            <p:ph type="body" sz="quarter" idx="13"/>
          </p:nvPr>
        </p:nvSpPr>
        <p:spPr>
          <a:xfrm>
            <a:off x="7104955" y="2778898"/>
            <a:ext cx="4247630" cy="555448"/>
          </a:xfrm>
        </p:spPr>
        <p:txBody>
          <a:bodyPr/>
          <a:lstStyle/>
          <a:p>
            <a:r>
              <a:rPr lang="en-US" sz="1800" dirty="0" smtClean="0">
                <a:solidFill>
                  <a:schemeClr val="accent1"/>
                </a:solidFill>
              </a:rPr>
              <a:t>Priyanka Mahajan </a:t>
            </a:r>
            <a:r>
              <a:rPr lang="mr-IN" sz="1800" dirty="0" smtClean="0">
                <a:solidFill>
                  <a:schemeClr val="accent1"/>
                </a:solidFill>
              </a:rPr>
              <a:t>–</a:t>
            </a:r>
            <a:r>
              <a:rPr lang="en-US" sz="1800" dirty="0" smtClean="0">
                <a:solidFill>
                  <a:schemeClr val="accent1"/>
                </a:solidFill>
              </a:rPr>
              <a:t> </a:t>
            </a:r>
            <a:r>
              <a:rPr lang="en-US" sz="1800" i="1" dirty="0" smtClean="0">
                <a:solidFill>
                  <a:schemeClr val="accent1"/>
                </a:solidFill>
              </a:rPr>
              <a:t>Lead Hybrid Developer</a:t>
            </a:r>
            <a:endParaRPr lang="en-US" sz="1800" i="1" dirty="0">
              <a:solidFill>
                <a:schemeClr val="accent1"/>
              </a:solidFill>
            </a:endParaRPr>
          </a:p>
        </p:txBody>
      </p:sp>
      <p:sp>
        <p:nvSpPr>
          <p:cNvPr id="6" name="Text Placeholder 5"/>
          <p:cNvSpPr>
            <a:spLocks noGrp="1"/>
          </p:cNvSpPr>
          <p:nvPr>
            <p:ph type="body" sz="quarter" idx="14"/>
          </p:nvPr>
        </p:nvSpPr>
        <p:spPr>
          <a:xfrm>
            <a:off x="7104955" y="3615897"/>
            <a:ext cx="4247630" cy="555448"/>
          </a:xfrm>
        </p:spPr>
        <p:txBody>
          <a:bodyPr/>
          <a:lstStyle/>
          <a:p>
            <a:r>
              <a:rPr lang="en-US" sz="1800" dirty="0" smtClean="0">
                <a:solidFill>
                  <a:schemeClr val="accent1"/>
                </a:solidFill>
              </a:rPr>
              <a:t>Ajay Kandari </a:t>
            </a:r>
            <a:r>
              <a:rPr lang="mr-IN" sz="1800" dirty="0" smtClean="0">
                <a:solidFill>
                  <a:schemeClr val="accent1"/>
                </a:solidFill>
              </a:rPr>
              <a:t>–</a:t>
            </a:r>
            <a:r>
              <a:rPr lang="en-US" sz="1800" dirty="0" smtClean="0">
                <a:solidFill>
                  <a:schemeClr val="accent1"/>
                </a:solidFill>
              </a:rPr>
              <a:t> </a:t>
            </a:r>
            <a:r>
              <a:rPr lang="en-US" sz="1800" i="1" dirty="0" smtClean="0">
                <a:solidFill>
                  <a:schemeClr val="accent1"/>
                </a:solidFill>
              </a:rPr>
              <a:t>Hybrid Developer</a:t>
            </a:r>
            <a:endParaRPr lang="en-US" sz="1800" i="1" dirty="0">
              <a:solidFill>
                <a:schemeClr val="accent1"/>
              </a:solidFill>
            </a:endParaRPr>
          </a:p>
        </p:txBody>
      </p:sp>
      <p:sp>
        <p:nvSpPr>
          <p:cNvPr id="7" name="Text Placeholder 6"/>
          <p:cNvSpPr>
            <a:spLocks noGrp="1"/>
          </p:cNvSpPr>
          <p:nvPr>
            <p:ph type="body" sz="quarter" idx="15"/>
          </p:nvPr>
        </p:nvSpPr>
        <p:spPr>
          <a:xfrm>
            <a:off x="7104955" y="4452895"/>
            <a:ext cx="4247630" cy="555448"/>
          </a:xfrm>
        </p:spPr>
        <p:txBody>
          <a:bodyPr/>
          <a:lstStyle/>
          <a:p>
            <a:r>
              <a:rPr lang="en-US" sz="1800" dirty="0" smtClean="0">
                <a:solidFill>
                  <a:schemeClr val="accent1"/>
                </a:solidFill>
              </a:rPr>
              <a:t>Avijit Sarkar </a:t>
            </a:r>
            <a:r>
              <a:rPr lang="mr-IN" sz="1800" dirty="0" smtClean="0">
                <a:solidFill>
                  <a:schemeClr val="accent1"/>
                </a:solidFill>
              </a:rPr>
              <a:t>–</a:t>
            </a:r>
            <a:r>
              <a:rPr lang="en-US" sz="1800" dirty="0" smtClean="0">
                <a:solidFill>
                  <a:schemeClr val="accent1"/>
                </a:solidFill>
              </a:rPr>
              <a:t> </a:t>
            </a:r>
            <a:r>
              <a:rPr lang="en-US" sz="1800" i="1" dirty="0" smtClean="0">
                <a:solidFill>
                  <a:schemeClr val="accent1"/>
                </a:solidFill>
              </a:rPr>
              <a:t>Hybrid Developer</a:t>
            </a:r>
            <a:endParaRPr lang="en-US" sz="1800" i="1" dirty="0">
              <a:solidFill>
                <a:schemeClr val="accent1"/>
              </a:solidFill>
            </a:endParaRPr>
          </a:p>
        </p:txBody>
      </p:sp>
    </p:spTree>
    <p:extLst>
      <p:ext uri="{BB962C8B-B14F-4D97-AF65-F5344CB8AC3E}">
        <p14:creationId xmlns:p14="http://schemas.microsoft.com/office/powerpoint/2010/main" val="16577962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custDataLst>
              <p:tags r:id="rId2"/>
            </p:custDataLst>
          </p:nvPr>
        </p:nvGraphicFramePr>
        <p:xfrm>
          <a:off x="1144588" y="1589"/>
          <a:ext cx="1587" cy="1587"/>
        </p:xfrm>
        <a:graphic>
          <a:graphicData uri="http://schemas.openxmlformats.org/presentationml/2006/ole">
            <mc:AlternateContent xmlns:mc="http://schemas.openxmlformats.org/markup-compatibility/2006">
              <mc:Choice xmlns:v="urn:schemas-microsoft-com:vml" Requires="v">
                <p:oleObj spid="_x0000_s89176" name="think-cell Slide" r:id="rId5" imgW="216" imgH="216" progId="">
                  <p:embed/>
                </p:oleObj>
              </mc:Choice>
              <mc:Fallback>
                <p:oleObj name="think-cell Slide" r:id="rId5" imgW="216" imgH="216"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4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a:latin typeface="Calibri"/>
                <a:sym typeface="Calibri"/>
              </a:rPr>
              <a:t>...with a strong mobile technology competence</a:t>
            </a:r>
            <a:r>
              <a:rPr lang="en-US" dirty="0" smtClean="0">
                <a:latin typeface="Calibri"/>
                <a:sym typeface="Calibri"/>
              </a:rPr>
              <a:t>...</a:t>
            </a:r>
            <a:endParaRPr lang="en-GB" dirty="0">
              <a:latin typeface="Calibri"/>
              <a:sym typeface="Calibri"/>
            </a:endParaRPr>
          </a:p>
        </p:txBody>
      </p:sp>
      <p:graphicFrame>
        <p:nvGraphicFramePr>
          <p:cNvPr id="79" name="Chart 78"/>
          <p:cNvGraphicFramePr/>
          <p:nvPr>
            <p:extLst>
              <p:ext uri="{D42A27DB-BD31-4B8C-83A1-F6EECF244321}">
                <p14:modId xmlns:p14="http://schemas.microsoft.com/office/powerpoint/2010/main" val="1230660242"/>
              </p:ext>
            </p:extLst>
          </p:nvPr>
        </p:nvGraphicFramePr>
        <p:xfrm>
          <a:off x="1470032" y="1648461"/>
          <a:ext cx="4430485" cy="2400505"/>
        </p:xfrm>
        <a:graphic>
          <a:graphicData uri="http://schemas.openxmlformats.org/drawingml/2006/chart">
            <c:chart xmlns:c="http://schemas.openxmlformats.org/drawingml/2006/chart" xmlns:r="http://schemas.openxmlformats.org/officeDocument/2006/relationships" r:id="rId7"/>
          </a:graphicData>
        </a:graphic>
      </p:graphicFrame>
      <p:grpSp>
        <p:nvGrpSpPr>
          <p:cNvPr id="31" name="Group 30"/>
          <p:cNvGrpSpPr/>
          <p:nvPr/>
        </p:nvGrpSpPr>
        <p:grpSpPr>
          <a:xfrm>
            <a:off x="1447800" y="1092200"/>
            <a:ext cx="4495800" cy="603802"/>
            <a:chOff x="730475" y="2377958"/>
            <a:chExt cx="2448411" cy="603802"/>
          </a:xfrm>
        </p:grpSpPr>
        <p:sp>
          <p:nvSpPr>
            <p:cNvPr id="32" name="Right Brace 31"/>
            <p:cNvSpPr/>
            <p:nvPr/>
          </p:nvSpPr>
          <p:spPr>
            <a:xfrm rot="5400000">
              <a:off x="1817993" y="2050134"/>
              <a:ext cx="273374" cy="1589877"/>
            </a:xfrm>
            <a:prstGeom prst="rightBrace">
              <a:avLst>
                <a:gd name="adj1" fmla="val 33390"/>
                <a:gd name="adj2" fmla="val 50000"/>
              </a:avLst>
            </a:prstGeom>
            <a:solidFill>
              <a:schemeClr val="bg1">
                <a:lumMod val="65000"/>
              </a:schemeClr>
            </a:solidFill>
            <a:ln w="6350" cap="flat" cmpd="sng" algn="ctr">
              <a:noFill/>
              <a:prstDash val="solid"/>
              <a:round/>
              <a:headEnd type="none" w="med" len="med"/>
              <a:tailEnd type="none" w="med" len="med"/>
            </a:ln>
            <a:effectLst/>
          </p:spPr>
          <p:txBody>
            <a:bodyPr rtlCol="0" anchor="ctr"/>
            <a:lstStyle/>
            <a:p>
              <a:pPr algn="ctr"/>
              <a:endParaRPr lang="en-GB" sz="2000" dirty="0">
                <a:latin typeface="Calibri" panose="020F0502020204030204" pitchFamily="34" charset="0"/>
                <a:sym typeface="Calibri"/>
              </a:endParaRPr>
            </a:p>
          </p:txBody>
        </p:sp>
        <p:sp>
          <p:nvSpPr>
            <p:cNvPr id="33" name="Rounded Rectangle 32"/>
            <p:cNvSpPr/>
            <p:nvPr/>
          </p:nvSpPr>
          <p:spPr bwMode="auto">
            <a:xfrm>
              <a:off x="730475" y="2377958"/>
              <a:ext cx="2448411" cy="388928"/>
            </a:xfrm>
            <a:prstGeom prst="roundRect">
              <a:avLst/>
            </a:prstGeom>
            <a:solidFill>
              <a:schemeClr val="accent1"/>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0"/>
                </a:spcBef>
                <a:spcAft>
                  <a:spcPct val="0"/>
                </a:spcAft>
              </a:pPr>
              <a:r>
                <a:rPr lang="en-GB" sz="1400" b="1" dirty="0">
                  <a:solidFill>
                    <a:schemeClr val="bg1"/>
                  </a:solidFill>
                  <a:latin typeface="Calibri"/>
                  <a:cs typeface="Arial" charset="0"/>
                  <a:sym typeface="Calibri"/>
                </a:rPr>
                <a:t>Mobile Global Workforce</a:t>
              </a:r>
            </a:p>
          </p:txBody>
        </p:sp>
      </p:grpSp>
      <p:grpSp>
        <p:nvGrpSpPr>
          <p:cNvPr id="34" name="Group 33"/>
          <p:cNvGrpSpPr/>
          <p:nvPr/>
        </p:nvGrpSpPr>
        <p:grpSpPr>
          <a:xfrm>
            <a:off x="6188076" y="1092200"/>
            <a:ext cx="4495800" cy="603802"/>
            <a:chOff x="730475" y="2377958"/>
            <a:chExt cx="2448411" cy="603802"/>
          </a:xfrm>
        </p:grpSpPr>
        <p:sp>
          <p:nvSpPr>
            <p:cNvPr id="35" name="Right Brace 34"/>
            <p:cNvSpPr/>
            <p:nvPr/>
          </p:nvSpPr>
          <p:spPr>
            <a:xfrm rot="5400000">
              <a:off x="1817993" y="2050134"/>
              <a:ext cx="273374" cy="1589877"/>
            </a:xfrm>
            <a:prstGeom prst="rightBrace">
              <a:avLst>
                <a:gd name="adj1" fmla="val 33390"/>
                <a:gd name="adj2" fmla="val 50000"/>
              </a:avLst>
            </a:prstGeom>
            <a:solidFill>
              <a:schemeClr val="bg1">
                <a:lumMod val="65000"/>
              </a:schemeClr>
            </a:solidFill>
            <a:ln w="6350" cap="flat" cmpd="sng" algn="ctr">
              <a:noFill/>
              <a:prstDash val="solid"/>
              <a:round/>
              <a:headEnd type="none" w="med" len="med"/>
              <a:tailEnd type="none" w="med" len="med"/>
            </a:ln>
            <a:effectLst/>
          </p:spPr>
          <p:txBody>
            <a:bodyPr rtlCol="0" anchor="ctr"/>
            <a:lstStyle/>
            <a:p>
              <a:pPr algn="ctr"/>
              <a:endParaRPr lang="en-GB" sz="2000" dirty="0">
                <a:latin typeface="Calibri" panose="020F0502020204030204" pitchFamily="34" charset="0"/>
                <a:sym typeface="Calibri"/>
              </a:endParaRPr>
            </a:p>
          </p:txBody>
        </p:sp>
        <p:sp>
          <p:nvSpPr>
            <p:cNvPr id="36" name="Rounded Rectangle 35"/>
            <p:cNvSpPr/>
            <p:nvPr/>
          </p:nvSpPr>
          <p:spPr bwMode="auto">
            <a:xfrm>
              <a:off x="730475" y="2377958"/>
              <a:ext cx="2448411" cy="388928"/>
            </a:xfrm>
            <a:prstGeom prst="roundRect">
              <a:avLst/>
            </a:prstGeom>
            <a:solidFill>
              <a:schemeClr val="accent1"/>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1400" b="1" dirty="0">
                  <a:solidFill>
                    <a:schemeClr val="bg1"/>
                  </a:solidFill>
                  <a:latin typeface="Calibri"/>
                  <a:sym typeface="Calibri"/>
                </a:rPr>
                <a:t>Skill distribution of developers</a:t>
              </a:r>
            </a:p>
          </p:txBody>
        </p:sp>
      </p:grpSp>
      <p:sp>
        <p:nvSpPr>
          <p:cNvPr id="37" name="Freeform 760"/>
          <p:cNvSpPr>
            <a:spLocks/>
          </p:cNvSpPr>
          <p:nvPr/>
        </p:nvSpPr>
        <p:spPr bwMode="auto">
          <a:xfrm>
            <a:off x="9798408" y="1157515"/>
            <a:ext cx="366108" cy="227111"/>
          </a:xfrm>
          <a:custGeom>
            <a:avLst/>
            <a:gdLst/>
            <a:ahLst/>
            <a:cxnLst>
              <a:cxn ang="0">
                <a:pos x="107" y="20"/>
              </a:cxn>
              <a:cxn ang="0">
                <a:pos x="0" y="20"/>
              </a:cxn>
              <a:cxn ang="0">
                <a:pos x="0" y="128"/>
              </a:cxn>
              <a:cxn ang="0">
                <a:pos x="107" y="128"/>
              </a:cxn>
              <a:cxn ang="0">
                <a:pos x="107" y="69"/>
              </a:cxn>
              <a:cxn ang="0">
                <a:pos x="206" y="0"/>
              </a:cxn>
              <a:cxn ang="0">
                <a:pos x="57" y="79"/>
              </a:cxn>
              <a:cxn ang="0">
                <a:pos x="28" y="39"/>
              </a:cxn>
              <a:cxn ang="0">
                <a:pos x="18" y="69"/>
              </a:cxn>
              <a:cxn ang="0">
                <a:pos x="48" y="108"/>
              </a:cxn>
              <a:cxn ang="0">
                <a:pos x="67" y="108"/>
              </a:cxn>
              <a:cxn ang="0">
                <a:pos x="92" y="83"/>
              </a:cxn>
            </a:cxnLst>
            <a:rect l="0" t="0" r="r" b="b"/>
            <a:pathLst>
              <a:path w="206" h="128">
                <a:moveTo>
                  <a:pt x="107" y="20"/>
                </a:moveTo>
                <a:cubicBezTo>
                  <a:pt x="0" y="20"/>
                  <a:pt x="0" y="20"/>
                  <a:pt x="0" y="20"/>
                </a:cubicBezTo>
                <a:cubicBezTo>
                  <a:pt x="0" y="56"/>
                  <a:pt x="0" y="92"/>
                  <a:pt x="0" y="128"/>
                </a:cubicBezTo>
                <a:cubicBezTo>
                  <a:pt x="107" y="128"/>
                  <a:pt x="107" y="128"/>
                  <a:pt x="107" y="128"/>
                </a:cubicBezTo>
                <a:cubicBezTo>
                  <a:pt x="107" y="69"/>
                  <a:pt x="107" y="69"/>
                  <a:pt x="107" y="69"/>
                </a:cubicBezTo>
                <a:cubicBezTo>
                  <a:pt x="143" y="30"/>
                  <a:pt x="165" y="19"/>
                  <a:pt x="206" y="0"/>
                </a:cubicBezTo>
                <a:cubicBezTo>
                  <a:pt x="123" y="22"/>
                  <a:pt x="85" y="52"/>
                  <a:pt x="57" y="79"/>
                </a:cubicBezTo>
                <a:cubicBezTo>
                  <a:pt x="52" y="62"/>
                  <a:pt x="45" y="54"/>
                  <a:pt x="28" y="39"/>
                </a:cubicBezTo>
                <a:cubicBezTo>
                  <a:pt x="18" y="69"/>
                  <a:pt x="18" y="69"/>
                  <a:pt x="18" y="69"/>
                </a:cubicBezTo>
                <a:cubicBezTo>
                  <a:pt x="34" y="81"/>
                  <a:pt x="41" y="90"/>
                  <a:pt x="48" y="108"/>
                </a:cubicBezTo>
                <a:cubicBezTo>
                  <a:pt x="67" y="108"/>
                  <a:pt x="67" y="108"/>
                  <a:pt x="67" y="108"/>
                </a:cubicBezTo>
                <a:cubicBezTo>
                  <a:pt x="75" y="99"/>
                  <a:pt x="78" y="94"/>
                  <a:pt x="92" y="83"/>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nvGrpSpPr>
          <p:cNvPr id="38" name="Groupe 388"/>
          <p:cNvGrpSpPr/>
          <p:nvPr/>
        </p:nvGrpSpPr>
        <p:grpSpPr>
          <a:xfrm>
            <a:off x="4909749" y="1117600"/>
            <a:ext cx="284551" cy="317500"/>
            <a:chOff x="2395538" y="4251325"/>
            <a:chExt cx="381000" cy="419100"/>
          </a:xfrm>
        </p:grpSpPr>
        <p:sp>
          <p:nvSpPr>
            <p:cNvPr id="39" name="Freeform 628"/>
            <p:cNvSpPr>
              <a:spLocks noEditPoints="1"/>
            </p:cNvSpPr>
            <p:nvPr/>
          </p:nvSpPr>
          <p:spPr bwMode="auto">
            <a:xfrm>
              <a:off x="2395538" y="4251325"/>
              <a:ext cx="381000" cy="419100"/>
            </a:xfrm>
            <a:custGeom>
              <a:avLst/>
              <a:gdLst/>
              <a:ahLst/>
              <a:cxnLst>
                <a:cxn ang="0">
                  <a:pos x="151" y="42"/>
                </a:cxn>
                <a:cxn ang="0">
                  <a:pos x="96" y="42"/>
                </a:cxn>
                <a:cxn ang="0">
                  <a:pos x="103" y="30"/>
                </a:cxn>
                <a:cxn ang="0">
                  <a:pos x="84" y="27"/>
                </a:cxn>
                <a:cxn ang="0">
                  <a:pos x="19" y="92"/>
                </a:cxn>
                <a:cxn ang="0">
                  <a:pos x="36" y="135"/>
                </a:cxn>
                <a:cxn ang="0">
                  <a:pos x="12" y="135"/>
                </a:cxn>
                <a:cxn ang="0">
                  <a:pos x="0" y="92"/>
                </a:cxn>
                <a:cxn ang="0">
                  <a:pos x="84" y="8"/>
                </a:cxn>
                <a:cxn ang="0">
                  <a:pos x="113" y="13"/>
                </a:cxn>
                <a:cxn ang="0">
                  <a:pos x="120" y="0"/>
                </a:cxn>
                <a:cxn ang="0">
                  <a:pos x="151" y="42"/>
                </a:cxn>
                <a:cxn ang="0">
                  <a:pos x="64" y="153"/>
                </a:cxn>
                <a:cxn ang="0">
                  <a:pos x="84" y="156"/>
                </a:cxn>
                <a:cxn ang="0">
                  <a:pos x="149" y="92"/>
                </a:cxn>
                <a:cxn ang="0">
                  <a:pos x="132" y="48"/>
                </a:cxn>
                <a:cxn ang="0">
                  <a:pos x="156" y="48"/>
                </a:cxn>
                <a:cxn ang="0">
                  <a:pos x="168" y="92"/>
                </a:cxn>
                <a:cxn ang="0">
                  <a:pos x="84" y="176"/>
                </a:cxn>
                <a:cxn ang="0">
                  <a:pos x="54" y="170"/>
                </a:cxn>
                <a:cxn ang="0">
                  <a:pos x="47" y="183"/>
                </a:cxn>
                <a:cxn ang="0">
                  <a:pos x="16" y="141"/>
                </a:cxn>
                <a:cxn ang="0">
                  <a:pos x="71" y="142"/>
                </a:cxn>
                <a:cxn ang="0">
                  <a:pos x="64" y="153"/>
                </a:cxn>
              </a:cxnLst>
              <a:rect l="0" t="0" r="r" b="b"/>
              <a:pathLst>
                <a:path w="168" h="183">
                  <a:moveTo>
                    <a:pt x="151" y="42"/>
                  </a:moveTo>
                  <a:cubicBezTo>
                    <a:pt x="96" y="42"/>
                    <a:pt x="96" y="42"/>
                    <a:pt x="96" y="42"/>
                  </a:cubicBezTo>
                  <a:cubicBezTo>
                    <a:pt x="103" y="30"/>
                    <a:pt x="103" y="30"/>
                    <a:pt x="103" y="30"/>
                  </a:cubicBezTo>
                  <a:cubicBezTo>
                    <a:pt x="97" y="28"/>
                    <a:pt x="90" y="27"/>
                    <a:pt x="84" y="27"/>
                  </a:cubicBezTo>
                  <a:cubicBezTo>
                    <a:pt x="48" y="27"/>
                    <a:pt x="19" y="56"/>
                    <a:pt x="19" y="92"/>
                  </a:cubicBezTo>
                  <a:cubicBezTo>
                    <a:pt x="19" y="108"/>
                    <a:pt x="25" y="124"/>
                    <a:pt x="36" y="135"/>
                  </a:cubicBezTo>
                  <a:cubicBezTo>
                    <a:pt x="12" y="135"/>
                    <a:pt x="12" y="135"/>
                    <a:pt x="12" y="135"/>
                  </a:cubicBezTo>
                  <a:cubicBezTo>
                    <a:pt x="4" y="123"/>
                    <a:pt x="0" y="108"/>
                    <a:pt x="0" y="92"/>
                  </a:cubicBezTo>
                  <a:cubicBezTo>
                    <a:pt x="0" y="45"/>
                    <a:pt x="37" y="8"/>
                    <a:pt x="84" y="8"/>
                  </a:cubicBezTo>
                  <a:cubicBezTo>
                    <a:pt x="94" y="8"/>
                    <a:pt x="104" y="9"/>
                    <a:pt x="113" y="13"/>
                  </a:cubicBezTo>
                  <a:cubicBezTo>
                    <a:pt x="120" y="0"/>
                    <a:pt x="120" y="0"/>
                    <a:pt x="120" y="0"/>
                  </a:cubicBezTo>
                  <a:cubicBezTo>
                    <a:pt x="151" y="42"/>
                    <a:pt x="151" y="42"/>
                    <a:pt x="151" y="42"/>
                  </a:cubicBezTo>
                  <a:close/>
                  <a:moveTo>
                    <a:pt x="64" y="153"/>
                  </a:moveTo>
                  <a:cubicBezTo>
                    <a:pt x="70" y="155"/>
                    <a:pt x="77" y="156"/>
                    <a:pt x="84" y="156"/>
                  </a:cubicBezTo>
                  <a:cubicBezTo>
                    <a:pt x="120" y="156"/>
                    <a:pt x="149" y="127"/>
                    <a:pt x="149" y="92"/>
                  </a:cubicBezTo>
                  <a:cubicBezTo>
                    <a:pt x="149" y="75"/>
                    <a:pt x="142" y="59"/>
                    <a:pt x="132" y="48"/>
                  </a:cubicBezTo>
                  <a:cubicBezTo>
                    <a:pt x="156" y="48"/>
                    <a:pt x="156" y="48"/>
                    <a:pt x="156" y="48"/>
                  </a:cubicBezTo>
                  <a:cubicBezTo>
                    <a:pt x="163" y="61"/>
                    <a:pt x="168" y="76"/>
                    <a:pt x="168" y="92"/>
                  </a:cubicBezTo>
                  <a:cubicBezTo>
                    <a:pt x="168" y="138"/>
                    <a:pt x="130" y="176"/>
                    <a:pt x="84" y="176"/>
                  </a:cubicBezTo>
                  <a:cubicBezTo>
                    <a:pt x="73" y="176"/>
                    <a:pt x="64" y="174"/>
                    <a:pt x="54" y="170"/>
                  </a:cubicBezTo>
                  <a:cubicBezTo>
                    <a:pt x="47" y="183"/>
                    <a:pt x="47" y="183"/>
                    <a:pt x="47" y="183"/>
                  </a:cubicBezTo>
                  <a:cubicBezTo>
                    <a:pt x="16" y="141"/>
                    <a:pt x="16" y="141"/>
                    <a:pt x="16" y="141"/>
                  </a:cubicBezTo>
                  <a:cubicBezTo>
                    <a:pt x="71" y="142"/>
                    <a:pt x="71" y="142"/>
                    <a:pt x="71" y="142"/>
                  </a:cubicBezTo>
                  <a:cubicBezTo>
                    <a:pt x="64" y="153"/>
                    <a:pt x="64" y="153"/>
                    <a:pt x="64" y="153"/>
                  </a:cubicBezTo>
                  <a:close/>
                </a:path>
              </a:pathLst>
            </a:custGeom>
            <a:noFill/>
            <a:ln w="952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40" name="Freeform 629"/>
            <p:cNvSpPr>
              <a:spLocks noEditPoints="1"/>
            </p:cNvSpPr>
            <p:nvPr/>
          </p:nvSpPr>
          <p:spPr bwMode="auto">
            <a:xfrm>
              <a:off x="2492375" y="4368800"/>
              <a:ext cx="184150" cy="185737"/>
            </a:xfrm>
            <a:custGeom>
              <a:avLst/>
              <a:gdLst/>
              <a:ahLst/>
              <a:cxnLst>
                <a:cxn ang="0">
                  <a:pos x="41" y="81"/>
                </a:cxn>
                <a:cxn ang="0">
                  <a:pos x="41" y="0"/>
                </a:cxn>
                <a:cxn ang="0">
                  <a:pos x="0" y="41"/>
                </a:cxn>
                <a:cxn ang="0">
                  <a:pos x="81" y="41"/>
                </a:cxn>
                <a:cxn ang="0">
                  <a:pos x="63" y="41"/>
                </a:cxn>
                <a:cxn ang="0">
                  <a:pos x="41" y="81"/>
                </a:cxn>
                <a:cxn ang="0">
                  <a:pos x="19" y="41"/>
                </a:cxn>
                <a:cxn ang="0">
                  <a:pos x="41" y="0"/>
                </a:cxn>
                <a:cxn ang="0">
                  <a:pos x="63" y="41"/>
                </a:cxn>
                <a:cxn ang="0">
                  <a:pos x="72" y="67"/>
                </a:cxn>
                <a:cxn ang="0">
                  <a:pos x="41" y="60"/>
                </a:cxn>
                <a:cxn ang="0">
                  <a:pos x="10" y="67"/>
                </a:cxn>
                <a:cxn ang="0">
                  <a:pos x="10" y="14"/>
                </a:cxn>
                <a:cxn ang="0">
                  <a:pos x="41" y="21"/>
                </a:cxn>
                <a:cxn ang="0">
                  <a:pos x="72" y="14"/>
                </a:cxn>
                <a:cxn ang="0">
                  <a:pos x="10" y="14"/>
                </a:cxn>
                <a:cxn ang="0">
                  <a:pos x="41" y="0"/>
                </a:cxn>
                <a:cxn ang="0">
                  <a:pos x="72" y="14"/>
                </a:cxn>
                <a:cxn ang="0">
                  <a:pos x="10" y="14"/>
                </a:cxn>
                <a:cxn ang="0">
                  <a:pos x="0" y="41"/>
                </a:cxn>
                <a:cxn ang="0">
                  <a:pos x="41" y="81"/>
                </a:cxn>
                <a:cxn ang="0">
                  <a:pos x="60" y="76"/>
                </a:cxn>
                <a:cxn ang="0">
                  <a:pos x="72" y="67"/>
                </a:cxn>
                <a:cxn ang="0">
                  <a:pos x="81" y="41"/>
                </a:cxn>
                <a:cxn ang="0">
                  <a:pos x="72" y="14"/>
                </a:cxn>
              </a:cxnLst>
              <a:rect l="0" t="0" r="r" b="b"/>
              <a:pathLst>
                <a:path w="81" h="81">
                  <a:moveTo>
                    <a:pt x="41" y="81"/>
                  </a:moveTo>
                  <a:cubicBezTo>
                    <a:pt x="41" y="0"/>
                    <a:pt x="41" y="0"/>
                    <a:pt x="41" y="0"/>
                  </a:cubicBezTo>
                  <a:moveTo>
                    <a:pt x="0" y="41"/>
                  </a:moveTo>
                  <a:cubicBezTo>
                    <a:pt x="81" y="41"/>
                    <a:pt x="81" y="41"/>
                    <a:pt x="81" y="41"/>
                  </a:cubicBezTo>
                  <a:moveTo>
                    <a:pt x="63" y="41"/>
                  </a:moveTo>
                  <a:cubicBezTo>
                    <a:pt x="63" y="63"/>
                    <a:pt x="53" y="81"/>
                    <a:pt x="41" y="81"/>
                  </a:cubicBezTo>
                  <a:cubicBezTo>
                    <a:pt x="29" y="81"/>
                    <a:pt x="19" y="63"/>
                    <a:pt x="19" y="41"/>
                  </a:cubicBezTo>
                  <a:cubicBezTo>
                    <a:pt x="19" y="18"/>
                    <a:pt x="29" y="0"/>
                    <a:pt x="41" y="0"/>
                  </a:cubicBezTo>
                  <a:cubicBezTo>
                    <a:pt x="53" y="0"/>
                    <a:pt x="63" y="18"/>
                    <a:pt x="63" y="41"/>
                  </a:cubicBezTo>
                  <a:close/>
                  <a:moveTo>
                    <a:pt x="72" y="67"/>
                  </a:moveTo>
                  <a:cubicBezTo>
                    <a:pt x="64" y="62"/>
                    <a:pt x="53" y="60"/>
                    <a:pt x="41" y="60"/>
                  </a:cubicBezTo>
                  <a:cubicBezTo>
                    <a:pt x="28" y="60"/>
                    <a:pt x="17" y="62"/>
                    <a:pt x="10" y="67"/>
                  </a:cubicBezTo>
                  <a:moveTo>
                    <a:pt x="10" y="14"/>
                  </a:moveTo>
                  <a:cubicBezTo>
                    <a:pt x="17" y="19"/>
                    <a:pt x="28" y="21"/>
                    <a:pt x="41" y="21"/>
                  </a:cubicBezTo>
                  <a:cubicBezTo>
                    <a:pt x="53" y="21"/>
                    <a:pt x="64" y="19"/>
                    <a:pt x="72" y="14"/>
                  </a:cubicBezTo>
                  <a:moveTo>
                    <a:pt x="10" y="14"/>
                  </a:moveTo>
                  <a:cubicBezTo>
                    <a:pt x="17" y="6"/>
                    <a:pt x="28" y="0"/>
                    <a:pt x="41" y="0"/>
                  </a:cubicBezTo>
                  <a:cubicBezTo>
                    <a:pt x="53" y="0"/>
                    <a:pt x="64" y="5"/>
                    <a:pt x="72" y="14"/>
                  </a:cubicBezTo>
                  <a:moveTo>
                    <a:pt x="10" y="14"/>
                  </a:moveTo>
                  <a:cubicBezTo>
                    <a:pt x="4" y="22"/>
                    <a:pt x="0" y="31"/>
                    <a:pt x="0" y="41"/>
                  </a:cubicBezTo>
                  <a:cubicBezTo>
                    <a:pt x="0" y="63"/>
                    <a:pt x="18" y="81"/>
                    <a:pt x="41" y="81"/>
                  </a:cubicBezTo>
                  <a:moveTo>
                    <a:pt x="60" y="76"/>
                  </a:moveTo>
                  <a:cubicBezTo>
                    <a:pt x="65" y="74"/>
                    <a:pt x="69" y="71"/>
                    <a:pt x="72" y="67"/>
                  </a:cubicBezTo>
                  <a:cubicBezTo>
                    <a:pt x="78" y="60"/>
                    <a:pt x="81" y="51"/>
                    <a:pt x="81" y="41"/>
                  </a:cubicBezTo>
                  <a:cubicBezTo>
                    <a:pt x="81" y="31"/>
                    <a:pt x="78" y="21"/>
                    <a:pt x="72" y="14"/>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sp>
        <p:nvSpPr>
          <p:cNvPr id="47" name="TextBox 46"/>
          <p:cNvSpPr txBox="1"/>
          <p:nvPr/>
        </p:nvSpPr>
        <p:spPr>
          <a:xfrm>
            <a:off x="4699927" y="3789838"/>
            <a:ext cx="2217274" cy="369332"/>
          </a:xfrm>
          <a:prstGeom prst="rect">
            <a:avLst/>
          </a:prstGeom>
          <a:noFill/>
        </p:spPr>
        <p:txBody>
          <a:bodyPr wrap="none" rtlCol="0">
            <a:spAutoFit/>
          </a:bodyPr>
          <a:lstStyle/>
          <a:p>
            <a:r>
              <a:rPr lang="en-US" b="1" dirty="0"/>
              <a:t>4000+ strong team</a:t>
            </a:r>
          </a:p>
        </p:txBody>
      </p:sp>
      <p:sp>
        <p:nvSpPr>
          <p:cNvPr id="57" name="Espace réservé du contenu 2"/>
          <p:cNvSpPr txBox="1">
            <a:spLocks/>
          </p:cNvSpPr>
          <p:nvPr/>
        </p:nvSpPr>
        <p:spPr>
          <a:xfrm>
            <a:off x="2311405" y="4512732"/>
            <a:ext cx="1386412" cy="1498598"/>
          </a:xfrm>
          <a:prstGeom prst="rect">
            <a:avLst/>
          </a:prstGeom>
          <a:solidFill>
            <a:schemeClr val="bg1"/>
          </a:solidFill>
          <a:ln w="9525">
            <a:noFill/>
          </a:ln>
          <a:effectLst/>
        </p:spPr>
        <p:txBody>
          <a:bodyPr vert="horz" lIns="0" tIns="91440" rIns="45720" bIns="72000" rtlCol="0">
            <a:noAutofit/>
          </a:bodyPr>
          <a:lstStyle>
            <a:defPPr>
              <a:defRPr lang="en-US"/>
            </a:defPPr>
            <a:lvl1pPr marL="166189" indent="-166189" defTabSz="914342">
              <a:lnSpc>
                <a:spcPct val="100000"/>
              </a:lnSpc>
              <a:spcBef>
                <a:spcPts val="0"/>
              </a:spcBef>
              <a:spcAft>
                <a:spcPts val="0"/>
              </a:spcAft>
              <a:buClr>
                <a:schemeClr val="accent1"/>
              </a:buClr>
              <a:buFont typeface="Wingdings" pitchFamily="2" charset="2"/>
              <a:buChar char="§"/>
              <a:defRPr sz="900" b="0"/>
            </a:lvl1pPr>
            <a:lvl2pPr marL="355600" indent="-180975" defTabSz="914342">
              <a:lnSpc>
                <a:spcPct val="90000"/>
              </a:lnSpc>
              <a:spcBef>
                <a:spcPts val="0"/>
              </a:spcBef>
              <a:spcAft>
                <a:spcPts val="600"/>
              </a:spcAft>
              <a:buClr>
                <a:schemeClr val="accent3"/>
              </a:buClr>
              <a:buFont typeface="Wingdings" pitchFamily="2" charset="2"/>
              <a:buChar char="§"/>
              <a:defRPr>
                <a:solidFill>
                  <a:schemeClr val="tx2">
                    <a:lumMod val="50000"/>
                  </a:schemeClr>
                </a:solidFill>
              </a:defRPr>
            </a:lvl2pPr>
            <a:lvl3pPr marL="536575" indent="-165100" defTabSz="914342">
              <a:lnSpc>
                <a:spcPct val="90000"/>
              </a:lnSpc>
              <a:spcBef>
                <a:spcPts val="0"/>
              </a:spcBef>
              <a:spcAft>
                <a:spcPts val="600"/>
              </a:spcAft>
              <a:buClr>
                <a:schemeClr val="accent2"/>
              </a:buClr>
              <a:buFont typeface="Arial" pitchFamily="34" charset="0"/>
              <a:buChar char="•"/>
              <a:tabLst/>
              <a:defRPr sz="1600">
                <a:solidFill>
                  <a:schemeClr val="tx2">
                    <a:lumMod val="50000"/>
                  </a:schemeClr>
                </a:solidFill>
              </a:defRPr>
            </a:lvl3pPr>
            <a:lvl4pPr marL="711200" indent="-165100" defTabSz="914342">
              <a:lnSpc>
                <a:spcPct val="90000"/>
              </a:lnSpc>
              <a:spcBef>
                <a:spcPts val="0"/>
              </a:spcBef>
              <a:spcAft>
                <a:spcPts val="600"/>
              </a:spcAft>
              <a:buClr>
                <a:schemeClr val="bg2"/>
              </a:buClr>
              <a:buFont typeface="Arial" pitchFamily="34" charset="0"/>
              <a:buChar char="–"/>
              <a:tabLst/>
              <a:defRPr sz="1400">
                <a:solidFill>
                  <a:schemeClr val="tx2">
                    <a:lumMod val="50000"/>
                  </a:schemeClr>
                </a:solidFill>
              </a:defRPr>
            </a:lvl4pPr>
            <a:lvl5pPr marL="1609624" indent="-193663" defTabSz="914342">
              <a:spcBef>
                <a:spcPts val="0"/>
              </a:spcBef>
              <a:buClr>
                <a:srgbClr val="B1B1B1"/>
              </a:buClr>
              <a:buFont typeface="Arial" pitchFamily="34" charset="0"/>
              <a:buNone/>
              <a:defRPr sz="1700">
                <a:solidFill>
                  <a:srgbClr val="494949"/>
                </a:solidFill>
              </a:defRPr>
            </a:lvl5pPr>
            <a:lvl6pPr marL="2514441" indent="-228586" defTabSz="914342">
              <a:spcBef>
                <a:spcPct val="20000"/>
              </a:spcBef>
              <a:buFont typeface="Arial" pitchFamily="34" charset="0"/>
              <a:buChar char="•"/>
              <a:defRPr sz="2000"/>
            </a:lvl6pPr>
            <a:lvl7pPr marL="2971612" indent="-228586" defTabSz="914342">
              <a:spcBef>
                <a:spcPct val="20000"/>
              </a:spcBef>
              <a:buFont typeface="Arial" pitchFamily="34" charset="0"/>
              <a:buChar char="•"/>
              <a:defRPr sz="2000"/>
            </a:lvl7pPr>
            <a:lvl8pPr marL="3428783" indent="-228586" defTabSz="914342">
              <a:spcBef>
                <a:spcPct val="20000"/>
              </a:spcBef>
              <a:buFont typeface="Arial" pitchFamily="34" charset="0"/>
              <a:buChar char="•"/>
              <a:defRPr sz="2000"/>
            </a:lvl8pPr>
            <a:lvl9pPr marL="3885954" indent="-228586" defTabSz="914342">
              <a:spcBef>
                <a:spcPct val="20000"/>
              </a:spcBef>
              <a:buFont typeface="Arial" pitchFamily="34" charset="0"/>
              <a:buChar char="•"/>
              <a:defRPr sz="2000"/>
            </a:lvl9pPr>
          </a:lstStyle>
          <a:p>
            <a:pPr marL="112713" indent="-112713"/>
            <a:r>
              <a:rPr lang="en-GB" dirty="0">
                <a:solidFill>
                  <a:schemeClr val="tx2"/>
                </a:solidFill>
                <a:sym typeface="Calibri"/>
              </a:rPr>
              <a:t>European retailer</a:t>
            </a:r>
          </a:p>
          <a:p>
            <a:pPr marL="112713" indent="-112713"/>
            <a:r>
              <a:rPr lang="en-GB" dirty="0">
                <a:solidFill>
                  <a:schemeClr val="tx2"/>
                </a:solidFill>
                <a:sym typeface="Calibri"/>
              </a:rPr>
              <a:t>Swedish Engineering Co.</a:t>
            </a:r>
          </a:p>
          <a:p>
            <a:pPr marL="112713" indent="-112713"/>
            <a:r>
              <a:rPr lang="en-GB" dirty="0">
                <a:solidFill>
                  <a:schemeClr val="tx2"/>
                </a:solidFill>
                <a:sym typeface="Calibri"/>
              </a:rPr>
              <a:t>Media Co.</a:t>
            </a:r>
          </a:p>
          <a:p>
            <a:pPr marL="112713" indent="-112713"/>
            <a:r>
              <a:rPr lang="en-GB" dirty="0">
                <a:solidFill>
                  <a:schemeClr val="tx2"/>
                </a:solidFill>
                <a:sym typeface="Calibri"/>
              </a:rPr>
              <a:t>Indian Conglomerate</a:t>
            </a:r>
          </a:p>
          <a:p>
            <a:pPr marL="112713" indent="-112713"/>
            <a:r>
              <a:rPr lang="en-GB" dirty="0">
                <a:solidFill>
                  <a:schemeClr val="tx2"/>
                </a:solidFill>
                <a:sym typeface="Calibri"/>
              </a:rPr>
              <a:t>Medial device manufacturing</a:t>
            </a:r>
          </a:p>
          <a:p>
            <a:pPr marL="112713" indent="-112713"/>
            <a:r>
              <a:rPr lang="en-GB" dirty="0">
                <a:solidFill>
                  <a:schemeClr val="tx2"/>
                </a:solidFill>
                <a:sym typeface="Calibri"/>
              </a:rPr>
              <a:t>Insurance Co.</a:t>
            </a:r>
          </a:p>
          <a:p>
            <a:pPr marL="112713" indent="-112713"/>
            <a:endParaRPr lang="en-GB" dirty="0">
              <a:solidFill>
                <a:schemeClr val="tx2"/>
              </a:solidFill>
            </a:endParaRPr>
          </a:p>
        </p:txBody>
      </p:sp>
      <p:sp>
        <p:nvSpPr>
          <p:cNvPr id="58" name="Round Same Side Corner Rectangle 57"/>
          <p:cNvSpPr>
            <a:spLocks/>
          </p:cNvSpPr>
          <p:nvPr/>
        </p:nvSpPr>
        <p:spPr>
          <a:xfrm>
            <a:off x="2279060" y="4183983"/>
            <a:ext cx="1247526" cy="337457"/>
          </a:xfrm>
          <a:prstGeom prst="round2SameRect">
            <a:avLst>
              <a:gd name="adj1" fmla="val 25374"/>
              <a:gd name="adj2" fmla="val 0"/>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GB" sz="1100" b="1" dirty="0">
                <a:solidFill>
                  <a:schemeClr val="tx1"/>
                </a:solidFill>
                <a:sym typeface="Calibri"/>
              </a:rPr>
              <a:t>Android</a:t>
            </a:r>
          </a:p>
        </p:txBody>
      </p:sp>
      <p:sp>
        <p:nvSpPr>
          <p:cNvPr id="60" name="Espace réservé du contenu 2"/>
          <p:cNvSpPr txBox="1">
            <a:spLocks/>
          </p:cNvSpPr>
          <p:nvPr/>
        </p:nvSpPr>
        <p:spPr>
          <a:xfrm>
            <a:off x="670907" y="4548282"/>
            <a:ext cx="1386412" cy="1498598"/>
          </a:xfrm>
          <a:prstGeom prst="rect">
            <a:avLst/>
          </a:prstGeom>
          <a:solidFill>
            <a:schemeClr val="bg1"/>
          </a:solidFill>
          <a:ln w="9525">
            <a:noFill/>
          </a:ln>
          <a:effectLst/>
        </p:spPr>
        <p:txBody>
          <a:bodyPr vert="horz" lIns="0" tIns="91440" rIns="45720" bIns="72000" rtlCol="0">
            <a:noAutofit/>
          </a:bodyPr>
          <a:lstStyle>
            <a:defPPr>
              <a:defRPr lang="en-US"/>
            </a:defPPr>
            <a:lvl1pPr marL="166189" indent="-166189" defTabSz="914342">
              <a:lnSpc>
                <a:spcPct val="100000"/>
              </a:lnSpc>
              <a:spcBef>
                <a:spcPts val="0"/>
              </a:spcBef>
              <a:spcAft>
                <a:spcPts val="0"/>
              </a:spcAft>
              <a:buClr>
                <a:schemeClr val="accent1"/>
              </a:buClr>
              <a:buFont typeface="Wingdings" pitchFamily="2" charset="2"/>
              <a:buChar char="§"/>
              <a:defRPr sz="900" b="0"/>
            </a:lvl1pPr>
            <a:lvl2pPr marL="355600" indent="-180975" defTabSz="914342">
              <a:lnSpc>
                <a:spcPct val="90000"/>
              </a:lnSpc>
              <a:spcBef>
                <a:spcPts val="0"/>
              </a:spcBef>
              <a:spcAft>
                <a:spcPts val="600"/>
              </a:spcAft>
              <a:buClr>
                <a:schemeClr val="accent3"/>
              </a:buClr>
              <a:buFont typeface="Wingdings" pitchFamily="2" charset="2"/>
              <a:buChar char="§"/>
              <a:defRPr>
                <a:solidFill>
                  <a:schemeClr val="tx2">
                    <a:lumMod val="50000"/>
                  </a:schemeClr>
                </a:solidFill>
              </a:defRPr>
            </a:lvl2pPr>
            <a:lvl3pPr marL="536575" indent="-165100" defTabSz="914342">
              <a:lnSpc>
                <a:spcPct val="90000"/>
              </a:lnSpc>
              <a:spcBef>
                <a:spcPts val="0"/>
              </a:spcBef>
              <a:spcAft>
                <a:spcPts val="600"/>
              </a:spcAft>
              <a:buClr>
                <a:schemeClr val="accent2"/>
              </a:buClr>
              <a:buFont typeface="Arial" pitchFamily="34" charset="0"/>
              <a:buChar char="•"/>
              <a:tabLst/>
              <a:defRPr sz="1600">
                <a:solidFill>
                  <a:schemeClr val="tx2">
                    <a:lumMod val="50000"/>
                  </a:schemeClr>
                </a:solidFill>
              </a:defRPr>
            </a:lvl3pPr>
            <a:lvl4pPr marL="711200" indent="-165100" defTabSz="914342">
              <a:lnSpc>
                <a:spcPct val="90000"/>
              </a:lnSpc>
              <a:spcBef>
                <a:spcPts val="0"/>
              </a:spcBef>
              <a:spcAft>
                <a:spcPts val="600"/>
              </a:spcAft>
              <a:buClr>
                <a:schemeClr val="bg2"/>
              </a:buClr>
              <a:buFont typeface="Arial" pitchFamily="34" charset="0"/>
              <a:buChar char="–"/>
              <a:tabLst/>
              <a:defRPr sz="1400">
                <a:solidFill>
                  <a:schemeClr val="tx2">
                    <a:lumMod val="50000"/>
                  </a:schemeClr>
                </a:solidFill>
              </a:defRPr>
            </a:lvl4pPr>
            <a:lvl5pPr marL="1609624" indent="-193663" defTabSz="914342">
              <a:spcBef>
                <a:spcPts val="0"/>
              </a:spcBef>
              <a:buClr>
                <a:srgbClr val="B1B1B1"/>
              </a:buClr>
              <a:buFont typeface="Arial" pitchFamily="34" charset="0"/>
              <a:buNone/>
              <a:defRPr sz="1700">
                <a:solidFill>
                  <a:srgbClr val="494949"/>
                </a:solidFill>
              </a:defRPr>
            </a:lvl5pPr>
            <a:lvl6pPr marL="2514441" indent="-228586" defTabSz="914342">
              <a:spcBef>
                <a:spcPct val="20000"/>
              </a:spcBef>
              <a:buFont typeface="Arial" pitchFamily="34" charset="0"/>
              <a:buChar char="•"/>
              <a:defRPr sz="2000"/>
            </a:lvl6pPr>
            <a:lvl7pPr marL="2971612" indent="-228586" defTabSz="914342">
              <a:spcBef>
                <a:spcPct val="20000"/>
              </a:spcBef>
              <a:buFont typeface="Arial" pitchFamily="34" charset="0"/>
              <a:buChar char="•"/>
              <a:defRPr sz="2000"/>
            </a:lvl7pPr>
            <a:lvl8pPr marL="3428783" indent="-228586" defTabSz="914342">
              <a:spcBef>
                <a:spcPct val="20000"/>
              </a:spcBef>
              <a:buFont typeface="Arial" pitchFamily="34" charset="0"/>
              <a:buChar char="•"/>
              <a:defRPr sz="2000"/>
            </a:lvl8pPr>
            <a:lvl9pPr marL="3885954" indent="-228586" defTabSz="914342">
              <a:spcBef>
                <a:spcPct val="20000"/>
              </a:spcBef>
              <a:buFont typeface="Arial" pitchFamily="34" charset="0"/>
              <a:buChar char="•"/>
              <a:defRPr sz="2000"/>
            </a:lvl9pPr>
          </a:lstStyle>
          <a:p>
            <a:pPr marL="112713" indent="-112713"/>
            <a:r>
              <a:rPr lang="en-GB" dirty="0">
                <a:solidFill>
                  <a:schemeClr val="tx2"/>
                </a:solidFill>
                <a:sym typeface="Calibri"/>
              </a:rPr>
              <a:t>Global F&amp;B Co.</a:t>
            </a:r>
          </a:p>
          <a:p>
            <a:pPr marL="112713" indent="-112713"/>
            <a:r>
              <a:rPr lang="en-GB" dirty="0">
                <a:solidFill>
                  <a:schemeClr val="tx2"/>
                </a:solidFill>
                <a:sym typeface="Calibri"/>
              </a:rPr>
              <a:t>Global CPG Co.</a:t>
            </a:r>
          </a:p>
          <a:p>
            <a:pPr marL="112713" indent="-112713"/>
            <a:r>
              <a:rPr lang="en-GB" dirty="0">
                <a:solidFill>
                  <a:schemeClr val="tx2"/>
                </a:solidFill>
                <a:sym typeface="Calibri"/>
              </a:rPr>
              <a:t>USA healthcare Co.</a:t>
            </a:r>
          </a:p>
          <a:p>
            <a:pPr marL="112713" indent="-112713"/>
            <a:r>
              <a:rPr lang="en-GB" dirty="0">
                <a:solidFill>
                  <a:schemeClr val="tx2"/>
                </a:solidFill>
                <a:sym typeface="Calibri"/>
              </a:rPr>
              <a:t>Pharma Co.</a:t>
            </a:r>
          </a:p>
          <a:p>
            <a:pPr marL="112713" indent="-112713"/>
            <a:r>
              <a:rPr lang="en-GB" dirty="0">
                <a:solidFill>
                  <a:schemeClr val="tx2"/>
                </a:solidFill>
                <a:sym typeface="Calibri"/>
              </a:rPr>
              <a:t>Shoe retailer</a:t>
            </a:r>
          </a:p>
          <a:p>
            <a:pPr marL="112713" indent="-112713"/>
            <a:r>
              <a:rPr lang="en-GB" dirty="0">
                <a:solidFill>
                  <a:schemeClr val="tx2"/>
                </a:solidFill>
                <a:sym typeface="Calibri"/>
              </a:rPr>
              <a:t>European retailer</a:t>
            </a:r>
          </a:p>
          <a:p>
            <a:pPr marL="112713" indent="-112713"/>
            <a:r>
              <a:rPr lang="en-GB" dirty="0">
                <a:solidFill>
                  <a:schemeClr val="tx2"/>
                </a:solidFill>
                <a:sym typeface="Calibri"/>
              </a:rPr>
              <a:t>Medical Device mfg</a:t>
            </a:r>
          </a:p>
        </p:txBody>
      </p:sp>
      <p:sp>
        <p:nvSpPr>
          <p:cNvPr id="61" name="Round Same Side Corner Rectangle 60"/>
          <p:cNvSpPr>
            <a:spLocks/>
          </p:cNvSpPr>
          <p:nvPr/>
        </p:nvSpPr>
        <p:spPr>
          <a:xfrm>
            <a:off x="637556" y="4183983"/>
            <a:ext cx="1247526" cy="337457"/>
          </a:xfrm>
          <a:prstGeom prst="round2SameRect">
            <a:avLst>
              <a:gd name="adj1" fmla="val 23963"/>
              <a:gd name="adj2" fmla="val 0"/>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GB" sz="1100" b="1" dirty="0">
                <a:solidFill>
                  <a:schemeClr val="tx1"/>
                </a:solidFill>
                <a:sym typeface="Calibri"/>
              </a:rPr>
              <a:t>iOS</a:t>
            </a:r>
          </a:p>
        </p:txBody>
      </p:sp>
      <p:sp>
        <p:nvSpPr>
          <p:cNvPr id="63" name="Espace réservé du contenu 2"/>
          <p:cNvSpPr txBox="1">
            <a:spLocks/>
          </p:cNvSpPr>
          <p:nvPr/>
        </p:nvSpPr>
        <p:spPr>
          <a:xfrm>
            <a:off x="5592401" y="4512732"/>
            <a:ext cx="1386412" cy="1498598"/>
          </a:xfrm>
          <a:prstGeom prst="rect">
            <a:avLst/>
          </a:prstGeom>
          <a:solidFill>
            <a:schemeClr val="bg1"/>
          </a:solidFill>
          <a:ln w="9525">
            <a:noFill/>
          </a:ln>
          <a:effectLst/>
        </p:spPr>
        <p:txBody>
          <a:bodyPr vert="horz" lIns="0" tIns="91440" rIns="45720" bIns="72000" rtlCol="0">
            <a:noAutofit/>
          </a:bodyPr>
          <a:lstStyle>
            <a:defPPr>
              <a:defRPr lang="en-US"/>
            </a:defPPr>
            <a:lvl1pPr marL="166189" indent="-166189" defTabSz="914342">
              <a:lnSpc>
                <a:spcPct val="100000"/>
              </a:lnSpc>
              <a:spcBef>
                <a:spcPts val="0"/>
              </a:spcBef>
              <a:spcAft>
                <a:spcPts val="0"/>
              </a:spcAft>
              <a:buClr>
                <a:schemeClr val="accent1"/>
              </a:buClr>
              <a:buFont typeface="Wingdings" pitchFamily="2" charset="2"/>
              <a:buChar char="§"/>
              <a:defRPr sz="900" b="0"/>
            </a:lvl1pPr>
            <a:lvl2pPr marL="355600" indent="-180975" defTabSz="914342">
              <a:lnSpc>
                <a:spcPct val="90000"/>
              </a:lnSpc>
              <a:spcBef>
                <a:spcPts val="0"/>
              </a:spcBef>
              <a:spcAft>
                <a:spcPts val="600"/>
              </a:spcAft>
              <a:buClr>
                <a:schemeClr val="accent3"/>
              </a:buClr>
              <a:buFont typeface="Wingdings" pitchFamily="2" charset="2"/>
              <a:buChar char="§"/>
              <a:defRPr>
                <a:solidFill>
                  <a:schemeClr val="tx2">
                    <a:lumMod val="50000"/>
                  </a:schemeClr>
                </a:solidFill>
              </a:defRPr>
            </a:lvl2pPr>
            <a:lvl3pPr marL="536575" indent="-165100" defTabSz="914342">
              <a:lnSpc>
                <a:spcPct val="90000"/>
              </a:lnSpc>
              <a:spcBef>
                <a:spcPts val="0"/>
              </a:spcBef>
              <a:spcAft>
                <a:spcPts val="600"/>
              </a:spcAft>
              <a:buClr>
                <a:schemeClr val="accent2"/>
              </a:buClr>
              <a:buFont typeface="Arial" pitchFamily="34" charset="0"/>
              <a:buChar char="•"/>
              <a:tabLst/>
              <a:defRPr sz="1600">
                <a:solidFill>
                  <a:schemeClr val="tx2">
                    <a:lumMod val="50000"/>
                  </a:schemeClr>
                </a:solidFill>
              </a:defRPr>
            </a:lvl3pPr>
            <a:lvl4pPr marL="711200" indent="-165100" defTabSz="914342">
              <a:lnSpc>
                <a:spcPct val="90000"/>
              </a:lnSpc>
              <a:spcBef>
                <a:spcPts val="0"/>
              </a:spcBef>
              <a:spcAft>
                <a:spcPts val="600"/>
              </a:spcAft>
              <a:buClr>
                <a:schemeClr val="bg2"/>
              </a:buClr>
              <a:buFont typeface="Arial" pitchFamily="34" charset="0"/>
              <a:buChar char="–"/>
              <a:tabLst/>
              <a:defRPr sz="1400">
                <a:solidFill>
                  <a:schemeClr val="tx2">
                    <a:lumMod val="50000"/>
                  </a:schemeClr>
                </a:solidFill>
              </a:defRPr>
            </a:lvl4pPr>
            <a:lvl5pPr marL="1609624" indent="-193663" defTabSz="914342">
              <a:spcBef>
                <a:spcPts val="0"/>
              </a:spcBef>
              <a:buClr>
                <a:srgbClr val="B1B1B1"/>
              </a:buClr>
              <a:buFont typeface="Arial" pitchFamily="34" charset="0"/>
              <a:buNone/>
              <a:defRPr sz="1700">
                <a:solidFill>
                  <a:srgbClr val="494949"/>
                </a:solidFill>
              </a:defRPr>
            </a:lvl5pPr>
            <a:lvl6pPr marL="2514441" indent="-228586" defTabSz="914342">
              <a:spcBef>
                <a:spcPct val="20000"/>
              </a:spcBef>
              <a:buFont typeface="Arial" pitchFamily="34" charset="0"/>
              <a:buChar char="•"/>
              <a:defRPr sz="2000"/>
            </a:lvl6pPr>
            <a:lvl7pPr marL="2971612" indent="-228586" defTabSz="914342">
              <a:spcBef>
                <a:spcPct val="20000"/>
              </a:spcBef>
              <a:buFont typeface="Arial" pitchFamily="34" charset="0"/>
              <a:buChar char="•"/>
              <a:defRPr sz="2000"/>
            </a:lvl7pPr>
            <a:lvl8pPr marL="3428783" indent="-228586" defTabSz="914342">
              <a:spcBef>
                <a:spcPct val="20000"/>
              </a:spcBef>
              <a:buFont typeface="Arial" pitchFamily="34" charset="0"/>
              <a:buChar char="•"/>
              <a:defRPr sz="2000"/>
            </a:lvl8pPr>
            <a:lvl9pPr marL="3885954" indent="-228586" defTabSz="914342">
              <a:spcBef>
                <a:spcPct val="20000"/>
              </a:spcBef>
              <a:buFont typeface="Arial" pitchFamily="34" charset="0"/>
              <a:buChar char="•"/>
              <a:defRPr sz="2000"/>
            </a:lvl9pPr>
          </a:lstStyle>
          <a:p>
            <a:pPr marL="112713" indent="-112713"/>
            <a:r>
              <a:rPr lang="en-US" dirty="0">
                <a:solidFill>
                  <a:schemeClr val="tx2"/>
                </a:solidFill>
                <a:sym typeface="Calibri"/>
              </a:rPr>
              <a:t>Xamarin</a:t>
            </a:r>
          </a:p>
          <a:p>
            <a:pPr marL="225425" indent="-112713">
              <a:buFont typeface="Calibri" pitchFamily="34" charset="0"/>
              <a:buChar char="–"/>
            </a:pPr>
            <a:r>
              <a:rPr lang="en-US" dirty="0">
                <a:solidFill>
                  <a:schemeClr val="tx2"/>
                </a:solidFill>
                <a:sym typeface="Calibri"/>
              </a:rPr>
              <a:t>City of Oslo</a:t>
            </a:r>
          </a:p>
          <a:p>
            <a:pPr marL="225425" indent="-112713">
              <a:buFont typeface="Calibri" pitchFamily="34" charset="0"/>
              <a:buChar char="–"/>
            </a:pPr>
            <a:r>
              <a:rPr lang="en-US" dirty="0">
                <a:solidFill>
                  <a:schemeClr val="tx2"/>
                </a:solidFill>
                <a:sym typeface="Calibri"/>
              </a:rPr>
              <a:t>Council for the Judiciary in Netherlands</a:t>
            </a:r>
          </a:p>
          <a:p>
            <a:pPr marL="112713" indent="-112713"/>
            <a:r>
              <a:rPr lang="en-US" dirty="0">
                <a:solidFill>
                  <a:schemeClr val="tx2"/>
                </a:solidFill>
                <a:sym typeface="Calibri"/>
              </a:rPr>
              <a:t>Windows</a:t>
            </a:r>
          </a:p>
          <a:p>
            <a:pPr marL="225425" indent="-112713">
              <a:buFont typeface="Calibri" pitchFamily="34" charset="0"/>
              <a:buChar char="–"/>
            </a:pPr>
            <a:r>
              <a:rPr lang="en-US" dirty="0">
                <a:solidFill>
                  <a:schemeClr val="tx2"/>
                </a:solidFill>
                <a:sym typeface="Calibri"/>
              </a:rPr>
              <a:t>Global bank</a:t>
            </a:r>
          </a:p>
          <a:p>
            <a:pPr marL="225425" indent="-112713">
              <a:buFont typeface="Calibri" pitchFamily="34" charset="0"/>
              <a:buChar char="–"/>
            </a:pPr>
            <a:r>
              <a:rPr lang="en-US" dirty="0">
                <a:solidFill>
                  <a:schemeClr val="tx2"/>
                </a:solidFill>
                <a:sym typeface="Calibri"/>
              </a:rPr>
              <a:t>Canadian Insurance </a:t>
            </a:r>
          </a:p>
        </p:txBody>
      </p:sp>
      <p:sp>
        <p:nvSpPr>
          <p:cNvPr id="64" name="Round Same Side Corner Rectangle 63"/>
          <p:cNvSpPr>
            <a:spLocks/>
          </p:cNvSpPr>
          <p:nvPr/>
        </p:nvSpPr>
        <p:spPr>
          <a:xfrm>
            <a:off x="5546650" y="4183983"/>
            <a:ext cx="1247526" cy="337457"/>
          </a:xfrm>
          <a:prstGeom prst="round2SameRect">
            <a:avLst>
              <a:gd name="adj1" fmla="val 25374"/>
              <a:gd name="adj2" fmla="val 0"/>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GB" sz="1100" b="1" dirty="0">
                <a:solidFill>
                  <a:schemeClr val="tx1"/>
                </a:solidFill>
                <a:sym typeface="Calibri"/>
              </a:rPr>
              <a:t>Microsoft</a:t>
            </a:r>
          </a:p>
        </p:txBody>
      </p:sp>
      <p:sp>
        <p:nvSpPr>
          <p:cNvPr id="66" name="Espace réservé du contenu 2"/>
          <p:cNvSpPr txBox="1">
            <a:spLocks/>
          </p:cNvSpPr>
          <p:nvPr/>
        </p:nvSpPr>
        <p:spPr>
          <a:xfrm>
            <a:off x="7232899" y="4512732"/>
            <a:ext cx="1386412" cy="1498598"/>
          </a:xfrm>
          <a:prstGeom prst="rect">
            <a:avLst/>
          </a:prstGeom>
          <a:solidFill>
            <a:schemeClr val="bg1"/>
          </a:solidFill>
          <a:ln w="9525">
            <a:noFill/>
          </a:ln>
          <a:effectLst/>
        </p:spPr>
        <p:txBody>
          <a:bodyPr vert="horz" lIns="0" tIns="91440" rIns="45720" bIns="72000" rtlCol="0">
            <a:noAutofit/>
          </a:bodyPr>
          <a:lstStyle>
            <a:defPPr>
              <a:defRPr lang="en-US"/>
            </a:defPPr>
            <a:lvl1pPr marL="166189" indent="-166189" defTabSz="914342">
              <a:lnSpc>
                <a:spcPct val="100000"/>
              </a:lnSpc>
              <a:spcBef>
                <a:spcPts val="0"/>
              </a:spcBef>
              <a:spcAft>
                <a:spcPts val="0"/>
              </a:spcAft>
              <a:buClr>
                <a:schemeClr val="accent1"/>
              </a:buClr>
              <a:buFont typeface="Wingdings" pitchFamily="2" charset="2"/>
              <a:buChar char="§"/>
              <a:defRPr sz="900" b="0"/>
            </a:lvl1pPr>
            <a:lvl2pPr marL="355600" indent="-180975" defTabSz="914342">
              <a:lnSpc>
                <a:spcPct val="90000"/>
              </a:lnSpc>
              <a:spcBef>
                <a:spcPts val="0"/>
              </a:spcBef>
              <a:spcAft>
                <a:spcPts val="600"/>
              </a:spcAft>
              <a:buClr>
                <a:schemeClr val="accent3"/>
              </a:buClr>
              <a:buFont typeface="Wingdings" pitchFamily="2" charset="2"/>
              <a:buChar char="§"/>
              <a:defRPr>
                <a:solidFill>
                  <a:schemeClr val="tx2">
                    <a:lumMod val="50000"/>
                  </a:schemeClr>
                </a:solidFill>
              </a:defRPr>
            </a:lvl2pPr>
            <a:lvl3pPr marL="536575" indent="-165100" defTabSz="914342">
              <a:lnSpc>
                <a:spcPct val="90000"/>
              </a:lnSpc>
              <a:spcBef>
                <a:spcPts val="0"/>
              </a:spcBef>
              <a:spcAft>
                <a:spcPts val="600"/>
              </a:spcAft>
              <a:buClr>
                <a:schemeClr val="accent2"/>
              </a:buClr>
              <a:buFont typeface="Arial" pitchFamily="34" charset="0"/>
              <a:buChar char="•"/>
              <a:tabLst/>
              <a:defRPr sz="1600">
                <a:solidFill>
                  <a:schemeClr val="tx2">
                    <a:lumMod val="50000"/>
                  </a:schemeClr>
                </a:solidFill>
              </a:defRPr>
            </a:lvl3pPr>
            <a:lvl4pPr marL="711200" indent="-165100" defTabSz="914342">
              <a:lnSpc>
                <a:spcPct val="90000"/>
              </a:lnSpc>
              <a:spcBef>
                <a:spcPts val="0"/>
              </a:spcBef>
              <a:spcAft>
                <a:spcPts val="600"/>
              </a:spcAft>
              <a:buClr>
                <a:schemeClr val="bg2"/>
              </a:buClr>
              <a:buFont typeface="Arial" pitchFamily="34" charset="0"/>
              <a:buChar char="–"/>
              <a:tabLst/>
              <a:defRPr sz="1400">
                <a:solidFill>
                  <a:schemeClr val="tx2">
                    <a:lumMod val="50000"/>
                  </a:schemeClr>
                </a:solidFill>
              </a:defRPr>
            </a:lvl4pPr>
            <a:lvl5pPr marL="1609624" indent="-193663" defTabSz="914342">
              <a:spcBef>
                <a:spcPts val="0"/>
              </a:spcBef>
              <a:buClr>
                <a:srgbClr val="B1B1B1"/>
              </a:buClr>
              <a:buFont typeface="Arial" pitchFamily="34" charset="0"/>
              <a:buNone/>
              <a:defRPr sz="1700">
                <a:solidFill>
                  <a:srgbClr val="494949"/>
                </a:solidFill>
              </a:defRPr>
            </a:lvl5pPr>
            <a:lvl6pPr marL="2514441" indent="-228586" defTabSz="914342">
              <a:spcBef>
                <a:spcPct val="20000"/>
              </a:spcBef>
              <a:buFont typeface="Arial" pitchFamily="34" charset="0"/>
              <a:buChar char="•"/>
              <a:defRPr sz="2000"/>
            </a:lvl6pPr>
            <a:lvl7pPr marL="2971612" indent="-228586" defTabSz="914342">
              <a:spcBef>
                <a:spcPct val="20000"/>
              </a:spcBef>
              <a:buFont typeface="Arial" pitchFamily="34" charset="0"/>
              <a:buChar char="•"/>
              <a:defRPr sz="2000"/>
            </a:lvl7pPr>
            <a:lvl8pPr marL="3428783" indent="-228586" defTabSz="914342">
              <a:spcBef>
                <a:spcPct val="20000"/>
              </a:spcBef>
              <a:buFont typeface="Arial" pitchFamily="34" charset="0"/>
              <a:buChar char="•"/>
              <a:defRPr sz="2000"/>
            </a:lvl8pPr>
            <a:lvl9pPr marL="3885954" indent="-228586" defTabSz="914342">
              <a:spcBef>
                <a:spcPct val="20000"/>
              </a:spcBef>
              <a:buFont typeface="Arial" pitchFamily="34" charset="0"/>
              <a:buChar char="•"/>
              <a:defRPr sz="2000"/>
            </a:lvl9pPr>
          </a:lstStyle>
          <a:p>
            <a:pPr marL="112713" indent="-112713"/>
            <a:r>
              <a:rPr lang="en-US" dirty="0">
                <a:solidFill>
                  <a:schemeClr val="tx2"/>
                </a:solidFill>
                <a:sym typeface="Calibri"/>
              </a:rPr>
              <a:t>DONG</a:t>
            </a:r>
          </a:p>
          <a:p>
            <a:pPr marL="112713" indent="-112713"/>
            <a:r>
              <a:rPr lang="en-US" dirty="0">
                <a:solidFill>
                  <a:schemeClr val="tx2"/>
                </a:solidFill>
                <a:sym typeface="Calibri"/>
              </a:rPr>
              <a:t>Enexis</a:t>
            </a:r>
          </a:p>
          <a:p>
            <a:pPr marL="112713" indent="-112713"/>
            <a:r>
              <a:rPr lang="en-US" dirty="0">
                <a:solidFill>
                  <a:schemeClr val="tx2"/>
                </a:solidFill>
                <a:sym typeface="Calibri"/>
              </a:rPr>
              <a:t>UK retailer</a:t>
            </a:r>
          </a:p>
          <a:p>
            <a:pPr marL="112713" indent="-112713"/>
            <a:r>
              <a:rPr lang="en-US" dirty="0">
                <a:solidFill>
                  <a:schemeClr val="tx2"/>
                </a:solidFill>
                <a:sym typeface="Calibri"/>
              </a:rPr>
              <a:t>American Travel stops and country stores</a:t>
            </a:r>
          </a:p>
          <a:p>
            <a:pPr marL="112713" indent="-112713"/>
            <a:r>
              <a:rPr lang="en-US" dirty="0">
                <a:solidFill>
                  <a:schemeClr val="tx2"/>
                </a:solidFill>
                <a:sym typeface="Calibri"/>
              </a:rPr>
              <a:t>Global decorative paints company</a:t>
            </a:r>
          </a:p>
        </p:txBody>
      </p:sp>
      <p:sp>
        <p:nvSpPr>
          <p:cNvPr id="67" name="Round Same Side Corner Rectangle 66"/>
          <p:cNvSpPr>
            <a:spLocks/>
          </p:cNvSpPr>
          <p:nvPr/>
        </p:nvSpPr>
        <p:spPr>
          <a:xfrm>
            <a:off x="7220458" y="4183983"/>
            <a:ext cx="1247526" cy="337457"/>
          </a:xfrm>
          <a:prstGeom prst="round2SameRect">
            <a:avLst>
              <a:gd name="adj1" fmla="val 19729"/>
              <a:gd name="adj2" fmla="val 0"/>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GB" sz="1100" b="1" dirty="0">
                <a:solidFill>
                  <a:schemeClr val="tx1"/>
                </a:solidFill>
                <a:sym typeface="Calibri"/>
              </a:rPr>
              <a:t>SAP Mobile</a:t>
            </a:r>
          </a:p>
        </p:txBody>
      </p:sp>
      <p:sp>
        <p:nvSpPr>
          <p:cNvPr id="69" name="Espace réservé du contenu 2"/>
          <p:cNvSpPr txBox="1">
            <a:spLocks/>
          </p:cNvSpPr>
          <p:nvPr/>
        </p:nvSpPr>
        <p:spPr>
          <a:xfrm>
            <a:off x="8873397" y="4512732"/>
            <a:ext cx="1352774" cy="1498598"/>
          </a:xfrm>
          <a:prstGeom prst="rect">
            <a:avLst/>
          </a:prstGeom>
          <a:solidFill>
            <a:schemeClr val="bg1"/>
          </a:solidFill>
          <a:ln w="9525">
            <a:noFill/>
          </a:ln>
          <a:effectLst/>
        </p:spPr>
        <p:txBody>
          <a:bodyPr vert="horz" lIns="0" tIns="91440" rIns="45720" bIns="72000" rtlCol="0">
            <a:noAutofit/>
          </a:bodyPr>
          <a:lstStyle>
            <a:defPPr>
              <a:defRPr lang="en-US"/>
            </a:defPPr>
            <a:lvl1pPr marL="166189" indent="-166189" defTabSz="914342">
              <a:lnSpc>
                <a:spcPct val="100000"/>
              </a:lnSpc>
              <a:spcBef>
                <a:spcPts val="0"/>
              </a:spcBef>
              <a:spcAft>
                <a:spcPts val="0"/>
              </a:spcAft>
              <a:buClr>
                <a:schemeClr val="accent1"/>
              </a:buClr>
              <a:buFont typeface="Wingdings" pitchFamily="2" charset="2"/>
              <a:buChar char="§"/>
              <a:defRPr sz="900" b="0"/>
            </a:lvl1pPr>
            <a:lvl2pPr marL="355600" indent="-180975" defTabSz="914342">
              <a:lnSpc>
                <a:spcPct val="90000"/>
              </a:lnSpc>
              <a:spcBef>
                <a:spcPts val="0"/>
              </a:spcBef>
              <a:spcAft>
                <a:spcPts val="600"/>
              </a:spcAft>
              <a:buClr>
                <a:schemeClr val="accent3"/>
              </a:buClr>
              <a:buFont typeface="Wingdings" pitchFamily="2" charset="2"/>
              <a:buChar char="§"/>
              <a:defRPr>
                <a:solidFill>
                  <a:schemeClr val="tx2">
                    <a:lumMod val="50000"/>
                  </a:schemeClr>
                </a:solidFill>
              </a:defRPr>
            </a:lvl2pPr>
            <a:lvl3pPr marL="536575" indent="-165100" defTabSz="914342">
              <a:lnSpc>
                <a:spcPct val="90000"/>
              </a:lnSpc>
              <a:spcBef>
                <a:spcPts val="0"/>
              </a:spcBef>
              <a:spcAft>
                <a:spcPts val="600"/>
              </a:spcAft>
              <a:buClr>
                <a:schemeClr val="accent2"/>
              </a:buClr>
              <a:buFont typeface="Arial" pitchFamily="34" charset="0"/>
              <a:buChar char="•"/>
              <a:tabLst/>
              <a:defRPr sz="1600">
                <a:solidFill>
                  <a:schemeClr val="tx2">
                    <a:lumMod val="50000"/>
                  </a:schemeClr>
                </a:solidFill>
              </a:defRPr>
            </a:lvl3pPr>
            <a:lvl4pPr marL="711200" indent="-165100" defTabSz="914342">
              <a:lnSpc>
                <a:spcPct val="90000"/>
              </a:lnSpc>
              <a:spcBef>
                <a:spcPts val="0"/>
              </a:spcBef>
              <a:spcAft>
                <a:spcPts val="600"/>
              </a:spcAft>
              <a:buClr>
                <a:schemeClr val="bg2"/>
              </a:buClr>
              <a:buFont typeface="Arial" pitchFamily="34" charset="0"/>
              <a:buChar char="–"/>
              <a:tabLst/>
              <a:defRPr sz="1400">
                <a:solidFill>
                  <a:schemeClr val="tx2">
                    <a:lumMod val="50000"/>
                  </a:schemeClr>
                </a:solidFill>
              </a:defRPr>
            </a:lvl4pPr>
            <a:lvl5pPr marL="1609624" indent="-193663" defTabSz="914342">
              <a:spcBef>
                <a:spcPts val="0"/>
              </a:spcBef>
              <a:buClr>
                <a:srgbClr val="B1B1B1"/>
              </a:buClr>
              <a:buFont typeface="Arial" pitchFamily="34" charset="0"/>
              <a:buNone/>
              <a:defRPr sz="1700">
                <a:solidFill>
                  <a:srgbClr val="494949"/>
                </a:solidFill>
              </a:defRPr>
            </a:lvl5pPr>
            <a:lvl6pPr marL="2514441" indent="-228586" defTabSz="914342">
              <a:spcBef>
                <a:spcPct val="20000"/>
              </a:spcBef>
              <a:buFont typeface="Arial" pitchFamily="34" charset="0"/>
              <a:buChar char="•"/>
              <a:defRPr sz="2000"/>
            </a:lvl6pPr>
            <a:lvl7pPr marL="2971612" indent="-228586" defTabSz="914342">
              <a:spcBef>
                <a:spcPct val="20000"/>
              </a:spcBef>
              <a:buFont typeface="Arial" pitchFamily="34" charset="0"/>
              <a:buChar char="•"/>
              <a:defRPr sz="2000"/>
            </a:lvl7pPr>
            <a:lvl8pPr marL="3428783" indent="-228586" defTabSz="914342">
              <a:spcBef>
                <a:spcPct val="20000"/>
              </a:spcBef>
              <a:buFont typeface="Arial" pitchFamily="34" charset="0"/>
              <a:buChar char="•"/>
              <a:defRPr sz="2000"/>
            </a:lvl8pPr>
            <a:lvl9pPr marL="3885954" indent="-228586" defTabSz="914342">
              <a:spcBef>
                <a:spcPct val="20000"/>
              </a:spcBef>
              <a:buFont typeface="Arial" pitchFamily="34" charset="0"/>
              <a:buChar char="•"/>
              <a:defRPr sz="2000"/>
            </a:lvl9pPr>
          </a:lstStyle>
          <a:p>
            <a:pPr marL="112713" indent="-112713"/>
            <a:r>
              <a:rPr lang="en-US" dirty="0">
                <a:solidFill>
                  <a:schemeClr val="tx2"/>
                </a:solidFill>
                <a:sym typeface="Calibri"/>
              </a:rPr>
              <a:t>IBM MobileFirst</a:t>
            </a:r>
          </a:p>
          <a:p>
            <a:pPr marL="225425" indent="-112713">
              <a:buFont typeface="Calibri" pitchFamily="34" charset="0"/>
              <a:buChar char="–"/>
            </a:pPr>
            <a:r>
              <a:rPr lang="en-US" dirty="0">
                <a:solidFill>
                  <a:schemeClr val="tx2"/>
                </a:solidFill>
                <a:sym typeface="Calibri"/>
              </a:rPr>
              <a:t>Large Brazilian Bank</a:t>
            </a:r>
          </a:p>
          <a:p>
            <a:pPr marL="225425" indent="-112713">
              <a:buFont typeface="Calibri" pitchFamily="34" charset="0"/>
              <a:buChar char="–"/>
            </a:pPr>
            <a:r>
              <a:rPr lang="en-US" dirty="0">
                <a:solidFill>
                  <a:schemeClr val="tx2"/>
                </a:solidFill>
                <a:sym typeface="Calibri"/>
              </a:rPr>
              <a:t>Swedish Manufacturer</a:t>
            </a:r>
          </a:p>
          <a:p>
            <a:pPr marL="225425" indent="-112713">
              <a:buFont typeface="Calibri" pitchFamily="34" charset="0"/>
              <a:buChar char="–"/>
            </a:pPr>
            <a:r>
              <a:rPr lang="en-US" dirty="0">
                <a:solidFill>
                  <a:schemeClr val="tx2"/>
                </a:solidFill>
                <a:sym typeface="Calibri"/>
              </a:rPr>
              <a:t>European Banking Group</a:t>
            </a:r>
          </a:p>
          <a:p>
            <a:pPr marL="112713" indent="-112713"/>
            <a:endParaRPr lang="en-US" dirty="0">
              <a:solidFill>
                <a:schemeClr val="tx2"/>
              </a:solidFill>
              <a:sym typeface="Calibri"/>
            </a:endParaRPr>
          </a:p>
        </p:txBody>
      </p:sp>
      <p:sp>
        <p:nvSpPr>
          <p:cNvPr id="70" name="Round Same Side Corner Rectangle 69"/>
          <p:cNvSpPr>
            <a:spLocks/>
          </p:cNvSpPr>
          <p:nvPr/>
        </p:nvSpPr>
        <p:spPr>
          <a:xfrm>
            <a:off x="8873397" y="4183983"/>
            <a:ext cx="1217258" cy="337457"/>
          </a:xfrm>
          <a:prstGeom prst="round2SameRect">
            <a:avLst>
              <a:gd name="adj1" fmla="val 20434"/>
              <a:gd name="adj2" fmla="val 0"/>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GB" sz="1100" b="1" dirty="0">
                <a:solidFill>
                  <a:schemeClr val="tx1"/>
                </a:solidFill>
                <a:sym typeface="Calibri"/>
              </a:rPr>
              <a:t>IBM</a:t>
            </a:r>
          </a:p>
        </p:txBody>
      </p:sp>
      <p:sp>
        <p:nvSpPr>
          <p:cNvPr id="81" name="Espace réservé du contenu 2"/>
          <p:cNvSpPr txBox="1">
            <a:spLocks/>
          </p:cNvSpPr>
          <p:nvPr/>
        </p:nvSpPr>
        <p:spPr>
          <a:xfrm>
            <a:off x="3951903" y="4512732"/>
            <a:ext cx="1386412" cy="1498598"/>
          </a:xfrm>
          <a:prstGeom prst="rect">
            <a:avLst/>
          </a:prstGeom>
          <a:solidFill>
            <a:schemeClr val="bg1"/>
          </a:solidFill>
          <a:ln w="9525">
            <a:noFill/>
          </a:ln>
          <a:effectLst/>
        </p:spPr>
        <p:txBody>
          <a:bodyPr vert="horz" lIns="0" tIns="91440" rIns="4572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indent="-112713">
              <a:lnSpc>
                <a:spcPct val="100000"/>
              </a:lnSpc>
              <a:spcAft>
                <a:spcPts val="0"/>
              </a:spcAft>
              <a:buClr>
                <a:schemeClr val="accent1"/>
              </a:buClr>
            </a:pPr>
            <a:r>
              <a:rPr lang="en-GB" sz="900" dirty="0">
                <a:solidFill>
                  <a:schemeClr val="tx2"/>
                </a:solidFill>
                <a:sym typeface="Calibri"/>
              </a:rPr>
              <a:t>Auto Manufacturing</a:t>
            </a:r>
          </a:p>
          <a:p>
            <a:pPr marL="112713" indent="-112713">
              <a:lnSpc>
                <a:spcPct val="100000"/>
              </a:lnSpc>
              <a:spcAft>
                <a:spcPts val="0"/>
              </a:spcAft>
              <a:buClr>
                <a:schemeClr val="accent1"/>
              </a:buClr>
            </a:pPr>
            <a:r>
              <a:rPr lang="en-GB" sz="900" dirty="0">
                <a:solidFill>
                  <a:schemeClr val="tx2"/>
                </a:solidFill>
                <a:sym typeface="Calibri"/>
              </a:rPr>
              <a:t>Logistic provider</a:t>
            </a:r>
          </a:p>
          <a:p>
            <a:pPr marL="112713" indent="-112713">
              <a:lnSpc>
                <a:spcPct val="100000"/>
              </a:lnSpc>
              <a:spcAft>
                <a:spcPts val="0"/>
              </a:spcAft>
              <a:buClr>
                <a:schemeClr val="accent1"/>
              </a:buClr>
            </a:pPr>
            <a:r>
              <a:rPr lang="en-GB" sz="900" dirty="0">
                <a:solidFill>
                  <a:schemeClr val="tx2"/>
                </a:solidFill>
                <a:sym typeface="Calibri"/>
              </a:rPr>
              <a:t>Pharma Co.</a:t>
            </a:r>
          </a:p>
          <a:p>
            <a:pPr marL="112713" indent="-112713">
              <a:lnSpc>
                <a:spcPct val="100000"/>
              </a:lnSpc>
              <a:spcAft>
                <a:spcPts val="0"/>
              </a:spcAft>
              <a:buClr>
                <a:schemeClr val="accent1"/>
              </a:buClr>
            </a:pPr>
            <a:r>
              <a:rPr lang="en-GB" sz="900" dirty="0">
                <a:solidFill>
                  <a:schemeClr val="tx2"/>
                </a:solidFill>
                <a:sym typeface="Calibri"/>
              </a:rPr>
              <a:t>Italian Bank</a:t>
            </a:r>
          </a:p>
          <a:p>
            <a:pPr marL="112713" indent="-112713">
              <a:lnSpc>
                <a:spcPct val="100000"/>
              </a:lnSpc>
              <a:spcAft>
                <a:spcPts val="0"/>
              </a:spcAft>
              <a:buClr>
                <a:schemeClr val="accent1"/>
              </a:buClr>
            </a:pPr>
            <a:r>
              <a:rPr lang="en-GB" sz="900" dirty="0">
                <a:solidFill>
                  <a:schemeClr val="tx2"/>
                </a:solidFill>
                <a:sym typeface="Calibri"/>
              </a:rPr>
              <a:t>Supermarket Chain</a:t>
            </a:r>
          </a:p>
          <a:p>
            <a:pPr marL="112713" indent="-112713">
              <a:lnSpc>
                <a:spcPct val="100000"/>
              </a:lnSpc>
              <a:spcAft>
                <a:spcPts val="0"/>
              </a:spcAft>
              <a:buClr>
                <a:schemeClr val="accent1"/>
              </a:buClr>
            </a:pPr>
            <a:r>
              <a:rPr lang="en-GB" sz="900" dirty="0">
                <a:solidFill>
                  <a:schemeClr val="tx2"/>
                </a:solidFill>
                <a:sym typeface="Calibri"/>
              </a:rPr>
              <a:t>Leading insurance provider</a:t>
            </a:r>
          </a:p>
          <a:p>
            <a:pPr marL="112713" indent="-112713">
              <a:lnSpc>
                <a:spcPct val="100000"/>
              </a:lnSpc>
              <a:spcAft>
                <a:spcPts val="0"/>
              </a:spcAft>
              <a:buClr>
                <a:schemeClr val="accent1"/>
              </a:buClr>
            </a:pPr>
            <a:endParaRPr lang="en-GB" sz="900" dirty="0">
              <a:solidFill>
                <a:schemeClr val="tx2"/>
              </a:solidFill>
            </a:endParaRPr>
          </a:p>
        </p:txBody>
      </p:sp>
      <p:sp>
        <p:nvSpPr>
          <p:cNvPr id="82" name="Round Same Side Corner Rectangle 81"/>
          <p:cNvSpPr>
            <a:spLocks/>
          </p:cNvSpPr>
          <p:nvPr/>
        </p:nvSpPr>
        <p:spPr>
          <a:xfrm>
            <a:off x="3823261" y="4183983"/>
            <a:ext cx="1474572" cy="337457"/>
          </a:xfrm>
          <a:prstGeom prst="round2SameRect">
            <a:avLst>
              <a:gd name="adj1" fmla="val 22552"/>
              <a:gd name="adj2" fmla="val 0"/>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GB" sz="1100" b="1" dirty="0">
                <a:solidFill>
                  <a:schemeClr val="tx1"/>
                </a:solidFill>
                <a:sym typeface="Calibri"/>
              </a:rPr>
              <a:t>HTML5/Cordova</a:t>
            </a:r>
          </a:p>
        </p:txBody>
      </p:sp>
      <p:grpSp>
        <p:nvGrpSpPr>
          <p:cNvPr id="46" name="Group 45"/>
          <p:cNvGrpSpPr/>
          <p:nvPr/>
        </p:nvGrpSpPr>
        <p:grpSpPr>
          <a:xfrm>
            <a:off x="2171840" y="4352712"/>
            <a:ext cx="8161465" cy="1841740"/>
            <a:chOff x="1137106" y="4352712"/>
            <a:chExt cx="9417163" cy="1841740"/>
          </a:xfrm>
        </p:grpSpPr>
        <p:cxnSp>
          <p:nvCxnSpPr>
            <p:cNvPr id="41" name="Straight Connector 40"/>
            <p:cNvCxnSpPr/>
            <p:nvPr/>
          </p:nvCxnSpPr>
          <p:spPr>
            <a:xfrm flipH="1">
              <a:off x="4938346" y="4352712"/>
              <a:ext cx="0" cy="182880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6839442" y="4352712"/>
              <a:ext cx="0" cy="182880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8725883" y="4352712"/>
              <a:ext cx="0" cy="182880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3022596" y="4352712"/>
              <a:ext cx="0" cy="182880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1137106" y="4365652"/>
              <a:ext cx="0" cy="182880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10554269" y="4352712"/>
              <a:ext cx="0" cy="182880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48" name="Espace réservé du contenu 2"/>
          <p:cNvSpPr txBox="1">
            <a:spLocks/>
          </p:cNvSpPr>
          <p:nvPr/>
        </p:nvSpPr>
        <p:spPr>
          <a:xfrm>
            <a:off x="10483626" y="4548282"/>
            <a:ext cx="1352774" cy="1498598"/>
          </a:xfrm>
          <a:prstGeom prst="rect">
            <a:avLst/>
          </a:prstGeom>
          <a:solidFill>
            <a:schemeClr val="bg1"/>
          </a:solidFill>
          <a:ln w="9525">
            <a:noFill/>
          </a:ln>
          <a:effectLst/>
        </p:spPr>
        <p:txBody>
          <a:bodyPr vert="horz" lIns="0" tIns="91440" rIns="45720" bIns="72000" rtlCol="0">
            <a:noAutofit/>
          </a:bodyPr>
          <a:lstStyle>
            <a:defPPr>
              <a:defRPr lang="en-US"/>
            </a:defPPr>
            <a:lvl1pPr marL="166189" indent="-166189" defTabSz="914342">
              <a:lnSpc>
                <a:spcPct val="100000"/>
              </a:lnSpc>
              <a:spcBef>
                <a:spcPts val="0"/>
              </a:spcBef>
              <a:spcAft>
                <a:spcPts val="0"/>
              </a:spcAft>
              <a:buClr>
                <a:schemeClr val="accent1"/>
              </a:buClr>
              <a:buFont typeface="Wingdings" pitchFamily="2" charset="2"/>
              <a:buChar char="§"/>
              <a:defRPr sz="900" b="0"/>
            </a:lvl1pPr>
            <a:lvl2pPr marL="355600" indent="-180975" defTabSz="914342">
              <a:lnSpc>
                <a:spcPct val="90000"/>
              </a:lnSpc>
              <a:spcBef>
                <a:spcPts val="0"/>
              </a:spcBef>
              <a:spcAft>
                <a:spcPts val="600"/>
              </a:spcAft>
              <a:buClr>
                <a:schemeClr val="accent3"/>
              </a:buClr>
              <a:buFont typeface="Wingdings" pitchFamily="2" charset="2"/>
              <a:buChar char="§"/>
              <a:defRPr>
                <a:solidFill>
                  <a:schemeClr val="tx2">
                    <a:lumMod val="50000"/>
                  </a:schemeClr>
                </a:solidFill>
              </a:defRPr>
            </a:lvl2pPr>
            <a:lvl3pPr marL="536575" indent="-165100" defTabSz="914342">
              <a:lnSpc>
                <a:spcPct val="90000"/>
              </a:lnSpc>
              <a:spcBef>
                <a:spcPts val="0"/>
              </a:spcBef>
              <a:spcAft>
                <a:spcPts val="600"/>
              </a:spcAft>
              <a:buClr>
                <a:schemeClr val="accent2"/>
              </a:buClr>
              <a:buFont typeface="Arial" pitchFamily="34" charset="0"/>
              <a:buChar char="•"/>
              <a:tabLst/>
              <a:defRPr sz="1600">
                <a:solidFill>
                  <a:schemeClr val="tx2">
                    <a:lumMod val="50000"/>
                  </a:schemeClr>
                </a:solidFill>
              </a:defRPr>
            </a:lvl3pPr>
            <a:lvl4pPr marL="711200" indent="-165100" defTabSz="914342">
              <a:lnSpc>
                <a:spcPct val="90000"/>
              </a:lnSpc>
              <a:spcBef>
                <a:spcPts val="0"/>
              </a:spcBef>
              <a:spcAft>
                <a:spcPts val="600"/>
              </a:spcAft>
              <a:buClr>
                <a:schemeClr val="bg2"/>
              </a:buClr>
              <a:buFont typeface="Arial" pitchFamily="34" charset="0"/>
              <a:buChar char="–"/>
              <a:tabLst/>
              <a:defRPr sz="1400">
                <a:solidFill>
                  <a:schemeClr val="tx2">
                    <a:lumMod val="50000"/>
                  </a:schemeClr>
                </a:solidFill>
              </a:defRPr>
            </a:lvl4pPr>
            <a:lvl5pPr marL="1609624" indent="-193663" defTabSz="914342">
              <a:spcBef>
                <a:spcPts val="0"/>
              </a:spcBef>
              <a:buClr>
                <a:srgbClr val="B1B1B1"/>
              </a:buClr>
              <a:buFont typeface="Arial" pitchFamily="34" charset="0"/>
              <a:buNone/>
              <a:defRPr sz="1700">
                <a:solidFill>
                  <a:srgbClr val="494949"/>
                </a:solidFill>
              </a:defRPr>
            </a:lvl5pPr>
            <a:lvl6pPr marL="2514441" indent="-228586" defTabSz="914342">
              <a:spcBef>
                <a:spcPct val="20000"/>
              </a:spcBef>
              <a:buFont typeface="Arial" pitchFamily="34" charset="0"/>
              <a:buChar char="•"/>
              <a:defRPr sz="2000"/>
            </a:lvl6pPr>
            <a:lvl7pPr marL="2971612" indent="-228586" defTabSz="914342">
              <a:spcBef>
                <a:spcPct val="20000"/>
              </a:spcBef>
              <a:buFont typeface="Arial" pitchFamily="34" charset="0"/>
              <a:buChar char="•"/>
              <a:defRPr sz="2000"/>
            </a:lvl7pPr>
            <a:lvl8pPr marL="3428783" indent="-228586" defTabSz="914342">
              <a:spcBef>
                <a:spcPct val="20000"/>
              </a:spcBef>
              <a:buFont typeface="Arial" pitchFamily="34" charset="0"/>
              <a:buChar char="•"/>
              <a:defRPr sz="2000"/>
            </a:lvl8pPr>
            <a:lvl9pPr marL="3885954" indent="-228586" defTabSz="914342">
              <a:spcBef>
                <a:spcPct val="20000"/>
              </a:spcBef>
              <a:buFont typeface="Arial" pitchFamily="34" charset="0"/>
              <a:buChar char="•"/>
              <a:defRPr sz="2000"/>
            </a:lvl9pPr>
          </a:lstStyle>
          <a:p>
            <a:pPr marL="112713" indent="-112713"/>
            <a:r>
              <a:rPr lang="en-US" dirty="0">
                <a:solidFill>
                  <a:schemeClr val="tx2"/>
                </a:solidFill>
                <a:sym typeface="Calibri"/>
              </a:rPr>
              <a:t>Kony</a:t>
            </a:r>
          </a:p>
          <a:p>
            <a:pPr marL="225425" indent="-112713">
              <a:buFont typeface="Calibri" pitchFamily="34" charset="0"/>
              <a:buChar char="–"/>
            </a:pPr>
            <a:r>
              <a:rPr lang="en-US" dirty="0">
                <a:solidFill>
                  <a:schemeClr val="tx2"/>
                </a:solidFill>
                <a:sym typeface="Calibri"/>
              </a:rPr>
              <a:t>Restaurant Chain</a:t>
            </a:r>
          </a:p>
          <a:p>
            <a:pPr marL="225425" indent="-112713">
              <a:buFont typeface="Calibri" pitchFamily="34" charset="0"/>
              <a:buChar char="–"/>
            </a:pPr>
            <a:r>
              <a:rPr lang="en-US" dirty="0">
                <a:solidFill>
                  <a:schemeClr val="tx2"/>
                </a:solidFill>
                <a:sym typeface="Calibri"/>
              </a:rPr>
              <a:t>German pharma</a:t>
            </a:r>
          </a:p>
          <a:p>
            <a:pPr marL="112713" indent="-112713"/>
            <a:r>
              <a:rPr lang="en-US" dirty="0">
                <a:solidFill>
                  <a:schemeClr val="tx2"/>
                </a:solidFill>
                <a:sym typeface="Calibri"/>
              </a:rPr>
              <a:t>Mobile Testing</a:t>
            </a:r>
          </a:p>
          <a:p>
            <a:pPr marL="225425" indent="-112713">
              <a:buFont typeface="Calibri" pitchFamily="34" charset="0"/>
              <a:buChar char="–"/>
            </a:pPr>
            <a:r>
              <a:rPr lang="en-US" dirty="0">
                <a:solidFill>
                  <a:schemeClr val="tx2"/>
                </a:solidFill>
                <a:sym typeface="Calibri"/>
              </a:rPr>
              <a:t>Global Insurance</a:t>
            </a:r>
          </a:p>
          <a:p>
            <a:pPr marL="225425" indent="-112713">
              <a:buFont typeface="Calibri" pitchFamily="34" charset="0"/>
              <a:buChar char="–"/>
            </a:pPr>
            <a:r>
              <a:rPr lang="en-US" dirty="0">
                <a:solidFill>
                  <a:schemeClr val="tx2"/>
                </a:solidFill>
                <a:sym typeface="Calibri"/>
              </a:rPr>
              <a:t>American bank</a:t>
            </a:r>
          </a:p>
        </p:txBody>
      </p:sp>
      <p:sp>
        <p:nvSpPr>
          <p:cNvPr id="49" name="Round Same Side Corner Rectangle 48"/>
          <p:cNvSpPr>
            <a:spLocks/>
          </p:cNvSpPr>
          <p:nvPr/>
        </p:nvSpPr>
        <p:spPr>
          <a:xfrm>
            <a:off x="10392700" y="4183983"/>
            <a:ext cx="1217258" cy="337457"/>
          </a:xfrm>
          <a:prstGeom prst="round2SameRect">
            <a:avLst>
              <a:gd name="adj1" fmla="val 20434"/>
              <a:gd name="adj2" fmla="val 0"/>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GB" sz="1100" b="1" dirty="0">
                <a:solidFill>
                  <a:schemeClr val="tx1"/>
                </a:solidFill>
                <a:sym typeface="Calibri"/>
              </a:rPr>
              <a:t>Others</a:t>
            </a:r>
          </a:p>
        </p:txBody>
      </p:sp>
      <p:pic>
        <p:nvPicPr>
          <p:cNvPr id="74" name="Picture 6" descr="Android Logo"/>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269751" y="5810479"/>
            <a:ext cx="412750" cy="345678"/>
          </a:xfrm>
          <a:prstGeom prst="rect">
            <a:avLst/>
          </a:prstGeom>
          <a:noFill/>
        </p:spPr>
      </p:pic>
      <p:pic>
        <p:nvPicPr>
          <p:cNvPr id="75" name="Picture 8" descr="http://sparsity-technologies.com/blog/wp-content/uploads/2014/07/apple-logo-01.png"/>
          <p:cNvPicPr>
            <a:picLocks noChangeAspect="1" noChangeArrowheads="1"/>
          </p:cNvPicPr>
          <p:nvPr/>
        </p:nvPicPr>
        <p:blipFill>
          <a:blip r:embed="rId9" cstate="screen"/>
          <a:srcRect/>
          <a:stretch>
            <a:fillRect/>
          </a:stretch>
        </p:blipFill>
        <p:spPr bwMode="auto">
          <a:xfrm>
            <a:off x="1648650" y="5783711"/>
            <a:ext cx="399214" cy="399214"/>
          </a:xfrm>
          <a:prstGeom prst="rect">
            <a:avLst/>
          </a:prstGeom>
          <a:noFill/>
        </p:spPr>
      </p:pic>
      <p:pic>
        <p:nvPicPr>
          <p:cNvPr id="83" name="Picture 4" descr="http://www.w3.org/html/logo/downloads/HTML5_Logo_256.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945973" y="5796668"/>
            <a:ext cx="373303" cy="373303"/>
          </a:xfrm>
          <a:prstGeom prst="rect">
            <a:avLst/>
          </a:prstGeom>
          <a:noFill/>
        </p:spPr>
      </p:pic>
      <p:pic>
        <p:nvPicPr>
          <p:cNvPr id="51" name="Picture 2" descr="http://mhealthwatch.com/wp-content/uploads/2012/01/Independence-Blue-Cross-Announces-Partnership-with-Kony-Solutions-for-Mobile-App-Strategy.jp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1280584" y="5844347"/>
            <a:ext cx="544687" cy="306214"/>
          </a:xfrm>
          <a:prstGeom prst="rect">
            <a:avLst/>
          </a:prstGeom>
          <a:noFill/>
        </p:spPr>
      </p:pic>
      <p:pic>
        <p:nvPicPr>
          <p:cNvPr id="52" name="Picture 2" descr="http://upload.wikimedia.org/wikipedia/commons/thumb/5/59/SAP_2011_logo.svg/640px-SAP_2011_logo.svg.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8152134" y="5890259"/>
            <a:ext cx="462859" cy="235769"/>
          </a:xfrm>
          <a:prstGeom prst="rect">
            <a:avLst/>
          </a:prstGeom>
          <a:noFill/>
        </p:spPr>
      </p:pic>
      <p:pic>
        <p:nvPicPr>
          <p:cNvPr id="53" name="Picture 4" descr="Windows Phone logo Google prevents Windows Phone users from accessing Maps"/>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527124" y="5825778"/>
            <a:ext cx="450951" cy="338213"/>
          </a:xfrm>
          <a:prstGeom prst="rect">
            <a:avLst/>
          </a:prstGeom>
          <a:noFill/>
        </p:spPr>
      </p:pic>
      <p:pic>
        <p:nvPicPr>
          <p:cNvPr id="54" name="Picture 7"/>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9721058" y="5789625"/>
            <a:ext cx="500948" cy="457339"/>
          </a:xfrm>
          <a:prstGeom prst="rect">
            <a:avLst/>
          </a:prstGeom>
          <a:noFill/>
          <a:ln w="9525">
            <a:noFill/>
            <a:miter lim="800000"/>
            <a:headEnd/>
            <a:tailEnd/>
          </a:ln>
        </p:spPr>
      </p:pic>
      <p:graphicFrame>
        <p:nvGraphicFramePr>
          <p:cNvPr id="55" name="Chart 54"/>
          <p:cNvGraphicFramePr/>
          <p:nvPr>
            <p:extLst>
              <p:ext uri="{D42A27DB-BD31-4B8C-83A1-F6EECF244321}">
                <p14:modId xmlns:p14="http://schemas.microsoft.com/office/powerpoint/2010/main" val="1291683037"/>
              </p:ext>
            </p:extLst>
          </p:nvPr>
        </p:nvGraphicFramePr>
        <p:xfrm>
          <a:off x="6270171" y="1654109"/>
          <a:ext cx="4376058" cy="2394857"/>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1084743329"/>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p:cNvSpPr/>
          <p:nvPr/>
        </p:nvSpPr>
        <p:spPr>
          <a:xfrm>
            <a:off x="1488315" y="2008211"/>
            <a:ext cx="2258568" cy="41624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548640" rtlCol="0" anchor="t" anchorCtr="0"/>
          <a:lstStyle/>
          <a:p>
            <a:pPr marL="174625" lvl="3" indent="-174625">
              <a:buClr>
                <a:schemeClr val="accent1"/>
              </a:buClr>
              <a:buFont typeface="Wingdings" pitchFamily="2" charset="2"/>
              <a:buChar char="§"/>
            </a:pPr>
            <a:endParaRPr lang="en-US" sz="1000" dirty="0">
              <a:solidFill>
                <a:schemeClr val="tx2">
                  <a:lumMod val="50000"/>
                </a:schemeClr>
              </a:solidFill>
              <a:cs typeface="Calibri" pitchFamily="34" charset="0"/>
            </a:endParaRPr>
          </a:p>
        </p:txBody>
      </p:sp>
      <p:sp>
        <p:nvSpPr>
          <p:cNvPr id="53" name="Rectangle 52"/>
          <p:cNvSpPr/>
          <p:nvPr/>
        </p:nvSpPr>
        <p:spPr>
          <a:xfrm>
            <a:off x="3814351" y="2008211"/>
            <a:ext cx="2258568" cy="41624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548640" rtlCol="0" anchor="t" anchorCtr="0"/>
          <a:lstStyle/>
          <a:p>
            <a:pPr marL="174625" lvl="3" indent="-174625">
              <a:buClr>
                <a:schemeClr val="accent1"/>
              </a:buClr>
              <a:buFont typeface="Wingdings" pitchFamily="2" charset="2"/>
              <a:buChar char="§"/>
            </a:pPr>
            <a:endParaRPr lang="en-US" sz="1000" dirty="0">
              <a:solidFill>
                <a:schemeClr val="tx2">
                  <a:lumMod val="50000"/>
                </a:schemeClr>
              </a:solidFill>
              <a:cs typeface="Calibri" pitchFamily="34" charset="0"/>
            </a:endParaRPr>
          </a:p>
        </p:txBody>
      </p:sp>
      <p:sp>
        <p:nvSpPr>
          <p:cNvPr id="4" name="Rectangle 3"/>
          <p:cNvSpPr/>
          <p:nvPr/>
        </p:nvSpPr>
        <p:spPr>
          <a:xfrm>
            <a:off x="4009217" y="1160218"/>
            <a:ext cx="1616485" cy="461665"/>
          </a:xfrm>
          <a:prstGeom prst="rect">
            <a:avLst/>
          </a:prstGeom>
        </p:spPr>
        <p:txBody>
          <a:bodyPr wrap="square">
            <a:spAutoFit/>
          </a:bodyPr>
          <a:lstStyle/>
          <a:p>
            <a:pPr algn="ctr"/>
            <a:r>
              <a:rPr lang="en-GB" sz="1200" dirty="0">
                <a:solidFill>
                  <a:srgbClr val="0070C0"/>
                </a:solidFill>
              </a:rPr>
              <a:t>Shaping the demand pipeline </a:t>
            </a:r>
            <a:endParaRPr lang="en-US" sz="1200" dirty="0">
              <a:solidFill>
                <a:srgbClr val="0070C0"/>
              </a:solidFill>
            </a:endParaRPr>
          </a:p>
        </p:txBody>
      </p:sp>
      <p:sp>
        <p:nvSpPr>
          <p:cNvPr id="9" name="Rounded Rectangle 8"/>
          <p:cNvSpPr/>
          <p:nvPr/>
        </p:nvSpPr>
        <p:spPr>
          <a:xfrm>
            <a:off x="1486729" y="1713725"/>
            <a:ext cx="2254265" cy="731520"/>
          </a:xfrm>
          <a:prstGeom prst="round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50" dirty="0"/>
              <a:t>          </a:t>
            </a:r>
          </a:p>
        </p:txBody>
      </p:sp>
      <p:sp>
        <p:nvSpPr>
          <p:cNvPr id="12" name="TextBox 48"/>
          <p:cNvSpPr txBox="1">
            <a:spLocks noChangeArrowheads="1"/>
          </p:cNvSpPr>
          <p:nvPr/>
        </p:nvSpPr>
        <p:spPr bwMode="auto">
          <a:xfrm>
            <a:off x="1480457" y="1856347"/>
            <a:ext cx="2250548" cy="446276"/>
          </a:xfrm>
          <a:prstGeom prst="rect">
            <a:avLst/>
          </a:prstGeom>
          <a:noFill/>
          <a:ln w="9525">
            <a:noFill/>
            <a:miter lim="800000"/>
            <a:headEnd/>
            <a:tailEnd/>
          </a:ln>
        </p:spPr>
        <p:txBody>
          <a:bodyPr wrap="square" anchor="ctr">
            <a:spAutoFit/>
          </a:bodyPr>
          <a:lstStyle/>
          <a:p>
            <a:pPr lvl="0" algn="ctr"/>
            <a:r>
              <a:rPr lang="en-US" sz="1100" b="1" dirty="0">
                <a:solidFill>
                  <a:schemeClr val="bg1"/>
                </a:solidFill>
              </a:rPr>
              <a:t>IT </a:t>
            </a:r>
            <a:r>
              <a:rPr lang="en-US" sz="1200" b="1" dirty="0">
                <a:solidFill>
                  <a:schemeClr val="bg1"/>
                </a:solidFill>
              </a:rPr>
              <a:t>Ecosystem</a:t>
            </a:r>
            <a:r>
              <a:rPr lang="en-US" sz="1100" b="1" dirty="0">
                <a:solidFill>
                  <a:schemeClr val="bg1"/>
                </a:solidFill>
              </a:rPr>
              <a:t> Readiness Assessment </a:t>
            </a:r>
          </a:p>
        </p:txBody>
      </p:sp>
      <p:sp>
        <p:nvSpPr>
          <p:cNvPr id="15" name="Rounded Rectangle 14"/>
          <p:cNvSpPr/>
          <p:nvPr/>
        </p:nvSpPr>
        <p:spPr>
          <a:xfrm>
            <a:off x="3819024" y="1713725"/>
            <a:ext cx="2254265" cy="731520"/>
          </a:xfrm>
          <a:prstGeom prst="round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50" dirty="0"/>
              <a:t>          </a:t>
            </a:r>
          </a:p>
        </p:txBody>
      </p:sp>
      <p:sp>
        <p:nvSpPr>
          <p:cNvPr id="18" name="TextBox 48"/>
          <p:cNvSpPr txBox="1">
            <a:spLocks noChangeArrowheads="1"/>
          </p:cNvSpPr>
          <p:nvPr/>
        </p:nvSpPr>
        <p:spPr bwMode="auto">
          <a:xfrm>
            <a:off x="3812753" y="1870689"/>
            <a:ext cx="2250548" cy="461665"/>
          </a:xfrm>
          <a:prstGeom prst="rect">
            <a:avLst/>
          </a:prstGeom>
          <a:noFill/>
          <a:ln w="9525">
            <a:noFill/>
            <a:miter lim="800000"/>
            <a:headEnd/>
            <a:tailEnd/>
          </a:ln>
        </p:spPr>
        <p:txBody>
          <a:bodyPr wrap="square" anchor="ctr">
            <a:spAutoFit/>
          </a:bodyPr>
          <a:lstStyle/>
          <a:p>
            <a:pPr lvl="0" algn="ctr"/>
            <a:r>
              <a:rPr lang="en-US" sz="1200" b="1" dirty="0">
                <a:solidFill>
                  <a:schemeClr val="bg1"/>
                </a:solidFill>
              </a:rPr>
              <a:t>Mobility Road map Definition </a:t>
            </a:r>
          </a:p>
        </p:txBody>
      </p:sp>
      <p:sp>
        <p:nvSpPr>
          <p:cNvPr id="19" name="TextBox 55"/>
          <p:cNvSpPr txBox="1">
            <a:spLocks noChangeArrowheads="1"/>
          </p:cNvSpPr>
          <p:nvPr/>
        </p:nvSpPr>
        <p:spPr bwMode="auto">
          <a:xfrm>
            <a:off x="3978943" y="2757812"/>
            <a:ext cx="1929384" cy="577081"/>
          </a:xfrm>
          <a:prstGeom prst="rect">
            <a:avLst/>
          </a:prstGeom>
          <a:solidFill>
            <a:schemeClr val="bg1"/>
          </a:solidFill>
          <a:ln w="9525">
            <a:noFill/>
            <a:miter lim="800000"/>
            <a:headEnd/>
            <a:tailEnd/>
          </a:ln>
        </p:spPr>
        <p:txBody>
          <a:bodyPr wrap="square">
            <a:spAutoFit/>
          </a:bodyPr>
          <a:lstStyle/>
          <a:p>
            <a:pPr lvl="0" algn="ctr"/>
            <a:r>
              <a:rPr lang="en-US" sz="1050" dirty="0"/>
              <a:t>Application Requirement Gathering across demand sources</a:t>
            </a:r>
          </a:p>
        </p:txBody>
      </p:sp>
      <p:sp>
        <p:nvSpPr>
          <p:cNvPr id="20" name="TextBox 56"/>
          <p:cNvSpPr txBox="1">
            <a:spLocks noChangeArrowheads="1"/>
          </p:cNvSpPr>
          <p:nvPr/>
        </p:nvSpPr>
        <p:spPr bwMode="auto">
          <a:xfrm>
            <a:off x="3978943" y="3736330"/>
            <a:ext cx="1929384" cy="430887"/>
          </a:xfrm>
          <a:prstGeom prst="rect">
            <a:avLst/>
          </a:prstGeom>
          <a:solidFill>
            <a:schemeClr val="bg1"/>
          </a:solidFill>
          <a:ln w="9525">
            <a:noFill/>
            <a:miter lim="800000"/>
            <a:headEnd/>
            <a:tailEnd/>
          </a:ln>
        </p:spPr>
        <p:txBody>
          <a:bodyPr wrap="square" anchor="ctr">
            <a:spAutoFit/>
          </a:bodyPr>
          <a:lstStyle/>
          <a:p>
            <a:pPr lvl="0" algn="ctr"/>
            <a:r>
              <a:rPr lang="en-US" sz="1050" dirty="0"/>
              <a:t>Demand prioritization and Blueprinting </a:t>
            </a:r>
          </a:p>
        </p:txBody>
      </p:sp>
      <p:sp>
        <p:nvSpPr>
          <p:cNvPr id="41" name="TextBox 55"/>
          <p:cNvSpPr txBox="1">
            <a:spLocks noChangeArrowheads="1"/>
          </p:cNvSpPr>
          <p:nvPr/>
        </p:nvSpPr>
        <p:spPr bwMode="auto">
          <a:xfrm>
            <a:off x="3978943" y="4499404"/>
            <a:ext cx="1929384" cy="900246"/>
          </a:xfrm>
          <a:prstGeom prst="rect">
            <a:avLst/>
          </a:prstGeom>
          <a:solidFill>
            <a:schemeClr val="bg1"/>
          </a:solidFill>
          <a:ln w="9525">
            <a:noFill/>
            <a:miter lim="800000"/>
            <a:headEnd/>
            <a:tailEnd/>
          </a:ln>
        </p:spPr>
        <p:txBody>
          <a:bodyPr wrap="square">
            <a:spAutoFit/>
          </a:bodyPr>
          <a:lstStyle/>
          <a:p>
            <a:pPr lvl="0" algn="ctr"/>
            <a:r>
              <a:rPr lang="en-US" sz="1050" dirty="0"/>
              <a:t>Innovation Services to enrich  use cases  ( Digital innovation themes – Cross channel , Context , Presence etc )</a:t>
            </a:r>
          </a:p>
        </p:txBody>
      </p:sp>
      <p:sp>
        <p:nvSpPr>
          <p:cNvPr id="42" name="TextBox 56"/>
          <p:cNvSpPr txBox="1">
            <a:spLocks noChangeArrowheads="1"/>
          </p:cNvSpPr>
          <p:nvPr/>
        </p:nvSpPr>
        <p:spPr bwMode="auto">
          <a:xfrm>
            <a:off x="3978943" y="5839558"/>
            <a:ext cx="1929384" cy="261610"/>
          </a:xfrm>
          <a:prstGeom prst="rect">
            <a:avLst/>
          </a:prstGeom>
          <a:solidFill>
            <a:schemeClr val="bg1"/>
          </a:solidFill>
          <a:ln w="9525">
            <a:noFill/>
            <a:miter lim="800000"/>
            <a:headEnd/>
            <a:tailEnd/>
          </a:ln>
        </p:spPr>
        <p:txBody>
          <a:bodyPr wrap="square" anchor="ctr">
            <a:spAutoFit/>
          </a:bodyPr>
          <a:lstStyle/>
          <a:p>
            <a:pPr lvl="0" algn="ctr"/>
            <a:r>
              <a:rPr lang="en-US" sz="1050" dirty="0"/>
              <a:t>Quick Pilots</a:t>
            </a:r>
          </a:p>
        </p:txBody>
      </p:sp>
      <p:sp>
        <p:nvSpPr>
          <p:cNvPr id="56" name="TextBox 55"/>
          <p:cNvSpPr txBox="1">
            <a:spLocks noChangeArrowheads="1"/>
          </p:cNvSpPr>
          <p:nvPr/>
        </p:nvSpPr>
        <p:spPr bwMode="auto">
          <a:xfrm>
            <a:off x="1650939" y="2757812"/>
            <a:ext cx="1933320" cy="1061829"/>
          </a:xfrm>
          <a:prstGeom prst="rect">
            <a:avLst/>
          </a:prstGeom>
          <a:solidFill>
            <a:schemeClr val="bg1"/>
          </a:solidFill>
          <a:ln w="9525">
            <a:noFill/>
            <a:miter lim="800000"/>
            <a:headEnd/>
            <a:tailEnd/>
          </a:ln>
        </p:spPr>
        <p:txBody>
          <a:bodyPr wrap="square">
            <a:spAutoFit/>
          </a:bodyPr>
          <a:lstStyle/>
          <a:p>
            <a:pPr lvl="0" algn="ctr"/>
            <a:r>
              <a:rPr lang="en-US" sz="1050" dirty="0"/>
              <a:t>Understanding  and Assessing the common development and IT ecosystems including client’s core solution delivery methodology </a:t>
            </a:r>
          </a:p>
        </p:txBody>
      </p:sp>
      <p:sp>
        <p:nvSpPr>
          <p:cNvPr id="57" name="TextBox 56"/>
          <p:cNvSpPr txBox="1">
            <a:spLocks noChangeArrowheads="1"/>
          </p:cNvSpPr>
          <p:nvPr/>
        </p:nvSpPr>
        <p:spPr bwMode="auto">
          <a:xfrm>
            <a:off x="1646565" y="4295852"/>
            <a:ext cx="1942068" cy="1061829"/>
          </a:xfrm>
          <a:prstGeom prst="rect">
            <a:avLst/>
          </a:prstGeom>
          <a:solidFill>
            <a:schemeClr val="bg1"/>
          </a:solidFill>
          <a:ln w="9525">
            <a:noFill/>
            <a:miter lim="800000"/>
            <a:headEnd/>
            <a:tailEnd/>
          </a:ln>
        </p:spPr>
        <p:txBody>
          <a:bodyPr wrap="square" anchor="ctr">
            <a:spAutoFit/>
          </a:bodyPr>
          <a:lstStyle/>
          <a:p>
            <a:pPr lvl="0" algn="ctr"/>
            <a:endParaRPr lang="en-US" sz="1050" dirty="0"/>
          </a:p>
          <a:p>
            <a:pPr lvl="0" algn="ctr"/>
            <a:r>
              <a:rPr lang="en-US" sz="1050" dirty="0"/>
              <a:t>Assessing the need of additional  systems , processes and methodologies to integrate mobility</a:t>
            </a:r>
          </a:p>
        </p:txBody>
      </p:sp>
      <p:sp>
        <p:nvSpPr>
          <p:cNvPr id="58" name="Down Arrow 57"/>
          <p:cNvSpPr/>
          <p:nvPr/>
        </p:nvSpPr>
        <p:spPr bwMode="auto">
          <a:xfrm>
            <a:off x="2436172" y="3964500"/>
            <a:ext cx="362857" cy="254961"/>
          </a:xfrm>
          <a:prstGeom prst="downArrow">
            <a:avLst/>
          </a:prstGeom>
          <a:solidFill>
            <a:schemeClr val="bg2">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GB" sz="1200" dirty="0">
              <a:solidFill>
                <a:schemeClr val="tx2"/>
              </a:solidFill>
              <a:cs typeface="Arial" charset="0"/>
            </a:endParaRPr>
          </a:p>
        </p:txBody>
      </p:sp>
      <p:sp>
        <p:nvSpPr>
          <p:cNvPr id="59" name="Down Arrow 58"/>
          <p:cNvSpPr/>
          <p:nvPr/>
        </p:nvSpPr>
        <p:spPr bwMode="auto">
          <a:xfrm>
            <a:off x="4762208" y="3413657"/>
            <a:ext cx="362857" cy="254961"/>
          </a:xfrm>
          <a:prstGeom prst="downArrow">
            <a:avLst/>
          </a:prstGeom>
          <a:solidFill>
            <a:schemeClr val="bg2">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GB" sz="1200" dirty="0">
              <a:solidFill>
                <a:schemeClr val="tx2"/>
              </a:solidFill>
              <a:cs typeface="Arial" charset="0"/>
            </a:endParaRPr>
          </a:p>
        </p:txBody>
      </p:sp>
      <p:sp>
        <p:nvSpPr>
          <p:cNvPr id="60" name="Down Arrow 59"/>
          <p:cNvSpPr/>
          <p:nvPr/>
        </p:nvSpPr>
        <p:spPr bwMode="auto">
          <a:xfrm>
            <a:off x="4762208" y="4206872"/>
            <a:ext cx="362857" cy="254961"/>
          </a:xfrm>
          <a:prstGeom prst="downArrow">
            <a:avLst/>
          </a:prstGeom>
          <a:solidFill>
            <a:schemeClr val="bg2">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GB" sz="1200" dirty="0">
              <a:solidFill>
                <a:schemeClr val="tx2"/>
              </a:solidFill>
              <a:cs typeface="Arial" charset="0"/>
            </a:endParaRPr>
          </a:p>
        </p:txBody>
      </p:sp>
      <p:sp>
        <p:nvSpPr>
          <p:cNvPr id="61" name="Down Arrow 60"/>
          <p:cNvSpPr/>
          <p:nvPr/>
        </p:nvSpPr>
        <p:spPr bwMode="auto">
          <a:xfrm>
            <a:off x="4762208" y="5550930"/>
            <a:ext cx="362857" cy="254961"/>
          </a:xfrm>
          <a:prstGeom prst="downArrow">
            <a:avLst/>
          </a:prstGeom>
          <a:solidFill>
            <a:schemeClr val="bg2">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GB" sz="1200" dirty="0">
              <a:solidFill>
                <a:schemeClr val="tx2"/>
              </a:solidFill>
              <a:cs typeface="Arial" charset="0"/>
            </a:endParaRPr>
          </a:p>
        </p:txBody>
      </p:sp>
      <p:grpSp>
        <p:nvGrpSpPr>
          <p:cNvPr id="67" name="Group 66"/>
          <p:cNvGrpSpPr/>
          <p:nvPr/>
        </p:nvGrpSpPr>
        <p:grpSpPr>
          <a:xfrm rot="5400000">
            <a:off x="2569266" y="1816853"/>
            <a:ext cx="89188" cy="1489013"/>
            <a:chOff x="1686052" y="2399756"/>
            <a:chExt cx="298687" cy="2085158"/>
          </a:xfrm>
          <a:solidFill>
            <a:schemeClr val="bg2">
              <a:lumMod val="50000"/>
            </a:schemeClr>
          </a:solidFill>
        </p:grpSpPr>
        <p:cxnSp>
          <p:nvCxnSpPr>
            <p:cNvPr id="68" name="Straight Connector 67"/>
            <p:cNvCxnSpPr/>
            <p:nvPr/>
          </p:nvCxnSpPr>
          <p:spPr>
            <a:xfrm>
              <a:off x="1686052" y="2399756"/>
              <a:ext cx="0" cy="2085158"/>
            </a:xfrm>
            <a:prstGeom prst="line">
              <a:avLst/>
            </a:prstGeom>
            <a:grpFill/>
            <a:ln w="25400">
              <a:solidFill>
                <a:schemeClr val="bg2">
                  <a:lumMod val="50000"/>
                </a:schemeClr>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69" name="Isosceles Triangle 68"/>
            <p:cNvSpPr/>
            <p:nvPr/>
          </p:nvSpPr>
          <p:spPr bwMode="auto">
            <a:xfrm rot="5400000">
              <a:off x="1178332" y="3275740"/>
              <a:ext cx="1314128" cy="298686"/>
            </a:xfrm>
            <a:prstGeom prst="triangle">
              <a:avLst/>
            </a:prstGeom>
            <a:grpFill/>
            <a:ln w="6350" cap="flat" cmpd="sng" algn="ctr">
              <a:solidFill>
                <a:schemeClr val="bg2">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GB" sz="1200" dirty="0">
                <a:solidFill>
                  <a:schemeClr val="tx2"/>
                </a:solidFill>
                <a:cs typeface="Arial" charset="0"/>
              </a:endParaRPr>
            </a:p>
          </p:txBody>
        </p:sp>
      </p:grpSp>
      <p:grpSp>
        <p:nvGrpSpPr>
          <p:cNvPr id="70" name="Group 69"/>
          <p:cNvGrpSpPr/>
          <p:nvPr/>
        </p:nvGrpSpPr>
        <p:grpSpPr>
          <a:xfrm rot="5400000">
            <a:off x="4893433" y="1816854"/>
            <a:ext cx="89188" cy="1489013"/>
            <a:chOff x="1686052" y="2399756"/>
            <a:chExt cx="298687" cy="2085158"/>
          </a:xfrm>
          <a:solidFill>
            <a:schemeClr val="bg2">
              <a:lumMod val="50000"/>
            </a:schemeClr>
          </a:solidFill>
        </p:grpSpPr>
        <p:cxnSp>
          <p:nvCxnSpPr>
            <p:cNvPr id="71" name="Straight Connector 70"/>
            <p:cNvCxnSpPr/>
            <p:nvPr/>
          </p:nvCxnSpPr>
          <p:spPr>
            <a:xfrm>
              <a:off x="1686052" y="2399756"/>
              <a:ext cx="0" cy="2085158"/>
            </a:xfrm>
            <a:prstGeom prst="line">
              <a:avLst/>
            </a:prstGeom>
            <a:grpFill/>
            <a:ln w="25400">
              <a:solidFill>
                <a:schemeClr val="bg2">
                  <a:lumMod val="50000"/>
                </a:schemeClr>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72" name="Isosceles Triangle 71"/>
            <p:cNvSpPr/>
            <p:nvPr/>
          </p:nvSpPr>
          <p:spPr bwMode="auto">
            <a:xfrm rot="5400000">
              <a:off x="1178332" y="3275740"/>
              <a:ext cx="1314128" cy="298686"/>
            </a:xfrm>
            <a:prstGeom prst="triangle">
              <a:avLst/>
            </a:prstGeom>
            <a:grpFill/>
            <a:ln w="6350" cap="flat" cmpd="sng" algn="ctr">
              <a:solidFill>
                <a:schemeClr val="bg2">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GB" sz="1200" dirty="0">
                <a:solidFill>
                  <a:schemeClr val="tx2"/>
                </a:solidFill>
                <a:cs typeface="Arial" charset="0"/>
              </a:endParaRPr>
            </a:p>
          </p:txBody>
        </p:sp>
      </p:grpSp>
      <p:sp>
        <p:nvSpPr>
          <p:cNvPr id="54" name="Rectangle 53"/>
          <p:cNvSpPr/>
          <p:nvPr/>
        </p:nvSpPr>
        <p:spPr>
          <a:xfrm>
            <a:off x="6140387" y="2008211"/>
            <a:ext cx="2258568" cy="41624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548640" rtlCol="0" anchor="t" anchorCtr="0"/>
          <a:lstStyle/>
          <a:p>
            <a:pPr marL="174625" lvl="3" indent="-174625">
              <a:buClr>
                <a:schemeClr val="accent1"/>
              </a:buClr>
              <a:buFont typeface="Wingdings" pitchFamily="2" charset="2"/>
              <a:buChar char="§"/>
            </a:pPr>
            <a:endParaRPr lang="en-US" sz="1000" dirty="0">
              <a:solidFill>
                <a:schemeClr val="tx2">
                  <a:lumMod val="50000"/>
                </a:schemeClr>
              </a:solidFill>
              <a:cs typeface="Calibri" pitchFamily="34" charset="0"/>
            </a:endParaRPr>
          </a:p>
        </p:txBody>
      </p:sp>
      <p:sp>
        <p:nvSpPr>
          <p:cNvPr id="55" name="Rectangle 54"/>
          <p:cNvSpPr/>
          <p:nvPr/>
        </p:nvSpPr>
        <p:spPr>
          <a:xfrm>
            <a:off x="8466423" y="2008211"/>
            <a:ext cx="2258568" cy="41624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548640" rtlCol="0" anchor="t" anchorCtr="0"/>
          <a:lstStyle/>
          <a:p>
            <a:pPr marL="174625" lvl="3" indent="-174625">
              <a:buClr>
                <a:schemeClr val="accent1"/>
              </a:buClr>
              <a:buFont typeface="Wingdings" pitchFamily="2" charset="2"/>
              <a:buChar char="§"/>
            </a:pPr>
            <a:endParaRPr lang="en-US" sz="1000" dirty="0">
              <a:solidFill>
                <a:schemeClr val="tx2">
                  <a:lumMod val="50000"/>
                </a:schemeClr>
              </a:solidFill>
              <a:cs typeface="Calibri" pitchFamily="34" charset="0"/>
            </a:endParaRPr>
          </a:p>
        </p:txBody>
      </p:sp>
      <p:sp>
        <p:nvSpPr>
          <p:cNvPr id="2" name="Title 1"/>
          <p:cNvSpPr>
            <a:spLocks noGrp="1"/>
          </p:cNvSpPr>
          <p:nvPr>
            <p:ph type="title"/>
          </p:nvPr>
        </p:nvSpPr>
        <p:spPr/>
        <p:txBody>
          <a:bodyPr/>
          <a:lstStyle/>
          <a:p>
            <a:r>
              <a:rPr lang="en-US" dirty="0"/>
              <a:t>Approach to Developing Mobile </a:t>
            </a:r>
            <a:r>
              <a:rPr lang="en-US" dirty="0" smtClean="0"/>
              <a:t>Apps</a:t>
            </a:r>
            <a:endParaRPr lang="en-GB" dirty="0"/>
          </a:p>
        </p:txBody>
      </p:sp>
      <p:sp>
        <p:nvSpPr>
          <p:cNvPr id="5" name="Rectangle 4"/>
          <p:cNvSpPr/>
          <p:nvPr/>
        </p:nvSpPr>
        <p:spPr>
          <a:xfrm>
            <a:off x="6220491" y="1172721"/>
            <a:ext cx="2068436" cy="461665"/>
          </a:xfrm>
          <a:prstGeom prst="rect">
            <a:avLst/>
          </a:prstGeom>
        </p:spPr>
        <p:txBody>
          <a:bodyPr wrap="square">
            <a:spAutoFit/>
          </a:bodyPr>
          <a:lstStyle/>
          <a:p>
            <a:pPr algn="ctr"/>
            <a:r>
              <a:rPr lang="en-GB" sz="1200" dirty="0">
                <a:solidFill>
                  <a:srgbClr val="0070C0"/>
                </a:solidFill>
              </a:rPr>
              <a:t>Mobility vision and architectural leadership</a:t>
            </a:r>
            <a:endParaRPr lang="en-US" sz="1200" dirty="0">
              <a:solidFill>
                <a:srgbClr val="0070C0"/>
              </a:solidFill>
            </a:endParaRPr>
          </a:p>
        </p:txBody>
      </p:sp>
      <p:sp>
        <p:nvSpPr>
          <p:cNvPr id="6" name="Rectangle 5"/>
          <p:cNvSpPr/>
          <p:nvPr/>
        </p:nvSpPr>
        <p:spPr>
          <a:xfrm>
            <a:off x="8474443" y="1165773"/>
            <a:ext cx="2250548" cy="461665"/>
          </a:xfrm>
          <a:prstGeom prst="rect">
            <a:avLst/>
          </a:prstGeom>
        </p:spPr>
        <p:txBody>
          <a:bodyPr wrap="square">
            <a:spAutoFit/>
          </a:bodyPr>
          <a:lstStyle/>
          <a:p>
            <a:pPr algn="ctr"/>
            <a:r>
              <a:rPr lang="en-GB" sz="1200" dirty="0">
                <a:solidFill>
                  <a:srgbClr val="0070C0"/>
                </a:solidFill>
              </a:rPr>
              <a:t>Managing the delivery of  portfolio</a:t>
            </a:r>
            <a:endParaRPr lang="en-US" sz="1200" dirty="0">
              <a:solidFill>
                <a:srgbClr val="0070C0"/>
              </a:solidFill>
            </a:endParaRPr>
          </a:p>
        </p:txBody>
      </p:sp>
      <p:sp>
        <p:nvSpPr>
          <p:cNvPr id="25" name="Rounded Rectangle 24"/>
          <p:cNvSpPr/>
          <p:nvPr/>
        </p:nvSpPr>
        <p:spPr>
          <a:xfrm>
            <a:off x="6148418" y="1713725"/>
            <a:ext cx="2254265" cy="731520"/>
          </a:xfrm>
          <a:prstGeom prst="round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50" dirty="0"/>
              <a:t>          </a:t>
            </a:r>
          </a:p>
        </p:txBody>
      </p:sp>
      <p:sp>
        <p:nvSpPr>
          <p:cNvPr id="28" name="TextBox 48"/>
          <p:cNvSpPr txBox="1">
            <a:spLocks noChangeArrowheads="1"/>
          </p:cNvSpPr>
          <p:nvPr/>
        </p:nvSpPr>
        <p:spPr bwMode="auto">
          <a:xfrm>
            <a:off x="6142146" y="1882963"/>
            <a:ext cx="2250548" cy="461665"/>
          </a:xfrm>
          <a:prstGeom prst="rect">
            <a:avLst/>
          </a:prstGeom>
          <a:noFill/>
          <a:ln w="9525">
            <a:noFill/>
            <a:miter lim="800000"/>
            <a:headEnd/>
            <a:tailEnd/>
          </a:ln>
        </p:spPr>
        <p:txBody>
          <a:bodyPr wrap="square" anchor="ctr">
            <a:spAutoFit/>
          </a:bodyPr>
          <a:lstStyle/>
          <a:p>
            <a:pPr algn="ctr"/>
            <a:r>
              <a:rPr lang="en-US" sz="1200" b="1" dirty="0">
                <a:solidFill>
                  <a:schemeClr val="bg1"/>
                </a:solidFill>
              </a:rPr>
              <a:t>Delivery Engagement Model per program  </a:t>
            </a:r>
          </a:p>
        </p:txBody>
      </p:sp>
      <p:sp>
        <p:nvSpPr>
          <p:cNvPr id="29" name="TextBox 55"/>
          <p:cNvSpPr txBox="1">
            <a:spLocks noChangeArrowheads="1"/>
          </p:cNvSpPr>
          <p:nvPr/>
        </p:nvSpPr>
        <p:spPr bwMode="auto">
          <a:xfrm>
            <a:off x="6289373" y="2757812"/>
            <a:ext cx="1960599" cy="430887"/>
          </a:xfrm>
          <a:prstGeom prst="rect">
            <a:avLst/>
          </a:prstGeom>
          <a:solidFill>
            <a:schemeClr val="bg1"/>
          </a:solidFill>
          <a:ln w="9525">
            <a:noFill/>
            <a:miter lim="800000"/>
            <a:headEnd/>
            <a:tailEnd/>
          </a:ln>
        </p:spPr>
        <p:txBody>
          <a:bodyPr wrap="square">
            <a:spAutoFit/>
          </a:bodyPr>
          <a:lstStyle/>
          <a:p>
            <a:pPr lvl="0" algn="ctr"/>
            <a:r>
              <a:rPr lang="en-US" sz="1050" dirty="0"/>
              <a:t>Rightshore execution models</a:t>
            </a:r>
          </a:p>
        </p:txBody>
      </p:sp>
      <p:sp>
        <p:nvSpPr>
          <p:cNvPr id="30" name="TextBox 56"/>
          <p:cNvSpPr txBox="1">
            <a:spLocks noChangeArrowheads="1"/>
          </p:cNvSpPr>
          <p:nvPr/>
        </p:nvSpPr>
        <p:spPr bwMode="auto">
          <a:xfrm>
            <a:off x="6284936" y="3597620"/>
            <a:ext cx="1969470" cy="1384995"/>
          </a:xfrm>
          <a:prstGeom prst="rect">
            <a:avLst/>
          </a:prstGeom>
          <a:solidFill>
            <a:schemeClr val="bg1"/>
          </a:solidFill>
          <a:ln w="9525">
            <a:noFill/>
            <a:miter lim="800000"/>
            <a:headEnd/>
            <a:tailEnd/>
          </a:ln>
        </p:spPr>
        <p:txBody>
          <a:bodyPr wrap="square" anchor="ctr">
            <a:spAutoFit/>
          </a:bodyPr>
          <a:lstStyle/>
          <a:p>
            <a:pPr lvl="0" algn="ctr"/>
            <a:r>
              <a:rPr lang="en-US" sz="1050" b="1" dirty="0"/>
              <a:t>Roles &amp; Responsibility </a:t>
            </a:r>
          </a:p>
          <a:p>
            <a:pPr marL="0" lvl="1" algn="ctr"/>
            <a:r>
              <a:rPr lang="en-US" sz="1050" dirty="0"/>
              <a:t>Governance team</a:t>
            </a:r>
          </a:p>
          <a:p>
            <a:pPr marL="0" lvl="1" algn="ctr"/>
            <a:r>
              <a:rPr lang="en-US" sz="1050" dirty="0"/>
              <a:t>Architecture team</a:t>
            </a:r>
          </a:p>
          <a:p>
            <a:pPr marL="0" lvl="1" algn="ctr"/>
            <a:r>
              <a:rPr lang="en-US" sz="1050" dirty="0"/>
              <a:t>Execution Core team (Application life cycle management)</a:t>
            </a:r>
          </a:p>
          <a:p>
            <a:pPr marL="0" lvl="1" algn="ctr"/>
            <a:r>
              <a:rPr lang="en-US" sz="1050" dirty="0"/>
              <a:t>Execution Development &amp; Test Team  </a:t>
            </a:r>
          </a:p>
        </p:txBody>
      </p:sp>
      <p:sp>
        <p:nvSpPr>
          <p:cNvPr id="31" name="Rounded Rectangle 30"/>
          <p:cNvSpPr/>
          <p:nvPr/>
        </p:nvSpPr>
        <p:spPr>
          <a:xfrm>
            <a:off x="8480714" y="1713725"/>
            <a:ext cx="2254265" cy="731520"/>
          </a:xfrm>
          <a:prstGeom prst="round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50" dirty="0"/>
              <a:t>          </a:t>
            </a:r>
          </a:p>
        </p:txBody>
      </p:sp>
      <p:sp>
        <p:nvSpPr>
          <p:cNvPr id="34" name="TextBox 48"/>
          <p:cNvSpPr txBox="1">
            <a:spLocks noChangeArrowheads="1"/>
          </p:cNvSpPr>
          <p:nvPr/>
        </p:nvSpPr>
        <p:spPr bwMode="auto">
          <a:xfrm>
            <a:off x="8474443" y="1893964"/>
            <a:ext cx="2250548" cy="461665"/>
          </a:xfrm>
          <a:prstGeom prst="rect">
            <a:avLst/>
          </a:prstGeom>
          <a:noFill/>
          <a:ln w="9525">
            <a:noFill/>
            <a:miter lim="800000"/>
            <a:headEnd/>
            <a:tailEnd/>
          </a:ln>
        </p:spPr>
        <p:txBody>
          <a:bodyPr wrap="square" anchor="ctr">
            <a:spAutoFit/>
          </a:bodyPr>
          <a:lstStyle/>
          <a:p>
            <a:pPr lvl="0" algn="ctr"/>
            <a:r>
              <a:rPr lang="en-US" sz="1200" b="1" dirty="0">
                <a:solidFill>
                  <a:schemeClr val="bg1"/>
                </a:solidFill>
              </a:rPr>
              <a:t>Rapid Application Development Approach</a:t>
            </a:r>
          </a:p>
        </p:txBody>
      </p:sp>
      <p:sp>
        <p:nvSpPr>
          <p:cNvPr id="35" name="TextBox 55"/>
          <p:cNvSpPr txBox="1">
            <a:spLocks noChangeArrowheads="1"/>
          </p:cNvSpPr>
          <p:nvPr/>
        </p:nvSpPr>
        <p:spPr bwMode="auto">
          <a:xfrm>
            <a:off x="8599700" y="2757812"/>
            <a:ext cx="1842398" cy="430887"/>
          </a:xfrm>
          <a:prstGeom prst="rect">
            <a:avLst/>
          </a:prstGeom>
          <a:solidFill>
            <a:schemeClr val="bg1"/>
          </a:solidFill>
          <a:ln w="9525">
            <a:noFill/>
            <a:miter lim="800000"/>
            <a:headEnd/>
            <a:tailEnd/>
          </a:ln>
        </p:spPr>
        <p:txBody>
          <a:bodyPr wrap="square">
            <a:spAutoFit/>
          </a:bodyPr>
          <a:lstStyle/>
          <a:p>
            <a:pPr lvl="0" algn="ctr"/>
            <a:r>
              <a:rPr lang="en-US" sz="1050" dirty="0"/>
              <a:t>Agile Development Process Model</a:t>
            </a:r>
          </a:p>
        </p:txBody>
      </p:sp>
      <p:sp>
        <p:nvSpPr>
          <p:cNvPr id="36" name="TextBox 56"/>
          <p:cNvSpPr txBox="1">
            <a:spLocks noChangeArrowheads="1"/>
          </p:cNvSpPr>
          <p:nvPr/>
        </p:nvSpPr>
        <p:spPr bwMode="auto">
          <a:xfrm>
            <a:off x="8599700" y="3517682"/>
            <a:ext cx="1850734" cy="261610"/>
          </a:xfrm>
          <a:prstGeom prst="rect">
            <a:avLst/>
          </a:prstGeom>
          <a:solidFill>
            <a:schemeClr val="bg1"/>
          </a:solidFill>
          <a:ln w="9525">
            <a:noFill/>
            <a:miter lim="800000"/>
            <a:headEnd/>
            <a:tailEnd/>
          </a:ln>
        </p:spPr>
        <p:txBody>
          <a:bodyPr wrap="square" anchor="ctr">
            <a:spAutoFit/>
          </a:bodyPr>
          <a:lstStyle/>
          <a:p>
            <a:pPr lvl="0" algn="ctr"/>
            <a:r>
              <a:rPr lang="en-US" sz="1050" dirty="0"/>
              <a:t>Application Factory </a:t>
            </a:r>
          </a:p>
        </p:txBody>
      </p:sp>
      <p:sp>
        <p:nvSpPr>
          <p:cNvPr id="46" name="TextBox 56"/>
          <p:cNvSpPr txBox="1">
            <a:spLocks noChangeArrowheads="1"/>
          </p:cNvSpPr>
          <p:nvPr/>
        </p:nvSpPr>
        <p:spPr bwMode="auto">
          <a:xfrm>
            <a:off x="6284936" y="5427910"/>
            <a:ext cx="1969470" cy="415498"/>
          </a:xfrm>
          <a:prstGeom prst="rect">
            <a:avLst/>
          </a:prstGeom>
          <a:solidFill>
            <a:schemeClr val="bg1"/>
          </a:solidFill>
          <a:ln w="9525">
            <a:noFill/>
            <a:miter lim="800000"/>
            <a:headEnd/>
            <a:tailEnd/>
          </a:ln>
        </p:spPr>
        <p:txBody>
          <a:bodyPr wrap="square" anchor="ctr">
            <a:spAutoFit/>
          </a:bodyPr>
          <a:lstStyle/>
          <a:p>
            <a:pPr lvl="0" algn="ctr"/>
            <a:r>
              <a:rPr lang="en-US" sz="1050" dirty="0"/>
              <a:t>Cap Gemini Mobile Centre of Excellence  Support</a:t>
            </a:r>
          </a:p>
        </p:txBody>
      </p:sp>
      <p:sp>
        <p:nvSpPr>
          <p:cNvPr id="49" name="TextBox 56"/>
          <p:cNvSpPr txBox="1">
            <a:spLocks noChangeArrowheads="1"/>
          </p:cNvSpPr>
          <p:nvPr/>
        </p:nvSpPr>
        <p:spPr bwMode="auto">
          <a:xfrm>
            <a:off x="8599700" y="4136167"/>
            <a:ext cx="1850734" cy="430887"/>
          </a:xfrm>
          <a:prstGeom prst="rect">
            <a:avLst/>
          </a:prstGeom>
          <a:solidFill>
            <a:schemeClr val="bg1"/>
          </a:solidFill>
          <a:ln w="9525">
            <a:noFill/>
            <a:miter lim="800000"/>
            <a:headEnd/>
            <a:tailEnd/>
          </a:ln>
        </p:spPr>
        <p:txBody>
          <a:bodyPr wrap="square" anchor="ctr">
            <a:spAutoFit/>
          </a:bodyPr>
          <a:lstStyle/>
          <a:p>
            <a:pPr lvl="0" algn="ctr"/>
            <a:r>
              <a:rPr lang="en-US" sz="1050" dirty="0"/>
              <a:t>Collaboration model with all stake holders</a:t>
            </a:r>
          </a:p>
        </p:txBody>
      </p:sp>
      <p:sp>
        <p:nvSpPr>
          <p:cNvPr id="62" name="Down Arrow 61"/>
          <p:cNvSpPr/>
          <p:nvPr/>
        </p:nvSpPr>
        <p:spPr bwMode="auto">
          <a:xfrm>
            <a:off x="7088244" y="3226370"/>
            <a:ext cx="362857" cy="254961"/>
          </a:xfrm>
          <a:prstGeom prst="downArrow">
            <a:avLst/>
          </a:prstGeom>
          <a:solidFill>
            <a:schemeClr val="bg2">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GB" sz="1200" dirty="0">
              <a:solidFill>
                <a:schemeClr val="tx2"/>
              </a:solidFill>
              <a:cs typeface="Arial" charset="0"/>
            </a:endParaRPr>
          </a:p>
        </p:txBody>
      </p:sp>
      <p:sp>
        <p:nvSpPr>
          <p:cNvPr id="64" name="Down Arrow 63"/>
          <p:cNvSpPr/>
          <p:nvPr/>
        </p:nvSpPr>
        <p:spPr bwMode="auto">
          <a:xfrm>
            <a:off x="7088244" y="5121272"/>
            <a:ext cx="362857" cy="254961"/>
          </a:xfrm>
          <a:prstGeom prst="downArrow">
            <a:avLst/>
          </a:prstGeom>
          <a:solidFill>
            <a:schemeClr val="bg2">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GB" sz="1200" dirty="0">
              <a:solidFill>
                <a:schemeClr val="tx2"/>
              </a:solidFill>
              <a:cs typeface="Arial" charset="0"/>
            </a:endParaRPr>
          </a:p>
        </p:txBody>
      </p:sp>
      <p:sp>
        <p:nvSpPr>
          <p:cNvPr id="65" name="Down Arrow 64"/>
          <p:cNvSpPr/>
          <p:nvPr/>
        </p:nvSpPr>
        <p:spPr bwMode="auto">
          <a:xfrm>
            <a:off x="9339472" y="3226370"/>
            <a:ext cx="362857" cy="254961"/>
          </a:xfrm>
          <a:prstGeom prst="downArrow">
            <a:avLst/>
          </a:prstGeom>
          <a:solidFill>
            <a:schemeClr val="bg2">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GB" sz="1200" dirty="0">
              <a:solidFill>
                <a:schemeClr val="tx2"/>
              </a:solidFill>
              <a:cs typeface="Arial" charset="0"/>
            </a:endParaRPr>
          </a:p>
        </p:txBody>
      </p:sp>
      <p:sp>
        <p:nvSpPr>
          <p:cNvPr id="66" name="Down Arrow 65"/>
          <p:cNvSpPr/>
          <p:nvPr/>
        </p:nvSpPr>
        <p:spPr bwMode="auto">
          <a:xfrm>
            <a:off x="9339472" y="3821281"/>
            <a:ext cx="362857" cy="254961"/>
          </a:xfrm>
          <a:prstGeom prst="downArrow">
            <a:avLst/>
          </a:prstGeom>
          <a:solidFill>
            <a:schemeClr val="bg2">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GB" sz="1200" dirty="0">
              <a:solidFill>
                <a:schemeClr val="tx2"/>
              </a:solidFill>
              <a:cs typeface="Arial" charset="0"/>
            </a:endParaRPr>
          </a:p>
        </p:txBody>
      </p:sp>
      <p:grpSp>
        <p:nvGrpSpPr>
          <p:cNvPr id="73" name="Group 72"/>
          <p:cNvGrpSpPr/>
          <p:nvPr/>
        </p:nvGrpSpPr>
        <p:grpSpPr>
          <a:xfrm rot="5400000">
            <a:off x="7230955" y="1816855"/>
            <a:ext cx="89188" cy="1489013"/>
            <a:chOff x="1686052" y="2399756"/>
            <a:chExt cx="298687" cy="2085158"/>
          </a:xfrm>
          <a:solidFill>
            <a:schemeClr val="bg2">
              <a:lumMod val="50000"/>
            </a:schemeClr>
          </a:solidFill>
        </p:grpSpPr>
        <p:cxnSp>
          <p:nvCxnSpPr>
            <p:cNvPr id="74" name="Straight Connector 73"/>
            <p:cNvCxnSpPr/>
            <p:nvPr/>
          </p:nvCxnSpPr>
          <p:spPr>
            <a:xfrm>
              <a:off x="1686052" y="2399756"/>
              <a:ext cx="0" cy="2085158"/>
            </a:xfrm>
            <a:prstGeom prst="line">
              <a:avLst/>
            </a:prstGeom>
            <a:grpFill/>
            <a:ln w="25400">
              <a:solidFill>
                <a:schemeClr val="bg2">
                  <a:lumMod val="50000"/>
                </a:schemeClr>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75" name="Isosceles Triangle 74"/>
            <p:cNvSpPr/>
            <p:nvPr/>
          </p:nvSpPr>
          <p:spPr bwMode="auto">
            <a:xfrm rot="5400000">
              <a:off x="1178332" y="3275740"/>
              <a:ext cx="1314128" cy="298686"/>
            </a:xfrm>
            <a:prstGeom prst="triangle">
              <a:avLst/>
            </a:prstGeom>
            <a:grpFill/>
            <a:ln w="6350" cap="flat" cmpd="sng" algn="ctr">
              <a:solidFill>
                <a:schemeClr val="bg2">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GB" sz="1200" dirty="0">
                <a:solidFill>
                  <a:schemeClr val="tx2"/>
                </a:solidFill>
                <a:cs typeface="Arial" charset="0"/>
              </a:endParaRPr>
            </a:p>
          </p:txBody>
        </p:sp>
      </p:grpSp>
      <p:grpSp>
        <p:nvGrpSpPr>
          <p:cNvPr id="76" name="Group 75"/>
          <p:cNvGrpSpPr/>
          <p:nvPr/>
        </p:nvGrpSpPr>
        <p:grpSpPr>
          <a:xfrm rot="5400000">
            <a:off x="9555123" y="1816856"/>
            <a:ext cx="89188" cy="1489013"/>
            <a:chOff x="1686052" y="2399756"/>
            <a:chExt cx="298687" cy="2085158"/>
          </a:xfrm>
          <a:solidFill>
            <a:schemeClr val="bg2">
              <a:lumMod val="50000"/>
            </a:schemeClr>
          </a:solidFill>
        </p:grpSpPr>
        <p:cxnSp>
          <p:nvCxnSpPr>
            <p:cNvPr id="77" name="Straight Connector 76"/>
            <p:cNvCxnSpPr/>
            <p:nvPr/>
          </p:nvCxnSpPr>
          <p:spPr>
            <a:xfrm>
              <a:off x="1686052" y="2399756"/>
              <a:ext cx="0" cy="2085158"/>
            </a:xfrm>
            <a:prstGeom prst="line">
              <a:avLst/>
            </a:prstGeom>
            <a:grpFill/>
            <a:ln w="25400">
              <a:solidFill>
                <a:schemeClr val="bg2">
                  <a:lumMod val="50000"/>
                </a:schemeClr>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78" name="Isosceles Triangle 77"/>
            <p:cNvSpPr/>
            <p:nvPr/>
          </p:nvSpPr>
          <p:spPr bwMode="auto">
            <a:xfrm rot="5400000">
              <a:off x="1178332" y="3275740"/>
              <a:ext cx="1314128" cy="298686"/>
            </a:xfrm>
            <a:prstGeom prst="triangle">
              <a:avLst/>
            </a:prstGeom>
            <a:grpFill/>
            <a:ln w="6350" cap="flat" cmpd="sng" algn="ctr">
              <a:solidFill>
                <a:schemeClr val="bg2">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GB" sz="1200" dirty="0">
                <a:solidFill>
                  <a:schemeClr val="tx2"/>
                </a:solidFill>
                <a:cs typeface="Arial" charset="0"/>
              </a:endParaRPr>
            </a:p>
          </p:txBody>
        </p:sp>
      </p:grpSp>
    </p:spTree>
    <p:extLst>
      <p:ext uri="{BB962C8B-B14F-4D97-AF65-F5344CB8AC3E}">
        <p14:creationId xmlns:p14="http://schemas.microsoft.com/office/powerpoint/2010/main" val="191983521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7100551" cy="1230578"/>
          </a:xfrm>
        </p:spPr>
        <p:txBody>
          <a:bodyPr/>
          <a:lstStyle/>
          <a:p>
            <a:r>
              <a:rPr lang="en-GB" dirty="0"/>
              <a:t>Mobile Application Development Approach</a:t>
            </a:r>
          </a:p>
        </p:txBody>
      </p:sp>
      <p:grpSp>
        <p:nvGrpSpPr>
          <p:cNvPr id="3" name="Group 2"/>
          <p:cNvGrpSpPr/>
          <p:nvPr/>
        </p:nvGrpSpPr>
        <p:grpSpPr>
          <a:xfrm>
            <a:off x="1265548" y="1404258"/>
            <a:ext cx="2161639" cy="783770"/>
            <a:chOff x="298532" y="1255192"/>
            <a:chExt cx="9308936" cy="1005910"/>
          </a:xfrm>
        </p:grpSpPr>
        <p:sp>
          <p:nvSpPr>
            <p:cNvPr id="4" name="Right Brace 3"/>
            <p:cNvSpPr/>
            <p:nvPr/>
          </p:nvSpPr>
          <p:spPr>
            <a:xfrm rot="5400000">
              <a:off x="4816313" y="-650616"/>
              <a:ext cx="273374" cy="5550062"/>
            </a:xfrm>
            <a:prstGeom prst="rightBrace">
              <a:avLst>
                <a:gd name="adj1" fmla="val 33390"/>
                <a:gd name="adj2" fmla="val 50000"/>
              </a:avLst>
            </a:prstGeom>
            <a:solidFill>
              <a:schemeClr val="bg1">
                <a:lumMod val="65000"/>
              </a:schemeClr>
            </a:solidFill>
            <a:ln w="6350" cap="flat" cmpd="sng" algn="ctr">
              <a:noFill/>
              <a:prstDash val="solid"/>
              <a:round/>
              <a:headEnd type="none" w="med" len="med"/>
              <a:tailEnd type="none" w="med" len="med"/>
            </a:ln>
            <a:effectLst/>
          </p:spPr>
          <p:txBody>
            <a:bodyPr rtlCol="0" anchor="ctr"/>
            <a:lstStyle/>
            <a:p>
              <a:pPr algn="ctr"/>
              <a:endParaRPr lang="en-GB" dirty="0">
                <a:latin typeface="Calibri" pitchFamily="34" charset="0"/>
                <a:sym typeface="Calibri"/>
              </a:endParaRPr>
            </a:p>
          </p:txBody>
        </p:sp>
        <p:sp>
          <p:nvSpPr>
            <p:cNvPr id="5" name="Rounded Rectangle 4"/>
            <p:cNvSpPr/>
            <p:nvPr/>
          </p:nvSpPr>
          <p:spPr bwMode="auto">
            <a:xfrm>
              <a:off x="298532" y="1255192"/>
              <a:ext cx="9308936" cy="774211"/>
            </a:xfrm>
            <a:prstGeom prst="roundRect">
              <a:avLst/>
            </a:prstGeom>
            <a:solidFill>
              <a:schemeClr val="accent1"/>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296" eaLnBrk="0" fontAlgn="base" hangingPunct="0">
                <a:spcBef>
                  <a:spcPct val="0"/>
                </a:spcBef>
                <a:spcAft>
                  <a:spcPct val="0"/>
                </a:spcAft>
              </a:pPr>
              <a:r>
                <a:rPr lang="en-GB" sz="1600" b="1" dirty="0">
                  <a:solidFill>
                    <a:prstClr val="white"/>
                  </a:solidFill>
                  <a:latin typeface="Calibri" pitchFamily="34" charset="0"/>
                  <a:cs typeface="Arial" charset="0"/>
                  <a:sym typeface="Calibri"/>
                </a:rPr>
                <a:t>Considerations for technical solution</a:t>
              </a:r>
            </a:p>
          </p:txBody>
        </p:sp>
      </p:grpSp>
      <p:grpSp>
        <p:nvGrpSpPr>
          <p:cNvPr id="6" name="Group 5"/>
          <p:cNvGrpSpPr/>
          <p:nvPr/>
        </p:nvGrpSpPr>
        <p:grpSpPr>
          <a:xfrm>
            <a:off x="4267200" y="1404258"/>
            <a:ext cx="6477000" cy="783770"/>
            <a:chOff x="298532" y="1255192"/>
            <a:chExt cx="9308936" cy="1005910"/>
          </a:xfrm>
        </p:grpSpPr>
        <p:sp>
          <p:nvSpPr>
            <p:cNvPr id="7" name="Right Brace 6"/>
            <p:cNvSpPr/>
            <p:nvPr/>
          </p:nvSpPr>
          <p:spPr>
            <a:xfrm rot="5400000">
              <a:off x="4816313" y="-650616"/>
              <a:ext cx="273374" cy="5550062"/>
            </a:xfrm>
            <a:prstGeom prst="rightBrace">
              <a:avLst>
                <a:gd name="adj1" fmla="val 33390"/>
                <a:gd name="adj2" fmla="val 50000"/>
              </a:avLst>
            </a:prstGeom>
            <a:solidFill>
              <a:schemeClr val="bg1">
                <a:lumMod val="65000"/>
              </a:schemeClr>
            </a:solidFill>
            <a:ln w="6350" cap="flat" cmpd="sng" algn="ctr">
              <a:noFill/>
              <a:prstDash val="solid"/>
              <a:round/>
              <a:headEnd type="none" w="med" len="med"/>
              <a:tailEnd type="none" w="med" len="med"/>
            </a:ln>
            <a:effectLst/>
          </p:spPr>
          <p:txBody>
            <a:bodyPr rtlCol="0" anchor="ctr"/>
            <a:lstStyle/>
            <a:p>
              <a:pPr algn="ctr"/>
              <a:endParaRPr lang="en-GB" dirty="0">
                <a:latin typeface="Calibri" pitchFamily="34" charset="0"/>
                <a:sym typeface="Calibri"/>
              </a:endParaRPr>
            </a:p>
          </p:txBody>
        </p:sp>
        <p:sp>
          <p:nvSpPr>
            <p:cNvPr id="8" name="Rounded Rectangle 7"/>
            <p:cNvSpPr/>
            <p:nvPr/>
          </p:nvSpPr>
          <p:spPr bwMode="auto">
            <a:xfrm>
              <a:off x="298532" y="1255192"/>
              <a:ext cx="9308936" cy="774211"/>
            </a:xfrm>
            <a:prstGeom prst="roundRect">
              <a:avLst/>
            </a:prstGeom>
            <a:solidFill>
              <a:schemeClr val="accent1"/>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296" eaLnBrk="0" fontAlgn="base" hangingPunct="0">
                <a:spcBef>
                  <a:spcPct val="0"/>
                </a:spcBef>
                <a:spcAft>
                  <a:spcPct val="0"/>
                </a:spcAft>
              </a:pPr>
              <a:r>
                <a:rPr lang="en-GB" sz="1600" b="1" dirty="0">
                  <a:solidFill>
                    <a:prstClr val="white"/>
                  </a:solidFill>
                  <a:latin typeface="Calibri" pitchFamily="34" charset="0"/>
                  <a:cs typeface="Arial" charset="0"/>
                  <a:sym typeface="Calibri"/>
                </a:rPr>
                <a:t>Development of Mobile Applications</a:t>
              </a:r>
            </a:p>
          </p:txBody>
        </p:sp>
      </p:grpSp>
      <p:sp>
        <p:nvSpPr>
          <p:cNvPr id="19" name="Rounded Rectangle 4"/>
          <p:cNvSpPr/>
          <p:nvPr/>
        </p:nvSpPr>
        <p:spPr>
          <a:xfrm>
            <a:off x="1265548" y="2361709"/>
            <a:ext cx="2161639" cy="1193005"/>
          </a:xfrm>
          <a:prstGeom prst="roundRect">
            <a:avLst/>
          </a:prstGeom>
          <a:solidFill>
            <a:schemeClr val="accent4"/>
          </a:solidFill>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algn="ctr" defTabSz="622300">
              <a:lnSpc>
                <a:spcPct val="90000"/>
              </a:lnSpc>
              <a:spcBef>
                <a:spcPct val="0"/>
              </a:spcBef>
              <a:spcAft>
                <a:spcPct val="35000"/>
              </a:spcAft>
            </a:pPr>
            <a:r>
              <a:rPr lang="en-US" sz="1400" b="1" dirty="0"/>
              <a:t>Mobile Application Design Choices</a:t>
            </a:r>
          </a:p>
        </p:txBody>
      </p:sp>
      <p:sp>
        <p:nvSpPr>
          <p:cNvPr id="17" name="Rounded Rectangle 6"/>
          <p:cNvSpPr/>
          <p:nvPr/>
        </p:nvSpPr>
        <p:spPr>
          <a:xfrm>
            <a:off x="1265548" y="3675896"/>
            <a:ext cx="2161639" cy="1193005"/>
          </a:xfrm>
          <a:prstGeom prst="roundRect">
            <a:avLst/>
          </a:prstGeom>
          <a:solidFill>
            <a:schemeClr val="accent4"/>
          </a:solidFill>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algn="ctr" defTabSz="622300">
              <a:lnSpc>
                <a:spcPct val="90000"/>
              </a:lnSpc>
              <a:spcBef>
                <a:spcPct val="0"/>
              </a:spcBef>
              <a:spcAft>
                <a:spcPct val="35000"/>
              </a:spcAft>
            </a:pPr>
            <a:r>
              <a:rPr lang="en-US" sz="1400" b="1" dirty="0"/>
              <a:t>Mobility Application Enabling Approaches – Middleware</a:t>
            </a:r>
            <a:endParaRPr lang="en-US" sz="1400" dirty="0"/>
          </a:p>
        </p:txBody>
      </p:sp>
      <p:sp>
        <p:nvSpPr>
          <p:cNvPr id="15" name="Rounded Rectangle 8"/>
          <p:cNvSpPr/>
          <p:nvPr/>
        </p:nvSpPr>
        <p:spPr>
          <a:xfrm>
            <a:off x="1265548" y="4990082"/>
            <a:ext cx="2161639" cy="1193005"/>
          </a:xfrm>
          <a:prstGeom prst="roundRect">
            <a:avLst/>
          </a:prstGeom>
          <a:solidFill>
            <a:schemeClr val="accent4"/>
          </a:solidFill>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algn="ctr" defTabSz="622300">
              <a:lnSpc>
                <a:spcPct val="90000"/>
              </a:lnSpc>
              <a:spcBef>
                <a:spcPct val="0"/>
              </a:spcBef>
              <a:spcAft>
                <a:spcPct val="35000"/>
              </a:spcAft>
            </a:pPr>
            <a:r>
              <a:rPr lang="en-US" sz="1400" b="1" dirty="0"/>
              <a:t>Mobile application Integration Schemes</a:t>
            </a:r>
            <a:endParaRPr lang="en-US" sz="1400" dirty="0"/>
          </a:p>
        </p:txBody>
      </p:sp>
      <p:sp>
        <p:nvSpPr>
          <p:cNvPr id="21" name="Chevron 20"/>
          <p:cNvSpPr/>
          <p:nvPr/>
        </p:nvSpPr>
        <p:spPr bwMode="auto">
          <a:xfrm>
            <a:off x="3570514" y="2740496"/>
            <a:ext cx="435428" cy="435428"/>
          </a:xfrm>
          <a:prstGeom prst="chevron">
            <a:avLst/>
          </a:prstGeom>
          <a:solidFill>
            <a:schemeClr val="accent6"/>
          </a:solidFill>
          <a:ln w="6350"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GB" sz="1600" dirty="0">
              <a:solidFill>
                <a:schemeClr val="tx2"/>
              </a:solidFill>
              <a:cs typeface="Arial" charset="0"/>
            </a:endParaRPr>
          </a:p>
        </p:txBody>
      </p:sp>
      <p:sp>
        <p:nvSpPr>
          <p:cNvPr id="22" name="Chevron 21"/>
          <p:cNvSpPr/>
          <p:nvPr/>
        </p:nvSpPr>
        <p:spPr bwMode="auto">
          <a:xfrm>
            <a:off x="3570514" y="4054683"/>
            <a:ext cx="435428" cy="435428"/>
          </a:xfrm>
          <a:prstGeom prst="chevron">
            <a:avLst/>
          </a:prstGeom>
          <a:solidFill>
            <a:schemeClr val="accent6"/>
          </a:solidFill>
          <a:ln w="6350"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GB" sz="1600" dirty="0">
              <a:solidFill>
                <a:schemeClr val="tx2"/>
              </a:solidFill>
              <a:cs typeface="Arial" charset="0"/>
            </a:endParaRPr>
          </a:p>
        </p:txBody>
      </p:sp>
      <p:sp>
        <p:nvSpPr>
          <p:cNvPr id="23" name="Chevron 22"/>
          <p:cNvSpPr/>
          <p:nvPr/>
        </p:nvSpPr>
        <p:spPr bwMode="auto">
          <a:xfrm>
            <a:off x="3570514" y="5368869"/>
            <a:ext cx="435428" cy="435428"/>
          </a:xfrm>
          <a:prstGeom prst="chevron">
            <a:avLst/>
          </a:prstGeom>
          <a:solidFill>
            <a:schemeClr val="accent6"/>
          </a:solidFill>
          <a:ln w="6350"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GB" sz="1600" dirty="0">
              <a:solidFill>
                <a:schemeClr val="tx2"/>
              </a:solidFill>
              <a:cs typeface="Arial" charset="0"/>
            </a:endParaRPr>
          </a:p>
        </p:txBody>
      </p:sp>
      <p:sp>
        <p:nvSpPr>
          <p:cNvPr id="24" name="Rectangle 23"/>
          <p:cNvSpPr/>
          <p:nvPr/>
        </p:nvSpPr>
        <p:spPr bwMode="auto">
          <a:xfrm>
            <a:off x="4267200" y="3675895"/>
            <a:ext cx="6487886" cy="1197864"/>
          </a:xfrm>
          <a:prstGeom prst="rect">
            <a:avLst/>
          </a:prstGeom>
          <a:solidFill>
            <a:schemeClr val="accent5"/>
          </a:solidFill>
          <a:ln w="6350"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en-US" sz="1600" b="1" dirty="0">
                <a:solidFill>
                  <a:schemeClr val="bg1"/>
                </a:solidFill>
                <a:cs typeface="Arial" charset="0"/>
              </a:rPr>
              <a:t>Mobility Application Development Platform/Framework</a:t>
            </a:r>
          </a:p>
          <a:p>
            <a:pPr algn="ctr" eaLnBrk="0" fontAlgn="base" hangingPunct="0">
              <a:spcBef>
                <a:spcPct val="0"/>
              </a:spcBef>
              <a:spcAft>
                <a:spcPct val="0"/>
              </a:spcAft>
            </a:pPr>
            <a:endParaRPr lang="en-US" sz="1000" b="1" dirty="0">
              <a:solidFill>
                <a:schemeClr val="bg1"/>
              </a:solidFill>
              <a:cs typeface="Arial" charset="0"/>
            </a:endParaRPr>
          </a:p>
          <a:p>
            <a:pPr algn="ctr" eaLnBrk="0" fontAlgn="base" hangingPunct="0">
              <a:spcBef>
                <a:spcPct val="0"/>
              </a:spcBef>
              <a:spcAft>
                <a:spcPct val="0"/>
              </a:spcAft>
            </a:pPr>
            <a:r>
              <a:rPr lang="en-US" sz="1100" dirty="0">
                <a:solidFill>
                  <a:schemeClr val="bg1"/>
                </a:solidFill>
              </a:rPr>
              <a:t>Mobility Middleware/ Gateway/ Sync Framework</a:t>
            </a:r>
          </a:p>
          <a:p>
            <a:pPr algn="ctr" eaLnBrk="0" fontAlgn="base" hangingPunct="0">
              <a:spcBef>
                <a:spcPct val="0"/>
              </a:spcBef>
              <a:spcAft>
                <a:spcPct val="0"/>
              </a:spcAft>
            </a:pPr>
            <a:r>
              <a:rPr lang="en-US" sz="1100" dirty="0">
                <a:solidFill>
                  <a:schemeClr val="bg1"/>
                </a:solidFill>
              </a:rPr>
              <a:t>Mobile Backend As A Service ( MBAAS)</a:t>
            </a:r>
          </a:p>
          <a:p>
            <a:pPr algn="ctr" eaLnBrk="0" fontAlgn="base" hangingPunct="0">
              <a:spcBef>
                <a:spcPct val="0"/>
              </a:spcBef>
              <a:spcAft>
                <a:spcPct val="0"/>
              </a:spcAft>
            </a:pPr>
            <a:endParaRPr lang="en-US" sz="1600" dirty="0">
              <a:solidFill>
                <a:schemeClr val="bg1"/>
              </a:solidFill>
            </a:endParaRPr>
          </a:p>
          <a:p>
            <a:pPr algn="ctr" eaLnBrk="0" fontAlgn="base" hangingPunct="0">
              <a:spcBef>
                <a:spcPct val="0"/>
              </a:spcBef>
              <a:spcAft>
                <a:spcPct val="0"/>
              </a:spcAft>
              <a:buFont typeface="Arial" pitchFamily="34" charset="0"/>
              <a:buChar char="•"/>
            </a:pPr>
            <a:endParaRPr lang="en-US" sz="1600" b="1" dirty="0">
              <a:solidFill>
                <a:schemeClr val="bg1"/>
              </a:solidFill>
              <a:cs typeface="Arial" charset="0"/>
            </a:endParaRPr>
          </a:p>
        </p:txBody>
      </p:sp>
      <p:sp>
        <p:nvSpPr>
          <p:cNvPr id="25" name="Rectangle 24"/>
          <p:cNvSpPr/>
          <p:nvPr/>
        </p:nvSpPr>
        <p:spPr bwMode="auto">
          <a:xfrm>
            <a:off x="4267200" y="4990081"/>
            <a:ext cx="6487886" cy="1197864"/>
          </a:xfrm>
          <a:prstGeom prst="rect">
            <a:avLst/>
          </a:prstGeom>
          <a:solidFill>
            <a:schemeClr val="accent5"/>
          </a:solidFill>
          <a:ln w="6350"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en-US" sz="1600" b="1" dirty="0">
                <a:solidFill>
                  <a:schemeClr val="bg1"/>
                </a:solidFill>
                <a:cs typeface="Arial" charset="0"/>
              </a:rPr>
              <a:t>Mobile Friendly Integrations</a:t>
            </a:r>
          </a:p>
          <a:p>
            <a:pPr algn="ctr" eaLnBrk="0" fontAlgn="base" hangingPunct="0">
              <a:spcBef>
                <a:spcPct val="0"/>
              </a:spcBef>
              <a:spcAft>
                <a:spcPct val="0"/>
              </a:spcAft>
            </a:pPr>
            <a:endParaRPr lang="en-US" sz="1050" b="1" dirty="0">
              <a:solidFill>
                <a:schemeClr val="bg1"/>
              </a:solidFill>
              <a:cs typeface="Arial" charset="0"/>
            </a:endParaRPr>
          </a:p>
          <a:p>
            <a:pPr algn="ctr" eaLnBrk="0" fontAlgn="base" hangingPunct="0">
              <a:spcBef>
                <a:spcPct val="0"/>
              </a:spcBef>
              <a:spcAft>
                <a:spcPct val="0"/>
              </a:spcAft>
            </a:pPr>
            <a:r>
              <a:rPr lang="en-US" sz="1100" dirty="0">
                <a:solidFill>
                  <a:schemeClr val="bg1"/>
                </a:solidFill>
              </a:rPr>
              <a:t>Mobile friendly service exposure </a:t>
            </a:r>
          </a:p>
          <a:p>
            <a:pPr algn="ctr" eaLnBrk="0" fontAlgn="base" hangingPunct="0">
              <a:spcBef>
                <a:spcPct val="0"/>
              </a:spcBef>
              <a:spcAft>
                <a:spcPct val="0"/>
              </a:spcAft>
            </a:pPr>
            <a:r>
              <a:rPr lang="en-US" sz="1100" dirty="0">
                <a:solidFill>
                  <a:schemeClr val="bg1"/>
                </a:solidFill>
              </a:rPr>
              <a:t>Web standards REST/JSON/oDATA protocol compliance </a:t>
            </a:r>
          </a:p>
          <a:p>
            <a:pPr algn="ctr" eaLnBrk="0" fontAlgn="base" hangingPunct="0">
              <a:spcBef>
                <a:spcPct val="0"/>
              </a:spcBef>
              <a:spcAft>
                <a:spcPct val="0"/>
              </a:spcAft>
            </a:pPr>
            <a:r>
              <a:rPr lang="en-US" sz="1100" dirty="0">
                <a:solidFill>
                  <a:schemeClr val="bg1"/>
                </a:solidFill>
              </a:rPr>
              <a:t>Differential Data Interfaces for optimized mobile data fetches </a:t>
            </a:r>
          </a:p>
          <a:p>
            <a:pPr algn="ctr" eaLnBrk="0" fontAlgn="base" hangingPunct="0">
              <a:spcBef>
                <a:spcPct val="0"/>
              </a:spcBef>
              <a:spcAft>
                <a:spcPct val="0"/>
              </a:spcAft>
            </a:pPr>
            <a:r>
              <a:rPr lang="en-US" sz="1100" dirty="0">
                <a:solidFill>
                  <a:schemeClr val="bg1"/>
                </a:solidFill>
              </a:rPr>
              <a:t>Federated single sign on authentication schemes</a:t>
            </a:r>
          </a:p>
          <a:p>
            <a:pPr algn="ctr" eaLnBrk="0" fontAlgn="base" hangingPunct="0">
              <a:spcBef>
                <a:spcPct val="0"/>
              </a:spcBef>
              <a:spcAft>
                <a:spcPct val="0"/>
              </a:spcAft>
              <a:buFont typeface="Arial" pitchFamily="34" charset="0"/>
              <a:buChar char="•"/>
            </a:pPr>
            <a:endParaRPr lang="en-US" sz="1600" b="1" dirty="0">
              <a:solidFill>
                <a:schemeClr val="bg1"/>
              </a:solidFill>
              <a:cs typeface="Arial" charset="0"/>
            </a:endParaRPr>
          </a:p>
          <a:p>
            <a:pPr algn="ctr" eaLnBrk="0" fontAlgn="base" hangingPunct="0">
              <a:spcBef>
                <a:spcPct val="0"/>
              </a:spcBef>
              <a:spcAft>
                <a:spcPct val="0"/>
              </a:spcAft>
            </a:pPr>
            <a:endParaRPr lang="en-US" sz="1600" dirty="0">
              <a:solidFill>
                <a:schemeClr val="bg1"/>
              </a:solidFill>
              <a:cs typeface="Arial" charset="0"/>
            </a:endParaRPr>
          </a:p>
        </p:txBody>
      </p:sp>
      <p:grpSp>
        <p:nvGrpSpPr>
          <p:cNvPr id="35" name="Group 34"/>
          <p:cNvGrpSpPr/>
          <p:nvPr/>
        </p:nvGrpSpPr>
        <p:grpSpPr>
          <a:xfrm>
            <a:off x="4267200" y="2361708"/>
            <a:ext cx="6477000" cy="1197864"/>
            <a:chOff x="3218207" y="2650915"/>
            <a:chExt cx="5814862" cy="1126419"/>
          </a:xfrm>
          <a:solidFill>
            <a:schemeClr val="accent1">
              <a:lumMod val="40000"/>
              <a:lumOff val="60000"/>
            </a:schemeClr>
          </a:solidFill>
        </p:grpSpPr>
        <p:sp>
          <p:nvSpPr>
            <p:cNvPr id="26" name="Rectangle 25"/>
            <p:cNvSpPr/>
            <p:nvPr/>
          </p:nvSpPr>
          <p:spPr bwMode="auto">
            <a:xfrm>
              <a:off x="5133691" y="3456700"/>
              <a:ext cx="3891549" cy="320634"/>
            </a:xfrm>
            <a:prstGeom prst="rect">
              <a:avLst/>
            </a:prstGeom>
            <a:grp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600" dirty="0">
                  <a:solidFill>
                    <a:schemeClr val="bg1"/>
                  </a:solidFill>
                  <a:cs typeface="Arial" charset="0"/>
                </a:rPr>
                <a:t>HTML5/Angular JS/CSS3</a:t>
              </a:r>
            </a:p>
          </p:txBody>
        </p:sp>
        <p:sp>
          <p:nvSpPr>
            <p:cNvPr id="27" name="Rectangle 26"/>
            <p:cNvSpPr/>
            <p:nvPr/>
          </p:nvSpPr>
          <p:spPr bwMode="auto">
            <a:xfrm>
              <a:off x="5126671" y="2650915"/>
              <a:ext cx="1828800" cy="722658"/>
            </a:xfrm>
            <a:prstGeom prst="rect">
              <a:avLst/>
            </a:prstGeom>
            <a:grp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600" b="1" dirty="0">
                  <a:solidFill>
                    <a:schemeClr val="bg1"/>
                  </a:solidFill>
                  <a:cs typeface="Arial" charset="0"/>
                </a:rPr>
                <a:t>Cross Platform/</a:t>
              </a:r>
            </a:p>
            <a:p>
              <a:pPr algn="ctr" eaLnBrk="0" fontAlgn="base" hangingPunct="0">
                <a:spcBef>
                  <a:spcPct val="0"/>
                </a:spcBef>
                <a:spcAft>
                  <a:spcPct val="0"/>
                </a:spcAft>
              </a:pPr>
              <a:r>
                <a:rPr lang="en-US" sz="1600" b="1" dirty="0">
                  <a:solidFill>
                    <a:schemeClr val="bg1"/>
                  </a:solidFill>
                  <a:cs typeface="Arial" charset="0"/>
                </a:rPr>
                <a:t>Hybrid</a:t>
              </a:r>
            </a:p>
          </p:txBody>
        </p:sp>
        <p:sp>
          <p:nvSpPr>
            <p:cNvPr id="28" name="Rectangle 27"/>
            <p:cNvSpPr/>
            <p:nvPr/>
          </p:nvSpPr>
          <p:spPr bwMode="auto">
            <a:xfrm>
              <a:off x="7035134" y="2653846"/>
              <a:ext cx="1997935" cy="721187"/>
            </a:xfrm>
            <a:prstGeom prst="rect">
              <a:avLst/>
            </a:prstGeom>
            <a:grp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600" b="1" dirty="0">
                  <a:solidFill>
                    <a:schemeClr val="bg1"/>
                  </a:solidFill>
                  <a:cs typeface="Arial" charset="0"/>
                </a:rPr>
                <a:t>Mobile Web</a:t>
              </a:r>
            </a:p>
          </p:txBody>
        </p:sp>
        <p:sp>
          <p:nvSpPr>
            <p:cNvPr id="29" name="Rectangle 28"/>
            <p:cNvSpPr/>
            <p:nvPr/>
          </p:nvSpPr>
          <p:spPr bwMode="auto">
            <a:xfrm>
              <a:off x="3218207" y="2655398"/>
              <a:ext cx="1828800" cy="1121936"/>
            </a:xfrm>
            <a:prstGeom prst="rect">
              <a:avLst/>
            </a:prstGeom>
            <a:grp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600" b="1" dirty="0">
                  <a:solidFill>
                    <a:schemeClr val="bg1"/>
                  </a:solidFill>
                  <a:cs typeface="Arial" charset="0"/>
                </a:rPr>
                <a:t>Native Apps</a:t>
              </a:r>
            </a:p>
          </p:txBody>
        </p:sp>
      </p:grpSp>
      <p:pic>
        <p:nvPicPr>
          <p:cNvPr id="30" name="Picture 2"/>
          <p:cNvPicPr>
            <a:picLocks noChangeAspect="1" noChangeArrowheads="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483917" y="4560749"/>
            <a:ext cx="1216748" cy="266719"/>
          </a:xfrm>
          <a:prstGeom prst="rect">
            <a:avLst/>
          </a:prstGeom>
          <a:noFill/>
          <a:ln w="9525">
            <a:noFill/>
            <a:miter lim="800000"/>
            <a:headEnd/>
            <a:tailEnd/>
          </a:ln>
        </p:spPr>
      </p:pic>
      <p:pic>
        <p:nvPicPr>
          <p:cNvPr id="31" name="Picture 5"/>
          <p:cNvPicPr>
            <a:picLocks noChangeAspect="1" noChangeArrowheads="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232995" y="4540445"/>
            <a:ext cx="1163354" cy="280020"/>
          </a:xfrm>
          <a:prstGeom prst="rect">
            <a:avLst/>
          </a:prstGeom>
          <a:noFill/>
          <a:ln w="9525">
            <a:noFill/>
            <a:miter lim="800000"/>
            <a:headEnd/>
            <a:tailEnd/>
          </a:ln>
        </p:spPr>
      </p:pic>
      <p:pic>
        <p:nvPicPr>
          <p:cNvPr id="32" name="Picture 6"/>
          <p:cNvPicPr>
            <a:picLocks noChangeAspect="1" noChangeArrowheads="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603364" y="4561289"/>
            <a:ext cx="838006" cy="263972"/>
          </a:xfrm>
          <a:prstGeom prst="rect">
            <a:avLst/>
          </a:prstGeom>
          <a:noFill/>
          <a:ln w="9525">
            <a:noFill/>
            <a:miter lim="800000"/>
            <a:headEnd/>
            <a:tailEnd/>
          </a:ln>
        </p:spPr>
      </p:pic>
      <p:pic>
        <p:nvPicPr>
          <p:cNvPr id="33" name="Picture 7"/>
          <p:cNvPicPr>
            <a:picLocks noChangeAspect="1" noChangeArrowheads="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857278" y="4348262"/>
            <a:ext cx="543981" cy="496626"/>
          </a:xfrm>
          <a:prstGeom prst="rect">
            <a:avLst/>
          </a:prstGeom>
          <a:noFill/>
          <a:ln w="9525">
            <a:noFill/>
            <a:miter lim="800000"/>
            <a:headEnd/>
            <a:tailEnd/>
          </a:ln>
        </p:spPr>
      </p:pic>
      <p:pic>
        <p:nvPicPr>
          <p:cNvPr id="34" name="Picture 2"/>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890596" y="4551626"/>
            <a:ext cx="1199469" cy="273653"/>
          </a:xfrm>
          <a:prstGeom prst="rect">
            <a:avLst/>
          </a:prstGeom>
          <a:noFill/>
          <a:ln w="9525">
            <a:noFill/>
            <a:miter lim="800000"/>
            <a:headEnd/>
            <a:tailEnd/>
          </a:ln>
        </p:spPr>
      </p:pic>
      <p:cxnSp>
        <p:nvCxnSpPr>
          <p:cNvPr id="10" name="Straight Connector 9"/>
          <p:cNvCxnSpPr/>
          <p:nvPr/>
        </p:nvCxnSpPr>
        <p:spPr>
          <a:xfrm>
            <a:off x="4996543" y="4022025"/>
            <a:ext cx="5192486" cy="0"/>
          </a:xfrm>
          <a:prstGeom prst="line">
            <a:avLst/>
          </a:prstGeom>
          <a:ln w="25400">
            <a:solidFill>
              <a:schemeClr val="bg1"/>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5361216" y="5360968"/>
            <a:ext cx="4299857" cy="0"/>
          </a:xfrm>
          <a:prstGeom prst="line">
            <a:avLst/>
          </a:prstGeom>
          <a:ln w="25400">
            <a:solidFill>
              <a:schemeClr val="bg1"/>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883629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1"/>
            <a:ext cx="6513045" cy="1223727"/>
          </a:xfrm>
        </p:spPr>
        <p:txBody>
          <a:bodyPr/>
          <a:lstStyle/>
          <a:p>
            <a:r>
              <a:rPr lang="en-GB" dirty="0"/>
              <a:t>Mobile Application Development </a:t>
            </a:r>
            <a:r>
              <a:rPr lang="en-GB" dirty="0" smtClean="0"/>
              <a:t>Options</a:t>
            </a:r>
            <a:endParaRPr lang="en-GB" dirty="0"/>
          </a:p>
        </p:txBody>
      </p:sp>
      <p:grpSp>
        <p:nvGrpSpPr>
          <p:cNvPr id="3" name="Group 2"/>
          <p:cNvGrpSpPr/>
          <p:nvPr/>
        </p:nvGrpSpPr>
        <p:grpSpPr>
          <a:xfrm>
            <a:off x="3721100" y="1404258"/>
            <a:ext cx="4772418" cy="783770"/>
            <a:chOff x="-1188085" y="1255192"/>
            <a:chExt cx="15645440" cy="1005910"/>
          </a:xfrm>
        </p:grpSpPr>
        <p:sp>
          <p:nvSpPr>
            <p:cNvPr id="4" name="Right Brace 3"/>
            <p:cNvSpPr/>
            <p:nvPr/>
          </p:nvSpPr>
          <p:spPr>
            <a:xfrm rot="5400000">
              <a:off x="6939672" y="-650615"/>
              <a:ext cx="273373" cy="5550062"/>
            </a:xfrm>
            <a:prstGeom prst="rightBrace">
              <a:avLst>
                <a:gd name="adj1" fmla="val 33390"/>
                <a:gd name="adj2" fmla="val 50000"/>
              </a:avLst>
            </a:prstGeom>
            <a:solidFill>
              <a:schemeClr val="bg1">
                <a:lumMod val="65000"/>
              </a:schemeClr>
            </a:solidFill>
            <a:ln w="6350" cap="flat" cmpd="sng" algn="ctr">
              <a:noFill/>
              <a:prstDash val="solid"/>
              <a:round/>
              <a:headEnd type="none" w="med" len="med"/>
              <a:tailEnd type="none" w="med" len="med"/>
            </a:ln>
            <a:effectLst/>
          </p:spPr>
          <p:txBody>
            <a:bodyPr rtlCol="0" anchor="ctr"/>
            <a:lstStyle/>
            <a:p>
              <a:pPr algn="ctr"/>
              <a:endParaRPr lang="en-GB" dirty="0">
                <a:latin typeface="Calibri" pitchFamily="34" charset="0"/>
                <a:sym typeface="Calibri"/>
              </a:endParaRPr>
            </a:p>
          </p:txBody>
        </p:sp>
        <p:sp>
          <p:nvSpPr>
            <p:cNvPr id="5" name="Rounded Rectangle 4"/>
            <p:cNvSpPr/>
            <p:nvPr/>
          </p:nvSpPr>
          <p:spPr bwMode="auto">
            <a:xfrm>
              <a:off x="-1188085" y="1255192"/>
              <a:ext cx="15645440" cy="774211"/>
            </a:xfrm>
            <a:prstGeom prst="roundRect">
              <a:avLst/>
            </a:prstGeom>
            <a:solidFill>
              <a:schemeClr val="tx1"/>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296" eaLnBrk="0" fontAlgn="base" hangingPunct="0">
                <a:spcBef>
                  <a:spcPct val="0"/>
                </a:spcBef>
                <a:spcAft>
                  <a:spcPct val="0"/>
                </a:spcAft>
              </a:pPr>
              <a:r>
                <a:rPr lang="en-GB" sz="1600" b="1" dirty="0">
                  <a:solidFill>
                    <a:prstClr val="white"/>
                  </a:solidFill>
                  <a:latin typeface="Calibri" pitchFamily="34" charset="0"/>
                  <a:cs typeface="Arial" charset="0"/>
                  <a:sym typeface="Calibri"/>
                </a:rPr>
                <a:t>Development of Mobile Applications</a:t>
              </a:r>
            </a:p>
          </p:txBody>
        </p:sp>
      </p:grpSp>
      <p:cxnSp>
        <p:nvCxnSpPr>
          <p:cNvPr id="28" name="Elbow Connector 27"/>
          <p:cNvCxnSpPr>
            <a:stCxn id="4" idx="1"/>
            <a:endCxn id="6" idx="0"/>
          </p:cNvCxnSpPr>
          <p:nvPr/>
        </p:nvCxnSpPr>
        <p:spPr>
          <a:xfrm rot="16200000" flipH="1" flipV="1">
            <a:off x="4430928" y="884493"/>
            <a:ext cx="507587" cy="3114656"/>
          </a:xfrm>
          <a:prstGeom prst="bentConnector3">
            <a:avLst>
              <a:gd name="adj1" fmla="val 44941"/>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30" name="Elbow Connector 29"/>
          <p:cNvCxnSpPr>
            <a:stCxn id="4" idx="1"/>
            <a:endCxn id="14" idx="0"/>
          </p:cNvCxnSpPr>
          <p:nvPr/>
        </p:nvCxnSpPr>
        <p:spPr>
          <a:xfrm rot="16200000" flipH="1">
            <a:off x="7544315" y="885762"/>
            <a:ext cx="507587" cy="3112119"/>
          </a:xfrm>
          <a:prstGeom prst="bentConnector3">
            <a:avLst>
              <a:gd name="adj1" fmla="val 44941"/>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4" idx="1"/>
            <a:endCxn id="10" idx="0"/>
          </p:cNvCxnSpPr>
          <p:nvPr/>
        </p:nvCxnSpPr>
        <p:spPr>
          <a:xfrm flipH="1">
            <a:off x="6240782" y="2188028"/>
            <a:ext cx="1268" cy="507587"/>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6" name="Rounded Rectangle 5"/>
          <p:cNvSpPr/>
          <p:nvPr/>
        </p:nvSpPr>
        <p:spPr>
          <a:xfrm>
            <a:off x="1752601" y="2695615"/>
            <a:ext cx="2749585" cy="532050"/>
          </a:xfrm>
          <a:prstGeom prst="roundRect">
            <a:avLst>
              <a:gd name="adj" fmla="val 789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84048" rtlCol="0" anchor="ctr"/>
          <a:lstStyle/>
          <a:p>
            <a:r>
              <a:rPr lang="en-GB" sz="1600" b="1" dirty="0">
                <a:solidFill>
                  <a:schemeClr val="bg1"/>
                </a:solidFill>
              </a:rPr>
              <a:t>Native Apps</a:t>
            </a:r>
          </a:p>
        </p:txBody>
      </p:sp>
      <p:sp>
        <p:nvSpPr>
          <p:cNvPr id="7" name="Espace réservé du contenu 2"/>
          <p:cNvSpPr txBox="1">
            <a:spLocks/>
          </p:cNvSpPr>
          <p:nvPr/>
        </p:nvSpPr>
        <p:spPr>
          <a:xfrm>
            <a:off x="1487804" y="3352799"/>
            <a:ext cx="3007996" cy="2841172"/>
          </a:xfrm>
          <a:prstGeom prst="rect">
            <a:avLst/>
          </a:prstGeom>
          <a:solidFill>
            <a:schemeClr val="bg1">
              <a:lumMod val="95000"/>
            </a:schemeClr>
          </a:solidFill>
        </p:spPr>
        <p:txBody>
          <a:bodyPr vert="horz" wrap="square" lIns="91440" tIns="45720" rIns="91440" bIns="45720" rtlCol="0">
            <a:noAutofit/>
          </a:bodyPr>
          <a:lstStyle/>
          <a:p>
            <a:pPr marL="168275" indent="-168275">
              <a:spcAft>
                <a:spcPts val="200"/>
              </a:spcAft>
              <a:buClr>
                <a:schemeClr val="accent1"/>
              </a:buClr>
              <a:buFont typeface="Wingdings" pitchFamily="2" charset="2"/>
              <a:buChar char="§"/>
            </a:pPr>
            <a:r>
              <a:rPr lang="en-US" sz="1200" dirty="0">
                <a:solidFill>
                  <a:srgbClr val="9F958F">
                    <a:lumMod val="50000"/>
                  </a:srgbClr>
                </a:solidFill>
                <a:latin typeface="+mj-lt"/>
              </a:rPr>
              <a:t>Excellent User Experience</a:t>
            </a:r>
          </a:p>
          <a:p>
            <a:pPr marL="168275" indent="-168275">
              <a:spcAft>
                <a:spcPts val="200"/>
              </a:spcAft>
              <a:buClr>
                <a:schemeClr val="accent1"/>
              </a:buClr>
              <a:buFont typeface="Wingdings" pitchFamily="2" charset="2"/>
              <a:buChar char="§"/>
            </a:pPr>
            <a:r>
              <a:rPr lang="en-US" sz="1200" dirty="0">
                <a:solidFill>
                  <a:srgbClr val="9F958F">
                    <a:lumMod val="50000"/>
                  </a:srgbClr>
                </a:solidFill>
                <a:latin typeface="+mj-lt"/>
              </a:rPr>
              <a:t>Platform dependent</a:t>
            </a:r>
          </a:p>
          <a:p>
            <a:pPr marL="168275" indent="-168275">
              <a:spcAft>
                <a:spcPts val="200"/>
              </a:spcAft>
              <a:buClr>
                <a:schemeClr val="accent1"/>
              </a:buClr>
              <a:buFont typeface="Wingdings" pitchFamily="2" charset="2"/>
              <a:buChar char="§"/>
            </a:pPr>
            <a:r>
              <a:rPr lang="en-US" sz="1200" dirty="0">
                <a:solidFill>
                  <a:srgbClr val="9F958F">
                    <a:lumMod val="50000"/>
                  </a:srgbClr>
                </a:solidFill>
                <a:latin typeface="+mj-lt"/>
              </a:rPr>
              <a:t>Certify, Distribute and Upgrade</a:t>
            </a:r>
          </a:p>
          <a:p>
            <a:pPr marL="168275" indent="-168275">
              <a:spcAft>
                <a:spcPts val="200"/>
              </a:spcAft>
              <a:buClr>
                <a:schemeClr val="accent1"/>
              </a:buClr>
              <a:buFont typeface="Wingdings" pitchFamily="2" charset="2"/>
              <a:buChar char="§"/>
            </a:pPr>
            <a:r>
              <a:rPr lang="en-US" sz="1200" dirty="0">
                <a:solidFill>
                  <a:srgbClr val="9F958F">
                    <a:lumMod val="50000"/>
                  </a:srgbClr>
                </a:solidFill>
                <a:latin typeface="+mj-lt"/>
              </a:rPr>
              <a:t>Low code reusability</a:t>
            </a:r>
          </a:p>
          <a:p>
            <a:pPr marL="168275" indent="-168275">
              <a:spcAft>
                <a:spcPts val="200"/>
              </a:spcAft>
              <a:buClr>
                <a:schemeClr val="accent1"/>
              </a:buClr>
              <a:buFont typeface="Wingdings" pitchFamily="2" charset="2"/>
              <a:buChar char="§"/>
            </a:pPr>
            <a:r>
              <a:rPr lang="en-US" sz="1200" dirty="0">
                <a:solidFill>
                  <a:srgbClr val="9F958F">
                    <a:lumMod val="50000"/>
                  </a:srgbClr>
                </a:solidFill>
                <a:latin typeface="+mj-lt"/>
              </a:rPr>
              <a:t>Fully access to on device capabilities</a:t>
            </a:r>
          </a:p>
          <a:p>
            <a:pPr marL="168275" indent="-168275">
              <a:spcAft>
                <a:spcPts val="200"/>
              </a:spcAft>
              <a:buClr>
                <a:schemeClr val="accent1"/>
              </a:buClr>
              <a:buFont typeface="Wingdings" pitchFamily="2" charset="2"/>
              <a:buChar char="§"/>
            </a:pPr>
            <a:r>
              <a:rPr lang="en-US" sz="1200" dirty="0">
                <a:solidFill>
                  <a:srgbClr val="9F958F">
                    <a:lumMod val="50000"/>
                  </a:srgbClr>
                </a:solidFill>
                <a:latin typeface="+mj-lt"/>
              </a:rPr>
              <a:t>Notifications</a:t>
            </a:r>
          </a:p>
          <a:p>
            <a:pPr marL="168275" indent="-168275">
              <a:spcAft>
                <a:spcPts val="200"/>
              </a:spcAft>
              <a:buClr>
                <a:schemeClr val="accent1"/>
              </a:buClr>
              <a:buFont typeface="Wingdings" pitchFamily="2" charset="2"/>
              <a:buChar char="§"/>
            </a:pPr>
            <a:r>
              <a:rPr lang="en-US" sz="1200" dirty="0">
                <a:solidFill>
                  <a:srgbClr val="9F958F">
                    <a:lumMod val="50000"/>
                  </a:srgbClr>
                </a:solidFill>
                <a:latin typeface="+mj-lt"/>
              </a:rPr>
              <a:t>Local storage</a:t>
            </a:r>
          </a:p>
          <a:p>
            <a:pPr marL="168275" indent="-168275">
              <a:spcAft>
                <a:spcPts val="200"/>
              </a:spcAft>
              <a:buClr>
                <a:schemeClr val="accent1"/>
              </a:buClr>
              <a:buFont typeface="Wingdings" pitchFamily="2" charset="2"/>
              <a:buChar char="§"/>
            </a:pPr>
            <a:r>
              <a:rPr lang="en-US" sz="1200" dirty="0">
                <a:solidFill>
                  <a:srgbClr val="9F958F">
                    <a:lumMod val="50000"/>
                  </a:srgbClr>
                </a:solidFill>
                <a:latin typeface="+mj-lt"/>
              </a:rPr>
              <a:t>Medium to high TCO</a:t>
            </a:r>
          </a:p>
        </p:txBody>
      </p:sp>
      <p:sp>
        <p:nvSpPr>
          <p:cNvPr id="8" name="Oval 7"/>
          <p:cNvSpPr/>
          <p:nvPr/>
        </p:nvSpPr>
        <p:spPr>
          <a:xfrm>
            <a:off x="1446243" y="2644542"/>
            <a:ext cx="630000" cy="630000"/>
          </a:xfrm>
          <a:prstGeom prst="ellipse">
            <a:avLst/>
          </a:prstGeom>
        </p:spPr>
        <p:style>
          <a:lnRef idx="2">
            <a:schemeClr val="accent1"/>
          </a:lnRef>
          <a:fillRef idx="1">
            <a:schemeClr val="lt1"/>
          </a:fillRef>
          <a:effectRef idx="0">
            <a:schemeClr val="accent1"/>
          </a:effectRef>
          <a:fontRef idx="minor">
            <a:schemeClr val="dk1"/>
          </a:fontRef>
        </p:style>
        <p:txBody>
          <a:bodyPr wrap="square" rtlCol="0" anchor="ctr">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endParaRPr lang="en-GB" sz="1600" b="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ndParaRPr>
          </a:p>
        </p:txBody>
      </p:sp>
      <p:sp>
        <p:nvSpPr>
          <p:cNvPr id="9" name="Half Frame 8"/>
          <p:cNvSpPr/>
          <p:nvPr/>
        </p:nvSpPr>
        <p:spPr>
          <a:xfrm rot="10800000">
            <a:off x="4114800" y="5855417"/>
            <a:ext cx="381000" cy="338554"/>
          </a:xfrm>
          <a:prstGeom prst="halfFrame">
            <a:avLst>
              <a:gd name="adj1" fmla="val 17006"/>
              <a:gd name="adj2" fmla="val 13946"/>
            </a:avLst>
          </a:prstGeom>
          <a:solidFill>
            <a:schemeClr val="accent1"/>
          </a:solidFill>
        </p:spPr>
        <p:txBody>
          <a:bodyPr wrap="square" rtlCol="0" anchor="ctr">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endParaRPr lang="en-GB" sz="1600" b="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ndParaRPr>
          </a:p>
        </p:txBody>
      </p:sp>
      <p:sp>
        <p:nvSpPr>
          <p:cNvPr id="10" name="Rounded Rectangle 9"/>
          <p:cNvSpPr/>
          <p:nvPr/>
        </p:nvSpPr>
        <p:spPr>
          <a:xfrm>
            <a:off x="4865989" y="2695615"/>
            <a:ext cx="2749585" cy="532050"/>
          </a:xfrm>
          <a:prstGeom prst="roundRect">
            <a:avLst>
              <a:gd name="adj" fmla="val 789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84048" rtlCol="0" anchor="ctr"/>
          <a:lstStyle/>
          <a:p>
            <a:r>
              <a:rPr lang="en-GB" sz="1600" b="1" dirty="0">
                <a:solidFill>
                  <a:schemeClr val="bg1"/>
                </a:solidFill>
              </a:rPr>
              <a:t>Cross Platform / Hybrid</a:t>
            </a:r>
          </a:p>
        </p:txBody>
      </p:sp>
      <p:sp>
        <p:nvSpPr>
          <p:cNvPr id="11" name="Espace réservé du contenu 2"/>
          <p:cNvSpPr txBox="1">
            <a:spLocks/>
          </p:cNvSpPr>
          <p:nvPr/>
        </p:nvSpPr>
        <p:spPr>
          <a:xfrm>
            <a:off x="4601192" y="3352799"/>
            <a:ext cx="3007996" cy="2841172"/>
          </a:xfrm>
          <a:prstGeom prst="rect">
            <a:avLst/>
          </a:prstGeom>
          <a:solidFill>
            <a:schemeClr val="bg1">
              <a:lumMod val="95000"/>
            </a:schemeClr>
          </a:solidFill>
        </p:spPr>
        <p:txBody>
          <a:bodyPr vert="horz" wrap="square" lIns="91440" tIns="45720" rIns="91440" bIns="45720" rtlCol="0">
            <a:noAutofit/>
          </a:bodyPr>
          <a:lstStyle/>
          <a:p>
            <a:pPr marL="168275" indent="-168275">
              <a:spcAft>
                <a:spcPts val="200"/>
              </a:spcAft>
              <a:buClr>
                <a:schemeClr val="accent1"/>
              </a:buClr>
              <a:buFont typeface="Wingdings" pitchFamily="2" charset="2"/>
              <a:buChar char="§"/>
            </a:pPr>
            <a:r>
              <a:rPr lang="en-US" sz="1100" dirty="0">
                <a:solidFill>
                  <a:srgbClr val="9F958F">
                    <a:lumMod val="50000"/>
                  </a:srgbClr>
                </a:solidFill>
                <a:latin typeface="+mj-lt"/>
              </a:rPr>
              <a:t>Very good to excellent User Experience</a:t>
            </a:r>
          </a:p>
          <a:p>
            <a:pPr marL="168275" indent="-168275">
              <a:spcAft>
                <a:spcPts val="200"/>
              </a:spcAft>
              <a:buClr>
                <a:schemeClr val="accent1"/>
              </a:buClr>
              <a:buFont typeface="Wingdings" pitchFamily="2" charset="2"/>
              <a:buChar char="§"/>
            </a:pPr>
            <a:r>
              <a:rPr lang="en-US" sz="1100" dirty="0">
                <a:solidFill>
                  <a:srgbClr val="9F958F">
                    <a:lumMod val="50000"/>
                  </a:srgbClr>
                </a:solidFill>
                <a:latin typeface="+mj-lt"/>
              </a:rPr>
              <a:t>Platform specific hooks</a:t>
            </a:r>
          </a:p>
          <a:p>
            <a:pPr marL="168275" indent="-168275">
              <a:spcAft>
                <a:spcPts val="200"/>
              </a:spcAft>
              <a:buClr>
                <a:schemeClr val="accent1"/>
              </a:buClr>
              <a:buFont typeface="Wingdings" pitchFamily="2" charset="2"/>
              <a:buChar char="§"/>
            </a:pPr>
            <a:r>
              <a:rPr lang="en-US" sz="1100" dirty="0">
                <a:solidFill>
                  <a:srgbClr val="9F958F">
                    <a:lumMod val="50000"/>
                  </a:srgbClr>
                </a:solidFill>
                <a:latin typeface="+mj-lt"/>
              </a:rPr>
              <a:t>Certify, Distribute</a:t>
            </a:r>
          </a:p>
          <a:p>
            <a:pPr marL="168275" indent="-168275">
              <a:spcAft>
                <a:spcPts val="200"/>
              </a:spcAft>
              <a:buClr>
                <a:schemeClr val="accent1"/>
              </a:buClr>
              <a:buFont typeface="Wingdings" pitchFamily="2" charset="2"/>
              <a:buChar char="§"/>
            </a:pPr>
            <a:r>
              <a:rPr lang="en-US" sz="1100" dirty="0">
                <a:solidFill>
                  <a:srgbClr val="9F958F">
                    <a:lumMod val="50000"/>
                  </a:srgbClr>
                </a:solidFill>
                <a:latin typeface="+mj-lt"/>
              </a:rPr>
              <a:t>Compatibility issues</a:t>
            </a:r>
          </a:p>
          <a:p>
            <a:pPr marL="168275" indent="-168275">
              <a:spcAft>
                <a:spcPts val="200"/>
              </a:spcAft>
              <a:buClr>
                <a:schemeClr val="accent1"/>
              </a:buClr>
              <a:buFont typeface="Wingdings" pitchFamily="2" charset="2"/>
              <a:buChar char="§"/>
            </a:pPr>
            <a:r>
              <a:rPr lang="en-US" sz="1100" dirty="0">
                <a:solidFill>
                  <a:srgbClr val="9F958F">
                    <a:lumMod val="50000"/>
                  </a:srgbClr>
                </a:solidFill>
                <a:latin typeface="+mj-lt"/>
              </a:rPr>
              <a:t>Can operate offline </a:t>
            </a:r>
          </a:p>
          <a:p>
            <a:pPr marL="168275" indent="-168275">
              <a:spcAft>
                <a:spcPts val="200"/>
              </a:spcAft>
              <a:buClr>
                <a:schemeClr val="accent1"/>
              </a:buClr>
              <a:buFont typeface="Wingdings" pitchFamily="2" charset="2"/>
              <a:buChar char="§"/>
            </a:pPr>
            <a:r>
              <a:rPr lang="en-US" sz="1100" dirty="0">
                <a:solidFill>
                  <a:srgbClr val="9F958F">
                    <a:lumMod val="50000"/>
                  </a:srgbClr>
                </a:solidFill>
                <a:latin typeface="+mj-lt"/>
              </a:rPr>
              <a:t>Inconsistent runtime environment</a:t>
            </a:r>
          </a:p>
          <a:p>
            <a:pPr marL="168275" indent="-168275">
              <a:spcAft>
                <a:spcPts val="200"/>
              </a:spcAft>
              <a:buClr>
                <a:schemeClr val="accent1"/>
              </a:buClr>
              <a:buFont typeface="Wingdings" pitchFamily="2" charset="2"/>
              <a:buChar char="§"/>
            </a:pPr>
            <a:r>
              <a:rPr lang="en-US" sz="1100" dirty="0">
                <a:solidFill>
                  <a:srgbClr val="9F958F">
                    <a:lumMod val="50000"/>
                  </a:srgbClr>
                </a:solidFill>
                <a:latin typeface="+mj-lt"/>
              </a:rPr>
              <a:t>Single solution to maintain</a:t>
            </a:r>
          </a:p>
          <a:p>
            <a:pPr marL="168275" indent="-168275">
              <a:spcAft>
                <a:spcPts val="200"/>
              </a:spcAft>
              <a:buClr>
                <a:schemeClr val="accent1"/>
              </a:buClr>
              <a:buFont typeface="Wingdings" pitchFamily="2" charset="2"/>
              <a:buChar char="§"/>
            </a:pPr>
            <a:r>
              <a:rPr lang="en-US" sz="1100" dirty="0">
                <a:solidFill>
                  <a:srgbClr val="9F958F">
                    <a:lumMod val="50000"/>
                  </a:srgbClr>
                </a:solidFill>
                <a:latin typeface="+mj-lt"/>
              </a:rPr>
              <a:t>Notifications</a:t>
            </a:r>
          </a:p>
          <a:p>
            <a:pPr marL="168275" indent="-168275">
              <a:spcAft>
                <a:spcPts val="200"/>
              </a:spcAft>
              <a:buClr>
                <a:schemeClr val="accent1"/>
              </a:buClr>
              <a:buFont typeface="Wingdings" pitchFamily="2" charset="2"/>
              <a:buChar char="§"/>
            </a:pPr>
            <a:r>
              <a:rPr lang="en-US" sz="1100" dirty="0">
                <a:solidFill>
                  <a:srgbClr val="9F958F">
                    <a:lumMod val="50000"/>
                  </a:srgbClr>
                </a:solidFill>
                <a:latin typeface="+mj-lt"/>
              </a:rPr>
              <a:t>Local Storage</a:t>
            </a:r>
          </a:p>
          <a:p>
            <a:pPr marL="168275" indent="-168275">
              <a:spcAft>
                <a:spcPts val="200"/>
              </a:spcAft>
              <a:buClr>
                <a:schemeClr val="accent1"/>
              </a:buClr>
              <a:buFont typeface="Wingdings" pitchFamily="2" charset="2"/>
              <a:buChar char="§"/>
            </a:pPr>
            <a:r>
              <a:rPr lang="en-US" sz="1100" dirty="0">
                <a:solidFill>
                  <a:srgbClr val="9F958F">
                    <a:lumMod val="50000"/>
                  </a:srgbClr>
                </a:solidFill>
                <a:latin typeface="+mj-lt"/>
              </a:rPr>
              <a:t>Low to Medium TCO</a:t>
            </a:r>
          </a:p>
          <a:p>
            <a:pPr marL="168275" indent="-168275">
              <a:spcAft>
                <a:spcPts val="200"/>
              </a:spcAft>
              <a:buClr>
                <a:schemeClr val="accent1"/>
              </a:buClr>
              <a:buFont typeface="Wingdings" pitchFamily="2" charset="2"/>
              <a:buChar char="§"/>
            </a:pPr>
            <a:endParaRPr lang="en-US" sz="1100" dirty="0">
              <a:solidFill>
                <a:srgbClr val="9F958F">
                  <a:lumMod val="50000"/>
                </a:srgbClr>
              </a:solidFill>
              <a:latin typeface="+mj-lt"/>
            </a:endParaRPr>
          </a:p>
        </p:txBody>
      </p:sp>
      <p:sp>
        <p:nvSpPr>
          <p:cNvPr id="12" name="Oval 11"/>
          <p:cNvSpPr/>
          <p:nvPr/>
        </p:nvSpPr>
        <p:spPr>
          <a:xfrm>
            <a:off x="4559631" y="2644542"/>
            <a:ext cx="630000" cy="630000"/>
          </a:xfrm>
          <a:prstGeom prst="ellipse">
            <a:avLst/>
          </a:prstGeom>
        </p:spPr>
        <p:style>
          <a:lnRef idx="2">
            <a:schemeClr val="accent1"/>
          </a:lnRef>
          <a:fillRef idx="1">
            <a:schemeClr val="lt1"/>
          </a:fillRef>
          <a:effectRef idx="0">
            <a:schemeClr val="accent1"/>
          </a:effectRef>
          <a:fontRef idx="minor">
            <a:schemeClr val="dk1"/>
          </a:fontRef>
        </p:style>
        <p:txBody>
          <a:bodyPr wrap="square" rtlCol="0" anchor="ctr">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endParaRPr lang="en-GB" sz="1600" b="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ndParaRPr>
          </a:p>
        </p:txBody>
      </p:sp>
      <p:sp>
        <p:nvSpPr>
          <p:cNvPr id="13" name="Half Frame 12"/>
          <p:cNvSpPr/>
          <p:nvPr/>
        </p:nvSpPr>
        <p:spPr>
          <a:xfrm rot="10800000">
            <a:off x="7228188" y="5855416"/>
            <a:ext cx="381000" cy="338554"/>
          </a:xfrm>
          <a:prstGeom prst="halfFrame">
            <a:avLst>
              <a:gd name="adj1" fmla="val 17006"/>
              <a:gd name="adj2" fmla="val 13946"/>
            </a:avLst>
          </a:prstGeom>
          <a:solidFill>
            <a:schemeClr val="accent1"/>
          </a:solidFill>
        </p:spPr>
        <p:txBody>
          <a:bodyPr wrap="square" rtlCol="0" anchor="ctr">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endParaRPr lang="en-GB" sz="1600" b="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ndParaRPr>
          </a:p>
        </p:txBody>
      </p:sp>
      <p:sp>
        <p:nvSpPr>
          <p:cNvPr id="14" name="Rounded Rectangle 13"/>
          <p:cNvSpPr/>
          <p:nvPr/>
        </p:nvSpPr>
        <p:spPr>
          <a:xfrm>
            <a:off x="7979376" y="2695615"/>
            <a:ext cx="2749585" cy="532050"/>
          </a:xfrm>
          <a:prstGeom prst="roundRect">
            <a:avLst>
              <a:gd name="adj" fmla="val 789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84048" rtlCol="0" anchor="ctr"/>
          <a:lstStyle/>
          <a:p>
            <a:r>
              <a:rPr lang="en-GB" sz="1600" b="1" dirty="0">
                <a:solidFill>
                  <a:schemeClr val="bg1"/>
                </a:solidFill>
              </a:rPr>
              <a:t>Mobile Web / HTML5</a:t>
            </a:r>
          </a:p>
        </p:txBody>
      </p:sp>
      <p:sp>
        <p:nvSpPr>
          <p:cNvPr id="15" name="Espace réservé du contenu 2"/>
          <p:cNvSpPr txBox="1">
            <a:spLocks/>
          </p:cNvSpPr>
          <p:nvPr/>
        </p:nvSpPr>
        <p:spPr>
          <a:xfrm>
            <a:off x="7714579" y="3352799"/>
            <a:ext cx="3007996" cy="2841172"/>
          </a:xfrm>
          <a:prstGeom prst="rect">
            <a:avLst/>
          </a:prstGeom>
          <a:solidFill>
            <a:schemeClr val="bg1">
              <a:lumMod val="95000"/>
            </a:schemeClr>
          </a:solidFill>
        </p:spPr>
        <p:txBody>
          <a:bodyPr vert="horz" wrap="square" lIns="91440" tIns="45720" rIns="91440" bIns="45720" rtlCol="0">
            <a:noAutofit/>
          </a:bodyPr>
          <a:lstStyle/>
          <a:p>
            <a:pPr marL="168275" indent="-168275">
              <a:spcAft>
                <a:spcPts val="200"/>
              </a:spcAft>
              <a:buClr>
                <a:schemeClr val="accent1"/>
              </a:buClr>
              <a:buFont typeface="Wingdings" pitchFamily="2" charset="2"/>
              <a:buChar char="§"/>
            </a:pPr>
            <a:r>
              <a:rPr lang="en-US" sz="1100" dirty="0">
                <a:solidFill>
                  <a:srgbClr val="9F958F">
                    <a:lumMod val="50000"/>
                  </a:srgbClr>
                </a:solidFill>
                <a:latin typeface="+mj-lt"/>
              </a:rPr>
              <a:t>Very good User Experience</a:t>
            </a:r>
          </a:p>
          <a:p>
            <a:pPr marL="168275" indent="-168275">
              <a:spcAft>
                <a:spcPts val="200"/>
              </a:spcAft>
              <a:buClr>
                <a:schemeClr val="accent1"/>
              </a:buClr>
              <a:buFont typeface="Wingdings" pitchFamily="2" charset="2"/>
              <a:buChar char="§"/>
            </a:pPr>
            <a:r>
              <a:rPr lang="en-US" sz="1100" dirty="0">
                <a:solidFill>
                  <a:srgbClr val="9F958F">
                    <a:lumMod val="50000"/>
                  </a:srgbClr>
                </a:solidFill>
                <a:latin typeface="+mj-lt"/>
              </a:rPr>
              <a:t>Device/Platform agnostic </a:t>
            </a:r>
          </a:p>
          <a:p>
            <a:pPr marL="168275" indent="-168275">
              <a:spcAft>
                <a:spcPts val="200"/>
              </a:spcAft>
              <a:buClr>
                <a:schemeClr val="accent1"/>
              </a:buClr>
              <a:buFont typeface="Wingdings" pitchFamily="2" charset="2"/>
              <a:buChar char="§"/>
            </a:pPr>
            <a:r>
              <a:rPr lang="en-US" sz="1100" dirty="0">
                <a:solidFill>
                  <a:srgbClr val="9F958F">
                    <a:lumMod val="50000"/>
                  </a:srgbClr>
                </a:solidFill>
                <a:latin typeface="+mj-lt"/>
              </a:rPr>
              <a:t>No certification, distribution (Marketplace)</a:t>
            </a:r>
          </a:p>
          <a:p>
            <a:pPr marL="168275" indent="-168275">
              <a:spcAft>
                <a:spcPts val="200"/>
              </a:spcAft>
              <a:buClr>
                <a:schemeClr val="accent1"/>
              </a:buClr>
              <a:buFont typeface="Wingdings" pitchFamily="2" charset="2"/>
              <a:buChar char="§"/>
            </a:pPr>
            <a:r>
              <a:rPr lang="en-US" sz="1100" dirty="0">
                <a:solidFill>
                  <a:srgbClr val="9F958F">
                    <a:lumMod val="50000"/>
                  </a:srgbClr>
                </a:solidFill>
                <a:latin typeface="+mj-lt"/>
              </a:rPr>
              <a:t>Network dependency</a:t>
            </a:r>
          </a:p>
          <a:p>
            <a:pPr marL="168275" indent="-168275">
              <a:spcAft>
                <a:spcPts val="200"/>
              </a:spcAft>
              <a:buClr>
                <a:schemeClr val="accent1"/>
              </a:buClr>
              <a:buFont typeface="Wingdings" pitchFamily="2" charset="2"/>
              <a:buChar char="§"/>
            </a:pPr>
            <a:r>
              <a:rPr lang="en-US" sz="1100" dirty="0">
                <a:solidFill>
                  <a:srgbClr val="9F958F">
                    <a:lumMod val="50000"/>
                  </a:srgbClr>
                </a:solidFill>
                <a:latin typeface="+mj-lt"/>
              </a:rPr>
              <a:t>Navigation latency</a:t>
            </a:r>
          </a:p>
          <a:p>
            <a:pPr marL="168275" indent="-168275">
              <a:spcAft>
                <a:spcPts val="200"/>
              </a:spcAft>
              <a:buClr>
                <a:schemeClr val="accent1"/>
              </a:buClr>
              <a:buFont typeface="Wingdings" pitchFamily="2" charset="2"/>
              <a:buChar char="§"/>
            </a:pPr>
            <a:r>
              <a:rPr lang="en-US" sz="1100" dirty="0">
                <a:solidFill>
                  <a:srgbClr val="9F958F">
                    <a:lumMod val="50000"/>
                  </a:srgbClr>
                </a:solidFill>
                <a:latin typeface="+mj-lt"/>
              </a:rPr>
              <a:t>Wide range of devices</a:t>
            </a:r>
          </a:p>
          <a:p>
            <a:pPr marL="168275" indent="-168275">
              <a:spcAft>
                <a:spcPts val="200"/>
              </a:spcAft>
              <a:buClr>
                <a:schemeClr val="accent1"/>
              </a:buClr>
              <a:buFont typeface="Wingdings" pitchFamily="2" charset="2"/>
              <a:buChar char="§"/>
            </a:pPr>
            <a:r>
              <a:rPr lang="en-US" sz="1100" dirty="0">
                <a:solidFill>
                  <a:srgbClr val="9F958F">
                    <a:lumMod val="50000"/>
                  </a:srgbClr>
                </a:solidFill>
                <a:latin typeface="+mj-lt"/>
              </a:rPr>
              <a:t>Notifications</a:t>
            </a:r>
          </a:p>
          <a:p>
            <a:pPr marL="168275" indent="-168275">
              <a:spcAft>
                <a:spcPts val="200"/>
              </a:spcAft>
              <a:buClr>
                <a:schemeClr val="accent1"/>
              </a:buClr>
              <a:buFont typeface="Wingdings" pitchFamily="2" charset="2"/>
              <a:buChar char="§"/>
            </a:pPr>
            <a:r>
              <a:rPr lang="en-US" sz="1100" dirty="0">
                <a:solidFill>
                  <a:srgbClr val="9F958F">
                    <a:lumMod val="50000"/>
                  </a:srgbClr>
                </a:solidFill>
                <a:latin typeface="+mj-lt"/>
              </a:rPr>
              <a:t>Restricted storage</a:t>
            </a:r>
          </a:p>
          <a:p>
            <a:pPr marL="168275" indent="-168275">
              <a:spcAft>
                <a:spcPts val="200"/>
              </a:spcAft>
              <a:buClr>
                <a:schemeClr val="accent1"/>
              </a:buClr>
              <a:buFont typeface="Wingdings" pitchFamily="2" charset="2"/>
              <a:buChar char="§"/>
            </a:pPr>
            <a:r>
              <a:rPr lang="en-US" sz="1100" dirty="0">
                <a:solidFill>
                  <a:srgbClr val="9F958F">
                    <a:lumMod val="50000"/>
                  </a:srgbClr>
                </a:solidFill>
                <a:latin typeface="+mj-lt"/>
              </a:rPr>
              <a:t>Lower TCO</a:t>
            </a:r>
          </a:p>
        </p:txBody>
      </p:sp>
      <p:sp>
        <p:nvSpPr>
          <p:cNvPr id="16" name="Oval 15"/>
          <p:cNvSpPr/>
          <p:nvPr/>
        </p:nvSpPr>
        <p:spPr>
          <a:xfrm>
            <a:off x="7673018" y="2631842"/>
            <a:ext cx="630000" cy="630000"/>
          </a:xfrm>
          <a:prstGeom prst="ellipse">
            <a:avLst/>
          </a:prstGeom>
        </p:spPr>
        <p:style>
          <a:lnRef idx="2">
            <a:schemeClr val="accent1"/>
          </a:lnRef>
          <a:fillRef idx="1">
            <a:schemeClr val="lt1"/>
          </a:fillRef>
          <a:effectRef idx="0">
            <a:schemeClr val="accent1"/>
          </a:effectRef>
          <a:fontRef idx="minor">
            <a:schemeClr val="dk1"/>
          </a:fontRef>
        </p:style>
        <p:txBody>
          <a:bodyPr wrap="square" rtlCol="0" anchor="ctr">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endParaRPr lang="en-GB" sz="1600" b="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ndParaRPr>
          </a:p>
        </p:txBody>
      </p:sp>
      <p:sp>
        <p:nvSpPr>
          <p:cNvPr id="17" name="Half Frame 16"/>
          <p:cNvSpPr/>
          <p:nvPr/>
        </p:nvSpPr>
        <p:spPr>
          <a:xfrm rot="10800000">
            <a:off x="10341575" y="5855416"/>
            <a:ext cx="381000" cy="338554"/>
          </a:xfrm>
          <a:prstGeom prst="halfFrame">
            <a:avLst>
              <a:gd name="adj1" fmla="val 17006"/>
              <a:gd name="adj2" fmla="val 13946"/>
            </a:avLst>
          </a:prstGeom>
          <a:solidFill>
            <a:schemeClr val="accent1"/>
          </a:solidFill>
        </p:spPr>
        <p:txBody>
          <a:bodyPr wrap="square" rtlCol="0" anchor="ctr">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endParaRPr lang="en-GB" sz="1600" b="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ndParaRPr>
          </a:p>
        </p:txBody>
      </p:sp>
      <p:grpSp>
        <p:nvGrpSpPr>
          <p:cNvPr id="37" name="Groupe 836"/>
          <p:cNvGrpSpPr/>
          <p:nvPr/>
        </p:nvGrpSpPr>
        <p:grpSpPr>
          <a:xfrm>
            <a:off x="7734668" y="2771532"/>
            <a:ext cx="418733" cy="314050"/>
            <a:chOff x="1163614" y="7062589"/>
            <a:chExt cx="344488" cy="260350"/>
          </a:xfrm>
        </p:grpSpPr>
        <p:sp>
          <p:nvSpPr>
            <p:cNvPr id="38" name="Freeform 578"/>
            <p:cNvSpPr>
              <a:spLocks/>
            </p:cNvSpPr>
            <p:nvPr/>
          </p:nvSpPr>
          <p:spPr bwMode="auto">
            <a:xfrm>
              <a:off x="1477939" y="7108626"/>
              <a:ext cx="30163" cy="166687"/>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ln>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39" name="Freeform 579"/>
            <p:cNvSpPr>
              <a:spLocks/>
            </p:cNvSpPr>
            <p:nvPr/>
          </p:nvSpPr>
          <p:spPr bwMode="auto">
            <a:xfrm>
              <a:off x="1277914" y="7273726"/>
              <a:ext cx="101600" cy="49212"/>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ln>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40" name="Line 580"/>
            <p:cNvSpPr>
              <a:spLocks noChangeShapeType="1"/>
            </p:cNvSpPr>
            <p:nvPr/>
          </p:nvSpPr>
          <p:spPr bwMode="auto">
            <a:xfrm>
              <a:off x="1247751" y="7191176"/>
              <a:ext cx="1588" cy="1587"/>
            </a:xfrm>
            <a:prstGeom prst="line">
              <a:avLst/>
            </a:prstGeom>
            <a:ln>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41" name="Line 581"/>
            <p:cNvSpPr>
              <a:spLocks noChangeShapeType="1"/>
            </p:cNvSpPr>
            <p:nvPr/>
          </p:nvSpPr>
          <p:spPr bwMode="auto">
            <a:xfrm>
              <a:off x="1277914" y="7108626"/>
              <a:ext cx="1588" cy="1587"/>
            </a:xfrm>
            <a:prstGeom prst="line">
              <a:avLst/>
            </a:prstGeom>
            <a:ln>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42" name="Freeform 582"/>
            <p:cNvSpPr>
              <a:spLocks/>
            </p:cNvSpPr>
            <p:nvPr/>
          </p:nvSpPr>
          <p:spPr bwMode="auto">
            <a:xfrm>
              <a:off x="1277914" y="7062589"/>
              <a:ext cx="200025" cy="46037"/>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ln>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43" name="Freeform 583"/>
            <p:cNvSpPr>
              <a:spLocks/>
            </p:cNvSpPr>
            <p:nvPr/>
          </p:nvSpPr>
          <p:spPr bwMode="auto">
            <a:xfrm>
              <a:off x="1277914" y="7108626"/>
              <a:ext cx="200025" cy="22225"/>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ln>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44" name="Freeform 584"/>
            <p:cNvSpPr>
              <a:spLocks/>
            </p:cNvSpPr>
            <p:nvPr/>
          </p:nvSpPr>
          <p:spPr bwMode="auto">
            <a:xfrm>
              <a:off x="1277914" y="7251501"/>
              <a:ext cx="200025" cy="23812"/>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ln>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45" name="Freeform 585"/>
            <p:cNvSpPr>
              <a:spLocks/>
            </p:cNvSpPr>
            <p:nvPr/>
          </p:nvSpPr>
          <p:spPr bwMode="auto">
            <a:xfrm>
              <a:off x="1308076" y="7062589"/>
              <a:ext cx="141288" cy="260350"/>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ln>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46" name="Line 586"/>
            <p:cNvSpPr>
              <a:spLocks noChangeShapeType="1"/>
            </p:cNvSpPr>
            <p:nvPr/>
          </p:nvSpPr>
          <p:spPr bwMode="auto">
            <a:xfrm>
              <a:off x="1247751" y="7191176"/>
              <a:ext cx="260350" cy="1587"/>
            </a:xfrm>
            <a:prstGeom prst="line">
              <a:avLst/>
            </a:prstGeom>
            <a:ln>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47" name="Line 587"/>
            <p:cNvSpPr>
              <a:spLocks noChangeShapeType="1"/>
            </p:cNvSpPr>
            <p:nvPr/>
          </p:nvSpPr>
          <p:spPr bwMode="auto">
            <a:xfrm flipV="1">
              <a:off x="1379514" y="7062589"/>
              <a:ext cx="1588" cy="260350"/>
            </a:xfrm>
            <a:prstGeom prst="line">
              <a:avLst/>
            </a:prstGeom>
            <a:ln>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48" name="Line 588"/>
            <p:cNvSpPr>
              <a:spLocks noChangeShapeType="1"/>
            </p:cNvSpPr>
            <p:nvPr/>
          </p:nvSpPr>
          <p:spPr bwMode="auto">
            <a:xfrm>
              <a:off x="1163614" y="7167364"/>
              <a:ext cx="84138" cy="1587"/>
            </a:xfrm>
            <a:prstGeom prst="line">
              <a:avLst/>
            </a:prstGeom>
            <a:ln>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49" name="Freeform 589"/>
            <p:cNvSpPr>
              <a:spLocks/>
            </p:cNvSpPr>
            <p:nvPr/>
          </p:nvSpPr>
          <p:spPr bwMode="auto">
            <a:xfrm>
              <a:off x="1247751" y="7143551"/>
              <a:ext cx="25400" cy="47625"/>
            </a:xfrm>
            <a:custGeom>
              <a:avLst/>
              <a:gdLst/>
              <a:ahLst/>
              <a:cxnLst>
                <a:cxn ang="0">
                  <a:pos x="0" y="0"/>
                </a:cxn>
                <a:cxn ang="0">
                  <a:pos x="16" y="15"/>
                </a:cxn>
                <a:cxn ang="0">
                  <a:pos x="0" y="30"/>
                </a:cxn>
              </a:cxnLst>
              <a:rect l="0" t="0" r="r" b="b"/>
              <a:pathLst>
                <a:path w="16" h="30">
                  <a:moveTo>
                    <a:pt x="0" y="0"/>
                  </a:moveTo>
                  <a:lnTo>
                    <a:pt x="16" y="15"/>
                  </a:lnTo>
                  <a:lnTo>
                    <a:pt x="0" y="30"/>
                  </a:lnTo>
                </a:path>
              </a:pathLst>
            </a:custGeom>
            <a:ln>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50" name="Line 590"/>
            <p:cNvSpPr>
              <a:spLocks noChangeShapeType="1"/>
            </p:cNvSpPr>
            <p:nvPr/>
          </p:nvSpPr>
          <p:spPr bwMode="auto">
            <a:xfrm>
              <a:off x="1231876" y="7235626"/>
              <a:ext cx="87313" cy="1587"/>
            </a:xfrm>
            <a:prstGeom prst="line">
              <a:avLst/>
            </a:prstGeom>
            <a:ln>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51" name="Freeform 591"/>
            <p:cNvSpPr>
              <a:spLocks/>
            </p:cNvSpPr>
            <p:nvPr/>
          </p:nvSpPr>
          <p:spPr bwMode="auto">
            <a:xfrm>
              <a:off x="1319189" y="7210226"/>
              <a:ext cx="23813" cy="49212"/>
            </a:xfrm>
            <a:custGeom>
              <a:avLst/>
              <a:gdLst/>
              <a:ahLst/>
              <a:cxnLst>
                <a:cxn ang="0">
                  <a:pos x="0" y="0"/>
                </a:cxn>
                <a:cxn ang="0">
                  <a:pos x="15" y="16"/>
                </a:cxn>
                <a:cxn ang="0">
                  <a:pos x="0" y="31"/>
                </a:cxn>
              </a:cxnLst>
              <a:rect l="0" t="0" r="r" b="b"/>
              <a:pathLst>
                <a:path w="15" h="31">
                  <a:moveTo>
                    <a:pt x="0" y="0"/>
                  </a:moveTo>
                  <a:lnTo>
                    <a:pt x="15" y="16"/>
                  </a:lnTo>
                  <a:lnTo>
                    <a:pt x="0" y="31"/>
                  </a:lnTo>
                </a:path>
              </a:pathLst>
            </a:custGeom>
            <a:ln>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grpSp>
      <p:grpSp>
        <p:nvGrpSpPr>
          <p:cNvPr id="52" name="Group 51"/>
          <p:cNvGrpSpPr/>
          <p:nvPr/>
        </p:nvGrpSpPr>
        <p:grpSpPr>
          <a:xfrm>
            <a:off x="4627896" y="2845809"/>
            <a:ext cx="484648" cy="182307"/>
            <a:chOff x="4885571" y="5324802"/>
            <a:chExt cx="1249816" cy="470136"/>
          </a:xfrm>
        </p:grpSpPr>
        <p:sp>
          <p:nvSpPr>
            <p:cNvPr id="53" name="Freeform 407"/>
            <p:cNvSpPr>
              <a:spLocks/>
            </p:cNvSpPr>
            <p:nvPr/>
          </p:nvSpPr>
          <p:spPr bwMode="auto">
            <a:xfrm>
              <a:off x="4885571" y="5374107"/>
              <a:ext cx="586435" cy="400871"/>
            </a:xfrm>
            <a:custGeom>
              <a:avLst/>
              <a:gdLst/>
              <a:ahLst/>
              <a:cxnLst>
                <a:cxn ang="0">
                  <a:pos x="242" y="136"/>
                </a:cxn>
                <a:cxn ang="0">
                  <a:pos x="242" y="136"/>
                </a:cxn>
                <a:cxn ang="0">
                  <a:pos x="240" y="142"/>
                </a:cxn>
                <a:cxn ang="0">
                  <a:pos x="238" y="147"/>
                </a:cxn>
                <a:cxn ang="0">
                  <a:pos x="231" y="151"/>
                </a:cxn>
                <a:cxn ang="0">
                  <a:pos x="225" y="152"/>
                </a:cxn>
                <a:cxn ang="0">
                  <a:pos x="16" y="152"/>
                </a:cxn>
                <a:cxn ang="0">
                  <a:pos x="16" y="152"/>
                </a:cxn>
                <a:cxn ang="0">
                  <a:pos x="10" y="151"/>
                </a:cxn>
                <a:cxn ang="0">
                  <a:pos x="5" y="147"/>
                </a:cxn>
                <a:cxn ang="0">
                  <a:pos x="1" y="142"/>
                </a:cxn>
                <a:cxn ang="0">
                  <a:pos x="0" y="136"/>
                </a:cxn>
                <a:cxn ang="0">
                  <a:pos x="220" y="136"/>
                </a:cxn>
                <a:cxn ang="0">
                  <a:pos x="220" y="0"/>
                </a:cxn>
                <a:cxn ang="0">
                  <a:pos x="21" y="0"/>
                </a:cxn>
                <a:cxn ang="0">
                  <a:pos x="21" y="117"/>
                </a:cxn>
              </a:cxnLst>
              <a:rect l="0" t="0" r="r" b="b"/>
              <a:pathLst>
                <a:path w="242" h="152">
                  <a:moveTo>
                    <a:pt x="242" y="136"/>
                  </a:moveTo>
                  <a:lnTo>
                    <a:pt x="242" y="136"/>
                  </a:lnTo>
                  <a:lnTo>
                    <a:pt x="240" y="142"/>
                  </a:lnTo>
                  <a:lnTo>
                    <a:pt x="238" y="147"/>
                  </a:lnTo>
                  <a:lnTo>
                    <a:pt x="231" y="151"/>
                  </a:lnTo>
                  <a:lnTo>
                    <a:pt x="225" y="152"/>
                  </a:lnTo>
                  <a:lnTo>
                    <a:pt x="16" y="152"/>
                  </a:lnTo>
                  <a:lnTo>
                    <a:pt x="16" y="152"/>
                  </a:lnTo>
                  <a:lnTo>
                    <a:pt x="10" y="151"/>
                  </a:lnTo>
                  <a:lnTo>
                    <a:pt x="5" y="147"/>
                  </a:lnTo>
                  <a:lnTo>
                    <a:pt x="1" y="142"/>
                  </a:lnTo>
                  <a:lnTo>
                    <a:pt x="0" y="136"/>
                  </a:lnTo>
                  <a:lnTo>
                    <a:pt x="220" y="136"/>
                  </a:lnTo>
                  <a:lnTo>
                    <a:pt x="220" y="0"/>
                  </a:lnTo>
                  <a:lnTo>
                    <a:pt x="21" y="0"/>
                  </a:lnTo>
                  <a:lnTo>
                    <a:pt x="21" y="117"/>
                  </a:lnTo>
                </a:path>
              </a:pathLst>
            </a:custGeom>
            <a:ln>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83969" tIns="41985" rIns="83969" bIns="41985" numCol="1" anchor="t" anchorCtr="0" compatLnSpc="1">
              <a:prstTxWarp prst="textNoShape">
                <a:avLst/>
              </a:prstTxWarp>
            </a:bodyPr>
            <a:lstStyle/>
            <a:p>
              <a:endParaRPr lang="en-US" dirty="0"/>
            </a:p>
          </p:txBody>
        </p:sp>
        <p:sp>
          <p:nvSpPr>
            <p:cNvPr id="54" name="Freeform 53"/>
            <p:cNvSpPr/>
            <p:nvPr/>
          </p:nvSpPr>
          <p:spPr bwMode="auto">
            <a:xfrm>
              <a:off x="5869166" y="5324802"/>
              <a:ext cx="266221" cy="470136"/>
            </a:xfrm>
            <a:custGeom>
              <a:avLst/>
              <a:gdLst>
                <a:gd name="connsiteX0" fmla="*/ 0 w 750094"/>
                <a:gd name="connsiteY0" fmla="*/ 110736 h 1004888"/>
                <a:gd name="connsiteX1" fmla="*/ 32434 w 750094"/>
                <a:gd name="connsiteY1" fmla="*/ 32434 h 1004888"/>
                <a:gd name="connsiteX2" fmla="*/ 110736 w 750094"/>
                <a:gd name="connsiteY2" fmla="*/ 0 h 1004888"/>
                <a:gd name="connsiteX3" fmla="*/ 639358 w 750094"/>
                <a:gd name="connsiteY3" fmla="*/ 0 h 1004888"/>
                <a:gd name="connsiteX4" fmla="*/ 717660 w 750094"/>
                <a:gd name="connsiteY4" fmla="*/ 32434 h 1004888"/>
                <a:gd name="connsiteX5" fmla="*/ 750094 w 750094"/>
                <a:gd name="connsiteY5" fmla="*/ 110736 h 1004888"/>
                <a:gd name="connsiteX6" fmla="*/ 750094 w 750094"/>
                <a:gd name="connsiteY6" fmla="*/ 894152 h 1004888"/>
                <a:gd name="connsiteX7" fmla="*/ 717660 w 750094"/>
                <a:gd name="connsiteY7" fmla="*/ 972454 h 1004888"/>
                <a:gd name="connsiteX8" fmla="*/ 639358 w 750094"/>
                <a:gd name="connsiteY8" fmla="*/ 1004888 h 1004888"/>
                <a:gd name="connsiteX9" fmla="*/ 110736 w 750094"/>
                <a:gd name="connsiteY9" fmla="*/ 1004888 h 1004888"/>
                <a:gd name="connsiteX10" fmla="*/ 32434 w 750094"/>
                <a:gd name="connsiteY10" fmla="*/ 972454 h 1004888"/>
                <a:gd name="connsiteX11" fmla="*/ 0 w 750094"/>
                <a:gd name="connsiteY11" fmla="*/ 894152 h 1004888"/>
                <a:gd name="connsiteX12" fmla="*/ 0 w 750094"/>
                <a:gd name="connsiteY12" fmla="*/ 110736 h 1004888"/>
                <a:gd name="connsiteX0" fmla="*/ 639358 w 750094"/>
                <a:gd name="connsiteY0" fmla="*/ 1004888 h 1096328"/>
                <a:gd name="connsiteX1" fmla="*/ 110736 w 750094"/>
                <a:gd name="connsiteY1" fmla="*/ 1004888 h 1096328"/>
                <a:gd name="connsiteX2" fmla="*/ 32434 w 750094"/>
                <a:gd name="connsiteY2" fmla="*/ 972454 h 1096328"/>
                <a:gd name="connsiteX3" fmla="*/ 0 w 750094"/>
                <a:gd name="connsiteY3" fmla="*/ 894152 h 1096328"/>
                <a:gd name="connsiteX4" fmla="*/ 0 w 750094"/>
                <a:gd name="connsiteY4" fmla="*/ 110736 h 1096328"/>
                <a:gd name="connsiteX5" fmla="*/ 32434 w 750094"/>
                <a:gd name="connsiteY5" fmla="*/ 32434 h 1096328"/>
                <a:gd name="connsiteX6" fmla="*/ 110736 w 750094"/>
                <a:gd name="connsiteY6" fmla="*/ 0 h 1096328"/>
                <a:gd name="connsiteX7" fmla="*/ 639358 w 750094"/>
                <a:gd name="connsiteY7" fmla="*/ 0 h 1096328"/>
                <a:gd name="connsiteX8" fmla="*/ 717660 w 750094"/>
                <a:gd name="connsiteY8" fmla="*/ 32434 h 1096328"/>
                <a:gd name="connsiteX9" fmla="*/ 750094 w 750094"/>
                <a:gd name="connsiteY9" fmla="*/ 110736 h 1096328"/>
                <a:gd name="connsiteX10" fmla="*/ 750094 w 750094"/>
                <a:gd name="connsiteY10" fmla="*/ 894152 h 1096328"/>
                <a:gd name="connsiteX11" fmla="*/ 717660 w 750094"/>
                <a:gd name="connsiteY11" fmla="*/ 972454 h 1096328"/>
                <a:gd name="connsiteX12" fmla="*/ 730798 w 750094"/>
                <a:gd name="connsiteY12" fmla="*/ 1096328 h 1096328"/>
                <a:gd name="connsiteX0" fmla="*/ 639358 w 750094"/>
                <a:gd name="connsiteY0" fmla="*/ 1004888 h 1004888"/>
                <a:gd name="connsiteX1" fmla="*/ 110736 w 750094"/>
                <a:gd name="connsiteY1" fmla="*/ 1004888 h 1004888"/>
                <a:gd name="connsiteX2" fmla="*/ 32434 w 750094"/>
                <a:gd name="connsiteY2" fmla="*/ 972454 h 1004888"/>
                <a:gd name="connsiteX3" fmla="*/ 0 w 750094"/>
                <a:gd name="connsiteY3" fmla="*/ 894152 h 1004888"/>
                <a:gd name="connsiteX4" fmla="*/ 0 w 750094"/>
                <a:gd name="connsiteY4" fmla="*/ 110736 h 1004888"/>
                <a:gd name="connsiteX5" fmla="*/ 32434 w 750094"/>
                <a:gd name="connsiteY5" fmla="*/ 32434 h 1004888"/>
                <a:gd name="connsiteX6" fmla="*/ 110736 w 750094"/>
                <a:gd name="connsiteY6" fmla="*/ 0 h 1004888"/>
                <a:gd name="connsiteX7" fmla="*/ 639358 w 750094"/>
                <a:gd name="connsiteY7" fmla="*/ 0 h 1004888"/>
                <a:gd name="connsiteX8" fmla="*/ 717660 w 750094"/>
                <a:gd name="connsiteY8" fmla="*/ 32434 h 1004888"/>
                <a:gd name="connsiteX9" fmla="*/ 750094 w 750094"/>
                <a:gd name="connsiteY9" fmla="*/ 110736 h 1004888"/>
                <a:gd name="connsiteX10" fmla="*/ 750094 w 750094"/>
                <a:gd name="connsiteY10" fmla="*/ 894152 h 1004888"/>
                <a:gd name="connsiteX11" fmla="*/ 717660 w 750094"/>
                <a:gd name="connsiteY11" fmla="*/ 972454 h 1004888"/>
                <a:gd name="connsiteX0" fmla="*/ 639358 w 750094"/>
                <a:gd name="connsiteY0" fmla="*/ 1004888 h 1004888"/>
                <a:gd name="connsiteX1" fmla="*/ 110736 w 750094"/>
                <a:gd name="connsiteY1" fmla="*/ 1004888 h 1004888"/>
                <a:gd name="connsiteX2" fmla="*/ 32434 w 750094"/>
                <a:gd name="connsiteY2" fmla="*/ 972454 h 1004888"/>
                <a:gd name="connsiteX3" fmla="*/ 0 w 750094"/>
                <a:gd name="connsiteY3" fmla="*/ 894152 h 1004888"/>
                <a:gd name="connsiteX4" fmla="*/ 0 w 750094"/>
                <a:gd name="connsiteY4" fmla="*/ 110736 h 1004888"/>
                <a:gd name="connsiteX5" fmla="*/ 32434 w 750094"/>
                <a:gd name="connsiteY5" fmla="*/ 32434 h 1004888"/>
                <a:gd name="connsiteX6" fmla="*/ 110736 w 750094"/>
                <a:gd name="connsiteY6" fmla="*/ 0 h 1004888"/>
                <a:gd name="connsiteX7" fmla="*/ 639358 w 750094"/>
                <a:gd name="connsiteY7" fmla="*/ 0 h 1004888"/>
                <a:gd name="connsiteX8" fmla="*/ 717660 w 750094"/>
                <a:gd name="connsiteY8" fmla="*/ 32434 h 1004888"/>
                <a:gd name="connsiteX9" fmla="*/ 750094 w 750094"/>
                <a:gd name="connsiteY9" fmla="*/ 110736 h 1004888"/>
                <a:gd name="connsiteX10" fmla="*/ 750094 w 750094"/>
                <a:gd name="connsiteY10" fmla="*/ 894152 h 1004888"/>
                <a:gd name="connsiteX11" fmla="*/ 717660 w 750094"/>
                <a:gd name="connsiteY11" fmla="*/ 972454 h 1004888"/>
                <a:gd name="connsiteX0" fmla="*/ 639358 w 750997"/>
                <a:gd name="connsiteY0" fmla="*/ 1004888 h 1004888"/>
                <a:gd name="connsiteX1" fmla="*/ 110736 w 750997"/>
                <a:gd name="connsiteY1" fmla="*/ 1004888 h 1004888"/>
                <a:gd name="connsiteX2" fmla="*/ 32434 w 750997"/>
                <a:gd name="connsiteY2" fmla="*/ 972454 h 1004888"/>
                <a:gd name="connsiteX3" fmla="*/ 0 w 750997"/>
                <a:gd name="connsiteY3" fmla="*/ 894152 h 1004888"/>
                <a:gd name="connsiteX4" fmla="*/ 0 w 750997"/>
                <a:gd name="connsiteY4" fmla="*/ 110736 h 1004888"/>
                <a:gd name="connsiteX5" fmla="*/ 32434 w 750997"/>
                <a:gd name="connsiteY5" fmla="*/ 32434 h 1004888"/>
                <a:gd name="connsiteX6" fmla="*/ 110736 w 750997"/>
                <a:gd name="connsiteY6" fmla="*/ 0 h 1004888"/>
                <a:gd name="connsiteX7" fmla="*/ 639358 w 750997"/>
                <a:gd name="connsiteY7" fmla="*/ 0 h 1004888"/>
                <a:gd name="connsiteX8" fmla="*/ 717660 w 750997"/>
                <a:gd name="connsiteY8" fmla="*/ 32434 h 1004888"/>
                <a:gd name="connsiteX9" fmla="*/ 750094 w 750997"/>
                <a:gd name="connsiteY9" fmla="*/ 110736 h 1004888"/>
                <a:gd name="connsiteX10" fmla="*/ 750094 w 750997"/>
                <a:gd name="connsiteY10" fmla="*/ 894152 h 1004888"/>
                <a:gd name="connsiteX11" fmla="*/ 750997 w 750997"/>
                <a:gd name="connsiteY11" fmla="*/ 996267 h 1004888"/>
                <a:gd name="connsiteX0" fmla="*/ 639358 w 750997"/>
                <a:gd name="connsiteY0" fmla="*/ 1004888 h 1004888"/>
                <a:gd name="connsiteX1" fmla="*/ 110736 w 750997"/>
                <a:gd name="connsiteY1" fmla="*/ 1004888 h 1004888"/>
                <a:gd name="connsiteX2" fmla="*/ 32434 w 750997"/>
                <a:gd name="connsiteY2" fmla="*/ 972454 h 1004888"/>
                <a:gd name="connsiteX3" fmla="*/ 0 w 750997"/>
                <a:gd name="connsiteY3" fmla="*/ 894152 h 1004888"/>
                <a:gd name="connsiteX4" fmla="*/ 0 w 750997"/>
                <a:gd name="connsiteY4" fmla="*/ 110736 h 1004888"/>
                <a:gd name="connsiteX5" fmla="*/ 32434 w 750997"/>
                <a:gd name="connsiteY5" fmla="*/ 32434 h 1004888"/>
                <a:gd name="connsiteX6" fmla="*/ 110736 w 750997"/>
                <a:gd name="connsiteY6" fmla="*/ 0 h 1004888"/>
                <a:gd name="connsiteX7" fmla="*/ 639358 w 750997"/>
                <a:gd name="connsiteY7" fmla="*/ 0 h 1004888"/>
                <a:gd name="connsiteX8" fmla="*/ 717660 w 750997"/>
                <a:gd name="connsiteY8" fmla="*/ 32434 h 1004888"/>
                <a:gd name="connsiteX9" fmla="*/ 750094 w 750997"/>
                <a:gd name="connsiteY9" fmla="*/ 110736 h 1004888"/>
                <a:gd name="connsiteX10" fmla="*/ 750094 w 750997"/>
                <a:gd name="connsiteY10" fmla="*/ 894152 h 1004888"/>
                <a:gd name="connsiteX11" fmla="*/ 750997 w 750997"/>
                <a:gd name="connsiteY11" fmla="*/ 1003410 h 1004888"/>
                <a:gd name="connsiteX0" fmla="*/ 639358 w 750997"/>
                <a:gd name="connsiteY0" fmla="*/ 1004888 h 1004888"/>
                <a:gd name="connsiteX1" fmla="*/ 621507 w 750997"/>
                <a:gd name="connsiteY1" fmla="*/ 1002506 h 1004888"/>
                <a:gd name="connsiteX2" fmla="*/ 110736 w 750997"/>
                <a:gd name="connsiteY2" fmla="*/ 1004888 h 1004888"/>
                <a:gd name="connsiteX3" fmla="*/ 32434 w 750997"/>
                <a:gd name="connsiteY3" fmla="*/ 972454 h 1004888"/>
                <a:gd name="connsiteX4" fmla="*/ 0 w 750997"/>
                <a:gd name="connsiteY4" fmla="*/ 894152 h 1004888"/>
                <a:gd name="connsiteX5" fmla="*/ 0 w 750997"/>
                <a:gd name="connsiteY5" fmla="*/ 110736 h 1004888"/>
                <a:gd name="connsiteX6" fmla="*/ 32434 w 750997"/>
                <a:gd name="connsiteY6" fmla="*/ 32434 h 1004888"/>
                <a:gd name="connsiteX7" fmla="*/ 110736 w 750997"/>
                <a:gd name="connsiteY7" fmla="*/ 0 h 1004888"/>
                <a:gd name="connsiteX8" fmla="*/ 639358 w 750997"/>
                <a:gd name="connsiteY8" fmla="*/ 0 h 1004888"/>
                <a:gd name="connsiteX9" fmla="*/ 717660 w 750997"/>
                <a:gd name="connsiteY9" fmla="*/ 32434 h 1004888"/>
                <a:gd name="connsiteX10" fmla="*/ 750094 w 750997"/>
                <a:gd name="connsiteY10" fmla="*/ 110736 h 1004888"/>
                <a:gd name="connsiteX11" fmla="*/ 750094 w 750997"/>
                <a:gd name="connsiteY11" fmla="*/ 894152 h 1004888"/>
                <a:gd name="connsiteX12" fmla="*/ 750997 w 750997"/>
                <a:gd name="connsiteY12" fmla="*/ 1003410 h 1004888"/>
                <a:gd name="connsiteX0" fmla="*/ 639358 w 750997"/>
                <a:gd name="connsiteY0" fmla="*/ 1004888 h 1004888"/>
                <a:gd name="connsiteX1" fmla="*/ 671512 w 750997"/>
                <a:gd name="connsiteY1" fmla="*/ 957263 h 1004888"/>
                <a:gd name="connsiteX2" fmla="*/ 621507 w 750997"/>
                <a:gd name="connsiteY2" fmla="*/ 1002506 h 1004888"/>
                <a:gd name="connsiteX3" fmla="*/ 110736 w 750997"/>
                <a:gd name="connsiteY3" fmla="*/ 1004888 h 1004888"/>
                <a:gd name="connsiteX4" fmla="*/ 32434 w 750997"/>
                <a:gd name="connsiteY4" fmla="*/ 972454 h 1004888"/>
                <a:gd name="connsiteX5" fmla="*/ 0 w 750997"/>
                <a:gd name="connsiteY5" fmla="*/ 894152 h 1004888"/>
                <a:gd name="connsiteX6" fmla="*/ 0 w 750997"/>
                <a:gd name="connsiteY6" fmla="*/ 110736 h 1004888"/>
                <a:gd name="connsiteX7" fmla="*/ 32434 w 750997"/>
                <a:gd name="connsiteY7" fmla="*/ 32434 h 1004888"/>
                <a:gd name="connsiteX8" fmla="*/ 110736 w 750997"/>
                <a:gd name="connsiteY8" fmla="*/ 0 h 1004888"/>
                <a:gd name="connsiteX9" fmla="*/ 639358 w 750997"/>
                <a:gd name="connsiteY9" fmla="*/ 0 h 1004888"/>
                <a:gd name="connsiteX10" fmla="*/ 717660 w 750997"/>
                <a:gd name="connsiteY10" fmla="*/ 32434 h 1004888"/>
                <a:gd name="connsiteX11" fmla="*/ 750094 w 750997"/>
                <a:gd name="connsiteY11" fmla="*/ 110736 h 1004888"/>
                <a:gd name="connsiteX12" fmla="*/ 750094 w 750997"/>
                <a:gd name="connsiteY12" fmla="*/ 894152 h 1004888"/>
                <a:gd name="connsiteX13" fmla="*/ 750997 w 750997"/>
                <a:gd name="connsiteY13" fmla="*/ 1003410 h 1004888"/>
                <a:gd name="connsiteX0" fmla="*/ 675076 w 750997"/>
                <a:gd name="connsiteY0" fmla="*/ 685800 h 1004888"/>
                <a:gd name="connsiteX1" fmla="*/ 671512 w 750997"/>
                <a:gd name="connsiteY1" fmla="*/ 957263 h 1004888"/>
                <a:gd name="connsiteX2" fmla="*/ 621507 w 750997"/>
                <a:gd name="connsiteY2" fmla="*/ 1002506 h 1004888"/>
                <a:gd name="connsiteX3" fmla="*/ 110736 w 750997"/>
                <a:gd name="connsiteY3" fmla="*/ 1004888 h 1004888"/>
                <a:gd name="connsiteX4" fmla="*/ 32434 w 750997"/>
                <a:gd name="connsiteY4" fmla="*/ 972454 h 1004888"/>
                <a:gd name="connsiteX5" fmla="*/ 0 w 750997"/>
                <a:gd name="connsiteY5" fmla="*/ 894152 h 1004888"/>
                <a:gd name="connsiteX6" fmla="*/ 0 w 750997"/>
                <a:gd name="connsiteY6" fmla="*/ 110736 h 1004888"/>
                <a:gd name="connsiteX7" fmla="*/ 32434 w 750997"/>
                <a:gd name="connsiteY7" fmla="*/ 32434 h 1004888"/>
                <a:gd name="connsiteX8" fmla="*/ 110736 w 750997"/>
                <a:gd name="connsiteY8" fmla="*/ 0 h 1004888"/>
                <a:gd name="connsiteX9" fmla="*/ 639358 w 750997"/>
                <a:gd name="connsiteY9" fmla="*/ 0 h 1004888"/>
                <a:gd name="connsiteX10" fmla="*/ 717660 w 750997"/>
                <a:gd name="connsiteY10" fmla="*/ 32434 h 1004888"/>
                <a:gd name="connsiteX11" fmla="*/ 750094 w 750997"/>
                <a:gd name="connsiteY11" fmla="*/ 110736 h 1004888"/>
                <a:gd name="connsiteX12" fmla="*/ 750094 w 750997"/>
                <a:gd name="connsiteY12" fmla="*/ 894152 h 1004888"/>
                <a:gd name="connsiteX13" fmla="*/ 750997 w 750997"/>
                <a:gd name="connsiteY13" fmla="*/ 1003410 h 1004888"/>
                <a:gd name="connsiteX0" fmla="*/ 101195 w 750997"/>
                <a:gd name="connsiteY0" fmla="*/ 90488 h 1004888"/>
                <a:gd name="connsiteX1" fmla="*/ 671512 w 750997"/>
                <a:gd name="connsiteY1" fmla="*/ 957263 h 1004888"/>
                <a:gd name="connsiteX2" fmla="*/ 621507 w 750997"/>
                <a:gd name="connsiteY2" fmla="*/ 1002506 h 1004888"/>
                <a:gd name="connsiteX3" fmla="*/ 110736 w 750997"/>
                <a:gd name="connsiteY3" fmla="*/ 1004888 h 1004888"/>
                <a:gd name="connsiteX4" fmla="*/ 32434 w 750997"/>
                <a:gd name="connsiteY4" fmla="*/ 972454 h 1004888"/>
                <a:gd name="connsiteX5" fmla="*/ 0 w 750997"/>
                <a:gd name="connsiteY5" fmla="*/ 894152 h 1004888"/>
                <a:gd name="connsiteX6" fmla="*/ 0 w 750997"/>
                <a:gd name="connsiteY6" fmla="*/ 110736 h 1004888"/>
                <a:gd name="connsiteX7" fmla="*/ 32434 w 750997"/>
                <a:gd name="connsiteY7" fmla="*/ 32434 h 1004888"/>
                <a:gd name="connsiteX8" fmla="*/ 110736 w 750997"/>
                <a:gd name="connsiteY8" fmla="*/ 0 h 1004888"/>
                <a:gd name="connsiteX9" fmla="*/ 639358 w 750997"/>
                <a:gd name="connsiteY9" fmla="*/ 0 h 1004888"/>
                <a:gd name="connsiteX10" fmla="*/ 717660 w 750997"/>
                <a:gd name="connsiteY10" fmla="*/ 32434 h 1004888"/>
                <a:gd name="connsiteX11" fmla="*/ 750094 w 750997"/>
                <a:gd name="connsiteY11" fmla="*/ 110736 h 1004888"/>
                <a:gd name="connsiteX12" fmla="*/ 750094 w 750997"/>
                <a:gd name="connsiteY12" fmla="*/ 894152 h 1004888"/>
                <a:gd name="connsiteX13" fmla="*/ 750997 w 750997"/>
                <a:gd name="connsiteY13" fmla="*/ 1003410 h 1004888"/>
                <a:gd name="connsiteX0" fmla="*/ 101195 w 750997"/>
                <a:gd name="connsiteY0" fmla="*/ 90488 h 1004888"/>
                <a:gd name="connsiteX1" fmla="*/ 209550 w 750997"/>
                <a:gd name="connsiteY1" fmla="*/ 254794 h 1004888"/>
                <a:gd name="connsiteX2" fmla="*/ 671512 w 750997"/>
                <a:gd name="connsiteY2" fmla="*/ 957263 h 1004888"/>
                <a:gd name="connsiteX3" fmla="*/ 621507 w 750997"/>
                <a:gd name="connsiteY3" fmla="*/ 1002506 h 1004888"/>
                <a:gd name="connsiteX4" fmla="*/ 110736 w 750997"/>
                <a:gd name="connsiteY4" fmla="*/ 1004888 h 1004888"/>
                <a:gd name="connsiteX5" fmla="*/ 32434 w 750997"/>
                <a:gd name="connsiteY5" fmla="*/ 972454 h 1004888"/>
                <a:gd name="connsiteX6" fmla="*/ 0 w 750997"/>
                <a:gd name="connsiteY6" fmla="*/ 894152 h 1004888"/>
                <a:gd name="connsiteX7" fmla="*/ 0 w 750997"/>
                <a:gd name="connsiteY7" fmla="*/ 110736 h 1004888"/>
                <a:gd name="connsiteX8" fmla="*/ 32434 w 750997"/>
                <a:gd name="connsiteY8" fmla="*/ 32434 h 1004888"/>
                <a:gd name="connsiteX9" fmla="*/ 110736 w 750997"/>
                <a:gd name="connsiteY9" fmla="*/ 0 h 1004888"/>
                <a:gd name="connsiteX10" fmla="*/ 639358 w 750997"/>
                <a:gd name="connsiteY10" fmla="*/ 0 h 1004888"/>
                <a:gd name="connsiteX11" fmla="*/ 717660 w 750997"/>
                <a:gd name="connsiteY11" fmla="*/ 32434 h 1004888"/>
                <a:gd name="connsiteX12" fmla="*/ 750094 w 750997"/>
                <a:gd name="connsiteY12" fmla="*/ 110736 h 1004888"/>
                <a:gd name="connsiteX13" fmla="*/ 750094 w 750997"/>
                <a:gd name="connsiteY13" fmla="*/ 894152 h 1004888"/>
                <a:gd name="connsiteX14" fmla="*/ 750997 w 750997"/>
                <a:gd name="connsiteY14" fmla="*/ 1003410 h 1004888"/>
                <a:gd name="connsiteX0" fmla="*/ 101195 w 750997"/>
                <a:gd name="connsiteY0" fmla="*/ 90488 h 1004888"/>
                <a:gd name="connsiteX1" fmla="*/ 673894 w 750997"/>
                <a:gd name="connsiteY1" fmla="*/ 76201 h 1004888"/>
                <a:gd name="connsiteX2" fmla="*/ 671512 w 750997"/>
                <a:gd name="connsiteY2" fmla="*/ 957263 h 1004888"/>
                <a:gd name="connsiteX3" fmla="*/ 621507 w 750997"/>
                <a:gd name="connsiteY3" fmla="*/ 1002506 h 1004888"/>
                <a:gd name="connsiteX4" fmla="*/ 110736 w 750997"/>
                <a:gd name="connsiteY4" fmla="*/ 1004888 h 1004888"/>
                <a:gd name="connsiteX5" fmla="*/ 32434 w 750997"/>
                <a:gd name="connsiteY5" fmla="*/ 972454 h 1004888"/>
                <a:gd name="connsiteX6" fmla="*/ 0 w 750997"/>
                <a:gd name="connsiteY6" fmla="*/ 894152 h 1004888"/>
                <a:gd name="connsiteX7" fmla="*/ 0 w 750997"/>
                <a:gd name="connsiteY7" fmla="*/ 110736 h 1004888"/>
                <a:gd name="connsiteX8" fmla="*/ 32434 w 750997"/>
                <a:gd name="connsiteY8" fmla="*/ 32434 h 1004888"/>
                <a:gd name="connsiteX9" fmla="*/ 110736 w 750997"/>
                <a:gd name="connsiteY9" fmla="*/ 0 h 1004888"/>
                <a:gd name="connsiteX10" fmla="*/ 639358 w 750997"/>
                <a:gd name="connsiteY10" fmla="*/ 0 h 1004888"/>
                <a:gd name="connsiteX11" fmla="*/ 717660 w 750997"/>
                <a:gd name="connsiteY11" fmla="*/ 32434 h 1004888"/>
                <a:gd name="connsiteX12" fmla="*/ 750094 w 750997"/>
                <a:gd name="connsiteY12" fmla="*/ 110736 h 1004888"/>
                <a:gd name="connsiteX13" fmla="*/ 750094 w 750997"/>
                <a:gd name="connsiteY13" fmla="*/ 894152 h 1004888"/>
                <a:gd name="connsiteX14" fmla="*/ 750997 w 750997"/>
                <a:gd name="connsiteY14" fmla="*/ 1003410 h 1004888"/>
                <a:gd name="connsiteX0" fmla="*/ 96432 w 750997"/>
                <a:gd name="connsiteY0" fmla="*/ 79375 h 1004888"/>
                <a:gd name="connsiteX1" fmla="*/ 673894 w 750997"/>
                <a:gd name="connsiteY1" fmla="*/ 76201 h 1004888"/>
                <a:gd name="connsiteX2" fmla="*/ 671512 w 750997"/>
                <a:gd name="connsiteY2" fmla="*/ 957263 h 1004888"/>
                <a:gd name="connsiteX3" fmla="*/ 621507 w 750997"/>
                <a:gd name="connsiteY3" fmla="*/ 1002506 h 1004888"/>
                <a:gd name="connsiteX4" fmla="*/ 110736 w 750997"/>
                <a:gd name="connsiteY4" fmla="*/ 1004888 h 1004888"/>
                <a:gd name="connsiteX5" fmla="*/ 32434 w 750997"/>
                <a:gd name="connsiteY5" fmla="*/ 972454 h 1004888"/>
                <a:gd name="connsiteX6" fmla="*/ 0 w 750997"/>
                <a:gd name="connsiteY6" fmla="*/ 894152 h 1004888"/>
                <a:gd name="connsiteX7" fmla="*/ 0 w 750997"/>
                <a:gd name="connsiteY7" fmla="*/ 110736 h 1004888"/>
                <a:gd name="connsiteX8" fmla="*/ 32434 w 750997"/>
                <a:gd name="connsiteY8" fmla="*/ 32434 h 1004888"/>
                <a:gd name="connsiteX9" fmla="*/ 110736 w 750997"/>
                <a:gd name="connsiteY9" fmla="*/ 0 h 1004888"/>
                <a:gd name="connsiteX10" fmla="*/ 639358 w 750997"/>
                <a:gd name="connsiteY10" fmla="*/ 0 h 1004888"/>
                <a:gd name="connsiteX11" fmla="*/ 717660 w 750997"/>
                <a:gd name="connsiteY11" fmla="*/ 32434 h 1004888"/>
                <a:gd name="connsiteX12" fmla="*/ 750094 w 750997"/>
                <a:gd name="connsiteY12" fmla="*/ 110736 h 1004888"/>
                <a:gd name="connsiteX13" fmla="*/ 750094 w 750997"/>
                <a:gd name="connsiteY13" fmla="*/ 894152 h 1004888"/>
                <a:gd name="connsiteX14" fmla="*/ 750997 w 750997"/>
                <a:gd name="connsiteY14" fmla="*/ 1003410 h 1004888"/>
                <a:gd name="connsiteX0" fmla="*/ 96432 w 750997"/>
                <a:gd name="connsiteY0" fmla="*/ 79375 h 1004888"/>
                <a:gd name="connsiteX1" fmla="*/ 673894 w 750997"/>
                <a:gd name="connsiteY1" fmla="*/ 79375 h 1004888"/>
                <a:gd name="connsiteX2" fmla="*/ 671512 w 750997"/>
                <a:gd name="connsiteY2" fmla="*/ 957263 h 1004888"/>
                <a:gd name="connsiteX3" fmla="*/ 621507 w 750997"/>
                <a:gd name="connsiteY3" fmla="*/ 1002506 h 1004888"/>
                <a:gd name="connsiteX4" fmla="*/ 110736 w 750997"/>
                <a:gd name="connsiteY4" fmla="*/ 1004888 h 1004888"/>
                <a:gd name="connsiteX5" fmla="*/ 32434 w 750997"/>
                <a:gd name="connsiteY5" fmla="*/ 972454 h 1004888"/>
                <a:gd name="connsiteX6" fmla="*/ 0 w 750997"/>
                <a:gd name="connsiteY6" fmla="*/ 894152 h 1004888"/>
                <a:gd name="connsiteX7" fmla="*/ 0 w 750997"/>
                <a:gd name="connsiteY7" fmla="*/ 110736 h 1004888"/>
                <a:gd name="connsiteX8" fmla="*/ 32434 w 750997"/>
                <a:gd name="connsiteY8" fmla="*/ 32434 h 1004888"/>
                <a:gd name="connsiteX9" fmla="*/ 110736 w 750997"/>
                <a:gd name="connsiteY9" fmla="*/ 0 h 1004888"/>
                <a:gd name="connsiteX10" fmla="*/ 639358 w 750997"/>
                <a:gd name="connsiteY10" fmla="*/ 0 h 1004888"/>
                <a:gd name="connsiteX11" fmla="*/ 717660 w 750997"/>
                <a:gd name="connsiteY11" fmla="*/ 32434 h 1004888"/>
                <a:gd name="connsiteX12" fmla="*/ 750094 w 750997"/>
                <a:gd name="connsiteY12" fmla="*/ 110736 h 1004888"/>
                <a:gd name="connsiteX13" fmla="*/ 750094 w 750997"/>
                <a:gd name="connsiteY13" fmla="*/ 894152 h 1004888"/>
                <a:gd name="connsiteX14" fmla="*/ 750997 w 750997"/>
                <a:gd name="connsiteY14" fmla="*/ 1003410 h 1004888"/>
                <a:gd name="connsiteX0" fmla="*/ 86519 w 750997"/>
                <a:gd name="connsiteY0" fmla="*/ 79375 h 1004888"/>
                <a:gd name="connsiteX1" fmla="*/ 673894 w 750997"/>
                <a:gd name="connsiteY1" fmla="*/ 79375 h 1004888"/>
                <a:gd name="connsiteX2" fmla="*/ 671512 w 750997"/>
                <a:gd name="connsiteY2" fmla="*/ 957263 h 1004888"/>
                <a:gd name="connsiteX3" fmla="*/ 621507 w 750997"/>
                <a:gd name="connsiteY3" fmla="*/ 1002506 h 1004888"/>
                <a:gd name="connsiteX4" fmla="*/ 110736 w 750997"/>
                <a:gd name="connsiteY4" fmla="*/ 1004888 h 1004888"/>
                <a:gd name="connsiteX5" fmla="*/ 32434 w 750997"/>
                <a:gd name="connsiteY5" fmla="*/ 972454 h 1004888"/>
                <a:gd name="connsiteX6" fmla="*/ 0 w 750997"/>
                <a:gd name="connsiteY6" fmla="*/ 894152 h 1004888"/>
                <a:gd name="connsiteX7" fmla="*/ 0 w 750997"/>
                <a:gd name="connsiteY7" fmla="*/ 110736 h 1004888"/>
                <a:gd name="connsiteX8" fmla="*/ 32434 w 750997"/>
                <a:gd name="connsiteY8" fmla="*/ 32434 h 1004888"/>
                <a:gd name="connsiteX9" fmla="*/ 110736 w 750997"/>
                <a:gd name="connsiteY9" fmla="*/ 0 h 1004888"/>
                <a:gd name="connsiteX10" fmla="*/ 639358 w 750997"/>
                <a:gd name="connsiteY10" fmla="*/ 0 h 1004888"/>
                <a:gd name="connsiteX11" fmla="*/ 717660 w 750997"/>
                <a:gd name="connsiteY11" fmla="*/ 32434 h 1004888"/>
                <a:gd name="connsiteX12" fmla="*/ 750094 w 750997"/>
                <a:gd name="connsiteY12" fmla="*/ 110736 h 1004888"/>
                <a:gd name="connsiteX13" fmla="*/ 750094 w 750997"/>
                <a:gd name="connsiteY13" fmla="*/ 894152 h 1004888"/>
                <a:gd name="connsiteX14" fmla="*/ 750997 w 750997"/>
                <a:gd name="connsiteY14" fmla="*/ 1003410 h 1004888"/>
                <a:gd name="connsiteX0" fmla="*/ 86519 w 750997"/>
                <a:gd name="connsiteY0" fmla="*/ 79375 h 1004888"/>
                <a:gd name="connsiteX1" fmla="*/ 138113 w 750997"/>
                <a:gd name="connsiteY1" fmla="*/ 76200 h 1004888"/>
                <a:gd name="connsiteX2" fmla="*/ 673894 w 750997"/>
                <a:gd name="connsiteY2" fmla="*/ 79375 h 1004888"/>
                <a:gd name="connsiteX3" fmla="*/ 671512 w 750997"/>
                <a:gd name="connsiteY3" fmla="*/ 957263 h 1004888"/>
                <a:gd name="connsiteX4" fmla="*/ 621507 w 750997"/>
                <a:gd name="connsiteY4" fmla="*/ 1002506 h 1004888"/>
                <a:gd name="connsiteX5" fmla="*/ 110736 w 750997"/>
                <a:gd name="connsiteY5" fmla="*/ 1004888 h 1004888"/>
                <a:gd name="connsiteX6" fmla="*/ 32434 w 750997"/>
                <a:gd name="connsiteY6" fmla="*/ 972454 h 1004888"/>
                <a:gd name="connsiteX7" fmla="*/ 0 w 750997"/>
                <a:gd name="connsiteY7" fmla="*/ 894152 h 1004888"/>
                <a:gd name="connsiteX8" fmla="*/ 0 w 750997"/>
                <a:gd name="connsiteY8" fmla="*/ 110736 h 1004888"/>
                <a:gd name="connsiteX9" fmla="*/ 32434 w 750997"/>
                <a:gd name="connsiteY9" fmla="*/ 32434 h 1004888"/>
                <a:gd name="connsiteX10" fmla="*/ 110736 w 750997"/>
                <a:gd name="connsiteY10" fmla="*/ 0 h 1004888"/>
                <a:gd name="connsiteX11" fmla="*/ 639358 w 750997"/>
                <a:gd name="connsiteY11" fmla="*/ 0 h 1004888"/>
                <a:gd name="connsiteX12" fmla="*/ 717660 w 750997"/>
                <a:gd name="connsiteY12" fmla="*/ 32434 h 1004888"/>
                <a:gd name="connsiteX13" fmla="*/ 750094 w 750997"/>
                <a:gd name="connsiteY13" fmla="*/ 110736 h 1004888"/>
                <a:gd name="connsiteX14" fmla="*/ 750094 w 750997"/>
                <a:gd name="connsiteY14" fmla="*/ 894152 h 1004888"/>
                <a:gd name="connsiteX15" fmla="*/ 750997 w 750997"/>
                <a:gd name="connsiteY15" fmla="*/ 1003410 h 1004888"/>
                <a:gd name="connsiteX0" fmla="*/ 86519 w 750997"/>
                <a:gd name="connsiteY0" fmla="*/ 839788 h 1004888"/>
                <a:gd name="connsiteX1" fmla="*/ 138113 w 750997"/>
                <a:gd name="connsiteY1" fmla="*/ 76200 h 1004888"/>
                <a:gd name="connsiteX2" fmla="*/ 673894 w 750997"/>
                <a:gd name="connsiteY2" fmla="*/ 79375 h 1004888"/>
                <a:gd name="connsiteX3" fmla="*/ 671512 w 750997"/>
                <a:gd name="connsiteY3" fmla="*/ 957263 h 1004888"/>
                <a:gd name="connsiteX4" fmla="*/ 621507 w 750997"/>
                <a:gd name="connsiteY4" fmla="*/ 1002506 h 1004888"/>
                <a:gd name="connsiteX5" fmla="*/ 110736 w 750997"/>
                <a:gd name="connsiteY5" fmla="*/ 1004888 h 1004888"/>
                <a:gd name="connsiteX6" fmla="*/ 32434 w 750997"/>
                <a:gd name="connsiteY6" fmla="*/ 972454 h 1004888"/>
                <a:gd name="connsiteX7" fmla="*/ 0 w 750997"/>
                <a:gd name="connsiteY7" fmla="*/ 894152 h 1004888"/>
                <a:gd name="connsiteX8" fmla="*/ 0 w 750997"/>
                <a:gd name="connsiteY8" fmla="*/ 110736 h 1004888"/>
                <a:gd name="connsiteX9" fmla="*/ 32434 w 750997"/>
                <a:gd name="connsiteY9" fmla="*/ 32434 h 1004888"/>
                <a:gd name="connsiteX10" fmla="*/ 110736 w 750997"/>
                <a:gd name="connsiteY10" fmla="*/ 0 h 1004888"/>
                <a:gd name="connsiteX11" fmla="*/ 639358 w 750997"/>
                <a:gd name="connsiteY11" fmla="*/ 0 h 1004888"/>
                <a:gd name="connsiteX12" fmla="*/ 717660 w 750997"/>
                <a:gd name="connsiteY12" fmla="*/ 32434 h 1004888"/>
                <a:gd name="connsiteX13" fmla="*/ 750094 w 750997"/>
                <a:gd name="connsiteY13" fmla="*/ 110736 h 1004888"/>
                <a:gd name="connsiteX14" fmla="*/ 750094 w 750997"/>
                <a:gd name="connsiteY14" fmla="*/ 894152 h 1004888"/>
                <a:gd name="connsiteX15" fmla="*/ 750997 w 750997"/>
                <a:gd name="connsiteY15" fmla="*/ 1003410 h 1004888"/>
                <a:gd name="connsiteX0" fmla="*/ 86519 w 750997"/>
                <a:gd name="connsiteY0" fmla="*/ 839788 h 1004888"/>
                <a:gd name="connsiteX1" fmla="*/ 86519 w 750997"/>
                <a:gd name="connsiteY1" fmla="*/ 79375 h 1004888"/>
                <a:gd name="connsiteX2" fmla="*/ 673894 w 750997"/>
                <a:gd name="connsiteY2" fmla="*/ 79375 h 1004888"/>
                <a:gd name="connsiteX3" fmla="*/ 671512 w 750997"/>
                <a:gd name="connsiteY3" fmla="*/ 957263 h 1004888"/>
                <a:gd name="connsiteX4" fmla="*/ 621507 w 750997"/>
                <a:gd name="connsiteY4" fmla="*/ 1002506 h 1004888"/>
                <a:gd name="connsiteX5" fmla="*/ 110736 w 750997"/>
                <a:gd name="connsiteY5" fmla="*/ 1004888 h 1004888"/>
                <a:gd name="connsiteX6" fmla="*/ 32434 w 750997"/>
                <a:gd name="connsiteY6" fmla="*/ 972454 h 1004888"/>
                <a:gd name="connsiteX7" fmla="*/ 0 w 750997"/>
                <a:gd name="connsiteY7" fmla="*/ 894152 h 1004888"/>
                <a:gd name="connsiteX8" fmla="*/ 0 w 750997"/>
                <a:gd name="connsiteY8" fmla="*/ 110736 h 1004888"/>
                <a:gd name="connsiteX9" fmla="*/ 32434 w 750997"/>
                <a:gd name="connsiteY9" fmla="*/ 32434 h 1004888"/>
                <a:gd name="connsiteX10" fmla="*/ 110736 w 750997"/>
                <a:gd name="connsiteY10" fmla="*/ 0 h 1004888"/>
                <a:gd name="connsiteX11" fmla="*/ 639358 w 750997"/>
                <a:gd name="connsiteY11" fmla="*/ 0 h 1004888"/>
                <a:gd name="connsiteX12" fmla="*/ 717660 w 750997"/>
                <a:gd name="connsiteY12" fmla="*/ 32434 h 1004888"/>
                <a:gd name="connsiteX13" fmla="*/ 750094 w 750997"/>
                <a:gd name="connsiteY13" fmla="*/ 110736 h 1004888"/>
                <a:gd name="connsiteX14" fmla="*/ 750094 w 750997"/>
                <a:gd name="connsiteY14" fmla="*/ 894152 h 1004888"/>
                <a:gd name="connsiteX15" fmla="*/ 750997 w 750997"/>
                <a:gd name="connsiteY15" fmla="*/ 1003410 h 1004888"/>
                <a:gd name="connsiteX0" fmla="*/ 86519 w 750997"/>
                <a:gd name="connsiteY0" fmla="*/ 839788 h 1004888"/>
                <a:gd name="connsiteX1" fmla="*/ 83344 w 750997"/>
                <a:gd name="connsiteY1" fmla="*/ 769144 h 1004888"/>
                <a:gd name="connsiteX2" fmla="*/ 86519 w 750997"/>
                <a:gd name="connsiteY2" fmla="*/ 79375 h 1004888"/>
                <a:gd name="connsiteX3" fmla="*/ 673894 w 750997"/>
                <a:gd name="connsiteY3" fmla="*/ 79375 h 1004888"/>
                <a:gd name="connsiteX4" fmla="*/ 671512 w 750997"/>
                <a:gd name="connsiteY4" fmla="*/ 957263 h 1004888"/>
                <a:gd name="connsiteX5" fmla="*/ 621507 w 750997"/>
                <a:gd name="connsiteY5" fmla="*/ 1002506 h 1004888"/>
                <a:gd name="connsiteX6" fmla="*/ 110736 w 750997"/>
                <a:gd name="connsiteY6" fmla="*/ 1004888 h 1004888"/>
                <a:gd name="connsiteX7" fmla="*/ 32434 w 750997"/>
                <a:gd name="connsiteY7" fmla="*/ 972454 h 1004888"/>
                <a:gd name="connsiteX8" fmla="*/ 0 w 750997"/>
                <a:gd name="connsiteY8" fmla="*/ 894152 h 1004888"/>
                <a:gd name="connsiteX9" fmla="*/ 0 w 750997"/>
                <a:gd name="connsiteY9" fmla="*/ 110736 h 1004888"/>
                <a:gd name="connsiteX10" fmla="*/ 32434 w 750997"/>
                <a:gd name="connsiteY10" fmla="*/ 32434 h 1004888"/>
                <a:gd name="connsiteX11" fmla="*/ 110736 w 750997"/>
                <a:gd name="connsiteY11" fmla="*/ 0 h 1004888"/>
                <a:gd name="connsiteX12" fmla="*/ 639358 w 750997"/>
                <a:gd name="connsiteY12" fmla="*/ 0 h 1004888"/>
                <a:gd name="connsiteX13" fmla="*/ 717660 w 750997"/>
                <a:gd name="connsiteY13" fmla="*/ 32434 h 1004888"/>
                <a:gd name="connsiteX14" fmla="*/ 750094 w 750997"/>
                <a:gd name="connsiteY14" fmla="*/ 110736 h 1004888"/>
                <a:gd name="connsiteX15" fmla="*/ 750094 w 750997"/>
                <a:gd name="connsiteY15" fmla="*/ 894152 h 1004888"/>
                <a:gd name="connsiteX16" fmla="*/ 750997 w 750997"/>
                <a:gd name="connsiteY16" fmla="*/ 1003410 h 1004888"/>
                <a:gd name="connsiteX0" fmla="*/ 347663 w 750997"/>
                <a:gd name="connsiteY0" fmla="*/ 839788 h 1004888"/>
                <a:gd name="connsiteX1" fmla="*/ 83344 w 750997"/>
                <a:gd name="connsiteY1" fmla="*/ 769144 h 1004888"/>
                <a:gd name="connsiteX2" fmla="*/ 86519 w 750997"/>
                <a:gd name="connsiteY2" fmla="*/ 79375 h 1004888"/>
                <a:gd name="connsiteX3" fmla="*/ 673894 w 750997"/>
                <a:gd name="connsiteY3" fmla="*/ 79375 h 1004888"/>
                <a:gd name="connsiteX4" fmla="*/ 671512 w 750997"/>
                <a:gd name="connsiteY4" fmla="*/ 957263 h 1004888"/>
                <a:gd name="connsiteX5" fmla="*/ 621507 w 750997"/>
                <a:gd name="connsiteY5" fmla="*/ 1002506 h 1004888"/>
                <a:gd name="connsiteX6" fmla="*/ 110736 w 750997"/>
                <a:gd name="connsiteY6" fmla="*/ 1004888 h 1004888"/>
                <a:gd name="connsiteX7" fmla="*/ 32434 w 750997"/>
                <a:gd name="connsiteY7" fmla="*/ 972454 h 1004888"/>
                <a:gd name="connsiteX8" fmla="*/ 0 w 750997"/>
                <a:gd name="connsiteY8" fmla="*/ 894152 h 1004888"/>
                <a:gd name="connsiteX9" fmla="*/ 0 w 750997"/>
                <a:gd name="connsiteY9" fmla="*/ 110736 h 1004888"/>
                <a:gd name="connsiteX10" fmla="*/ 32434 w 750997"/>
                <a:gd name="connsiteY10" fmla="*/ 32434 h 1004888"/>
                <a:gd name="connsiteX11" fmla="*/ 110736 w 750997"/>
                <a:gd name="connsiteY11" fmla="*/ 0 h 1004888"/>
                <a:gd name="connsiteX12" fmla="*/ 639358 w 750997"/>
                <a:gd name="connsiteY12" fmla="*/ 0 h 1004888"/>
                <a:gd name="connsiteX13" fmla="*/ 717660 w 750997"/>
                <a:gd name="connsiteY13" fmla="*/ 32434 h 1004888"/>
                <a:gd name="connsiteX14" fmla="*/ 750094 w 750997"/>
                <a:gd name="connsiteY14" fmla="*/ 110736 h 1004888"/>
                <a:gd name="connsiteX15" fmla="*/ 750094 w 750997"/>
                <a:gd name="connsiteY15" fmla="*/ 894152 h 1004888"/>
                <a:gd name="connsiteX16" fmla="*/ 750997 w 750997"/>
                <a:gd name="connsiteY16" fmla="*/ 1003410 h 1004888"/>
                <a:gd name="connsiteX0" fmla="*/ 347663 w 750997"/>
                <a:gd name="connsiteY0" fmla="*/ 839788 h 1004888"/>
                <a:gd name="connsiteX1" fmla="*/ 86519 w 750997"/>
                <a:gd name="connsiteY1" fmla="*/ 839788 h 1004888"/>
                <a:gd name="connsiteX2" fmla="*/ 86519 w 750997"/>
                <a:gd name="connsiteY2" fmla="*/ 79375 h 1004888"/>
                <a:gd name="connsiteX3" fmla="*/ 673894 w 750997"/>
                <a:gd name="connsiteY3" fmla="*/ 79375 h 1004888"/>
                <a:gd name="connsiteX4" fmla="*/ 671512 w 750997"/>
                <a:gd name="connsiteY4" fmla="*/ 957263 h 1004888"/>
                <a:gd name="connsiteX5" fmla="*/ 621507 w 750997"/>
                <a:gd name="connsiteY5" fmla="*/ 1002506 h 1004888"/>
                <a:gd name="connsiteX6" fmla="*/ 110736 w 750997"/>
                <a:gd name="connsiteY6" fmla="*/ 1004888 h 1004888"/>
                <a:gd name="connsiteX7" fmla="*/ 32434 w 750997"/>
                <a:gd name="connsiteY7" fmla="*/ 972454 h 1004888"/>
                <a:gd name="connsiteX8" fmla="*/ 0 w 750997"/>
                <a:gd name="connsiteY8" fmla="*/ 894152 h 1004888"/>
                <a:gd name="connsiteX9" fmla="*/ 0 w 750997"/>
                <a:gd name="connsiteY9" fmla="*/ 110736 h 1004888"/>
                <a:gd name="connsiteX10" fmla="*/ 32434 w 750997"/>
                <a:gd name="connsiteY10" fmla="*/ 32434 h 1004888"/>
                <a:gd name="connsiteX11" fmla="*/ 110736 w 750997"/>
                <a:gd name="connsiteY11" fmla="*/ 0 h 1004888"/>
                <a:gd name="connsiteX12" fmla="*/ 639358 w 750997"/>
                <a:gd name="connsiteY12" fmla="*/ 0 h 1004888"/>
                <a:gd name="connsiteX13" fmla="*/ 717660 w 750997"/>
                <a:gd name="connsiteY13" fmla="*/ 32434 h 1004888"/>
                <a:gd name="connsiteX14" fmla="*/ 750094 w 750997"/>
                <a:gd name="connsiteY14" fmla="*/ 110736 h 1004888"/>
                <a:gd name="connsiteX15" fmla="*/ 750094 w 750997"/>
                <a:gd name="connsiteY15" fmla="*/ 894152 h 1004888"/>
                <a:gd name="connsiteX16" fmla="*/ 750997 w 750997"/>
                <a:gd name="connsiteY16" fmla="*/ 1003410 h 1004888"/>
                <a:gd name="connsiteX0" fmla="*/ 347663 w 750997"/>
                <a:gd name="connsiteY0" fmla="*/ 839788 h 1004888"/>
                <a:gd name="connsiteX1" fmla="*/ 86519 w 750997"/>
                <a:gd name="connsiteY1" fmla="*/ 839788 h 1004888"/>
                <a:gd name="connsiteX2" fmla="*/ 86519 w 750997"/>
                <a:gd name="connsiteY2" fmla="*/ 79375 h 1004888"/>
                <a:gd name="connsiteX3" fmla="*/ 673894 w 750997"/>
                <a:gd name="connsiteY3" fmla="*/ 79375 h 1004888"/>
                <a:gd name="connsiteX4" fmla="*/ 671513 w 750997"/>
                <a:gd name="connsiteY4" fmla="*/ 128588 h 1004888"/>
                <a:gd name="connsiteX5" fmla="*/ 671512 w 750997"/>
                <a:gd name="connsiteY5" fmla="*/ 957263 h 1004888"/>
                <a:gd name="connsiteX6" fmla="*/ 621507 w 750997"/>
                <a:gd name="connsiteY6" fmla="*/ 1002506 h 1004888"/>
                <a:gd name="connsiteX7" fmla="*/ 110736 w 750997"/>
                <a:gd name="connsiteY7" fmla="*/ 1004888 h 1004888"/>
                <a:gd name="connsiteX8" fmla="*/ 32434 w 750997"/>
                <a:gd name="connsiteY8" fmla="*/ 972454 h 1004888"/>
                <a:gd name="connsiteX9" fmla="*/ 0 w 750997"/>
                <a:gd name="connsiteY9" fmla="*/ 894152 h 1004888"/>
                <a:gd name="connsiteX10" fmla="*/ 0 w 750997"/>
                <a:gd name="connsiteY10" fmla="*/ 110736 h 1004888"/>
                <a:gd name="connsiteX11" fmla="*/ 32434 w 750997"/>
                <a:gd name="connsiteY11" fmla="*/ 32434 h 1004888"/>
                <a:gd name="connsiteX12" fmla="*/ 110736 w 750997"/>
                <a:gd name="connsiteY12" fmla="*/ 0 h 1004888"/>
                <a:gd name="connsiteX13" fmla="*/ 639358 w 750997"/>
                <a:gd name="connsiteY13" fmla="*/ 0 h 1004888"/>
                <a:gd name="connsiteX14" fmla="*/ 717660 w 750997"/>
                <a:gd name="connsiteY14" fmla="*/ 32434 h 1004888"/>
                <a:gd name="connsiteX15" fmla="*/ 750094 w 750997"/>
                <a:gd name="connsiteY15" fmla="*/ 110736 h 1004888"/>
                <a:gd name="connsiteX16" fmla="*/ 750094 w 750997"/>
                <a:gd name="connsiteY16" fmla="*/ 894152 h 1004888"/>
                <a:gd name="connsiteX17" fmla="*/ 750997 w 750997"/>
                <a:gd name="connsiteY17" fmla="*/ 1003410 h 1004888"/>
                <a:gd name="connsiteX0" fmla="*/ 347663 w 750997"/>
                <a:gd name="connsiteY0" fmla="*/ 839788 h 1004888"/>
                <a:gd name="connsiteX1" fmla="*/ 86519 w 750997"/>
                <a:gd name="connsiteY1" fmla="*/ 839788 h 1004888"/>
                <a:gd name="connsiteX2" fmla="*/ 86519 w 750997"/>
                <a:gd name="connsiteY2" fmla="*/ 79375 h 1004888"/>
                <a:gd name="connsiteX3" fmla="*/ 619125 w 750997"/>
                <a:gd name="connsiteY3" fmla="*/ 76200 h 1004888"/>
                <a:gd name="connsiteX4" fmla="*/ 673894 w 750997"/>
                <a:gd name="connsiteY4" fmla="*/ 79375 h 1004888"/>
                <a:gd name="connsiteX5" fmla="*/ 671513 w 750997"/>
                <a:gd name="connsiteY5" fmla="*/ 128588 h 1004888"/>
                <a:gd name="connsiteX6" fmla="*/ 671512 w 750997"/>
                <a:gd name="connsiteY6" fmla="*/ 957263 h 1004888"/>
                <a:gd name="connsiteX7" fmla="*/ 621507 w 750997"/>
                <a:gd name="connsiteY7" fmla="*/ 1002506 h 1004888"/>
                <a:gd name="connsiteX8" fmla="*/ 110736 w 750997"/>
                <a:gd name="connsiteY8" fmla="*/ 1004888 h 1004888"/>
                <a:gd name="connsiteX9" fmla="*/ 32434 w 750997"/>
                <a:gd name="connsiteY9" fmla="*/ 972454 h 1004888"/>
                <a:gd name="connsiteX10" fmla="*/ 0 w 750997"/>
                <a:gd name="connsiteY10" fmla="*/ 894152 h 1004888"/>
                <a:gd name="connsiteX11" fmla="*/ 0 w 750997"/>
                <a:gd name="connsiteY11" fmla="*/ 110736 h 1004888"/>
                <a:gd name="connsiteX12" fmla="*/ 32434 w 750997"/>
                <a:gd name="connsiteY12" fmla="*/ 32434 h 1004888"/>
                <a:gd name="connsiteX13" fmla="*/ 110736 w 750997"/>
                <a:gd name="connsiteY13" fmla="*/ 0 h 1004888"/>
                <a:gd name="connsiteX14" fmla="*/ 639358 w 750997"/>
                <a:gd name="connsiteY14" fmla="*/ 0 h 1004888"/>
                <a:gd name="connsiteX15" fmla="*/ 717660 w 750997"/>
                <a:gd name="connsiteY15" fmla="*/ 32434 h 1004888"/>
                <a:gd name="connsiteX16" fmla="*/ 750094 w 750997"/>
                <a:gd name="connsiteY16" fmla="*/ 110736 h 1004888"/>
                <a:gd name="connsiteX17" fmla="*/ 750094 w 750997"/>
                <a:gd name="connsiteY17" fmla="*/ 894152 h 1004888"/>
                <a:gd name="connsiteX18" fmla="*/ 750997 w 750997"/>
                <a:gd name="connsiteY18" fmla="*/ 1003410 h 1004888"/>
                <a:gd name="connsiteX0" fmla="*/ 347663 w 750997"/>
                <a:gd name="connsiteY0" fmla="*/ 839788 h 1004888"/>
                <a:gd name="connsiteX1" fmla="*/ 86519 w 750997"/>
                <a:gd name="connsiteY1" fmla="*/ 839788 h 1004888"/>
                <a:gd name="connsiteX2" fmla="*/ 86519 w 750997"/>
                <a:gd name="connsiteY2" fmla="*/ 79375 h 1004888"/>
                <a:gd name="connsiteX3" fmla="*/ 619125 w 750997"/>
                <a:gd name="connsiteY3" fmla="*/ 76200 h 1004888"/>
                <a:gd name="connsiteX4" fmla="*/ 673894 w 750997"/>
                <a:gd name="connsiteY4" fmla="*/ 79375 h 1004888"/>
                <a:gd name="connsiteX5" fmla="*/ 671513 w 750997"/>
                <a:gd name="connsiteY5" fmla="*/ 128588 h 1004888"/>
                <a:gd name="connsiteX6" fmla="*/ 671512 w 750997"/>
                <a:gd name="connsiteY6" fmla="*/ 957263 h 1004888"/>
                <a:gd name="connsiteX7" fmla="*/ 669131 w 750997"/>
                <a:gd name="connsiteY7" fmla="*/ 9953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004888"/>
                <a:gd name="connsiteX1" fmla="*/ 86519 w 750997"/>
                <a:gd name="connsiteY1" fmla="*/ 839788 h 1004888"/>
                <a:gd name="connsiteX2" fmla="*/ 86519 w 750997"/>
                <a:gd name="connsiteY2" fmla="*/ 79375 h 1004888"/>
                <a:gd name="connsiteX3" fmla="*/ 121444 w 750997"/>
                <a:gd name="connsiteY3" fmla="*/ 78581 h 1004888"/>
                <a:gd name="connsiteX4" fmla="*/ 619125 w 750997"/>
                <a:gd name="connsiteY4" fmla="*/ 76200 h 1004888"/>
                <a:gd name="connsiteX5" fmla="*/ 673894 w 750997"/>
                <a:gd name="connsiteY5" fmla="*/ 79375 h 1004888"/>
                <a:gd name="connsiteX6" fmla="*/ 671513 w 750997"/>
                <a:gd name="connsiteY6" fmla="*/ 128588 h 1004888"/>
                <a:gd name="connsiteX7" fmla="*/ 671512 w 750997"/>
                <a:gd name="connsiteY7" fmla="*/ 957263 h 1004888"/>
                <a:gd name="connsiteX8" fmla="*/ 669131 w 750997"/>
                <a:gd name="connsiteY8" fmla="*/ 9953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52223 h 1017323"/>
                <a:gd name="connsiteX1" fmla="*/ 86519 w 750997"/>
                <a:gd name="connsiteY1" fmla="*/ 852223 h 1017323"/>
                <a:gd name="connsiteX2" fmla="*/ 86519 w 750997"/>
                <a:gd name="connsiteY2" fmla="*/ 126735 h 1017323"/>
                <a:gd name="connsiteX3" fmla="*/ 86519 w 750997"/>
                <a:gd name="connsiteY3" fmla="*/ 91810 h 1017323"/>
                <a:gd name="connsiteX4" fmla="*/ 121444 w 750997"/>
                <a:gd name="connsiteY4" fmla="*/ 91016 h 1017323"/>
                <a:gd name="connsiteX5" fmla="*/ 619125 w 750997"/>
                <a:gd name="connsiteY5" fmla="*/ 88635 h 1017323"/>
                <a:gd name="connsiteX6" fmla="*/ 673894 w 750997"/>
                <a:gd name="connsiteY6" fmla="*/ 91810 h 1017323"/>
                <a:gd name="connsiteX7" fmla="*/ 671513 w 750997"/>
                <a:gd name="connsiteY7" fmla="*/ 141023 h 1017323"/>
                <a:gd name="connsiteX8" fmla="*/ 671512 w 750997"/>
                <a:gd name="connsiteY8" fmla="*/ 969698 h 1017323"/>
                <a:gd name="connsiteX9" fmla="*/ 669131 w 750997"/>
                <a:gd name="connsiteY9" fmla="*/ 1007798 h 1017323"/>
                <a:gd name="connsiteX10" fmla="*/ 621507 w 750997"/>
                <a:gd name="connsiteY10" fmla="*/ 1014941 h 1017323"/>
                <a:gd name="connsiteX11" fmla="*/ 110736 w 750997"/>
                <a:gd name="connsiteY11" fmla="*/ 1017323 h 1017323"/>
                <a:gd name="connsiteX12" fmla="*/ 32434 w 750997"/>
                <a:gd name="connsiteY12" fmla="*/ 984889 h 1017323"/>
                <a:gd name="connsiteX13" fmla="*/ 0 w 750997"/>
                <a:gd name="connsiteY13" fmla="*/ 906587 h 1017323"/>
                <a:gd name="connsiteX14" fmla="*/ 0 w 750997"/>
                <a:gd name="connsiteY14" fmla="*/ 123171 h 1017323"/>
                <a:gd name="connsiteX15" fmla="*/ 32434 w 750997"/>
                <a:gd name="connsiteY15" fmla="*/ 44869 h 1017323"/>
                <a:gd name="connsiteX16" fmla="*/ 110736 w 750997"/>
                <a:gd name="connsiteY16" fmla="*/ 12435 h 1017323"/>
                <a:gd name="connsiteX17" fmla="*/ 639358 w 750997"/>
                <a:gd name="connsiteY17" fmla="*/ 12435 h 1017323"/>
                <a:gd name="connsiteX18" fmla="*/ 717660 w 750997"/>
                <a:gd name="connsiteY18" fmla="*/ 44869 h 1017323"/>
                <a:gd name="connsiteX19" fmla="*/ 750094 w 750997"/>
                <a:gd name="connsiteY19" fmla="*/ 123171 h 1017323"/>
                <a:gd name="connsiteX20" fmla="*/ 750094 w 750997"/>
                <a:gd name="connsiteY20" fmla="*/ 906587 h 1017323"/>
                <a:gd name="connsiteX21" fmla="*/ 750997 w 750997"/>
                <a:gd name="connsiteY21" fmla="*/ 1015845 h 1017323"/>
                <a:gd name="connsiteX0" fmla="*/ 347663 w 750997"/>
                <a:gd name="connsiteY0" fmla="*/ 852223 h 1017323"/>
                <a:gd name="connsiteX1" fmla="*/ 86519 w 750997"/>
                <a:gd name="connsiteY1" fmla="*/ 852223 h 1017323"/>
                <a:gd name="connsiteX2" fmla="*/ 86519 w 750997"/>
                <a:gd name="connsiteY2" fmla="*/ 126735 h 1017323"/>
                <a:gd name="connsiteX3" fmla="*/ 86519 w 750997"/>
                <a:gd name="connsiteY3" fmla="*/ 91810 h 1017323"/>
                <a:gd name="connsiteX4" fmla="*/ 121444 w 750997"/>
                <a:gd name="connsiteY4" fmla="*/ 91016 h 1017323"/>
                <a:gd name="connsiteX5" fmla="*/ 619125 w 750997"/>
                <a:gd name="connsiteY5" fmla="*/ 88635 h 1017323"/>
                <a:gd name="connsiteX6" fmla="*/ 673894 w 750997"/>
                <a:gd name="connsiteY6" fmla="*/ 91810 h 1017323"/>
                <a:gd name="connsiteX7" fmla="*/ 671513 w 750997"/>
                <a:gd name="connsiteY7" fmla="*/ 141023 h 1017323"/>
                <a:gd name="connsiteX8" fmla="*/ 671512 w 750997"/>
                <a:gd name="connsiteY8" fmla="*/ 969698 h 1017323"/>
                <a:gd name="connsiteX9" fmla="*/ 669131 w 750997"/>
                <a:gd name="connsiteY9" fmla="*/ 1007798 h 1017323"/>
                <a:gd name="connsiteX10" fmla="*/ 621507 w 750997"/>
                <a:gd name="connsiteY10" fmla="*/ 1014941 h 1017323"/>
                <a:gd name="connsiteX11" fmla="*/ 110736 w 750997"/>
                <a:gd name="connsiteY11" fmla="*/ 1017323 h 1017323"/>
                <a:gd name="connsiteX12" fmla="*/ 32434 w 750997"/>
                <a:gd name="connsiteY12" fmla="*/ 984889 h 1017323"/>
                <a:gd name="connsiteX13" fmla="*/ 0 w 750997"/>
                <a:gd name="connsiteY13" fmla="*/ 906587 h 1017323"/>
                <a:gd name="connsiteX14" fmla="*/ 0 w 750997"/>
                <a:gd name="connsiteY14" fmla="*/ 123171 h 1017323"/>
                <a:gd name="connsiteX15" fmla="*/ 32434 w 750997"/>
                <a:gd name="connsiteY15" fmla="*/ 44869 h 1017323"/>
                <a:gd name="connsiteX16" fmla="*/ 110736 w 750997"/>
                <a:gd name="connsiteY16" fmla="*/ 12435 h 1017323"/>
                <a:gd name="connsiteX17" fmla="*/ 639358 w 750997"/>
                <a:gd name="connsiteY17" fmla="*/ 12435 h 1017323"/>
                <a:gd name="connsiteX18" fmla="*/ 717660 w 750997"/>
                <a:gd name="connsiteY18" fmla="*/ 44869 h 1017323"/>
                <a:gd name="connsiteX19" fmla="*/ 750094 w 750997"/>
                <a:gd name="connsiteY19" fmla="*/ 123171 h 1017323"/>
                <a:gd name="connsiteX20" fmla="*/ 750094 w 750997"/>
                <a:gd name="connsiteY20" fmla="*/ 906587 h 1017323"/>
                <a:gd name="connsiteX21" fmla="*/ 750997 w 750997"/>
                <a:gd name="connsiteY21"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126735 h 1017323"/>
                <a:gd name="connsiteX4" fmla="*/ 86519 w 750997"/>
                <a:gd name="connsiteY4" fmla="*/ 91810 h 1017323"/>
                <a:gd name="connsiteX5" fmla="*/ 121444 w 750997"/>
                <a:gd name="connsiteY5" fmla="*/ 91016 h 1017323"/>
                <a:gd name="connsiteX6" fmla="*/ 619125 w 750997"/>
                <a:gd name="connsiteY6" fmla="*/ 88635 h 1017323"/>
                <a:gd name="connsiteX7" fmla="*/ 673894 w 750997"/>
                <a:gd name="connsiteY7" fmla="*/ 91810 h 1017323"/>
                <a:gd name="connsiteX8" fmla="*/ 671513 w 750997"/>
                <a:gd name="connsiteY8" fmla="*/ 141023 h 1017323"/>
                <a:gd name="connsiteX9" fmla="*/ 671512 w 750997"/>
                <a:gd name="connsiteY9" fmla="*/ 969698 h 1017323"/>
                <a:gd name="connsiteX10" fmla="*/ 669131 w 750997"/>
                <a:gd name="connsiteY10" fmla="*/ 1007798 h 1017323"/>
                <a:gd name="connsiteX11" fmla="*/ 621507 w 750997"/>
                <a:gd name="connsiteY11" fmla="*/ 1014941 h 1017323"/>
                <a:gd name="connsiteX12" fmla="*/ 110736 w 750997"/>
                <a:gd name="connsiteY12" fmla="*/ 1017323 h 1017323"/>
                <a:gd name="connsiteX13" fmla="*/ 32434 w 750997"/>
                <a:gd name="connsiteY13" fmla="*/ 984889 h 1017323"/>
                <a:gd name="connsiteX14" fmla="*/ 0 w 750997"/>
                <a:gd name="connsiteY14" fmla="*/ 906587 h 1017323"/>
                <a:gd name="connsiteX15" fmla="*/ 0 w 750997"/>
                <a:gd name="connsiteY15" fmla="*/ 123171 h 1017323"/>
                <a:gd name="connsiteX16" fmla="*/ 32434 w 750997"/>
                <a:gd name="connsiteY16" fmla="*/ 44869 h 1017323"/>
                <a:gd name="connsiteX17" fmla="*/ 110736 w 750997"/>
                <a:gd name="connsiteY17" fmla="*/ 12435 h 1017323"/>
                <a:gd name="connsiteX18" fmla="*/ 639358 w 750997"/>
                <a:gd name="connsiteY18" fmla="*/ 12435 h 1017323"/>
                <a:gd name="connsiteX19" fmla="*/ 717660 w 750997"/>
                <a:gd name="connsiteY19" fmla="*/ 44869 h 1017323"/>
                <a:gd name="connsiteX20" fmla="*/ 750094 w 750997"/>
                <a:gd name="connsiteY20" fmla="*/ 123171 h 1017323"/>
                <a:gd name="connsiteX21" fmla="*/ 750094 w 750997"/>
                <a:gd name="connsiteY21" fmla="*/ 906587 h 1017323"/>
                <a:gd name="connsiteX22" fmla="*/ 750997 w 750997"/>
                <a:gd name="connsiteY22"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619125 w 750997"/>
                <a:gd name="connsiteY7" fmla="*/ 88635 h 1017323"/>
                <a:gd name="connsiteX8" fmla="*/ 673894 w 750997"/>
                <a:gd name="connsiteY8" fmla="*/ 91810 h 1017323"/>
                <a:gd name="connsiteX9" fmla="*/ 671513 w 750997"/>
                <a:gd name="connsiteY9" fmla="*/ 141023 h 1017323"/>
                <a:gd name="connsiteX10" fmla="*/ 671512 w 750997"/>
                <a:gd name="connsiteY10" fmla="*/ 969698 h 1017323"/>
                <a:gd name="connsiteX11" fmla="*/ 669131 w 750997"/>
                <a:gd name="connsiteY11" fmla="*/ 1007798 h 1017323"/>
                <a:gd name="connsiteX12" fmla="*/ 621507 w 750997"/>
                <a:gd name="connsiteY12" fmla="*/ 1014941 h 1017323"/>
                <a:gd name="connsiteX13" fmla="*/ 110736 w 750997"/>
                <a:gd name="connsiteY13" fmla="*/ 1017323 h 1017323"/>
                <a:gd name="connsiteX14" fmla="*/ 32434 w 750997"/>
                <a:gd name="connsiteY14" fmla="*/ 984889 h 1017323"/>
                <a:gd name="connsiteX15" fmla="*/ 0 w 750997"/>
                <a:gd name="connsiteY15" fmla="*/ 906587 h 1017323"/>
                <a:gd name="connsiteX16" fmla="*/ 0 w 750997"/>
                <a:gd name="connsiteY16" fmla="*/ 123171 h 1017323"/>
                <a:gd name="connsiteX17" fmla="*/ 32434 w 750997"/>
                <a:gd name="connsiteY17" fmla="*/ 44869 h 1017323"/>
                <a:gd name="connsiteX18" fmla="*/ 110736 w 750997"/>
                <a:gd name="connsiteY18" fmla="*/ 12435 h 1017323"/>
                <a:gd name="connsiteX19" fmla="*/ 639358 w 750997"/>
                <a:gd name="connsiteY19" fmla="*/ 12435 h 1017323"/>
                <a:gd name="connsiteX20" fmla="*/ 717660 w 750997"/>
                <a:gd name="connsiteY20" fmla="*/ 44869 h 1017323"/>
                <a:gd name="connsiteX21" fmla="*/ 750094 w 750997"/>
                <a:gd name="connsiteY21" fmla="*/ 123171 h 1017323"/>
                <a:gd name="connsiteX22" fmla="*/ 750094 w 750997"/>
                <a:gd name="connsiteY22" fmla="*/ 906587 h 1017323"/>
                <a:gd name="connsiteX23" fmla="*/ 750997 w 750997"/>
                <a:gd name="connsiteY23"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404813 w 750997"/>
                <a:gd name="connsiteY7" fmla="*/ 83874 h 1017323"/>
                <a:gd name="connsiteX8" fmla="*/ 619125 w 750997"/>
                <a:gd name="connsiteY8" fmla="*/ 88635 h 1017323"/>
                <a:gd name="connsiteX9" fmla="*/ 673894 w 750997"/>
                <a:gd name="connsiteY9" fmla="*/ 91810 h 1017323"/>
                <a:gd name="connsiteX10" fmla="*/ 671513 w 750997"/>
                <a:gd name="connsiteY10" fmla="*/ 141023 h 1017323"/>
                <a:gd name="connsiteX11" fmla="*/ 671512 w 750997"/>
                <a:gd name="connsiteY11" fmla="*/ 969698 h 1017323"/>
                <a:gd name="connsiteX12" fmla="*/ 669131 w 750997"/>
                <a:gd name="connsiteY12" fmla="*/ 1007798 h 1017323"/>
                <a:gd name="connsiteX13" fmla="*/ 621507 w 750997"/>
                <a:gd name="connsiteY13" fmla="*/ 1014941 h 1017323"/>
                <a:gd name="connsiteX14" fmla="*/ 110736 w 750997"/>
                <a:gd name="connsiteY14" fmla="*/ 1017323 h 1017323"/>
                <a:gd name="connsiteX15" fmla="*/ 32434 w 750997"/>
                <a:gd name="connsiteY15" fmla="*/ 984889 h 1017323"/>
                <a:gd name="connsiteX16" fmla="*/ 0 w 750997"/>
                <a:gd name="connsiteY16" fmla="*/ 906587 h 1017323"/>
                <a:gd name="connsiteX17" fmla="*/ 0 w 750997"/>
                <a:gd name="connsiteY17" fmla="*/ 123171 h 1017323"/>
                <a:gd name="connsiteX18" fmla="*/ 32434 w 750997"/>
                <a:gd name="connsiteY18" fmla="*/ 44869 h 1017323"/>
                <a:gd name="connsiteX19" fmla="*/ 110736 w 750997"/>
                <a:gd name="connsiteY19" fmla="*/ 12435 h 1017323"/>
                <a:gd name="connsiteX20" fmla="*/ 639358 w 750997"/>
                <a:gd name="connsiteY20" fmla="*/ 12435 h 1017323"/>
                <a:gd name="connsiteX21" fmla="*/ 717660 w 750997"/>
                <a:gd name="connsiteY21" fmla="*/ 44869 h 1017323"/>
                <a:gd name="connsiteX22" fmla="*/ 750094 w 750997"/>
                <a:gd name="connsiteY22" fmla="*/ 123171 h 1017323"/>
                <a:gd name="connsiteX23" fmla="*/ 750094 w 750997"/>
                <a:gd name="connsiteY23" fmla="*/ 906587 h 1017323"/>
                <a:gd name="connsiteX24" fmla="*/ 750997 w 750997"/>
                <a:gd name="connsiteY24"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619125 w 750997"/>
                <a:gd name="connsiteY7" fmla="*/ 88635 h 1017323"/>
                <a:gd name="connsiteX8" fmla="*/ 673894 w 750997"/>
                <a:gd name="connsiteY8" fmla="*/ 91810 h 1017323"/>
                <a:gd name="connsiteX9" fmla="*/ 671513 w 750997"/>
                <a:gd name="connsiteY9" fmla="*/ 141023 h 1017323"/>
                <a:gd name="connsiteX10" fmla="*/ 671512 w 750997"/>
                <a:gd name="connsiteY10" fmla="*/ 969698 h 1017323"/>
                <a:gd name="connsiteX11" fmla="*/ 669131 w 750997"/>
                <a:gd name="connsiteY11" fmla="*/ 1007798 h 1017323"/>
                <a:gd name="connsiteX12" fmla="*/ 621507 w 750997"/>
                <a:gd name="connsiteY12" fmla="*/ 1014941 h 1017323"/>
                <a:gd name="connsiteX13" fmla="*/ 110736 w 750997"/>
                <a:gd name="connsiteY13" fmla="*/ 1017323 h 1017323"/>
                <a:gd name="connsiteX14" fmla="*/ 32434 w 750997"/>
                <a:gd name="connsiteY14" fmla="*/ 984889 h 1017323"/>
                <a:gd name="connsiteX15" fmla="*/ 0 w 750997"/>
                <a:gd name="connsiteY15" fmla="*/ 906587 h 1017323"/>
                <a:gd name="connsiteX16" fmla="*/ 0 w 750997"/>
                <a:gd name="connsiteY16" fmla="*/ 123171 h 1017323"/>
                <a:gd name="connsiteX17" fmla="*/ 32434 w 750997"/>
                <a:gd name="connsiteY17" fmla="*/ 44869 h 1017323"/>
                <a:gd name="connsiteX18" fmla="*/ 110736 w 750997"/>
                <a:gd name="connsiteY18" fmla="*/ 12435 h 1017323"/>
                <a:gd name="connsiteX19" fmla="*/ 639358 w 750997"/>
                <a:gd name="connsiteY19" fmla="*/ 12435 h 1017323"/>
                <a:gd name="connsiteX20" fmla="*/ 717660 w 750997"/>
                <a:gd name="connsiteY20" fmla="*/ 44869 h 1017323"/>
                <a:gd name="connsiteX21" fmla="*/ 750094 w 750997"/>
                <a:gd name="connsiteY21" fmla="*/ 123171 h 1017323"/>
                <a:gd name="connsiteX22" fmla="*/ 750094 w 750997"/>
                <a:gd name="connsiteY22" fmla="*/ 906587 h 1017323"/>
                <a:gd name="connsiteX23" fmla="*/ 750997 w 750997"/>
                <a:gd name="connsiteY23"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619125 w 750997"/>
                <a:gd name="connsiteY7" fmla="*/ 88635 h 1017323"/>
                <a:gd name="connsiteX8" fmla="*/ 673894 w 750997"/>
                <a:gd name="connsiteY8" fmla="*/ 91810 h 1017323"/>
                <a:gd name="connsiteX9" fmla="*/ 671513 w 750997"/>
                <a:gd name="connsiteY9" fmla="*/ 141023 h 1017323"/>
                <a:gd name="connsiteX10" fmla="*/ 671512 w 750997"/>
                <a:gd name="connsiteY10" fmla="*/ 969698 h 1017323"/>
                <a:gd name="connsiteX11" fmla="*/ 669131 w 750997"/>
                <a:gd name="connsiteY11" fmla="*/ 1007798 h 1017323"/>
                <a:gd name="connsiteX12" fmla="*/ 621507 w 750997"/>
                <a:gd name="connsiteY12" fmla="*/ 1014941 h 1017323"/>
                <a:gd name="connsiteX13" fmla="*/ 110736 w 750997"/>
                <a:gd name="connsiteY13" fmla="*/ 1017323 h 1017323"/>
                <a:gd name="connsiteX14" fmla="*/ 32434 w 750997"/>
                <a:gd name="connsiteY14" fmla="*/ 984889 h 1017323"/>
                <a:gd name="connsiteX15" fmla="*/ 0 w 750997"/>
                <a:gd name="connsiteY15" fmla="*/ 906587 h 1017323"/>
                <a:gd name="connsiteX16" fmla="*/ 0 w 750997"/>
                <a:gd name="connsiteY16" fmla="*/ 123171 h 1017323"/>
                <a:gd name="connsiteX17" fmla="*/ 32434 w 750997"/>
                <a:gd name="connsiteY17" fmla="*/ 44869 h 1017323"/>
                <a:gd name="connsiteX18" fmla="*/ 110736 w 750997"/>
                <a:gd name="connsiteY18" fmla="*/ 12435 h 1017323"/>
                <a:gd name="connsiteX19" fmla="*/ 639358 w 750997"/>
                <a:gd name="connsiteY19" fmla="*/ 12435 h 1017323"/>
                <a:gd name="connsiteX20" fmla="*/ 717660 w 750997"/>
                <a:gd name="connsiteY20" fmla="*/ 44869 h 1017323"/>
                <a:gd name="connsiteX21" fmla="*/ 750094 w 750997"/>
                <a:gd name="connsiteY21" fmla="*/ 123171 h 1017323"/>
                <a:gd name="connsiteX22" fmla="*/ 750094 w 750997"/>
                <a:gd name="connsiteY22" fmla="*/ 906587 h 1017323"/>
                <a:gd name="connsiteX23" fmla="*/ 750997 w 750997"/>
                <a:gd name="connsiteY23" fmla="*/ 1015845 h 1017323"/>
                <a:gd name="connsiteX0" fmla="*/ 347663 w 750997"/>
                <a:gd name="connsiteY0" fmla="*/ 857515 h 1022615"/>
                <a:gd name="connsiteX1" fmla="*/ 121444 w 750997"/>
                <a:gd name="connsiteY1" fmla="*/ 858309 h 1022615"/>
                <a:gd name="connsiteX2" fmla="*/ 86519 w 750997"/>
                <a:gd name="connsiteY2" fmla="*/ 857515 h 1022615"/>
                <a:gd name="connsiteX3" fmla="*/ 86519 w 750997"/>
                <a:gd name="connsiteY3" fmla="*/ 817828 h 1022615"/>
                <a:gd name="connsiteX4" fmla="*/ 86519 w 750997"/>
                <a:gd name="connsiteY4" fmla="*/ 132027 h 1022615"/>
                <a:gd name="connsiteX5" fmla="*/ 86519 w 750997"/>
                <a:gd name="connsiteY5" fmla="*/ 97102 h 1022615"/>
                <a:gd name="connsiteX6" fmla="*/ 121444 w 750997"/>
                <a:gd name="connsiteY6" fmla="*/ 96308 h 1022615"/>
                <a:gd name="connsiteX7" fmla="*/ 619125 w 750997"/>
                <a:gd name="connsiteY7" fmla="*/ 93927 h 1022615"/>
                <a:gd name="connsiteX8" fmla="*/ 673894 w 750997"/>
                <a:gd name="connsiteY8" fmla="*/ 97102 h 1022615"/>
                <a:gd name="connsiteX9" fmla="*/ 671513 w 750997"/>
                <a:gd name="connsiteY9" fmla="*/ 146315 h 1022615"/>
                <a:gd name="connsiteX10" fmla="*/ 671512 w 750997"/>
                <a:gd name="connsiteY10" fmla="*/ 974990 h 1022615"/>
                <a:gd name="connsiteX11" fmla="*/ 669131 w 750997"/>
                <a:gd name="connsiteY11" fmla="*/ 1013090 h 1022615"/>
                <a:gd name="connsiteX12" fmla="*/ 621507 w 750997"/>
                <a:gd name="connsiteY12" fmla="*/ 1020233 h 1022615"/>
                <a:gd name="connsiteX13" fmla="*/ 110736 w 750997"/>
                <a:gd name="connsiteY13" fmla="*/ 1022615 h 1022615"/>
                <a:gd name="connsiteX14" fmla="*/ 32434 w 750997"/>
                <a:gd name="connsiteY14" fmla="*/ 990181 h 1022615"/>
                <a:gd name="connsiteX15" fmla="*/ 0 w 750997"/>
                <a:gd name="connsiteY15" fmla="*/ 911879 h 1022615"/>
                <a:gd name="connsiteX16" fmla="*/ 0 w 750997"/>
                <a:gd name="connsiteY16" fmla="*/ 128463 h 1022615"/>
                <a:gd name="connsiteX17" fmla="*/ 32434 w 750997"/>
                <a:gd name="connsiteY17" fmla="*/ 50161 h 1022615"/>
                <a:gd name="connsiteX18" fmla="*/ 110736 w 750997"/>
                <a:gd name="connsiteY18" fmla="*/ 17727 h 1022615"/>
                <a:gd name="connsiteX19" fmla="*/ 639358 w 750997"/>
                <a:gd name="connsiteY19" fmla="*/ 17727 h 1022615"/>
                <a:gd name="connsiteX20" fmla="*/ 717660 w 750997"/>
                <a:gd name="connsiteY20" fmla="*/ 50161 h 1022615"/>
                <a:gd name="connsiteX21" fmla="*/ 750094 w 750997"/>
                <a:gd name="connsiteY21" fmla="*/ 128463 h 1022615"/>
                <a:gd name="connsiteX22" fmla="*/ 750094 w 750997"/>
                <a:gd name="connsiteY22" fmla="*/ 911879 h 1022615"/>
                <a:gd name="connsiteX23" fmla="*/ 750997 w 750997"/>
                <a:gd name="connsiteY23" fmla="*/ 1021137 h 1022615"/>
                <a:gd name="connsiteX0" fmla="*/ 347663 w 750997"/>
                <a:gd name="connsiteY0" fmla="*/ 857515 h 1022615"/>
                <a:gd name="connsiteX1" fmla="*/ 121444 w 750997"/>
                <a:gd name="connsiteY1" fmla="*/ 858309 h 1022615"/>
                <a:gd name="connsiteX2" fmla="*/ 86519 w 750997"/>
                <a:gd name="connsiteY2" fmla="*/ 857515 h 1022615"/>
                <a:gd name="connsiteX3" fmla="*/ 86519 w 750997"/>
                <a:gd name="connsiteY3" fmla="*/ 817828 h 1022615"/>
                <a:gd name="connsiteX4" fmla="*/ 86519 w 750997"/>
                <a:gd name="connsiteY4" fmla="*/ 132027 h 1022615"/>
                <a:gd name="connsiteX5" fmla="*/ 86519 w 750997"/>
                <a:gd name="connsiteY5" fmla="*/ 97102 h 1022615"/>
                <a:gd name="connsiteX6" fmla="*/ 121444 w 750997"/>
                <a:gd name="connsiteY6" fmla="*/ 96308 h 1022615"/>
                <a:gd name="connsiteX7" fmla="*/ 619125 w 750997"/>
                <a:gd name="connsiteY7" fmla="*/ 93927 h 1022615"/>
                <a:gd name="connsiteX8" fmla="*/ 647700 w 750997"/>
                <a:gd name="connsiteY8" fmla="*/ 96309 h 1022615"/>
                <a:gd name="connsiteX9" fmla="*/ 673894 w 750997"/>
                <a:gd name="connsiteY9" fmla="*/ 97102 h 1022615"/>
                <a:gd name="connsiteX10" fmla="*/ 671513 w 750997"/>
                <a:gd name="connsiteY10" fmla="*/ 146315 h 1022615"/>
                <a:gd name="connsiteX11" fmla="*/ 671512 w 750997"/>
                <a:gd name="connsiteY11" fmla="*/ 974990 h 1022615"/>
                <a:gd name="connsiteX12" fmla="*/ 669131 w 750997"/>
                <a:gd name="connsiteY12" fmla="*/ 1013090 h 1022615"/>
                <a:gd name="connsiteX13" fmla="*/ 621507 w 750997"/>
                <a:gd name="connsiteY13" fmla="*/ 1020233 h 1022615"/>
                <a:gd name="connsiteX14" fmla="*/ 110736 w 750997"/>
                <a:gd name="connsiteY14" fmla="*/ 1022615 h 1022615"/>
                <a:gd name="connsiteX15" fmla="*/ 32434 w 750997"/>
                <a:gd name="connsiteY15" fmla="*/ 990181 h 1022615"/>
                <a:gd name="connsiteX16" fmla="*/ 0 w 750997"/>
                <a:gd name="connsiteY16" fmla="*/ 911879 h 1022615"/>
                <a:gd name="connsiteX17" fmla="*/ 0 w 750997"/>
                <a:gd name="connsiteY17" fmla="*/ 128463 h 1022615"/>
                <a:gd name="connsiteX18" fmla="*/ 32434 w 750997"/>
                <a:gd name="connsiteY18" fmla="*/ 50161 h 1022615"/>
                <a:gd name="connsiteX19" fmla="*/ 110736 w 750997"/>
                <a:gd name="connsiteY19" fmla="*/ 17727 h 1022615"/>
                <a:gd name="connsiteX20" fmla="*/ 639358 w 750997"/>
                <a:gd name="connsiteY20" fmla="*/ 17727 h 1022615"/>
                <a:gd name="connsiteX21" fmla="*/ 717660 w 750997"/>
                <a:gd name="connsiteY21" fmla="*/ 50161 h 1022615"/>
                <a:gd name="connsiteX22" fmla="*/ 750094 w 750997"/>
                <a:gd name="connsiteY22" fmla="*/ 128463 h 1022615"/>
                <a:gd name="connsiteX23" fmla="*/ 750094 w 750997"/>
                <a:gd name="connsiteY23" fmla="*/ 911879 h 1022615"/>
                <a:gd name="connsiteX24" fmla="*/ 750997 w 750997"/>
                <a:gd name="connsiteY24" fmla="*/ 1021137 h 1022615"/>
                <a:gd name="connsiteX0" fmla="*/ 347663 w 750997"/>
                <a:gd name="connsiteY0" fmla="*/ 857515 h 1022615"/>
                <a:gd name="connsiteX1" fmla="*/ 121444 w 750997"/>
                <a:gd name="connsiteY1" fmla="*/ 858309 h 1022615"/>
                <a:gd name="connsiteX2" fmla="*/ 86519 w 750997"/>
                <a:gd name="connsiteY2" fmla="*/ 857515 h 1022615"/>
                <a:gd name="connsiteX3" fmla="*/ 86519 w 750997"/>
                <a:gd name="connsiteY3" fmla="*/ 817828 h 1022615"/>
                <a:gd name="connsiteX4" fmla="*/ 86519 w 750997"/>
                <a:gd name="connsiteY4" fmla="*/ 132027 h 1022615"/>
                <a:gd name="connsiteX5" fmla="*/ 86519 w 750997"/>
                <a:gd name="connsiteY5" fmla="*/ 97102 h 1022615"/>
                <a:gd name="connsiteX6" fmla="*/ 121444 w 750997"/>
                <a:gd name="connsiteY6" fmla="*/ 96308 h 1022615"/>
                <a:gd name="connsiteX7" fmla="*/ 619125 w 750997"/>
                <a:gd name="connsiteY7" fmla="*/ 93927 h 1022615"/>
                <a:gd name="connsiteX8" fmla="*/ 673894 w 750997"/>
                <a:gd name="connsiteY8" fmla="*/ 97102 h 1022615"/>
                <a:gd name="connsiteX9" fmla="*/ 671513 w 750997"/>
                <a:gd name="connsiteY9" fmla="*/ 146315 h 1022615"/>
                <a:gd name="connsiteX10" fmla="*/ 671512 w 750997"/>
                <a:gd name="connsiteY10" fmla="*/ 974990 h 1022615"/>
                <a:gd name="connsiteX11" fmla="*/ 669131 w 750997"/>
                <a:gd name="connsiteY11" fmla="*/ 1013090 h 1022615"/>
                <a:gd name="connsiteX12" fmla="*/ 621507 w 750997"/>
                <a:gd name="connsiteY12" fmla="*/ 1020233 h 1022615"/>
                <a:gd name="connsiteX13" fmla="*/ 110736 w 750997"/>
                <a:gd name="connsiteY13" fmla="*/ 1022615 h 1022615"/>
                <a:gd name="connsiteX14" fmla="*/ 32434 w 750997"/>
                <a:gd name="connsiteY14" fmla="*/ 990181 h 1022615"/>
                <a:gd name="connsiteX15" fmla="*/ 0 w 750997"/>
                <a:gd name="connsiteY15" fmla="*/ 911879 h 1022615"/>
                <a:gd name="connsiteX16" fmla="*/ 0 w 750997"/>
                <a:gd name="connsiteY16" fmla="*/ 128463 h 1022615"/>
                <a:gd name="connsiteX17" fmla="*/ 32434 w 750997"/>
                <a:gd name="connsiteY17" fmla="*/ 50161 h 1022615"/>
                <a:gd name="connsiteX18" fmla="*/ 110736 w 750997"/>
                <a:gd name="connsiteY18" fmla="*/ 17727 h 1022615"/>
                <a:gd name="connsiteX19" fmla="*/ 639358 w 750997"/>
                <a:gd name="connsiteY19" fmla="*/ 17727 h 1022615"/>
                <a:gd name="connsiteX20" fmla="*/ 717660 w 750997"/>
                <a:gd name="connsiteY20" fmla="*/ 50161 h 1022615"/>
                <a:gd name="connsiteX21" fmla="*/ 750094 w 750997"/>
                <a:gd name="connsiteY21" fmla="*/ 128463 h 1022615"/>
                <a:gd name="connsiteX22" fmla="*/ 750094 w 750997"/>
                <a:gd name="connsiteY22" fmla="*/ 911879 h 1022615"/>
                <a:gd name="connsiteX23" fmla="*/ 750997 w 750997"/>
                <a:gd name="connsiteY23" fmla="*/ 1021137 h 1022615"/>
                <a:gd name="connsiteX0" fmla="*/ 347663 w 750997"/>
                <a:gd name="connsiteY0" fmla="*/ 857515 h 1022615"/>
                <a:gd name="connsiteX1" fmla="*/ 121444 w 750997"/>
                <a:gd name="connsiteY1" fmla="*/ 858309 h 1022615"/>
                <a:gd name="connsiteX2" fmla="*/ 86519 w 750997"/>
                <a:gd name="connsiteY2" fmla="*/ 857515 h 1022615"/>
                <a:gd name="connsiteX3" fmla="*/ 86519 w 750997"/>
                <a:gd name="connsiteY3" fmla="*/ 817828 h 1022615"/>
                <a:gd name="connsiteX4" fmla="*/ 86519 w 750997"/>
                <a:gd name="connsiteY4" fmla="*/ 132027 h 1022615"/>
                <a:gd name="connsiteX5" fmla="*/ 86519 w 750997"/>
                <a:gd name="connsiteY5" fmla="*/ 97102 h 1022615"/>
                <a:gd name="connsiteX6" fmla="*/ 121444 w 750997"/>
                <a:gd name="connsiteY6" fmla="*/ 96308 h 1022615"/>
                <a:gd name="connsiteX7" fmla="*/ 619125 w 750997"/>
                <a:gd name="connsiteY7" fmla="*/ 93927 h 1022615"/>
                <a:gd name="connsiteX8" fmla="*/ 673894 w 750997"/>
                <a:gd name="connsiteY8" fmla="*/ 97102 h 1022615"/>
                <a:gd name="connsiteX9" fmla="*/ 671513 w 750997"/>
                <a:gd name="connsiteY9" fmla="*/ 146315 h 1022615"/>
                <a:gd name="connsiteX10" fmla="*/ 671512 w 750997"/>
                <a:gd name="connsiteY10" fmla="*/ 974990 h 1022615"/>
                <a:gd name="connsiteX11" fmla="*/ 669131 w 750997"/>
                <a:gd name="connsiteY11" fmla="*/ 1013090 h 1022615"/>
                <a:gd name="connsiteX12" fmla="*/ 621507 w 750997"/>
                <a:gd name="connsiteY12" fmla="*/ 1020233 h 1022615"/>
                <a:gd name="connsiteX13" fmla="*/ 110736 w 750997"/>
                <a:gd name="connsiteY13" fmla="*/ 1022615 h 1022615"/>
                <a:gd name="connsiteX14" fmla="*/ 32434 w 750997"/>
                <a:gd name="connsiteY14" fmla="*/ 990181 h 1022615"/>
                <a:gd name="connsiteX15" fmla="*/ 0 w 750997"/>
                <a:gd name="connsiteY15" fmla="*/ 911879 h 1022615"/>
                <a:gd name="connsiteX16" fmla="*/ 0 w 750997"/>
                <a:gd name="connsiteY16" fmla="*/ 128463 h 1022615"/>
                <a:gd name="connsiteX17" fmla="*/ 32434 w 750997"/>
                <a:gd name="connsiteY17" fmla="*/ 50161 h 1022615"/>
                <a:gd name="connsiteX18" fmla="*/ 110736 w 750997"/>
                <a:gd name="connsiteY18" fmla="*/ 17727 h 1022615"/>
                <a:gd name="connsiteX19" fmla="*/ 639358 w 750997"/>
                <a:gd name="connsiteY19" fmla="*/ 17727 h 1022615"/>
                <a:gd name="connsiteX20" fmla="*/ 717660 w 750997"/>
                <a:gd name="connsiteY20" fmla="*/ 50161 h 1022615"/>
                <a:gd name="connsiteX21" fmla="*/ 750094 w 750997"/>
                <a:gd name="connsiteY21" fmla="*/ 128463 h 1022615"/>
                <a:gd name="connsiteX22" fmla="*/ 750094 w 750997"/>
                <a:gd name="connsiteY22" fmla="*/ 911879 h 1022615"/>
                <a:gd name="connsiteX23" fmla="*/ 750997 w 750997"/>
                <a:gd name="connsiteY23" fmla="*/ 1021137 h 1022615"/>
                <a:gd name="connsiteX0" fmla="*/ 347663 w 750997"/>
                <a:gd name="connsiteY0" fmla="*/ 857515 h 1022615"/>
                <a:gd name="connsiteX1" fmla="*/ 121444 w 750997"/>
                <a:gd name="connsiteY1" fmla="*/ 858309 h 1022615"/>
                <a:gd name="connsiteX2" fmla="*/ 86519 w 750997"/>
                <a:gd name="connsiteY2" fmla="*/ 857515 h 1022615"/>
                <a:gd name="connsiteX3" fmla="*/ 86519 w 750997"/>
                <a:gd name="connsiteY3" fmla="*/ 817828 h 1022615"/>
                <a:gd name="connsiteX4" fmla="*/ 86519 w 750997"/>
                <a:gd name="connsiteY4" fmla="*/ 132027 h 1022615"/>
                <a:gd name="connsiteX5" fmla="*/ 86519 w 750997"/>
                <a:gd name="connsiteY5" fmla="*/ 97102 h 1022615"/>
                <a:gd name="connsiteX6" fmla="*/ 121444 w 750997"/>
                <a:gd name="connsiteY6" fmla="*/ 96308 h 1022615"/>
                <a:gd name="connsiteX7" fmla="*/ 619125 w 750997"/>
                <a:gd name="connsiteY7" fmla="*/ 93927 h 1022615"/>
                <a:gd name="connsiteX8" fmla="*/ 673894 w 750997"/>
                <a:gd name="connsiteY8" fmla="*/ 97102 h 1022615"/>
                <a:gd name="connsiteX9" fmla="*/ 671513 w 750997"/>
                <a:gd name="connsiteY9" fmla="*/ 146315 h 1022615"/>
                <a:gd name="connsiteX10" fmla="*/ 671512 w 750997"/>
                <a:gd name="connsiteY10" fmla="*/ 974990 h 1022615"/>
                <a:gd name="connsiteX11" fmla="*/ 669131 w 750997"/>
                <a:gd name="connsiteY11" fmla="*/ 1013090 h 1022615"/>
                <a:gd name="connsiteX12" fmla="*/ 621507 w 750997"/>
                <a:gd name="connsiteY12" fmla="*/ 1020233 h 1022615"/>
                <a:gd name="connsiteX13" fmla="*/ 110736 w 750997"/>
                <a:gd name="connsiteY13" fmla="*/ 1022615 h 1022615"/>
                <a:gd name="connsiteX14" fmla="*/ 32434 w 750997"/>
                <a:gd name="connsiteY14" fmla="*/ 990181 h 1022615"/>
                <a:gd name="connsiteX15" fmla="*/ 0 w 750997"/>
                <a:gd name="connsiteY15" fmla="*/ 911879 h 1022615"/>
                <a:gd name="connsiteX16" fmla="*/ 0 w 750997"/>
                <a:gd name="connsiteY16" fmla="*/ 128463 h 1022615"/>
                <a:gd name="connsiteX17" fmla="*/ 32434 w 750997"/>
                <a:gd name="connsiteY17" fmla="*/ 50161 h 1022615"/>
                <a:gd name="connsiteX18" fmla="*/ 110736 w 750997"/>
                <a:gd name="connsiteY18" fmla="*/ 17727 h 1022615"/>
                <a:gd name="connsiteX19" fmla="*/ 639358 w 750997"/>
                <a:gd name="connsiteY19" fmla="*/ 17727 h 1022615"/>
                <a:gd name="connsiteX20" fmla="*/ 717660 w 750997"/>
                <a:gd name="connsiteY20" fmla="*/ 50161 h 1022615"/>
                <a:gd name="connsiteX21" fmla="*/ 750094 w 750997"/>
                <a:gd name="connsiteY21" fmla="*/ 128463 h 1022615"/>
                <a:gd name="connsiteX22" fmla="*/ 750094 w 750997"/>
                <a:gd name="connsiteY22" fmla="*/ 911879 h 1022615"/>
                <a:gd name="connsiteX23" fmla="*/ 750997 w 750997"/>
                <a:gd name="connsiteY23" fmla="*/ 1021137 h 1022615"/>
                <a:gd name="connsiteX0" fmla="*/ 347663 w 750997"/>
                <a:gd name="connsiteY0" fmla="*/ 858044 h 1023144"/>
                <a:gd name="connsiteX1" fmla="*/ 121444 w 750997"/>
                <a:gd name="connsiteY1" fmla="*/ 858838 h 1023144"/>
                <a:gd name="connsiteX2" fmla="*/ 86519 w 750997"/>
                <a:gd name="connsiteY2" fmla="*/ 858044 h 1023144"/>
                <a:gd name="connsiteX3" fmla="*/ 86519 w 750997"/>
                <a:gd name="connsiteY3" fmla="*/ 818357 h 1023144"/>
                <a:gd name="connsiteX4" fmla="*/ 86519 w 750997"/>
                <a:gd name="connsiteY4" fmla="*/ 132556 h 1023144"/>
                <a:gd name="connsiteX5" fmla="*/ 86519 w 750997"/>
                <a:gd name="connsiteY5" fmla="*/ 97631 h 1023144"/>
                <a:gd name="connsiteX6" fmla="*/ 121444 w 750997"/>
                <a:gd name="connsiteY6" fmla="*/ 96837 h 1023144"/>
                <a:gd name="connsiteX7" fmla="*/ 619125 w 750997"/>
                <a:gd name="connsiteY7" fmla="*/ 94456 h 1023144"/>
                <a:gd name="connsiteX8" fmla="*/ 671513 w 750997"/>
                <a:gd name="connsiteY8" fmla="*/ 146844 h 1023144"/>
                <a:gd name="connsiteX9" fmla="*/ 671512 w 750997"/>
                <a:gd name="connsiteY9" fmla="*/ 975519 h 1023144"/>
                <a:gd name="connsiteX10" fmla="*/ 669131 w 750997"/>
                <a:gd name="connsiteY10" fmla="*/ 1013619 h 1023144"/>
                <a:gd name="connsiteX11" fmla="*/ 621507 w 750997"/>
                <a:gd name="connsiteY11" fmla="*/ 1020762 h 1023144"/>
                <a:gd name="connsiteX12" fmla="*/ 110736 w 750997"/>
                <a:gd name="connsiteY12" fmla="*/ 1023144 h 1023144"/>
                <a:gd name="connsiteX13" fmla="*/ 32434 w 750997"/>
                <a:gd name="connsiteY13" fmla="*/ 990710 h 1023144"/>
                <a:gd name="connsiteX14" fmla="*/ 0 w 750997"/>
                <a:gd name="connsiteY14" fmla="*/ 912408 h 1023144"/>
                <a:gd name="connsiteX15" fmla="*/ 0 w 750997"/>
                <a:gd name="connsiteY15" fmla="*/ 128992 h 1023144"/>
                <a:gd name="connsiteX16" fmla="*/ 32434 w 750997"/>
                <a:gd name="connsiteY16" fmla="*/ 50690 h 1023144"/>
                <a:gd name="connsiteX17" fmla="*/ 110736 w 750997"/>
                <a:gd name="connsiteY17" fmla="*/ 18256 h 1023144"/>
                <a:gd name="connsiteX18" fmla="*/ 639358 w 750997"/>
                <a:gd name="connsiteY18" fmla="*/ 18256 h 1023144"/>
                <a:gd name="connsiteX19" fmla="*/ 717660 w 750997"/>
                <a:gd name="connsiteY19" fmla="*/ 50690 h 1023144"/>
                <a:gd name="connsiteX20" fmla="*/ 750094 w 750997"/>
                <a:gd name="connsiteY20" fmla="*/ 128992 h 1023144"/>
                <a:gd name="connsiteX21" fmla="*/ 750094 w 750997"/>
                <a:gd name="connsiteY21" fmla="*/ 912408 h 1023144"/>
                <a:gd name="connsiteX22" fmla="*/ 750997 w 750997"/>
                <a:gd name="connsiteY22" fmla="*/ 1021666 h 1023144"/>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619125 w 750997"/>
                <a:gd name="connsiteY7" fmla="*/ 88635 h 1017323"/>
                <a:gd name="connsiteX8" fmla="*/ 671513 w 750997"/>
                <a:gd name="connsiteY8" fmla="*/ 141023 h 1017323"/>
                <a:gd name="connsiteX9" fmla="*/ 671512 w 750997"/>
                <a:gd name="connsiteY9" fmla="*/ 969698 h 1017323"/>
                <a:gd name="connsiteX10" fmla="*/ 669131 w 750997"/>
                <a:gd name="connsiteY10" fmla="*/ 1007798 h 1017323"/>
                <a:gd name="connsiteX11" fmla="*/ 621507 w 750997"/>
                <a:gd name="connsiteY11" fmla="*/ 1014941 h 1017323"/>
                <a:gd name="connsiteX12" fmla="*/ 110736 w 750997"/>
                <a:gd name="connsiteY12" fmla="*/ 1017323 h 1017323"/>
                <a:gd name="connsiteX13" fmla="*/ 32434 w 750997"/>
                <a:gd name="connsiteY13" fmla="*/ 984889 h 1017323"/>
                <a:gd name="connsiteX14" fmla="*/ 0 w 750997"/>
                <a:gd name="connsiteY14" fmla="*/ 906587 h 1017323"/>
                <a:gd name="connsiteX15" fmla="*/ 0 w 750997"/>
                <a:gd name="connsiteY15" fmla="*/ 123171 h 1017323"/>
                <a:gd name="connsiteX16" fmla="*/ 32434 w 750997"/>
                <a:gd name="connsiteY16" fmla="*/ 44869 h 1017323"/>
                <a:gd name="connsiteX17" fmla="*/ 110736 w 750997"/>
                <a:gd name="connsiteY17" fmla="*/ 12435 h 1017323"/>
                <a:gd name="connsiteX18" fmla="*/ 639358 w 750997"/>
                <a:gd name="connsiteY18" fmla="*/ 12435 h 1017323"/>
                <a:gd name="connsiteX19" fmla="*/ 717660 w 750997"/>
                <a:gd name="connsiteY19" fmla="*/ 44869 h 1017323"/>
                <a:gd name="connsiteX20" fmla="*/ 750094 w 750997"/>
                <a:gd name="connsiteY20" fmla="*/ 123171 h 1017323"/>
                <a:gd name="connsiteX21" fmla="*/ 750094 w 750997"/>
                <a:gd name="connsiteY21" fmla="*/ 906587 h 1017323"/>
                <a:gd name="connsiteX22" fmla="*/ 750997 w 750997"/>
                <a:gd name="connsiteY22"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619125 w 750997"/>
                <a:gd name="connsiteY7" fmla="*/ 88635 h 1017323"/>
                <a:gd name="connsiteX8" fmla="*/ 671513 w 750997"/>
                <a:gd name="connsiteY8" fmla="*/ 141023 h 1017323"/>
                <a:gd name="connsiteX9" fmla="*/ 671512 w 750997"/>
                <a:gd name="connsiteY9" fmla="*/ 969698 h 1017323"/>
                <a:gd name="connsiteX10" fmla="*/ 669131 w 750997"/>
                <a:gd name="connsiteY10" fmla="*/ 1007798 h 1017323"/>
                <a:gd name="connsiteX11" fmla="*/ 621507 w 750997"/>
                <a:gd name="connsiteY11" fmla="*/ 1014941 h 1017323"/>
                <a:gd name="connsiteX12" fmla="*/ 110736 w 750997"/>
                <a:gd name="connsiteY12" fmla="*/ 1017323 h 1017323"/>
                <a:gd name="connsiteX13" fmla="*/ 32434 w 750997"/>
                <a:gd name="connsiteY13" fmla="*/ 984889 h 1017323"/>
                <a:gd name="connsiteX14" fmla="*/ 0 w 750997"/>
                <a:gd name="connsiteY14" fmla="*/ 906587 h 1017323"/>
                <a:gd name="connsiteX15" fmla="*/ 0 w 750997"/>
                <a:gd name="connsiteY15" fmla="*/ 123171 h 1017323"/>
                <a:gd name="connsiteX16" fmla="*/ 32434 w 750997"/>
                <a:gd name="connsiteY16" fmla="*/ 44869 h 1017323"/>
                <a:gd name="connsiteX17" fmla="*/ 110736 w 750997"/>
                <a:gd name="connsiteY17" fmla="*/ 12435 h 1017323"/>
                <a:gd name="connsiteX18" fmla="*/ 639358 w 750997"/>
                <a:gd name="connsiteY18" fmla="*/ 12435 h 1017323"/>
                <a:gd name="connsiteX19" fmla="*/ 717660 w 750997"/>
                <a:gd name="connsiteY19" fmla="*/ 44869 h 1017323"/>
                <a:gd name="connsiteX20" fmla="*/ 750094 w 750997"/>
                <a:gd name="connsiteY20" fmla="*/ 123171 h 1017323"/>
                <a:gd name="connsiteX21" fmla="*/ 750094 w 750997"/>
                <a:gd name="connsiteY21" fmla="*/ 906587 h 1017323"/>
                <a:gd name="connsiteX22" fmla="*/ 750997 w 750997"/>
                <a:gd name="connsiteY22"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619125 w 750997"/>
                <a:gd name="connsiteY7" fmla="*/ 88635 h 1017323"/>
                <a:gd name="connsiteX8" fmla="*/ 671513 w 750997"/>
                <a:gd name="connsiteY8" fmla="*/ 141023 h 1017323"/>
                <a:gd name="connsiteX9" fmla="*/ 671512 w 750997"/>
                <a:gd name="connsiteY9" fmla="*/ 969698 h 1017323"/>
                <a:gd name="connsiteX10" fmla="*/ 669131 w 750997"/>
                <a:gd name="connsiteY10" fmla="*/ 1007798 h 1017323"/>
                <a:gd name="connsiteX11" fmla="*/ 621507 w 750997"/>
                <a:gd name="connsiteY11" fmla="*/ 1014941 h 1017323"/>
                <a:gd name="connsiteX12" fmla="*/ 110736 w 750997"/>
                <a:gd name="connsiteY12" fmla="*/ 1017323 h 1017323"/>
                <a:gd name="connsiteX13" fmla="*/ 32434 w 750997"/>
                <a:gd name="connsiteY13" fmla="*/ 984889 h 1017323"/>
                <a:gd name="connsiteX14" fmla="*/ 0 w 750997"/>
                <a:gd name="connsiteY14" fmla="*/ 906587 h 1017323"/>
                <a:gd name="connsiteX15" fmla="*/ 0 w 750997"/>
                <a:gd name="connsiteY15" fmla="*/ 123171 h 1017323"/>
                <a:gd name="connsiteX16" fmla="*/ 32434 w 750997"/>
                <a:gd name="connsiteY16" fmla="*/ 44869 h 1017323"/>
                <a:gd name="connsiteX17" fmla="*/ 110736 w 750997"/>
                <a:gd name="connsiteY17" fmla="*/ 12435 h 1017323"/>
                <a:gd name="connsiteX18" fmla="*/ 639358 w 750997"/>
                <a:gd name="connsiteY18" fmla="*/ 12435 h 1017323"/>
                <a:gd name="connsiteX19" fmla="*/ 717660 w 750997"/>
                <a:gd name="connsiteY19" fmla="*/ 44869 h 1017323"/>
                <a:gd name="connsiteX20" fmla="*/ 750094 w 750997"/>
                <a:gd name="connsiteY20" fmla="*/ 123171 h 1017323"/>
                <a:gd name="connsiteX21" fmla="*/ 750094 w 750997"/>
                <a:gd name="connsiteY21" fmla="*/ 906587 h 1017323"/>
                <a:gd name="connsiteX22" fmla="*/ 750997 w 750997"/>
                <a:gd name="connsiteY22" fmla="*/ 1015845 h 1017323"/>
                <a:gd name="connsiteX0" fmla="*/ 347663 w 750997"/>
                <a:gd name="connsiteY0" fmla="*/ 845741 h 1010841"/>
                <a:gd name="connsiteX1" fmla="*/ 121444 w 750997"/>
                <a:gd name="connsiteY1" fmla="*/ 846535 h 1010841"/>
                <a:gd name="connsiteX2" fmla="*/ 86519 w 750997"/>
                <a:gd name="connsiteY2" fmla="*/ 845741 h 1010841"/>
                <a:gd name="connsiteX3" fmla="*/ 86519 w 750997"/>
                <a:gd name="connsiteY3" fmla="*/ 806054 h 1010841"/>
                <a:gd name="connsiteX4" fmla="*/ 86519 w 750997"/>
                <a:gd name="connsiteY4" fmla="*/ 120253 h 1010841"/>
                <a:gd name="connsiteX5" fmla="*/ 121444 w 750997"/>
                <a:gd name="connsiteY5" fmla="*/ 84534 h 1010841"/>
                <a:gd name="connsiteX6" fmla="*/ 619125 w 750997"/>
                <a:gd name="connsiteY6" fmla="*/ 82153 h 1010841"/>
                <a:gd name="connsiteX7" fmla="*/ 671513 w 750997"/>
                <a:gd name="connsiteY7" fmla="*/ 134541 h 1010841"/>
                <a:gd name="connsiteX8" fmla="*/ 671512 w 750997"/>
                <a:gd name="connsiteY8" fmla="*/ 963216 h 1010841"/>
                <a:gd name="connsiteX9" fmla="*/ 669131 w 750997"/>
                <a:gd name="connsiteY9" fmla="*/ 1001316 h 1010841"/>
                <a:gd name="connsiteX10" fmla="*/ 621507 w 750997"/>
                <a:gd name="connsiteY10" fmla="*/ 1008459 h 1010841"/>
                <a:gd name="connsiteX11" fmla="*/ 110736 w 750997"/>
                <a:gd name="connsiteY11" fmla="*/ 1010841 h 1010841"/>
                <a:gd name="connsiteX12" fmla="*/ 32434 w 750997"/>
                <a:gd name="connsiteY12" fmla="*/ 978407 h 1010841"/>
                <a:gd name="connsiteX13" fmla="*/ 0 w 750997"/>
                <a:gd name="connsiteY13" fmla="*/ 900105 h 1010841"/>
                <a:gd name="connsiteX14" fmla="*/ 0 w 750997"/>
                <a:gd name="connsiteY14" fmla="*/ 116689 h 1010841"/>
                <a:gd name="connsiteX15" fmla="*/ 32434 w 750997"/>
                <a:gd name="connsiteY15" fmla="*/ 38387 h 1010841"/>
                <a:gd name="connsiteX16" fmla="*/ 110736 w 750997"/>
                <a:gd name="connsiteY16" fmla="*/ 5953 h 1010841"/>
                <a:gd name="connsiteX17" fmla="*/ 639358 w 750997"/>
                <a:gd name="connsiteY17" fmla="*/ 5953 h 1010841"/>
                <a:gd name="connsiteX18" fmla="*/ 717660 w 750997"/>
                <a:gd name="connsiteY18" fmla="*/ 38387 h 1010841"/>
                <a:gd name="connsiteX19" fmla="*/ 750094 w 750997"/>
                <a:gd name="connsiteY19" fmla="*/ 116689 h 1010841"/>
                <a:gd name="connsiteX20" fmla="*/ 750094 w 750997"/>
                <a:gd name="connsiteY20" fmla="*/ 900105 h 1010841"/>
                <a:gd name="connsiteX21" fmla="*/ 750997 w 750997"/>
                <a:gd name="connsiteY21" fmla="*/ 1009363 h 1010841"/>
                <a:gd name="connsiteX0" fmla="*/ 347663 w 750997"/>
                <a:gd name="connsiteY0" fmla="*/ 845741 h 1010841"/>
                <a:gd name="connsiteX1" fmla="*/ 121444 w 750997"/>
                <a:gd name="connsiteY1" fmla="*/ 846535 h 1010841"/>
                <a:gd name="connsiteX2" fmla="*/ 86519 w 750997"/>
                <a:gd name="connsiteY2" fmla="*/ 845741 h 1010841"/>
                <a:gd name="connsiteX3" fmla="*/ 86519 w 750997"/>
                <a:gd name="connsiteY3" fmla="*/ 806054 h 1010841"/>
                <a:gd name="connsiteX4" fmla="*/ 86519 w 750997"/>
                <a:gd name="connsiteY4" fmla="*/ 120253 h 1010841"/>
                <a:gd name="connsiteX5" fmla="*/ 121444 w 750997"/>
                <a:gd name="connsiteY5" fmla="*/ 84534 h 1010841"/>
                <a:gd name="connsiteX6" fmla="*/ 619125 w 750997"/>
                <a:gd name="connsiteY6" fmla="*/ 82153 h 1010841"/>
                <a:gd name="connsiteX7" fmla="*/ 671513 w 750997"/>
                <a:gd name="connsiteY7" fmla="*/ 134541 h 1010841"/>
                <a:gd name="connsiteX8" fmla="*/ 671512 w 750997"/>
                <a:gd name="connsiteY8" fmla="*/ 963216 h 1010841"/>
                <a:gd name="connsiteX9" fmla="*/ 669131 w 750997"/>
                <a:gd name="connsiteY9" fmla="*/ 1001316 h 1010841"/>
                <a:gd name="connsiteX10" fmla="*/ 621507 w 750997"/>
                <a:gd name="connsiteY10" fmla="*/ 1008459 h 1010841"/>
                <a:gd name="connsiteX11" fmla="*/ 110736 w 750997"/>
                <a:gd name="connsiteY11" fmla="*/ 1010841 h 1010841"/>
                <a:gd name="connsiteX12" fmla="*/ 32434 w 750997"/>
                <a:gd name="connsiteY12" fmla="*/ 978407 h 1010841"/>
                <a:gd name="connsiteX13" fmla="*/ 0 w 750997"/>
                <a:gd name="connsiteY13" fmla="*/ 900105 h 1010841"/>
                <a:gd name="connsiteX14" fmla="*/ 0 w 750997"/>
                <a:gd name="connsiteY14" fmla="*/ 116689 h 1010841"/>
                <a:gd name="connsiteX15" fmla="*/ 32434 w 750997"/>
                <a:gd name="connsiteY15" fmla="*/ 38387 h 1010841"/>
                <a:gd name="connsiteX16" fmla="*/ 110736 w 750997"/>
                <a:gd name="connsiteY16" fmla="*/ 5953 h 1010841"/>
                <a:gd name="connsiteX17" fmla="*/ 639358 w 750997"/>
                <a:gd name="connsiteY17" fmla="*/ 5953 h 1010841"/>
                <a:gd name="connsiteX18" fmla="*/ 717660 w 750997"/>
                <a:gd name="connsiteY18" fmla="*/ 38387 h 1010841"/>
                <a:gd name="connsiteX19" fmla="*/ 750094 w 750997"/>
                <a:gd name="connsiteY19" fmla="*/ 116689 h 1010841"/>
                <a:gd name="connsiteX20" fmla="*/ 750094 w 750997"/>
                <a:gd name="connsiteY20" fmla="*/ 900105 h 1010841"/>
                <a:gd name="connsiteX21" fmla="*/ 750997 w 750997"/>
                <a:gd name="connsiteY21" fmla="*/ 1009363 h 1010841"/>
                <a:gd name="connsiteX0" fmla="*/ 347663 w 750997"/>
                <a:gd name="connsiteY0" fmla="*/ 839788 h 1004888"/>
                <a:gd name="connsiteX1" fmla="*/ 121444 w 750997"/>
                <a:gd name="connsiteY1" fmla="*/ 840582 h 1004888"/>
                <a:gd name="connsiteX2" fmla="*/ 86519 w 750997"/>
                <a:gd name="connsiteY2" fmla="*/ 839788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69131 w 750997"/>
                <a:gd name="connsiteY9" fmla="*/ 9953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347663 w 750997"/>
                <a:gd name="connsiteY0" fmla="*/ 839788 h 1004888"/>
                <a:gd name="connsiteX1" fmla="*/ 121444 w 750997"/>
                <a:gd name="connsiteY1" fmla="*/ 840582 h 1004888"/>
                <a:gd name="connsiteX2" fmla="*/ 86519 w 750997"/>
                <a:gd name="connsiteY2" fmla="*/ 839788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69131 w 750997"/>
                <a:gd name="connsiteY9" fmla="*/ 9953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347663 w 750997"/>
                <a:gd name="connsiteY0" fmla="*/ 839788 h 1004888"/>
                <a:gd name="connsiteX1" fmla="*/ 121444 w 750997"/>
                <a:gd name="connsiteY1" fmla="*/ 840582 h 1004888"/>
                <a:gd name="connsiteX2" fmla="*/ 86519 w 750997"/>
                <a:gd name="connsiteY2" fmla="*/ 839788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69131 w 750997"/>
                <a:gd name="connsiteY9" fmla="*/ 9953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347663 w 750997"/>
                <a:gd name="connsiteY0" fmla="*/ 839788 h 1004888"/>
                <a:gd name="connsiteX1" fmla="*/ 121444 w 750997"/>
                <a:gd name="connsiteY1" fmla="*/ 840582 h 1004888"/>
                <a:gd name="connsiteX2" fmla="*/ 86519 w 750997"/>
                <a:gd name="connsiteY2" fmla="*/ 839788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69131 w 750997"/>
                <a:gd name="connsiteY9" fmla="*/ 9953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347663 w 750997"/>
                <a:gd name="connsiteY0" fmla="*/ 839788 h 1004888"/>
                <a:gd name="connsiteX1" fmla="*/ 121444 w 750997"/>
                <a:gd name="connsiteY1" fmla="*/ 840582 h 1004888"/>
                <a:gd name="connsiteX2" fmla="*/ 86519 w 750997"/>
                <a:gd name="connsiteY2" fmla="*/ 839788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69131 w 750997"/>
                <a:gd name="connsiteY9" fmla="*/ 9953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69131 w 750997"/>
                <a:gd name="connsiteY8" fmla="*/ 9953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69131 w 750997"/>
                <a:gd name="connsiteY8" fmla="*/ 9953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69131 w 750997"/>
                <a:gd name="connsiteY8" fmla="*/ 9953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69131 w 750997"/>
                <a:gd name="connsiteY8" fmla="*/ 9953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69131 w 750997"/>
                <a:gd name="connsiteY8" fmla="*/ 9953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102916"/>
                <a:gd name="connsiteX1" fmla="*/ 121444 w 750997"/>
                <a:gd name="connsiteY1" fmla="*/ 840582 h 1102916"/>
                <a:gd name="connsiteX2" fmla="*/ 86519 w 750997"/>
                <a:gd name="connsiteY2" fmla="*/ 800101 h 1102916"/>
                <a:gd name="connsiteX3" fmla="*/ 86519 w 750997"/>
                <a:gd name="connsiteY3" fmla="*/ 114300 h 1102916"/>
                <a:gd name="connsiteX4" fmla="*/ 121444 w 750997"/>
                <a:gd name="connsiteY4" fmla="*/ 78581 h 1102916"/>
                <a:gd name="connsiteX5" fmla="*/ 619125 w 750997"/>
                <a:gd name="connsiteY5" fmla="*/ 76200 h 1102916"/>
                <a:gd name="connsiteX6" fmla="*/ 671513 w 750997"/>
                <a:gd name="connsiteY6" fmla="*/ 128588 h 1102916"/>
                <a:gd name="connsiteX7" fmla="*/ 671512 w 750997"/>
                <a:gd name="connsiteY7" fmla="*/ 957263 h 1102916"/>
                <a:gd name="connsiteX8" fmla="*/ 621507 w 750997"/>
                <a:gd name="connsiteY8" fmla="*/ 1002506 h 1102916"/>
                <a:gd name="connsiteX9" fmla="*/ 110736 w 750997"/>
                <a:gd name="connsiteY9" fmla="*/ 1004888 h 1102916"/>
                <a:gd name="connsiteX10" fmla="*/ 32434 w 750997"/>
                <a:gd name="connsiteY10" fmla="*/ 972454 h 1102916"/>
                <a:gd name="connsiteX11" fmla="*/ 0 w 750997"/>
                <a:gd name="connsiteY11" fmla="*/ 894152 h 1102916"/>
                <a:gd name="connsiteX12" fmla="*/ 0 w 750997"/>
                <a:gd name="connsiteY12" fmla="*/ 110736 h 1102916"/>
                <a:gd name="connsiteX13" fmla="*/ 32434 w 750997"/>
                <a:gd name="connsiteY13" fmla="*/ 32434 h 1102916"/>
                <a:gd name="connsiteX14" fmla="*/ 110736 w 750997"/>
                <a:gd name="connsiteY14" fmla="*/ 0 h 1102916"/>
                <a:gd name="connsiteX15" fmla="*/ 639358 w 750997"/>
                <a:gd name="connsiteY15" fmla="*/ 0 h 1102916"/>
                <a:gd name="connsiteX16" fmla="*/ 717660 w 750997"/>
                <a:gd name="connsiteY16" fmla="*/ 32434 h 1102916"/>
                <a:gd name="connsiteX17" fmla="*/ 750094 w 750997"/>
                <a:gd name="connsiteY17" fmla="*/ 110736 h 1102916"/>
                <a:gd name="connsiteX18" fmla="*/ 750094 w 750997"/>
                <a:gd name="connsiteY18" fmla="*/ 894152 h 1102916"/>
                <a:gd name="connsiteX19" fmla="*/ 750997 w 750997"/>
                <a:gd name="connsiteY19" fmla="*/ 1003410 h 1102916"/>
                <a:gd name="connsiteX0" fmla="*/ 347663 w 750997"/>
                <a:gd name="connsiteY0" fmla="*/ 839788 h 1102916"/>
                <a:gd name="connsiteX1" fmla="*/ 121444 w 750997"/>
                <a:gd name="connsiteY1" fmla="*/ 840582 h 1102916"/>
                <a:gd name="connsiteX2" fmla="*/ 86519 w 750997"/>
                <a:gd name="connsiteY2" fmla="*/ 800101 h 1102916"/>
                <a:gd name="connsiteX3" fmla="*/ 86519 w 750997"/>
                <a:gd name="connsiteY3" fmla="*/ 114300 h 1102916"/>
                <a:gd name="connsiteX4" fmla="*/ 121444 w 750997"/>
                <a:gd name="connsiteY4" fmla="*/ 78581 h 1102916"/>
                <a:gd name="connsiteX5" fmla="*/ 619125 w 750997"/>
                <a:gd name="connsiteY5" fmla="*/ 76200 h 1102916"/>
                <a:gd name="connsiteX6" fmla="*/ 671513 w 750997"/>
                <a:gd name="connsiteY6" fmla="*/ 128588 h 1102916"/>
                <a:gd name="connsiteX7" fmla="*/ 671512 w 750997"/>
                <a:gd name="connsiteY7" fmla="*/ 957263 h 1102916"/>
                <a:gd name="connsiteX8" fmla="*/ 621507 w 750997"/>
                <a:gd name="connsiteY8" fmla="*/ 1002506 h 1102916"/>
                <a:gd name="connsiteX9" fmla="*/ 110736 w 750997"/>
                <a:gd name="connsiteY9" fmla="*/ 1004888 h 1102916"/>
                <a:gd name="connsiteX10" fmla="*/ 32434 w 750997"/>
                <a:gd name="connsiteY10" fmla="*/ 972454 h 1102916"/>
                <a:gd name="connsiteX11" fmla="*/ 0 w 750997"/>
                <a:gd name="connsiteY11" fmla="*/ 894152 h 1102916"/>
                <a:gd name="connsiteX12" fmla="*/ 0 w 750997"/>
                <a:gd name="connsiteY12" fmla="*/ 110736 h 1102916"/>
                <a:gd name="connsiteX13" fmla="*/ 32434 w 750997"/>
                <a:gd name="connsiteY13" fmla="*/ 32434 h 1102916"/>
                <a:gd name="connsiteX14" fmla="*/ 110736 w 750997"/>
                <a:gd name="connsiteY14" fmla="*/ 0 h 1102916"/>
                <a:gd name="connsiteX15" fmla="*/ 639358 w 750997"/>
                <a:gd name="connsiteY15" fmla="*/ 0 h 1102916"/>
                <a:gd name="connsiteX16" fmla="*/ 717660 w 750997"/>
                <a:gd name="connsiteY16" fmla="*/ 32434 h 1102916"/>
                <a:gd name="connsiteX17" fmla="*/ 750094 w 750997"/>
                <a:gd name="connsiteY17" fmla="*/ 110736 h 1102916"/>
                <a:gd name="connsiteX18" fmla="*/ 750094 w 750997"/>
                <a:gd name="connsiteY18" fmla="*/ 894152 h 1102916"/>
                <a:gd name="connsiteX19" fmla="*/ 750997 w 750997"/>
                <a:gd name="connsiteY19" fmla="*/ 1003410 h 1102916"/>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004888"/>
                <a:gd name="connsiteX1" fmla="*/ 326232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39788 h 1004888"/>
                <a:gd name="connsiteX1" fmla="*/ 326232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295276 w 750997"/>
                <a:gd name="connsiteY0" fmla="*/ 915988 h 1004888"/>
                <a:gd name="connsiteX1" fmla="*/ 326232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295276 w 750997"/>
                <a:gd name="connsiteY0" fmla="*/ 915988 h 1004888"/>
                <a:gd name="connsiteX1" fmla="*/ 371476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295276 w 750997"/>
                <a:gd name="connsiteY0" fmla="*/ 915988 h 1004888"/>
                <a:gd name="connsiteX1" fmla="*/ 369095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295276 w 750997"/>
                <a:gd name="connsiteY0" fmla="*/ 915988 h 1004888"/>
                <a:gd name="connsiteX1" fmla="*/ 354807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295276 w 750997"/>
                <a:gd name="connsiteY0" fmla="*/ 915988 h 1004888"/>
                <a:gd name="connsiteX1" fmla="*/ 354807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295276 w 750997"/>
                <a:gd name="connsiteY0" fmla="*/ 915988 h 1004888"/>
                <a:gd name="connsiteX1" fmla="*/ 390525 w 750997"/>
                <a:gd name="connsiteY1" fmla="*/ 904875 h 1004888"/>
                <a:gd name="connsiteX2" fmla="*/ 354807 w 750997"/>
                <a:gd name="connsiteY2" fmla="*/ 838200 h 1004888"/>
                <a:gd name="connsiteX3" fmla="*/ 121444 w 750997"/>
                <a:gd name="connsiteY3" fmla="*/ 840582 h 1004888"/>
                <a:gd name="connsiteX4" fmla="*/ 86519 w 750997"/>
                <a:gd name="connsiteY4" fmla="*/ 800101 h 1004888"/>
                <a:gd name="connsiteX5" fmla="*/ 86519 w 750997"/>
                <a:gd name="connsiteY5" fmla="*/ 114300 h 1004888"/>
                <a:gd name="connsiteX6" fmla="*/ 121444 w 750997"/>
                <a:gd name="connsiteY6" fmla="*/ 78581 h 1004888"/>
                <a:gd name="connsiteX7" fmla="*/ 619125 w 750997"/>
                <a:gd name="connsiteY7" fmla="*/ 76200 h 1004888"/>
                <a:gd name="connsiteX8" fmla="*/ 671513 w 750997"/>
                <a:gd name="connsiteY8" fmla="*/ 128588 h 1004888"/>
                <a:gd name="connsiteX9" fmla="*/ 671512 w 750997"/>
                <a:gd name="connsiteY9" fmla="*/ 9572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295276 w 750997"/>
                <a:gd name="connsiteY0" fmla="*/ 915988 h 1004888"/>
                <a:gd name="connsiteX1" fmla="*/ 409575 w 750997"/>
                <a:gd name="connsiteY1" fmla="*/ 912019 h 1004888"/>
                <a:gd name="connsiteX2" fmla="*/ 354807 w 750997"/>
                <a:gd name="connsiteY2" fmla="*/ 838200 h 1004888"/>
                <a:gd name="connsiteX3" fmla="*/ 121444 w 750997"/>
                <a:gd name="connsiteY3" fmla="*/ 840582 h 1004888"/>
                <a:gd name="connsiteX4" fmla="*/ 86519 w 750997"/>
                <a:gd name="connsiteY4" fmla="*/ 800101 h 1004888"/>
                <a:gd name="connsiteX5" fmla="*/ 86519 w 750997"/>
                <a:gd name="connsiteY5" fmla="*/ 114300 h 1004888"/>
                <a:gd name="connsiteX6" fmla="*/ 121444 w 750997"/>
                <a:gd name="connsiteY6" fmla="*/ 78581 h 1004888"/>
                <a:gd name="connsiteX7" fmla="*/ 619125 w 750997"/>
                <a:gd name="connsiteY7" fmla="*/ 76200 h 1004888"/>
                <a:gd name="connsiteX8" fmla="*/ 671513 w 750997"/>
                <a:gd name="connsiteY8" fmla="*/ 128588 h 1004888"/>
                <a:gd name="connsiteX9" fmla="*/ 671512 w 750997"/>
                <a:gd name="connsiteY9" fmla="*/ 9572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295276 w 750997"/>
                <a:gd name="connsiteY0" fmla="*/ 915988 h 1011767"/>
                <a:gd name="connsiteX1" fmla="*/ 409575 w 750997"/>
                <a:gd name="connsiteY1" fmla="*/ 912019 h 1011767"/>
                <a:gd name="connsiteX2" fmla="*/ 354807 w 750997"/>
                <a:gd name="connsiteY2" fmla="*/ 838200 h 1011767"/>
                <a:gd name="connsiteX3" fmla="*/ 121444 w 750997"/>
                <a:gd name="connsiteY3" fmla="*/ 840582 h 1011767"/>
                <a:gd name="connsiteX4" fmla="*/ 86519 w 750997"/>
                <a:gd name="connsiteY4" fmla="*/ 800101 h 1011767"/>
                <a:gd name="connsiteX5" fmla="*/ 86519 w 750997"/>
                <a:gd name="connsiteY5" fmla="*/ 114300 h 1011767"/>
                <a:gd name="connsiteX6" fmla="*/ 121444 w 750997"/>
                <a:gd name="connsiteY6" fmla="*/ 78581 h 1011767"/>
                <a:gd name="connsiteX7" fmla="*/ 619125 w 750997"/>
                <a:gd name="connsiteY7" fmla="*/ 76200 h 1011767"/>
                <a:gd name="connsiteX8" fmla="*/ 671513 w 750997"/>
                <a:gd name="connsiteY8" fmla="*/ 128588 h 1011767"/>
                <a:gd name="connsiteX9" fmla="*/ 671512 w 750997"/>
                <a:gd name="connsiteY9" fmla="*/ 957263 h 1011767"/>
                <a:gd name="connsiteX10" fmla="*/ 621507 w 750997"/>
                <a:gd name="connsiteY10" fmla="*/ 1002506 h 1011767"/>
                <a:gd name="connsiteX11" fmla="*/ 110736 w 750997"/>
                <a:gd name="connsiteY11" fmla="*/ 1004888 h 1011767"/>
                <a:gd name="connsiteX12" fmla="*/ 32434 w 750997"/>
                <a:gd name="connsiteY12" fmla="*/ 972454 h 1011767"/>
                <a:gd name="connsiteX13" fmla="*/ 0 w 750997"/>
                <a:gd name="connsiteY13" fmla="*/ 894152 h 1011767"/>
                <a:gd name="connsiteX14" fmla="*/ 0 w 750997"/>
                <a:gd name="connsiteY14" fmla="*/ 110736 h 1011767"/>
                <a:gd name="connsiteX15" fmla="*/ 32434 w 750997"/>
                <a:gd name="connsiteY15" fmla="*/ 32434 h 1011767"/>
                <a:gd name="connsiteX16" fmla="*/ 110736 w 750997"/>
                <a:gd name="connsiteY16" fmla="*/ 0 h 1011767"/>
                <a:gd name="connsiteX17" fmla="*/ 639358 w 750997"/>
                <a:gd name="connsiteY17" fmla="*/ 0 h 1011767"/>
                <a:gd name="connsiteX18" fmla="*/ 717660 w 750997"/>
                <a:gd name="connsiteY18" fmla="*/ 32434 h 1011767"/>
                <a:gd name="connsiteX19" fmla="*/ 750094 w 750997"/>
                <a:gd name="connsiteY19" fmla="*/ 110736 h 1011767"/>
                <a:gd name="connsiteX20" fmla="*/ 750094 w 750997"/>
                <a:gd name="connsiteY20" fmla="*/ 894152 h 1011767"/>
                <a:gd name="connsiteX21" fmla="*/ 750997 w 750997"/>
                <a:gd name="connsiteY21" fmla="*/ 1003410 h 1011767"/>
                <a:gd name="connsiteX0" fmla="*/ 295276 w 750997"/>
                <a:gd name="connsiteY0" fmla="*/ 915988 h 1004888"/>
                <a:gd name="connsiteX1" fmla="*/ 409575 w 750997"/>
                <a:gd name="connsiteY1" fmla="*/ 912019 h 1004888"/>
                <a:gd name="connsiteX2" fmla="*/ 354807 w 750997"/>
                <a:gd name="connsiteY2" fmla="*/ 838200 h 1004888"/>
                <a:gd name="connsiteX3" fmla="*/ 121444 w 750997"/>
                <a:gd name="connsiteY3" fmla="*/ 840582 h 1004888"/>
                <a:gd name="connsiteX4" fmla="*/ 86519 w 750997"/>
                <a:gd name="connsiteY4" fmla="*/ 800101 h 1004888"/>
                <a:gd name="connsiteX5" fmla="*/ 86519 w 750997"/>
                <a:gd name="connsiteY5" fmla="*/ 114300 h 1004888"/>
                <a:gd name="connsiteX6" fmla="*/ 121444 w 750997"/>
                <a:gd name="connsiteY6" fmla="*/ 78581 h 1004888"/>
                <a:gd name="connsiteX7" fmla="*/ 619125 w 750997"/>
                <a:gd name="connsiteY7" fmla="*/ 76200 h 1004888"/>
                <a:gd name="connsiteX8" fmla="*/ 671513 w 750997"/>
                <a:gd name="connsiteY8" fmla="*/ 128588 h 1004888"/>
                <a:gd name="connsiteX9" fmla="*/ 671512 w 750997"/>
                <a:gd name="connsiteY9" fmla="*/ 9572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295276 w 750997"/>
                <a:gd name="connsiteY0" fmla="*/ 915988 h 1004888"/>
                <a:gd name="connsiteX1" fmla="*/ 400050 w 750997"/>
                <a:gd name="connsiteY1" fmla="*/ 902494 h 1004888"/>
                <a:gd name="connsiteX2" fmla="*/ 354807 w 750997"/>
                <a:gd name="connsiteY2" fmla="*/ 838200 h 1004888"/>
                <a:gd name="connsiteX3" fmla="*/ 121444 w 750997"/>
                <a:gd name="connsiteY3" fmla="*/ 840582 h 1004888"/>
                <a:gd name="connsiteX4" fmla="*/ 86519 w 750997"/>
                <a:gd name="connsiteY4" fmla="*/ 800101 h 1004888"/>
                <a:gd name="connsiteX5" fmla="*/ 86519 w 750997"/>
                <a:gd name="connsiteY5" fmla="*/ 114300 h 1004888"/>
                <a:gd name="connsiteX6" fmla="*/ 121444 w 750997"/>
                <a:gd name="connsiteY6" fmla="*/ 78581 h 1004888"/>
                <a:gd name="connsiteX7" fmla="*/ 619125 w 750997"/>
                <a:gd name="connsiteY7" fmla="*/ 76200 h 1004888"/>
                <a:gd name="connsiteX8" fmla="*/ 671513 w 750997"/>
                <a:gd name="connsiteY8" fmla="*/ 128588 h 1004888"/>
                <a:gd name="connsiteX9" fmla="*/ 671512 w 750997"/>
                <a:gd name="connsiteY9" fmla="*/ 9572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295276 w 750997"/>
                <a:gd name="connsiteY0" fmla="*/ 915988 h 1004888"/>
                <a:gd name="connsiteX1" fmla="*/ 404812 w 750997"/>
                <a:gd name="connsiteY1" fmla="*/ 904875 h 1004888"/>
                <a:gd name="connsiteX2" fmla="*/ 354807 w 750997"/>
                <a:gd name="connsiteY2" fmla="*/ 838200 h 1004888"/>
                <a:gd name="connsiteX3" fmla="*/ 121444 w 750997"/>
                <a:gd name="connsiteY3" fmla="*/ 840582 h 1004888"/>
                <a:gd name="connsiteX4" fmla="*/ 86519 w 750997"/>
                <a:gd name="connsiteY4" fmla="*/ 800101 h 1004888"/>
                <a:gd name="connsiteX5" fmla="*/ 86519 w 750997"/>
                <a:gd name="connsiteY5" fmla="*/ 114300 h 1004888"/>
                <a:gd name="connsiteX6" fmla="*/ 121444 w 750997"/>
                <a:gd name="connsiteY6" fmla="*/ 78581 h 1004888"/>
                <a:gd name="connsiteX7" fmla="*/ 619125 w 750997"/>
                <a:gd name="connsiteY7" fmla="*/ 76200 h 1004888"/>
                <a:gd name="connsiteX8" fmla="*/ 671513 w 750997"/>
                <a:gd name="connsiteY8" fmla="*/ 128588 h 1004888"/>
                <a:gd name="connsiteX9" fmla="*/ 671512 w 750997"/>
                <a:gd name="connsiteY9" fmla="*/ 9572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295276 w 750997"/>
                <a:gd name="connsiteY0" fmla="*/ 915988 h 1004888"/>
                <a:gd name="connsiteX1" fmla="*/ 378619 w 750997"/>
                <a:gd name="connsiteY1" fmla="*/ 945356 h 1004888"/>
                <a:gd name="connsiteX2" fmla="*/ 404812 w 750997"/>
                <a:gd name="connsiteY2" fmla="*/ 904875 h 1004888"/>
                <a:gd name="connsiteX3" fmla="*/ 354807 w 750997"/>
                <a:gd name="connsiteY3" fmla="*/ 838200 h 1004888"/>
                <a:gd name="connsiteX4" fmla="*/ 121444 w 750997"/>
                <a:gd name="connsiteY4" fmla="*/ 840582 h 1004888"/>
                <a:gd name="connsiteX5" fmla="*/ 86519 w 750997"/>
                <a:gd name="connsiteY5" fmla="*/ 800101 h 1004888"/>
                <a:gd name="connsiteX6" fmla="*/ 86519 w 750997"/>
                <a:gd name="connsiteY6" fmla="*/ 114300 h 1004888"/>
                <a:gd name="connsiteX7" fmla="*/ 121444 w 750997"/>
                <a:gd name="connsiteY7" fmla="*/ 78581 h 1004888"/>
                <a:gd name="connsiteX8" fmla="*/ 619125 w 750997"/>
                <a:gd name="connsiteY8" fmla="*/ 76200 h 1004888"/>
                <a:gd name="connsiteX9" fmla="*/ 671513 w 750997"/>
                <a:gd name="connsiteY9" fmla="*/ 128588 h 1004888"/>
                <a:gd name="connsiteX10" fmla="*/ 671512 w 750997"/>
                <a:gd name="connsiteY10" fmla="*/ 957263 h 1004888"/>
                <a:gd name="connsiteX11" fmla="*/ 621507 w 750997"/>
                <a:gd name="connsiteY11" fmla="*/ 1002506 h 1004888"/>
                <a:gd name="connsiteX12" fmla="*/ 110736 w 750997"/>
                <a:gd name="connsiteY12" fmla="*/ 1004888 h 1004888"/>
                <a:gd name="connsiteX13" fmla="*/ 32434 w 750997"/>
                <a:gd name="connsiteY13" fmla="*/ 972454 h 1004888"/>
                <a:gd name="connsiteX14" fmla="*/ 0 w 750997"/>
                <a:gd name="connsiteY14" fmla="*/ 894152 h 1004888"/>
                <a:gd name="connsiteX15" fmla="*/ 0 w 750997"/>
                <a:gd name="connsiteY15" fmla="*/ 110736 h 1004888"/>
                <a:gd name="connsiteX16" fmla="*/ 32434 w 750997"/>
                <a:gd name="connsiteY16" fmla="*/ 32434 h 1004888"/>
                <a:gd name="connsiteX17" fmla="*/ 110736 w 750997"/>
                <a:gd name="connsiteY17" fmla="*/ 0 h 1004888"/>
                <a:gd name="connsiteX18" fmla="*/ 639358 w 750997"/>
                <a:gd name="connsiteY18" fmla="*/ 0 h 1004888"/>
                <a:gd name="connsiteX19" fmla="*/ 717660 w 750997"/>
                <a:gd name="connsiteY19" fmla="*/ 32434 h 1004888"/>
                <a:gd name="connsiteX20" fmla="*/ 750094 w 750997"/>
                <a:gd name="connsiteY20" fmla="*/ 110736 h 1004888"/>
                <a:gd name="connsiteX21" fmla="*/ 750094 w 750997"/>
                <a:gd name="connsiteY21" fmla="*/ 894152 h 1004888"/>
                <a:gd name="connsiteX22" fmla="*/ 750997 w 750997"/>
                <a:gd name="connsiteY22" fmla="*/ 1003410 h 1004888"/>
                <a:gd name="connsiteX0" fmla="*/ 295276 w 750997"/>
                <a:gd name="connsiteY0" fmla="*/ 915988 h 1004888"/>
                <a:gd name="connsiteX1" fmla="*/ 378619 w 750997"/>
                <a:gd name="connsiteY1" fmla="*/ 945356 h 1004888"/>
                <a:gd name="connsiteX2" fmla="*/ 404812 w 750997"/>
                <a:gd name="connsiteY2" fmla="*/ 904875 h 1004888"/>
                <a:gd name="connsiteX3" fmla="*/ 354807 w 750997"/>
                <a:gd name="connsiteY3" fmla="*/ 838200 h 1004888"/>
                <a:gd name="connsiteX4" fmla="*/ 121444 w 750997"/>
                <a:gd name="connsiteY4" fmla="*/ 840582 h 1004888"/>
                <a:gd name="connsiteX5" fmla="*/ 86519 w 750997"/>
                <a:gd name="connsiteY5" fmla="*/ 800101 h 1004888"/>
                <a:gd name="connsiteX6" fmla="*/ 86519 w 750997"/>
                <a:gd name="connsiteY6" fmla="*/ 114300 h 1004888"/>
                <a:gd name="connsiteX7" fmla="*/ 121444 w 750997"/>
                <a:gd name="connsiteY7" fmla="*/ 78581 h 1004888"/>
                <a:gd name="connsiteX8" fmla="*/ 619125 w 750997"/>
                <a:gd name="connsiteY8" fmla="*/ 76200 h 1004888"/>
                <a:gd name="connsiteX9" fmla="*/ 671513 w 750997"/>
                <a:gd name="connsiteY9" fmla="*/ 128588 h 1004888"/>
                <a:gd name="connsiteX10" fmla="*/ 671512 w 750997"/>
                <a:gd name="connsiteY10" fmla="*/ 957263 h 1004888"/>
                <a:gd name="connsiteX11" fmla="*/ 621507 w 750997"/>
                <a:gd name="connsiteY11" fmla="*/ 1002506 h 1004888"/>
                <a:gd name="connsiteX12" fmla="*/ 110736 w 750997"/>
                <a:gd name="connsiteY12" fmla="*/ 1004888 h 1004888"/>
                <a:gd name="connsiteX13" fmla="*/ 32434 w 750997"/>
                <a:gd name="connsiteY13" fmla="*/ 972454 h 1004888"/>
                <a:gd name="connsiteX14" fmla="*/ 0 w 750997"/>
                <a:gd name="connsiteY14" fmla="*/ 894152 h 1004888"/>
                <a:gd name="connsiteX15" fmla="*/ 0 w 750997"/>
                <a:gd name="connsiteY15" fmla="*/ 110736 h 1004888"/>
                <a:gd name="connsiteX16" fmla="*/ 32434 w 750997"/>
                <a:gd name="connsiteY16" fmla="*/ 32434 h 1004888"/>
                <a:gd name="connsiteX17" fmla="*/ 110736 w 750997"/>
                <a:gd name="connsiteY17" fmla="*/ 0 h 1004888"/>
                <a:gd name="connsiteX18" fmla="*/ 639358 w 750997"/>
                <a:gd name="connsiteY18" fmla="*/ 0 h 1004888"/>
                <a:gd name="connsiteX19" fmla="*/ 717660 w 750997"/>
                <a:gd name="connsiteY19" fmla="*/ 32434 h 1004888"/>
                <a:gd name="connsiteX20" fmla="*/ 750094 w 750997"/>
                <a:gd name="connsiteY20" fmla="*/ 110736 h 1004888"/>
                <a:gd name="connsiteX21" fmla="*/ 750094 w 750997"/>
                <a:gd name="connsiteY21" fmla="*/ 894152 h 1004888"/>
                <a:gd name="connsiteX22" fmla="*/ 750997 w 750997"/>
                <a:gd name="connsiteY22" fmla="*/ 1003410 h 1004888"/>
                <a:gd name="connsiteX0" fmla="*/ 295276 w 750997"/>
                <a:gd name="connsiteY0" fmla="*/ 915988 h 1004888"/>
                <a:gd name="connsiteX1" fmla="*/ 378619 w 750997"/>
                <a:gd name="connsiteY1" fmla="*/ 945356 h 1004888"/>
                <a:gd name="connsiteX2" fmla="*/ 407193 w 750997"/>
                <a:gd name="connsiteY2" fmla="*/ 907256 h 1004888"/>
                <a:gd name="connsiteX3" fmla="*/ 354807 w 750997"/>
                <a:gd name="connsiteY3" fmla="*/ 838200 h 1004888"/>
                <a:gd name="connsiteX4" fmla="*/ 121444 w 750997"/>
                <a:gd name="connsiteY4" fmla="*/ 840582 h 1004888"/>
                <a:gd name="connsiteX5" fmla="*/ 86519 w 750997"/>
                <a:gd name="connsiteY5" fmla="*/ 800101 h 1004888"/>
                <a:gd name="connsiteX6" fmla="*/ 86519 w 750997"/>
                <a:gd name="connsiteY6" fmla="*/ 114300 h 1004888"/>
                <a:gd name="connsiteX7" fmla="*/ 121444 w 750997"/>
                <a:gd name="connsiteY7" fmla="*/ 78581 h 1004888"/>
                <a:gd name="connsiteX8" fmla="*/ 619125 w 750997"/>
                <a:gd name="connsiteY8" fmla="*/ 76200 h 1004888"/>
                <a:gd name="connsiteX9" fmla="*/ 671513 w 750997"/>
                <a:gd name="connsiteY9" fmla="*/ 128588 h 1004888"/>
                <a:gd name="connsiteX10" fmla="*/ 671512 w 750997"/>
                <a:gd name="connsiteY10" fmla="*/ 957263 h 1004888"/>
                <a:gd name="connsiteX11" fmla="*/ 621507 w 750997"/>
                <a:gd name="connsiteY11" fmla="*/ 1002506 h 1004888"/>
                <a:gd name="connsiteX12" fmla="*/ 110736 w 750997"/>
                <a:gd name="connsiteY12" fmla="*/ 1004888 h 1004888"/>
                <a:gd name="connsiteX13" fmla="*/ 32434 w 750997"/>
                <a:gd name="connsiteY13" fmla="*/ 972454 h 1004888"/>
                <a:gd name="connsiteX14" fmla="*/ 0 w 750997"/>
                <a:gd name="connsiteY14" fmla="*/ 894152 h 1004888"/>
                <a:gd name="connsiteX15" fmla="*/ 0 w 750997"/>
                <a:gd name="connsiteY15" fmla="*/ 110736 h 1004888"/>
                <a:gd name="connsiteX16" fmla="*/ 32434 w 750997"/>
                <a:gd name="connsiteY16" fmla="*/ 32434 h 1004888"/>
                <a:gd name="connsiteX17" fmla="*/ 110736 w 750997"/>
                <a:gd name="connsiteY17" fmla="*/ 0 h 1004888"/>
                <a:gd name="connsiteX18" fmla="*/ 639358 w 750997"/>
                <a:gd name="connsiteY18" fmla="*/ 0 h 1004888"/>
                <a:gd name="connsiteX19" fmla="*/ 717660 w 750997"/>
                <a:gd name="connsiteY19" fmla="*/ 32434 h 1004888"/>
                <a:gd name="connsiteX20" fmla="*/ 750094 w 750997"/>
                <a:gd name="connsiteY20" fmla="*/ 110736 h 1004888"/>
                <a:gd name="connsiteX21" fmla="*/ 750094 w 750997"/>
                <a:gd name="connsiteY21" fmla="*/ 894152 h 1004888"/>
                <a:gd name="connsiteX22" fmla="*/ 750997 w 750997"/>
                <a:gd name="connsiteY22" fmla="*/ 1003410 h 1004888"/>
                <a:gd name="connsiteX0" fmla="*/ 295276 w 750997"/>
                <a:gd name="connsiteY0" fmla="*/ 915988 h 1004888"/>
                <a:gd name="connsiteX1" fmla="*/ 333375 w 750997"/>
                <a:gd name="connsiteY1" fmla="*/ 931069 h 1004888"/>
                <a:gd name="connsiteX2" fmla="*/ 378619 w 750997"/>
                <a:gd name="connsiteY2" fmla="*/ 945356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95276 w 750997"/>
                <a:gd name="connsiteY0" fmla="*/ 915988 h 1004888"/>
                <a:gd name="connsiteX1" fmla="*/ 330994 w 750997"/>
                <a:gd name="connsiteY1" fmla="*/ 959644 h 1004888"/>
                <a:gd name="connsiteX2" fmla="*/ 378619 w 750997"/>
                <a:gd name="connsiteY2" fmla="*/ 945356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95276 w 750997"/>
                <a:gd name="connsiteY0" fmla="*/ 915988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88133 w 750997"/>
                <a:gd name="connsiteY0" fmla="*/ 920750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85751 w 750997"/>
                <a:gd name="connsiteY0" fmla="*/ 904082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85751 w 750997"/>
                <a:gd name="connsiteY0" fmla="*/ 904082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85751 w 750997"/>
                <a:gd name="connsiteY0" fmla="*/ 904082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85751 w 750997"/>
                <a:gd name="connsiteY0" fmla="*/ 904082 h 1004888"/>
                <a:gd name="connsiteX1" fmla="*/ 292894 w 750997"/>
                <a:gd name="connsiteY1" fmla="*/ 897731 h 1004888"/>
                <a:gd name="connsiteX2" fmla="*/ 330994 w 750997"/>
                <a:gd name="connsiteY2" fmla="*/ 959644 h 1004888"/>
                <a:gd name="connsiteX3" fmla="*/ 381001 w 750997"/>
                <a:gd name="connsiteY3" fmla="*/ 952499 h 1004888"/>
                <a:gd name="connsiteX4" fmla="*/ 407193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85751 w 750997"/>
                <a:gd name="connsiteY0" fmla="*/ 904082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85751 w 750997"/>
                <a:gd name="connsiteY0" fmla="*/ 904082 h 1004888"/>
                <a:gd name="connsiteX1" fmla="*/ 292894 w 750997"/>
                <a:gd name="connsiteY1" fmla="*/ 902494 h 1004888"/>
                <a:gd name="connsiteX2" fmla="*/ 330994 w 750997"/>
                <a:gd name="connsiteY2" fmla="*/ 959644 h 1004888"/>
                <a:gd name="connsiteX3" fmla="*/ 381001 w 750997"/>
                <a:gd name="connsiteY3" fmla="*/ 952499 h 1004888"/>
                <a:gd name="connsiteX4" fmla="*/ 407193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85751 w 750997"/>
                <a:gd name="connsiteY0" fmla="*/ 904082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90514 w 750997"/>
                <a:gd name="connsiteY0" fmla="*/ 892175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90514 w 750997"/>
                <a:gd name="connsiteY0" fmla="*/ 892175 h 1004888"/>
                <a:gd name="connsiteX1" fmla="*/ 302419 w 750997"/>
                <a:gd name="connsiteY1" fmla="*/ 919163 h 1004888"/>
                <a:gd name="connsiteX2" fmla="*/ 330994 w 750997"/>
                <a:gd name="connsiteY2" fmla="*/ 959644 h 1004888"/>
                <a:gd name="connsiteX3" fmla="*/ 381001 w 750997"/>
                <a:gd name="connsiteY3" fmla="*/ 952499 h 1004888"/>
                <a:gd name="connsiteX4" fmla="*/ 407193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90514 w 750997"/>
                <a:gd name="connsiteY0" fmla="*/ 892175 h 1004888"/>
                <a:gd name="connsiteX1" fmla="*/ 292894 w 750997"/>
                <a:gd name="connsiteY1" fmla="*/ 928688 h 1004888"/>
                <a:gd name="connsiteX2" fmla="*/ 330994 w 750997"/>
                <a:gd name="connsiteY2" fmla="*/ 959644 h 1004888"/>
                <a:gd name="connsiteX3" fmla="*/ 381001 w 750997"/>
                <a:gd name="connsiteY3" fmla="*/ 952499 h 1004888"/>
                <a:gd name="connsiteX4" fmla="*/ 407193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90514 w 750997"/>
                <a:gd name="connsiteY0" fmla="*/ 892175 h 1004888"/>
                <a:gd name="connsiteX1" fmla="*/ 292894 w 750997"/>
                <a:gd name="connsiteY1" fmla="*/ 928688 h 1004888"/>
                <a:gd name="connsiteX2" fmla="*/ 330994 w 750997"/>
                <a:gd name="connsiteY2" fmla="*/ 959644 h 1004888"/>
                <a:gd name="connsiteX3" fmla="*/ 381001 w 750997"/>
                <a:gd name="connsiteY3" fmla="*/ 952499 h 1004888"/>
                <a:gd name="connsiteX4" fmla="*/ 407193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90514 w 750997"/>
                <a:gd name="connsiteY0" fmla="*/ 892175 h 1004888"/>
                <a:gd name="connsiteX1" fmla="*/ 292894 w 750997"/>
                <a:gd name="connsiteY1" fmla="*/ 928688 h 1004888"/>
                <a:gd name="connsiteX2" fmla="*/ 330994 w 750997"/>
                <a:gd name="connsiteY2" fmla="*/ 959644 h 1004888"/>
                <a:gd name="connsiteX3" fmla="*/ 381001 w 750997"/>
                <a:gd name="connsiteY3" fmla="*/ 952499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90514 w 750997"/>
                <a:gd name="connsiteY0" fmla="*/ 892175 h 1004888"/>
                <a:gd name="connsiteX1" fmla="*/ 273619 w 750997"/>
                <a:gd name="connsiteY1" fmla="*/ 892969 h 1004888"/>
                <a:gd name="connsiteX2" fmla="*/ 292894 w 750997"/>
                <a:gd name="connsiteY2" fmla="*/ 928688 h 1004888"/>
                <a:gd name="connsiteX3" fmla="*/ 330994 w 750997"/>
                <a:gd name="connsiteY3" fmla="*/ 959644 h 1004888"/>
                <a:gd name="connsiteX4" fmla="*/ 381001 w 750997"/>
                <a:gd name="connsiteY4" fmla="*/ 952499 h 1004888"/>
                <a:gd name="connsiteX5" fmla="*/ 421749 w 750997"/>
                <a:gd name="connsiteY5" fmla="*/ 907256 h 1004888"/>
                <a:gd name="connsiteX6" fmla="*/ 354807 w 750997"/>
                <a:gd name="connsiteY6" fmla="*/ 838200 h 1004888"/>
                <a:gd name="connsiteX7" fmla="*/ 121444 w 750997"/>
                <a:gd name="connsiteY7" fmla="*/ 840582 h 1004888"/>
                <a:gd name="connsiteX8" fmla="*/ 86519 w 750997"/>
                <a:gd name="connsiteY8" fmla="*/ 800101 h 1004888"/>
                <a:gd name="connsiteX9" fmla="*/ 86519 w 750997"/>
                <a:gd name="connsiteY9" fmla="*/ 114300 h 1004888"/>
                <a:gd name="connsiteX10" fmla="*/ 121444 w 750997"/>
                <a:gd name="connsiteY10" fmla="*/ 78581 h 1004888"/>
                <a:gd name="connsiteX11" fmla="*/ 619125 w 750997"/>
                <a:gd name="connsiteY11" fmla="*/ 76200 h 1004888"/>
                <a:gd name="connsiteX12" fmla="*/ 671513 w 750997"/>
                <a:gd name="connsiteY12" fmla="*/ 128588 h 1004888"/>
                <a:gd name="connsiteX13" fmla="*/ 671512 w 750997"/>
                <a:gd name="connsiteY13" fmla="*/ 957263 h 1004888"/>
                <a:gd name="connsiteX14" fmla="*/ 621507 w 750997"/>
                <a:gd name="connsiteY14" fmla="*/ 1002506 h 1004888"/>
                <a:gd name="connsiteX15" fmla="*/ 110736 w 750997"/>
                <a:gd name="connsiteY15" fmla="*/ 1004888 h 1004888"/>
                <a:gd name="connsiteX16" fmla="*/ 32434 w 750997"/>
                <a:gd name="connsiteY16" fmla="*/ 972454 h 1004888"/>
                <a:gd name="connsiteX17" fmla="*/ 0 w 750997"/>
                <a:gd name="connsiteY17" fmla="*/ 894152 h 1004888"/>
                <a:gd name="connsiteX18" fmla="*/ 0 w 750997"/>
                <a:gd name="connsiteY18" fmla="*/ 110736 h 1004888"/>
                <a:gd name="connsiteX19" fmla="*/ 32434 w 750997"/>
                <a:gd name="connsiteY19" fmla="*/ 32434 h 1004888"/>
                <a:gd name="connsiteX20" fmla="*/ 110736 w 750997"/>
                <a:gd name="connsiteY20" fmla="*/ 0 h 1004888"/>
                <a:gd name="connsiteX21" fmla="*/ 639358 w 750997"/>
                <a:gd name="connsiteY21" fmla="*/ 0 h 1004888"/>
                <a:gd name="connsiteX22" fmla="*/ 717660 w 750997"/>
                <a:gd name="connsiteY22" fmla="*/ 32434 h 1004888"/>
                <a:gd name="connsiteX23" fmla="*/ 750094 w 750997"/>
                <a:gd name="connsiteY23" fmla="*/ 110736 h 1004888"/>
                <a:gd name="connsiteX24" fmla="*/ 750094 w 750997"/>
                <a:gd name="connsiteY24" fmla="*/ 894152 h 1004888"/>
                <a:gd name="connsiteX25" fmla="*/ 750997 w 750997"/>
                <a:gd name="connsiteY25" fmla="*/ 1003410 h 1004888"/>
                <a:gd name="connsiteX0" fmla="*/ 273619 w 750997"/>
                <a:gd name="connsiteY0" fmla="*/ 892969 h 1004888"/>
                <a:gd name="connsiteX1" fmla="*/ 292894 w 750997"/>
                <a:gd name="connsiteY1" fmla="*/ 928688 h 1004888"/>
                <a:gd name="connsiteX2" fmla="*/ 330994 w 750997"/>
                <a:gd name="connsiteY2" fmla="*/ 959644 h 1004888"/>
                <a:gd name="connsiteX3" fmla="*/ 381001 w 750997"/>
                <a:gd name="connsiteY3" fmla="*/ 952499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73619 w 750997"/>
                <a:gd name="connsiteY0" fmla="*/ 892969 h 1004888"/>
                <a:gd name="connsiteX1" fmla="*/ 281251 w 750997"/>
                <a:gd name="connsiteY1" fmla="*/ 938213 h 1004888"/>
                <a:gd name="connsiteX2" fmla="*/ 330994 w 750997"/>
                <a:gd name="connsiteY2" fmla="*/ 959644 h 1004888"/>
                <a:gd name="connsiteX3" fmla="*/ 381001 w 750997"/>
                <a:gd name="connsiteY3" fmla="*/ 952499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73619 w 750997"/>
                <a:gd name="connsiteY0" fmla="*/ 892969 h 1004888"/>
                <a:gd name="connsiteX1" fmla="*/ 281251 w 750997"/>
                <a:gd name="connsiteY1" fmla="*/ 938213 h 1004888"/>
                <a:gd name="connsiteX2" fmla="*/ 330994 w 750997"/>
                <a:gd name="connsiteY2" fmla="*/ 959644 h 1004888"/>
                <a:gd name="connsiteX3" fmla="*/ 392645 w 750997"/>
                <a:gd name="connsiteY3" fmla="*/ 947736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73619 w 750997"/>
                <a:gd name="connsiteY0" fmla="*/ 892969 h 1004888"/>
                <a:gd name="connsiteX1" fmla="*/ 281251 w 750997"/>
                <a:gd name="connsiteY1" fmla="*/ 938213 h 1004888"/>
                <a:gd name="connsiteX2" fmla="*/ 330994 w 750997"/>
                <a:gd name="connsiteY2" fmla="*/ 962025 h 1004888"/>
                <a:gd name="connsiteX3" fmla="*/ 392645 w 750997"/>
                <a:gd name="connsiteY3" fmla="*/ 947736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73619 w 750997"/>
                <a:gd name="connsiteY0" fmla="*/ 892969 h 1004888"/>
                <a:gd name="connsiteX1" fmla="*/ 281251 w 750997"/>
                <a:gd name="connsiteY1" fmla="*/ 938213 h 1004888"/>
                <a:gd name="connsiteX2" fmla="*/ 330994 w 750997"/>
                <a:gd name="connsiteY2" fmla="*/ 962025 h 1004888"/>
                <a:gd name="connsiteX3" fmla="*/ 392646 w 750997"/>
                <a:gd name="connsiteY3" fmla="*/ 954880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73619 w 750997"/>
                <a:gd name="connsiteY0" fmla="*/ 892969 h 1004888"/>
                <a:gd name="connsiteX1" fmla="*/ 289983 w 750997"/>
                <a:gd name="connsiteY1" fmla="*/ 938213 h 1004888"/>
                <a:gd name="connsiteX2" fmla="*/ 330994 w 750997"/>
                <a:gd name="connsiteY2" fmla="*/ 962025 h 1004888"/>
                <a:gd name="connsiteX3" fmla="*/ 392646 w 750997"/>
                <a:gd name="connsiteY3" fmla="*/ 954880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50997" h="1004888">
                  <a:moveTo>
                    <a:pt x="273619" y="892969"/>
                  </a:moveTo>
                  <a:cubicBezTo>
                    <a:pt x="274016" y="899054"/>
                    <a:pt x="280421" y="926704"/>
                    <a:pt x="289983" y="938213"/>
                  </a:cubicBezTo>
                  <a:cubicBezTo>
                    <a:pt x="299545" y="949722"/>
                    <a:pt x="313884" y="959247"/>
                    <a:pt x="330994" y="962025"/>
                  </a:cubicBezTo>
                  <a:cubicBezTo>
                    <a:pt x="348104" y="964803"/>
                    <a:pt x="377520" y="964008"/>
                    <a:pt x="392646" y="954880"/>
                  </a:cubicBezTo>
                  <a:cubicBezTo>
                    <a:pt x="407772" y="945752"/>
                    <a:pt x="425718" y="925115"/>
                    <a:pt x="421749" y="907256"/>
                  </a:cubicBezTo>
                  <a:cubicBezTo>
                    <a:pt x="424924" y="884635"/>
                    <a:pt x="399654" y="848916"/>
                    <a:pt x="354807" y="838200"/>
                  </a:cubicBezTo>
                  <a:lnTo>
                    <a:pt x="121444" y="840582"/>
                  </a:lnTo>
                  <a:cubicBezTo>
                    <a:pt x="94588" y="829205"/>
                    <a:pt x="92341" y="837804"/>
                    <a:pt x="86519" y="800101"/>
                  </a:cubicBezTo>
                  <a:cubicBezTo>
                    <a:pt x="86784" y="571501"/>
                    <a:pt x="86254" y="342900"/>
                    <a:pt x="86519" y="114300"/>
                  </a:cubicBezTo>
                  <a:cubicBezTo>
                    <a:pt x="97102" y="91678"/>
                    <a:pt x="92206" y="92075"/>
                    <a:pt x="121444" y="78581"/>
                  </a:cubicBezTo>
                  <a:lnTo>
                    <a:pt x="619125" y="76200"/>
                  </a:lnTo>
                  <a:cubicBezTo>
                    <a:pt x="656034" y="84534"/>
                    <a:pt x="665163" y="98425"/>
                    <a:pt x="671513" y="128588"/>
                  </a:cubicBezTo>
                  <a:cubicBezTo>
                    <a:pt x="671513" y="404813"/>
                    <a:pt x="671512" y="681038"/>
                    <a:pt x="671512" y="957263"/>
                  </a:cubicBezTo>
                  <a:cubicBezTo>
                    <a:pt x="665560" y="993378"/>
                    <a:pt x="660202" y="994569"/>
                    <a:pt x="621507" y="1002506"/>
                  </a:cubicBezTo>
                  <a:lnTo>
                    <a:pt x="110736" y="1004888"/>
                  </a:lnTo>
                  <a:cubicBezTo>
                    <a:pt x="81367" y="1004888"/>
                    <a:pt x="53201" y="993221"/>
                    <a:pt x="32434" y="972454"/>
                  </a:cubicBezTo>
                  <a:cubicBezTo>
                    <a:pt x="11667" y="951687"/>
                    <a:pt x="0" y="923521"/>
                    <a:pt x="0" y="894152"/>
                  </a:cubicBezTo>
                  <a:lnTo>
                    <a:pt x="0" y="110736"/>
                  </a:lnTo>
                  <a:cubicBezTo>
                    <a:pt x="0" y="81367"/>
                    <a:pt x="11667" y="53201"/>
                    <a:pt x="32434" y="32434"/>
                  </a:cubicBezTo>
                  <a:cubicBezTo>
                    <a:pt x="53201" y="11667"/>
                    <a:pt x="81367" y="0"/>
                    <a:pt x="110736" y="0"/>
                  </a:cubicBezTo>
                  <a:lnTo>
                    <a:pt x="639358" y="0"/>
                  </a:lnTo>
                  <a:cubicBezTo>
                    <a:pt x="668727" y="0"/>
                    <a:pt x="696893" y="11667"/>
                    <a:pt x="717660" y="32434"/>
                  </a:cubicBezTo>
                  <a:cubicBezTo>
                    <a:pt x="738427" y="53201"/>
                    <a:pt x="750094" y="81367"/>
                    <a:pt x="750094" y="110736"/>
                  </a:cubicBezTo>
                  <a:lnTo>
                    <a:pt x="750094" y="894152"/>
                  </a:lnTo>
                  <a:lnTo>
                    <a:pt x="750997" y="1003410"/>
                  </a:lnTo>
                </a:path>
              </a:pathLst>
            </a:custGeom>
            <a:ln>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defRPr/>
              </a:pPr>
              <a:endParaRPr lang="en-US" sz="1600" b="1" kern="0" dirty="0">
                <a:latin typeface="Arial"/>
                <a:cs typeface="Arial" charset="0"/>
              </a:endParaRPr>
            </a:p>
          </p:txBody>
        </p:sp>
        <p:grpSp>
          <p:nvGrpSpPr>
            <p:cNvPr id="55" name="Group 54"/>
            <p:cNvGrpSpPr>
              <a:grpSpLocks noChangeAspect="1"/>
            </p:cNvGrpSpPr>
            <p:nvPr/>
          </p:nvGrpSpPr>
          <p:grpSpPr>
            <a:xfrm>
              <a:off x="5516329" y="5384146"/>
              <a:ext cx="238066" cy="372104"/>
              <a:chOff x="8739188" y="4629150"/>
              <a:chExt cx="566737" cy="885825"/>
            </a:xfrm>
          </p:grpSpPr>
          <p:sp>
            <p:nvSpPr>
              <p:cNvPr id="56" name="Freeform 53"/>
              <p:cNvSpPr>
                <a:spLocks/>
              </p:cNvSpPr>
              <p:nvPr/>
            </p:nvSpPr>
            <p:spPr bwMode="auto">
              <a:xfrm>
                <a:off x="8739188" y="4629150"/>
                <a:ext cx="566737" cy="476250"/>
              </a:xfrm>
              <a:custGeom>
                <a:avLst/>
                <a:gdLst/>
                <a:ahLst/>
                <a:cxnLst>
                  <a:cxn ang="0">
                    <a:pos x="71" y="101"/>
                  </a:cxn>
                  <a:cxn ang="0">
                    <a:pos x="0" y="51"/>
                  </a:cxn>
                  <a:cxn ang="0">
                    <a:pos x="71" y="0"/>
                  </a:cxn>
                  <a:cxn ang="0">
                    <a:pos x="71" y="29"/>
                  </a:cxn>
                  <a:cxn ang="0">
                    <a:pos x="99" y="29"/>
                  </a:cxn>
                  <a:cxn ang="0">
                    <a:pos x="151" y="76"/>
                  </a:cxn>
                  <a:cxn ang="0">
                    <a:pos x="121" y="127"/>
                  </a:cxn>
                  <a:cxn ang="0">
                    <a:pos x="121" y="93"/>
                  </a:cxn>
                  <a:cxn ang="0">
                    <a:pos x="95" y="73"/>
                  </a:cxn>
                  <a:cxn ang="0">
                    <a:pos x="71" y="73"/>
                  </a:cxn>
                </a:cxnLst>
                <a:rect l="0" t="0" r="r" b="b"/>
                <a:pathLst>
                  <a:path w="151" h="127">
                    <a:moveTo>
                      <a:pt x="71" y="101"/>
                    </a:moveTo>
                    <a:cubicBezTo>
                      <a:pt x="0" y="51"/>
                      <a:pt x="0" y="51"/>
                      <a:pt x="0" y="51"/>
                    </a:cubicBezTo>
                    <a:cubicBezTo>
                      <a:pt x="71" y="0"/>
                      <a:pt x="71" y="0"/>
                      <a:pt x="71" y="0"/>
                    </a:cubicBezTo>
                    <a:cubicBezTo>
                      <a:pt x="71" y="29"/>
                      <a:pt x="71" y="29"/>
                      <a:pt x="71" y="29"/>
                    </a:cubicBezTo>
                    <a:cubicBezTo>
                      <a:pt x="71" y="29"/>
                      <a:pt x="84" y="29"/>
                      <a:pt x="99" y="29"/>
                    </a:cubicBezTo>
                    <a:cubicBezTo>
                      <a:pt x="118" y="29"/>
                      <a:pt x="151" y="45"/>
                      <a:pt x="151" y="76"/>
                    </a:cubicBezTo>
                    <a:cubicBezTo>
                      <a:pt x="151" y="101"/>
                      <a:pt x="131" y="125"/>
                      <a:pt x="121" y="127"/>
                    </a:cubicBezTo>
                    <a:cubicBezTo>
                      <a:pt x="121" y="127"/>
                      <a:pt x="123" y="98"/>
                      <a:pt x="121" y="93"/>
                    </a:cubicBezTo>
                    <a:cubicBezTo>
                      <a:pt x="121" y="90"/>
                      <a:pt x="119" y="74"/>
                      <a:pt x="95" y="73"/>
                    </a:cubicBezTo>
                    <a:cubicBezTo>
                      <a:pt x="71" y="73"/>
                      <a:pt x="71" y="73"/>
                      <a:pt x="71" y="73"/>
                    </a:cubicBezTo>
                  </a:path>
                </a:pathLst>
              </a:custGeom>
              <a:ln>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57" name="Freeform 54"/>
              <p:cNvSpPr>
                <a:spLocks/>
              </p:cNvSpPr>
              <p:nvPr/>
            </p:nvSpPr>
            <p:spPr bwMode="auto">
              <a:xfrm>
                <a:off x="8739188" y="5038725"/>
                <a:ext cx="566737" cy="476250"/>
              </a:xfrm>
              <a:custGeom>
                <a:avLst/>
                <a:gdLst/>
                <a:ahLst/>
                <a:cxnLst>
                  <a:cxn ang="0">
                    <a:pos x="79" y="26"/>
                  </a:cxn>
                  <a:cxn ang="0">
                    <a:pos x="151" y="77"/>
                  </a:cxn>
                  <a:cxn ang="0">
                    <a:pos x="79" y="127"/>
                  </a:cxn>
                  <a:cxn ang="0">
                    <a:pos x="79" y="99"/>
                  </a:cxn>
                  <a:cxn ang="0">
                    <a:pos x="51" y="99"/>
                  </a:cxn>
                  <a:cxn ang="0">
                    <a:pos x="0" y="52"/>
                  </a:cxn>
                  <a:cxn ang="0">
                    <a:pos x="29" y="0"/>
                  </a:cxn>
                  <a:cxn ang="0">
                    <a:pos x="29" y="35"/>
                  </a:cxn>
                  <a:cxn ang="0">
                    <a:pos x="55" y="55"/>
                  </a:cxn>
                  <a:cxn ang="0">
                    <a:pos x="79" y="55"/>
                  </a:cxn>
                </a:cxnLst>
                <a:rect l="0" t="0" r="r" b="b"/>
                <a:pathLst>
                  <a:path w="151" h="127">
                    <a:moveTo>
                      <a:pt x="79" y="26"/>
                    </a:moveTo>
                    <a:cubicBezTo>
                      <a:pt x="151" y="77"/>
                      <a:pt x="151" y="77"/>
                      <a:pt x="151" y="77"/>
                    </a:cubicBezTo>
                    <a:cubicBezTo>
                      <a:pt x="79" y="127"/>
                      <a:pt x="79" y="127"/>
                      <a:pt x="79" y="127"/>
                    </a:cubicBezTo>
                    <a:cubicBezTo>
                      <a:pt x="79" y="99"/>
                      <a:pt x="79" y="99"/>
                      <a:pt x="79" y="99"/>
                    </a:cubicBezTo>
                    <a:cubicBezTo>
                      <a:pt x="79" y="99"/>
                      <a:pt x="66" y="99"/>
                      <a:pt x="51" y="99"/>
                    </a:cubicBezTo>
                    <a:cubicBezTo>
                      <a:pt x="32" y="98"/>
                      <a:pt x="0" y="83"/>
                      <a:pt x="0" y="52"/>
                    </a:cubicBezTo>
                    <a:cubicBezTo>
                      <a:pt x="0" y="27"/>
                      <a:pt x="20" y="3"/>
                      <a:pt x="29" y="0"/>
                    </a:cubicBezTo>
                    <a:cubicBezTo>
                      <a:pt x="29" y="0"/>
                      <a:pt x="28" y="30"/>
                      <a:pt x="29" y="35"/>
                    </a:cubicBezTo>
                    <a:cubicBezTo>
                      <a:pt x="29" y="38"/>
                      <a:pt x="31" y="54"/>
                      <a:pt x="55" y="55"/>
                    </a:cubicBezTo>
                    <a:cubicBezTo>
                      <a:pt x="79" y="55"/>
                      <a:pt x="79" y="55"/>
                      <a:pt x="79" y="55"/>
                    </a:cubicBezTo>
                  </a:path>
                </a:pathLst>
              </a:custGeom>
              <a:ln>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grpSp>
      </p:grpSp>
      <p:grpSp>
        <p:nvGrpSpPr>
          <p:cNvPr id="58" name="Group 57"/>
          <p:cNvGrpSpPr/>
          <p:nvPr/>
        </p:nvGrpSpPr>
        <p:grpSpPr>
          <a:xfrm>
            <a:off x="1558069" y="2817304"/>
            <a:ext cx="410103" cy="261654"/>
            <a:chOff x="1844771" y="5345640"/>
            <a:chExt cx="736868" cy="470137"/>
          </a:xfrm>
        </p:grpSpPr>
        <p:sp>
          <p:nvSpPr>
            <p:cNvPr id="59" name="Freeform 58"/>
            <p:cNvSpPr/>
            <p:nvPr/>
          </p:nvSpPr>
          <p:spPr bwMode="auto">
            <a:xfrm>
              <a:off x="2315418" y="5345641"/>
              <a:ext cx="266221" cy="470136"/>
            </a:xfrm>
            <a:custGeom>
              <a:avLst/>
              <a:gdLst>
                <a:gd name="connsiteX0" fmla="*/ 0 w 750094"/>
                <a:gd name="connsiteY0" fmla="*/ 110736 h 1004888"/>
                <a:gd name="connsiteX1" fmla="*/ 32434 w 750094"/>
                <a:gd name="connsiteY1" fmla="*/ 32434 h 1004888"/>
                <a:gd name="connsiteX2" fmla="*/ 110736 w 750094"/>
                <a:gd name="connsiteY2" fmla="*/ 0 h 1004888"/>
                <a:gd name="connsiteX3" fmla="*/ 639358 w 750094"/>
                <a:gd name="connsiteY3" fmla="*/ 0 h 1004888"/>
                <a:gd name="connsiteX4" fmla="*/ 717660 w 750094"/>
                <a:gd name="connsiteY4" fmla="*/ 32434 h 1004888"/>
                <a:gd name="connsiteX5" fmla="*/ 750094 w 750094"/>
                <a:gd name="connsiteY5" fmla="*/ 110736 h 1004888"/>
                <a:gd name="connsiteX6" fmla="*/ 750094 w 750094"/>
                <a:gd name="connsiteY6" fmla="*/ 894152 h 1004888"/>
                <a:gd name="connsiteX7" fmla="*/ 717660 w 750094"/>
                <a:gd name="connsiteY7" fmla="*/ 972454 h 1004888"/>
                <a:gd name="connsiteX8" fmla="*/ 639358 w 750094"/>
                <a:gd name="connsiteY8" fmla="*/ 1004888 h 1004888"/>
                <a:gd name="connsiteX9" fmla="*/ 110736 w 750094"/>
                <a:gd name="connsiteY9" fmla="*/ 1004888 h 1004888"/>
                <a:gd name="connsiteX10" fmla="*/ 32434 w 750094"/>
                <a:gd name="connsiteY10" fmla="*/ 972454 h 1004888"/>
                <a:gd name="connsiteX11" fmla="*/ 0 w 750094"/>
                <a:gd name="connsiteY11" fmla="*/ 894152 h 1004888"/>
                <a:gd name="connsiteX12" fmla="*/ 0 w 750094"/>
                <a:gd name="connsiteY12" fmla="*/ 110736 h 1004888"/>
                <a:gd name="connsiteX0" fmla="*/ 639358 w 750094"/>
                <a:gd name="connsiteY0" fmla="*/ 1004888 h 1096328"/>
                <a:gd name="connsiteX1" fmla="*/ 110736 w 750094"/>
                <a:gd name="connsiteY1" fmla="*/ 1004888 h 1096328"/>
                <a:gd name="connsiteX2" fmla="*/ 32434 w 750094"/>
                <a:gd name="connsiteY2" fmla="*/ 972454 h 1096328"/>
                <a:gd name="connsiteX3" fmla="*/ 0 w 750094"/>
                <a:gd name="connsiteY3" fmla="*/ 894152 h 1096328"/>
                <a:gd name="connsiteX4" fmla="*/ 0 w 750094"/>
                <a:gd name="connsiteY4" fmla="*/ 110736 h 1096328"/>
                <a:gd name="connsiteX5" fmla="*/ 32434 w 750094"/>
                <a:gd name="connsiteY5" fmla="*/ 32434 h 1096328"/>
                <a:gd name="connsiteX6" fmla="*/ 110736 w 750094"/>
                <a:gd name="connsiteY6" fmla="*/ 0 h 1096328"/>
                <a:gd name="connsiteX7" fmla="*/ 639358 w 750094"/>
                <a:gd name="connsiteY7" fmla="*/ 0 h 1096328"/>
                <a:gd name="connsiteX8" fmla="*/ 717660 w 750094"/>
                <a:gd name="connsiteY8" fmla="*/ 32434 h 1096328"/>
                <a:gd name="connsiteX9" fmla="*/ 750094 w 750094"/>
                <a:gd name="connsiteY9" fmla="*/ 110736 h 1096328"/>
                <a:gd name="connsiteX10" fmla="*/ 750094 w 750094"/>
                <a:gd name="connsiteY10" fmla="*/ 894152 h 1096328"/>
                <a:gd name="connsiteX11" fmla="*/ 717660 w 750094"/>
                <a:gd name="connsiteY11" fmla="*/ 972454 h 1096328"/>
                <a:gd name="connsiteX12" fmla="*/ 730798 w 750094"/>
                <a:gd name="connsiteY12" fmla="*/ 1096328 h 1096328"/>
                <a:gd name="connsiteX0" fmla="*/ 639358 w 750094"/>
                <a:gd name="connsiteY0" fmla="*/ 1004888 h 1004888"/>
                <a:gd name="connsiteX1" fmla="*/ 110736 w 750094"/>
                <a:gd name="connsiteY1" fmla="*/ 1004888 h 1004888"/>
                <a:gd name="connsiteX2" fmla="*/ 32434 w 750094"/>
                <a:gd name="connsiteY2" fmla="*/ 972454 h 1004888"/>
                <a:gd name="connsiteX3" fmla="*/ 0 w 750094"/>
                <a:gd name="connsiteY3" fmla="*/ 894152 h 1004888"/>
                <a:gd name="connsiteX4" fmla="*/ 0 w 750094"/>
                <a:gd name="connsiteY4" fmla="*/ 110736 h 1004888"/>
                <a:gd name="connsiteX5" fmla="*/ 32434 w 750094"/>
                <a:gd name="connsiteY5" fmla="*/ 32434 h 1004888"/>
                <a:gd name="connsiteX6" fmla="*/ 110736 w 750094"/>
                <a:gd name="connsiteY6" fmla="*/ 0 h 1004888"/>
                <a:gd name="connsiteX7" fmla="*/ 639358 w 750094"/>
                <a:gd name="connsiteY7" fmla="*/ 0 h 1004888"/>
                <a:gd name="connsiteX8" fmla="*/ 717660 w 750094"/>
                <a:gd name="connsiteY8" fmla="*/ 32434 h 1004888"/>
                <a:gd name="connsiteX9" fmla="*/ 750094 w 750094"/>
                <a:gd name="connsiteY9" fmla="*/ 110736 h 1004888"/>
                <a:gd name="connsiteX10" fmla="*/ 750094 w 750094"/>
                <a:gd name="connsiteY10" fmla="*/ 894152 h 1004888"/>
                <a:gd name="connsiteX11" fmla="*/ 717660 w 750094"/>
                <a:gd name="connsiteY11" fmla="*/ 972454 h 1004888"/>
                <a:gd name="connsiteX0" fmla="*/ 639358 w 750094"/>
                <a:gd name="connsiteY0" fmla="*/ 1004888 h 1004888"/>
                <a:gd name="connsiteX1" fmla="*/ 110736 w 750094"/>
                <a:gd name="connsiteY1" fmla="*/ 1004888 h 1004888"/>
                <a:gd name="connsiteX2" fmla="*/ 32434 w 750094"/>
                <a:gd name="connsiteY2" fmla="*/ 972454 h 1004888"/>
                <a:gd name="connsiteX3" fmla="*/ 0 w 750094"/>
                <a:gd name="connsiteY3" fmla="*/ 894152 h 1004888"/>
                <a:gd name="connsiteX4" fmla="*/ 0 w 750094"/>
                <a:gd name="connsiteY4" fmla="*/ 110736 h 1004888"/>
                <a:gd name="connsiteX5" fmla="*/ 32434 w 750094"/>
                <a:gd name="connsiteY5" fmla="*/ 32434 h 1004888"/>
                <a:gd name="connsiteX6" fmla="*/ 110736 w 750094"/>
                <a:gd name="connsiteY6" fmla="*/ 0 h 1004888"/>
                <a:gd name="connsiteX7" fmla="*/ 639358 w 750094"/>
                <a:gd name="connsiteY7" fmla="*/ 0 h 1004888"/>
                <a:gd name="connsiteX8" fmla="*/ 717660 w 750094"/>
                <a:gd name="connsiteY8" fmla="*/ 32434 h 1004888"/>
                <a:gd name="connsiteX9" fmla="*/ 750094 w 750094"/>
                <a:gd name="connsiteY9" fmla="*/ 110736 h 1004888"/>
                <a:gd name="connsiteX10" fmla="*/ 750094 w 750094"/>
                <a:gd name="connsiteY10" fmla="*/ 894152 h 1004888"/>
                <a:gd name="connsiteX11" fmla="*/ 717660 w 750094"/>
                <a:gd name="connsiteY11" fmla="*/ 972454 h 1004888"/>
                <a:gd name="connsiteX0" fmla="*/ 639358 w 750997"/>
                <a:gd name="connsiteY0" fmla="*/ 1004888 h 1004888"/>
                <a:gd name="connsiteX1" fmla="*/ 110736 w 750997"/>
                <a:gd name="connsiteY1" fmla="*/ 1004888 h 1004888"/>
                <a:gd name="connsiteX2" fmla="*/ 32434 w 750997"/>
                <a:gd name="connsiteY2" fmla="*/ 972454 h 1004888"/>
                <a:gd name="connsiteX3" fmla="*/ 0 w 750997"/>
                <a:gd name="connsiteY3" fmla="*/ 894152 h 1004888"/>
                <a:gd name="connsiteX4" fmla="*/ 0 w 750997"/>
                <a:gd name="connsiteY4" fmla="*/ 110736 h 1004888"/>
                <a:gd name="connsiteX5" fmla="*/ 32434 w 750997"/>
                <a:gd name="connsiteY5" fmla="*/ 32434 h 1004888"/>
                <a:gd name="connsiteX6" fmla="*/ 110736 w 750997"/>
                <a:gd name="connsiteY6" fmla="*/ 0 h 1004888"/>
                <a:gd name="connsiteX7" fmla="*/ 639358 w 750997"/>
                <a:gd name="connsiteY7" fmla="*/ 0 h 1004888"/>
                <a:gd name="connsiteX8" fmla="*/ 717660 w 750997"/>
                <a:gd name="connsiteY8" fmla="*/ 32434 h 1004888"/>
                <a:gd name="connsiteX9" fmla="*/ 750094 w 750997"/>
                <a:gd name="connsiteY9" fmla="*/ 110736 h 1004888"/>
                <a:gd name="connsiteX10" fmla="*/ 750094 w 750997"/>
                <a:gd name="connsiteY10" fmla="*/ 894152 h 1004888"/>
                <a:gd name="connsiteX11" fmla="*/ 750997 w 750997"/>
                <a:gd name="connsiteY11" fmla="*/ 996267 h 1004888"/>
                <a:gd name="connsiteX0" fmla="*/ 639358 w 750997"/>
                <a:gd name="connsiteY0" fmla="*/ 1004888 h 1004888"/>
                <a:gd name="connsiteX1" fmla="*/ 110736 w 750997"/>
                <a:gd name="connsiteY1" fmla="*/ 1004888 h 1004888"/>
                <a:gd name="connsiteX2" fmla="*/ 32434 w 750997"/>
                <a:gd name="connsiteY2" fmla="*/ 972454 h 1004888"/>
                <a:gd name="connsiteX3" fmla="*/ 0 w 750997"/>
                <a:gd name="connsiteY3" fmla="*/ 894152 h 1004888"/>
                <a:gd name="connsiteX4" fmla="*/ 0 w 750997"/>
                <a:gd name="connsiteY4" fmla="*/ 110736 h 1004888"/>
                <a:gd name="connsiteX5" fmla="*/ 32434 w 750997"/>
                <a:gd name="connsiteY5" fmla="*/ 32434 h 1004888"/>
                <a:gd name="connsiteX6" fmla="*/ 110736 w 750997"/>
                <a:gd name="connsiteY6" fmla="*/ 0 h 1004888"/>
                <a:gd name="connsiteX7" fmla="*/ 639358 w 750997"/>
                <a:gd name="connsiteY7" fmla="*/ 0 h 1004888"/>
                <a:gd name="connsiteX8" fmla="*/ 717660 w 750997"/>
                <a:gd name="connsiteY8" fmla="*/ 32434 h 1004888"/>
                <a:gd name="connsiteX9" fmla="*/ 750094 w 750997"/>
                <a:gd name="connsiteY9" fmla="*/ 110736 h 1004888"/>
                <a:gd name="connsiteX10" fmla="*/ 750094 w 750997"/>
                <a:gd name="connsiteY10" fmla="*/ 894152 h 1004888"/>
                <a:gd name="connsiteX11" fmla="*/ 750997 w 750997"/>
                <a:gd name="connsiteY11" fmla="*/ 1003410 h 1004888"/>
                <a:gd name="connsiteX0" fmla="*/ 639358 w 750997"/>
                <a:gd name="connsiteY0" fmla="*/ 1004888 h 1004888"/>
                <a:gd name="connsiteX1" fmla="*/ 621507 w 750997"/>
                <a:gd name="connsiteY1" fmla="*/ 1002506 h 1004888"/>
                <a:gd name="connsiteX2" fmla="*/ 110736 w 750997"/>
                <a:gd name="connsiteY2" fmla="*/ 1004888 h 1004888"/>
                <a:gd name="connsiteX3" fmla="*/ 32434 w 750997"/>
                <a:gd name="connsiteY3" fmla="*/ 972454 h 1004888"/>
                <a:gd name="connsiteX4" fmla="*/ 0 w 750997"/>
                <a:gd name="connsiteY4" fmla="*/ 894152 h 1004888"/>
                <a:gd name="connsiteX5" fmla="*/ 0 w 750997"/>
                <a:gd name="connsiteY5" fmla="*/ 110736 h 1004888"/>
                <a:gd name="connsiteX6" fmla="*/ 32434 w 750997"/>
                <a:gd name="connsiteY6" fmla="*/ 32434 h 1004888"/>
                <a:gd name="connsiteX7" fmla="*/ 110736 w 750997"/>
                <a:gd name="connsiteY7" fmla="*/ 0 h 1004888"/>
                <a:gd name="connsiteX8" fmla="*/ 639358 w 750997"/>
                <a:gd name="connsiteY8" fmla="*/ 0 h 1004888"/>
                <a:gd name="connsiteX9" fmla="*/ 717660 w 750997"/>
                <a:gd name="connsiteY9" fmla="*/ 32434 h 1004888"/>
                <a:gd name="connsiteX10" fmla="*/ 750094 w 750997"/>
                <a:gd name="connsiteY10" fmla="*/ 110736 h 1004888"/>
                <a:gd name="connsiteX11" fmla="*/ 750094 w 750997"/>
                <a:gd name="connsiteY11" fmla="*/ 894152 h 1004888"/>
                <a:gd name="connsiteX12" fmla="*/ 750997 w 750997"/>
                <a:gd name="connsiteY12" fmla="*/ 1003410 h 1004888"/>
                <a:gd name="connsiteX0" fmla="*/ 639358 w 750997"/>
                <a:gd name="connsiteY0" fmla="*/ 1004888 h 1004888"/>
                <a:gd name="connsiteX1" fmla="*/ 671512 w 750997"/>
                <a:gd name="connsiteY1" fmla="*/ 957263 h 1004888"/>
                <a:gd name="connsiteX2" fmla="*/ 621507 w 750997"/>
                <a:gd name="connsiteY2" fmla="*/ 1002506 h 1004888"/>
                <a:gd name="connsiteX3" fmla="*/ 110736 w 750997"/>
                <a:gd name="connsiteY3" fmla="*/ 1004888 h 1004888"/>
                <a:gd name="connsiteX4" fmla="*/ 32434 w 750997"/>
                <a:gd name="connsiteY4" fmla="*/ 972454 h 1004888"/>
                <a:gd name="connsiteX5" fmla="*/ 0 w 750997"/>
                <a:gd name="connsiteY5" fmla="*/ 894152 h 1004888"/>
                <a:gd name="connsiteX6" fmla="*/ 0 w 750997"/>
                <a:gd name="connsiteY6" fmla="*/ 110736 h 1004888"/>
                <a:gd name="connsiteX7" fmla="*/ 32434 w 750997"/>
                <a:gd name="connsiteY7" fmla="*/ 32434 h 1004888"/>
                <a:gd name="connsiteX8" fmla="*/ 110736 w 750997"/>
                <a:gd name="connsiteY8" fmla="*/ 0 h 1004888"/>
                <a:gd name="connsiteX9" fmla="*/ 639358 w 750997"/>
                <a:gd name="connsiteY9" fmla="*/ 0 h 1004888"/>
                <a:gd name="connsiteX10" fmla="*/ 717660 w 750997"/>
                <a:gd name="connsiteY10" fmla="*/ 32434 h 1004888"/>
                <a:gd name="connsiteX11" fmla="*/ 750094 w 750997"/>
                <a:gd name="connsiteY11" fmla="*/ 110736 h 1004888"/>
                <a:gd name="connsiteX12" fmla="*/ 750094 w 750997"/>
                <a:gd name="connsiteY12" fmla="*/ 894152 h 1004888"/>
                <a:gd name="connsiteX13" fmla="*/ 750997 w 750997"/>
                <a:gd name="connsiteY13" fmla="*/ 1003410 h 1004888"/>
                <a:gd name="connsiteX0" fmla="*/ 675076 w 750997"/>
                <a:gd name="connsiteY0" fmla="*/ 685800 h 1004888"/>
                <a:gd name="connsiteX1" fmla="*/ 671512 w 750997"/>
                <a:gd name="connsiteY1" fmla="*/ 957263 h 1004888"/>
                <a:gd name="connsiteX2" fmla="*/ 621507 w 750997"/>
                <a:gd name="connsiteY2" fmla="*/ 1002506 h 1004888"/>
                <a:gd name="connsiteX3" fmla="*/ 110736 w 750997"/>
                <a:gd name="connsiteY3" fmla="*/ 1004888 h 1004888"/>
                <a:gd name="connsiteX4" fmla="*/ 32434 w 750997"/>
                <a:gd name="connsiteY4" fmla="*/ 972454 h 1004888"/>
                <a:gd name="connsiteX5" fmla="*/ 0 w 750997"/>
                <a:gd name="connsiteY5" fmla="*/ 894152 h 1004888"/>
                <a:gd name="connsiteX6" fmla="*/ 0 w 750997"/>
                <a:gd name="connsiteY6" fmla="*/ 110736 h 1004888"/>
                <a:gd name="connsiteX7" fmla="*/ 32434 w 750997"/>
                <a:gd name="connsiteY7" fmla="*/ 32434 h 1004888"/>
                <a:gd name="connsiteX8" fmla="*/ 110736 w 750997"/>
                <a:gd name="connsiteY8" fmla="*/ 0 h 1004888"/>
                <a:gd name="connsiteX9" fmla="*/ 639358 w 750997"/>
                <a:gd name="connsiteY9" fmla="*/ 0 h 1004888"/>
                <a:gd name="connsiteX10" fmla="*/ 717660 w 750997"/>
                <a:gd name="connsiteY10" fmla="*/ 32434 h 1004888"/>
                <a:gd name="connsiteX11" fmla="*/ 750094 w 750997"/>
                <a:gd name="connsiteY11" fmla="*/ 110736 h 1004888"/>
                <a:gd name="connsiteX12" fmla="*/ 750094 w 750997"/>
                <a:gd name="connsiteY12" fmla="*/ 894152 h 1004888"/>
                <a:gd name="connsiteX13" fmla="*/ 750997 w 750997"/>
                <a:gd name="connsiteY13" fmla="*/ 1003410 h 1004888"/>
                <a:gd name="connsiteX0" fmla="*/ 101195 w 750997"/>
                <a:gd name="connsiteY0" fmla="*/ 90488 h 1004888"/>
                <a:gd name="connsiteX1" fmla="*/ 671512 w 750997"/>
                <a:gd name="connsiteY1" fmla="*/ 957263 h 1004888"/>
                <a:gd name="connsiteX2" fmla="*/ 621507 w 750997"/>
                <a:gd name="connsiteY2" fmla="*/ 1002506 h 1004888"/>
                <a:gd name="connsiteX3" fmla="*/ 110736 w 750997"/>
                <a:gd name="connsiteY3" fmla="*/ 1004888 h 1004888"/>
                <a:gd name="connsiteX4" fmla="*/ 32434 w 750997"/>
                <a:gd name="connsiteY4" fmla="*/ 972454 h 1004888"/>
                <a:gd name="connsiteX5" fmla="*/ 0 w 750997"/>
                <a:gd name="connsiteY5" fmla="*/ 894152 h 1004888"/>
                <a:gd name="connsiteX6" fmla="*/ 0 w 750997"/>
                <a:gd name="connsiteY6" fmla="*/ 110736 h 1004888"/>
                <a:gd name="connsiteX7" fmla="*/ 32434 w 750997"/>
                <a:gd name="connsiteY7" fmla="*/ 32434 h 1004888"/>
                <a:gd name="connsiteX8" fmla="*/ 110736 w 750997"/>
                <a:gd name="connsiteY8" fmla="*/ 0 h 1004888"/>
                <a:gd name="connsiteX9" fmla="*/ 639358 w 750997"/>
                <a:gd name="connsiteY9" fmla="*/ 0 h 1004888"/>
                <a:gd name="connsiteX10" fmla="*/ 717660 w 750997"/>
                <a:gd name="connsiteY10" fmla="*/ 32434 h 1004888"/>
                <a:gd name="connsiteX11" fmla="*/ 750094 w 750997"/>
                <a:gd name="connsiteY11" fmla="*/ 110736 h 1004888"/>
                <a:gd name="connsiteX12" fmla="*/ 750094 w 750997"/>
                <a:gd name="connsiteY12" fmla="*/ 894152 h 1004888"/>
                <a:gd name="connsiteX13" fmla="*/ 750997 w 750997"/>
                <a:gd name="connsiteY13" fmla="*/ 1003410 h 1004888"/>
                <a:gd name="connsiteX0" fmla="*/ 101195 w 750997"/>
                <a:gd name="connsiteY0" fmla="*/ 90488 h 1004888"/>
                <a:gd name="connsiteX1" fmla="*/ 209550 w 750997"/>
                <a:gd name="connsiteY1" fmla="*/ 254794 h 1004888"/>
                <a:gd name="connsiteX2" fmla="*/ 671512 w 750997"/>
                <a:gd name="connsiteY2" fmla="*/ 957263 h 1004888"/>
                <a:gd name="connsiteX3" fmla="*/ 621507 w 750997"/>
                <a:gd name="connsiteY3" fmla="*/ 1002506 h 1004888"/>
                <a:gd name="connsiteX4" fmla="*/ 110736 w 750997"/>
                <a:gd name="connsiteY4" fmla="*/ 1004888 h 1004888"/>
                <a:gd name="connsiteX5" fmla="*/ 32434 w 750997"/>
                <a:gd name="connsiteY5" fmla="*/ 972454 h 1004888"/>
                <a:gd name="connsiteX6" fmla="*/ 0 w 750997"/>
                <a:gd name="connsiteY6" fmla="*/ 894152 h 1004888"/>
                <a:gd name="connsiteX7" fmla="*/ 0 w 750997"/>
                <a:gd name="connsiteY7" fmla="*/ 110736 h 1004888"/>
                <a:gd name="connsiteX8" fmla="*/ 32434 w 750997"/>
                <a:gd name="connsiteY8" fmla="*/ 32434 h 1004888"/>
                <a:gd name="connsiteX9" fmla="*/ 110736 w 750997"/>
                <a:gd name="connsiteY9" fmla="*/ 0 h 1004888"/>
                <a:gd name="connsiteX10" fmla="*/ 639358 w 750997"/>
                <a:gd name="connsiteY10" fmla="*/ 0 h 1004888"/>
                <a:gd name="connsiteX11" fmla="*/ 717660 w 750997"/>
                <a:gd name="connsiteY11" fmla="*/ 32434 h 1004888"/>
                <a:gd name="connsiteX12" fmla="*/ 750094 w 750997"/>
                <a:gd name="connsiteY12" fmla="*/ 110736 h 1004888"/>
                <a:gd name="connsiteX13" fmla="*/ 750094 w 750997"/>
                <a:gd name="connsiteY13" fmla="*/ 894152 h 1004888"/>
                <a:gd name="connsiteX14" fmla="*/ 750997 w 750997"/>
                <a:gd name="connsiteY14" fmla="*/ 1003410 h 1004888"/>
                <a:gd name="connsiteX0" fmla="*/ 101195 w 750997"/>
                <a:gd name="connsiteY0" fmla="*/ 90488 h 1004888"/>
                <a:gd name="connsiteX1" fmla="*/ 673894 w 750997"/>
                <a:gd name="connsiteY1" fmla="*/ 76201 h 1004888"/>
                <a:gd name="connsiteX2" fmla="*/ 671512 w 750997"/>
                <a:gd name="connsiteY2" fmla="*/ 957263 h 1004888"/>
                <a:gd name="connsiteX3" fmla="*/ 621507 w 750997"/>
                <a:gd name="connsiteY3" fmla="*/ 1002506 h 1004888"/>
                <a:gd name="connsiteX4" fmla="*/ 110736 w 750997"/>
                <a:gd name="connsiteY4" fmla="*/ 1004888 h 1004888"/>
                <a:gd name="connsiteX5" fmla="*/ 32434 w 750997"/>
                <a:gd name="connsiteY5" fmla="*/ 972454 h 1004888"/>
                <a:gd name="connsiteX6" fmla="*/ 0 w 750997"/>
                <a:gd name="connsiteY6" fmla="*/ 894152 h 1004888"/>
                <a:gd name="connsiteX7" fmla="*/ 0 w 750997"/>
                <a:gd name="connsiteY7" fmla="*/ 110736 h 1004888"/>
                <a:gd name="connsiteX8" fmla="*/ 32434 w 750997"/>
                <a:gd name="connsiteY8" fmla="*/ 32434 h 1004888"/>
                <a:gd name="connsiteX9" fmla="*/ 110736 w 750997"/>
                <a:gd name="connsiteY9" fmla="*/ 0 h 1004888"/>
                <a:gd name="connsiteX10" fmla="*/ 639358 w 750997"/>
                <a:gd name="connsiteY10" fmla="*/ 0 h 1004888"/>
                <a:gd name="connsiteX11" fmla="*/ 717660 w 750997"/>
                <a:gd name="connsiteY11" fmla="*/ 32434 h 1004888"/>
                <a:gd name="connsiteX12" fmla="*/ 750094 w 750997"/>
                <a:gd name="connsiteY12" fmla="*/ 110736 h 1004888"/>
                <a:gd name="connsiteX13" fmla="*/ 750094 w 750997"/>
                <a:gd name="connsiteY13" fmla="*/ 894152 h 1004888"/>
                <a:gd name="connsiteX14" fmla="*/ 750997 w 750997"/>
                <a:gd name="connsiteY14" fmla="*/ 1003410 h 1004888"/>
                <a:gd name="connsiteX0" fmla="*/ 96432 w 750997"/>
                <a:gd name="connsiteY0" fmla="*/ 79375 h 1004888"/>
                <a:gd name="connsiteX1" fmla="*/ 673894 w 750997"/>
                <a:gd name="connsiteY1" fmla="*/ 76201 h 1004888"/>
                <a:gd name="connsiteX2" fmla="*/ 671512 w 750997"/>
                <a:gd name="connsiteY2" fmla="*/ 957263 h 1004888"/>
                <a:gd name="connsiteX3" fmla="*/ 621507 w 750997"/>
                <a:gd name="connsiteY3" fmla="*/ 1002506 h 1004888"/>
                <a:gd name="connsiteX4" fmla="*/ 110736 w 750997"/>
                <a:gd name="connsiteY4" fmla="*/ 1004888 h 1004888"/>
                <a:gd name="connsiteX5" fmla="*/ 32434 w 750997"/>
                <a:gd name="connsiteY5" fmla="*/ 972454 h 1004888"/>
                <a:gd name="connsiteX6" fmla="*/ 0 w 750997"/>
                <a:gd name="connsiteY6" fmla="*/ 894152 h 1004888"/>
                <a:gd name="connsiteX7" fmla="*/ 0 w 750997"/>
                <a:gd name="connsiteY7" fmla="*/ 110736 h 1004888"/>
                <a:gd name="connsiteX8" fmla="*/ 32434 w 750997"/>
                <a:gd name="connsiteY8" fmla="*/ 32434 h 1004888"/>
                <a:gd name="connsiteX9" fmla="*/ 110736 w 750997"/>
                <a:gd name="connsiteY9" fmla="*/ 0 h 1004888"/>
                <a:gd name="connsiteX10" fmla="*/ 639358 w 750997"/>
                <a:gd name="connsiteY10" fmla="*/ 0 h 1004888"/>
                <a:gd name="connsiteX11" fmla="*/ 717660 w 750997"/>
                <a:gd name="connsiteY11" fmla="*/ 32434 h 1004888"/>
                <a:gd name="connsiteX12" fmla="*/ 750094 w 750997"/>
                <a:gd name="connsiteY12" fmla="*/ 110736 h 1004888"/>
                <a:gd name="connsiteX13" fmla="*/ 750094 w 750997"/>
                <a:gd name="connsiteY13" fmla="*/ 894152 h 1004888"/>
                <a:gd name="connsiteX14" fmla="*/ 750997 w 750997"/>
                <a:gd name="connsiteY14" fmla="*/ 1003410 h 1004888"/>
                <a:gd name="connsiteX0" fmla="*/ 96432 w 750997"/>
                <a:gd name="connsiteY0" fmla="*/ 79375 h 1004888"/>
                <a:gd name="connsiteX1" fmla="*/ 673894 w 750997"/>
                <a:gd name="connsiteY1" fmla="*/ 79375 h 1004888"/>
                <a:gd name="connsiteX2" fmla="*/ 671512 w 750997"/>
                <a:gd name="connsiteY2" fmla="*/ 957263 h 1004888"/>
                <a:gd name="connsiteX3" fmla="*/ 621507 w 750997"/>
                <a:gd name="connsiteY3" fmla="*/ 1002506 h 1004888"/>
                <a:gd name="connsiteX4" fmla="*/ 110736 w 750997"/>
                <a:gd name="connsiteY4" fmla="*/ 1004888 h 1004888"/>
                <a:gd name="connsiteX5" fmla="*/ 32434 w 750997"/>
                <a:gd name="connsiteY5" fmla="*/ 972454 h 1004888"/>
                <a:gd name="connsiteX6" fmla="*/ 0 w 750997"/>
                <a:gd name="connsiteY6" fmla="*/ 894152 h 1004888"/>
                <a:gd name="connsiteX7" fmla="*/ 0 w 750997"/>
                <a:gd name="connsiteY7" fmla="*/ 110736 h 1004888"/>
                <a:gd name="connsiteX8" fmla="*/ 32434 w 750997"/>
                <a:gd name="connsiteY8" fmla="*/ 32434 h 1004888"/>
                <a:gd name="connsiteX9" fmla="*/ 110736 w 750997"/>
                <a:gd name="connsiteY9" fmla="*/ 0 h 1004888"/>
                <a:gd name="connsiteX10" fmla="*/ 639358 w 750997"/>
                <a:gd name="connsiteY10" fmla="*/ 0 h 1004888"/>
                <a:gd name="connsiteX11" fmla="*/ 717660 w 750997"/>
                <a:gd name="connsiteY11" fmla="*/ 32434 h 1004888"/>
                <a:gd name="connsiteX12" fmla="*/ 750094 w 750997"/>
                <a:gd name="connsiteY12" fmla="*/ 110736 h 1004888"/>
                <a:gd name="connsiteX13" fmla="*/ 750094 w 750997"/>
                <a:gd name="connsiteY13" fmla="*/ 894152 h 1004888"/>
                <a:gd name="connsiteX14" fmla="*/ 750997 w 750997"/>
                <a:gd name="connsiteY14" fmla="*/ 1003410 h 1004888"/>
                <a:gd name="connsiteX0" fmla="*/ 86519 w 750997"/>
                <a:gd name="connsiteY0" fmla="*/ 79375 h 1004888"/>
                <a:gd name="connsiteX1" fmla="*/ 673894 w 750997"/>
                <a:gd name="connsiteY1" fmla="*/ 79375 h 1004888"/>
                <a:gd name="connsiteX2" fmla="*/ 671512 w 750997"/>
                <a:gd name="connsiteY2" fmla="*/ 957263 h 1004888"/>
                <a:gd name="connsiteX3" fmla="*/ 621507 w 750997"/>
                <a:gd name="connsiteY3" fmla="*/ 1002506 h 1004888"/>
                <a:gd name="connsiteX4" fmla="*/ 110736 w 750997"/>
                <a:gd name="connsiteY4" fmla="*/ 1004888 h 1004888"/>
                <a:gd name="connsiteX5" fmla="*/ 32434 w 750997"/>
                <a:gd name="connsiteY5" fmla="*/ 972454 h 1004888"/>
                <a:gd name="connsiteX6" fmla="*/ 0 w 750997"/>
                <a:gd name="connsiteY6" fmla="*/ 894152 h 1004888"/>
                <a:gd name="connsiteX7" fmla="*/ 0 w 750997"/>
                <a:gd name="connsiteY7" fmla="*/ 110736 h 1004888"/>
                <a:gd name="connsiteX8" fmla="*/ 32434 w 750997"/>
                <a:gd name="connsiteY8" fmla="*/ 32434 h 1004888"/>
                <a:gd name="connsiteX9" fmla="*/ 110736 w 750997"/>
                <a:gd name="connsiteY9" fmla="*/ 0 h 1004888"/>
                <a:gd name="connsiteX10" fmla="*/ 639358 w 750997"/>
                <a:gd name="connsiteY10" fmla="*/ 0 h 1004888"/>
                <a:gd name="connsiteX11" fmla="*/ 717660 w 750997"/>
                <a:gd name="connsiteY11" fmla="*/ 32434 h 1004888"/>
                <a:gd name="connsiteX12" fmla="*/ 750094 w 750997"/>
                <a:gd name="connsiteY12" fmla="*/ 110736 h 1004888"/>
                <a:gd name="connsiteX13" fmla="*/ 750094 w 750997"/>
                <a:gd name="connsiteY13" fmla="*/ 894152 h 1004888"/>
                <a:gd name="connsiteX14" fmla="*/ 750997 w 750997"/>
                <a:gd name="connsiteY14" fmla="*/ 1003410 h 1004888"/>
                <a:gd name="connsiteX0" fmla="*/ 86519 w 750997"/>
                <a:gd name="connsiteY0" fmla="*/ 79375 h 1004888"/>
                <a:gd name="connsiteX1" fmla="*/ 138113 w 750997"/>
                <a:gd name="connsiteY1" fmla="*/ 76200 h 1004888"/>
                <a:gd name="connsiteX2" fmla="*/ 673894 w 750997"/>
                <a:gd name="connsiteY2" fmla="*/ 79375 h 1004888"/>
                <a:gd name="connsiteX3" fmla="*/ 671512 w 750997"/>
                <a:gd name="connsiteY3" fmla="*/ 957263 h 1004888"/>
                <a:gd name="connsiteX4" fmla="*/ 621507 w 750997"/>
                <a:gd name="connsiteY4" fmla="*/ 1002506 h 1004888"/>
                <a:gd name="connsiteX5" fmla="*/ 110736 w 750997"/>
                <a:gd name="connsiteY5" fmla="*/ 1004888 h 1004888"/>
                <a:gd name="connsiteX6" fmla="*/ 32434 w 750997"/>
                <a:gd name="connsiteY6" fmla="*/ 972454 h 1004888"/>
                <a:gd name="connsiteX7" fmla="*/ 0 w 750997"/>
                <a:gd name="connsiteY7" fmla="*/ 894152 h 1004888"/>
                <a:gd name="connsiteX8" fmla="*/ 0 w 750997"/>
                <a:gd name="connsiteY8" fmla="*/ 110736 h 1004888"/>
                <a:gd name="connsiteX9" fmla="*/ 32434 w 750997"/>
                <a:gd name="connsiteY9" fmla="*/ 32434 h 1004888"/>
                <a:gd name="connsiteX10" fmla="*/ 110736 w 750997"/>
                <a:gd name="connsiteY10" fmla="*/ 0 h 1004888"/>
                <a:gd name="connsiteX11" fmla="*/ 639358 w 750997"/>
                <a:gd name="connsiteY11" fmla="*/ 0 h 1004888"/>
                <a:gd name="connsiteX12" fmla="*/ 717660 w 750997"/>
                <a:gd name="connsiteY12" fmla="*/ 32434 h 1004888"/>
                <a:gd name="connsiteX13" fmla="*/ 750094 w 750997"/>
                <a:gd name="connsiteY13" fmla="*/ 110736 h 1004888"/>
                <a:gd name="connsiteX14" fmla="*/ 750094 w 750997"/>
                <a:gd name="connsiteY14" fmla="*/ 894152 h 1004888"/>
                <a:gd name="connsiteX15" fmla="*/ 750997 w 750997"/>
                <a:gd name="connsiteY15" fmla="*/ 1003410 h 1004888"/>
                <a:gd name="connsiteX0" fmla="*/ 86519 w 750997"/>
                <a:gd name="connsiteY0" fmla="*/ 839788 h 1004888"/>
                <a:gd name="connsiteX1" fmla="*/ 138113 w 750997"/>
                <a:gd name="connsiteY1" fmla="*/ 76200 h 1004888"/>
                <a:gd name="connsiteX2" fmla="*/ 673894 w 750997"/>
                <a:gd name="connsiteY2" fmla="*/ 79375 h 1004888"/>
                <a:gd name="connsiteX3" fmla="*/ 671512 w 750997"/>
                <a:gd name="connsiteY3" fmla="*/ 957263 h 1004888"/>
                <a:gd name="connsiteX4" fmla="*/ 621507 w 750997"/>
                <a:gd name="connsiteY4" fmla="*/ 1002506 h 1004888"/>
                <a:gd name="connsiteX5" fmla="*/ 110736 w 750997"/>
                <a:gd name="connsiteY5" fmla="*/ 1004888 h 1004888"/>
                <a:gd name="connsiteX6" fmla="*/ 32434 w 750997"/>
                <a:gd name="connsiteY6" fmla="*/ 972454 h 1004888"/>
                <a:gd name="connsiteX7" fmla="*/ 0 w 750997"/>
                <a:gd name="connsiteY7" fmla="*/ 894152 h 1004888"/>
                <a:gd name="connsiteX8" fmla="*/ 0 w 750997"/>
                <a:gd name="connsiteY8" fmla="*/ 110736 h 1004888"/>
                <a:gd name="connsiteX9" fmla="*/ 32434 w 750997"/>
                <a:gd name="connsiteY9" fmla="*/ 32434 h 1004888"/>
                <a:gd name="connsiteX10" fmla="*/ 110736 w 750997"/>
                <a:gd name="connsiteY10" fmla="*/ 0 h 1004888"/>
                <a:gd name="connsiteX11" fmla="*/ 639358 w 750997"/>
                <a:gd name="connsiteY11" fmla="*/ 0 h 1004888"/>
                <a:gd name="connsiteX12" fmla="*/ 717660 w 750997"/>
                <a:gd name="connsiteY12" fmla="*/ 32434 h 1004888"/>
                <a:gd name="connsiteX13" fmla="*/ 750094 w 750997"/>
                <a:gd name="connsiteY13" fmla="*/ 110736 h 1004888"/>
                <a:gd name="connsiteX14" fmla="*/ 750094 w 750997"/>
                <a:gd name="connsiteY14" fmla="*/ 894152 h 1004888"/>
                <a:gd name="connsiteX15" fmla="*/ 750997 w 750997"/>
                <a:gd name="connsiteY15" fmla="*/ 1003410 h 1004888"/>
                <a:gd name="connsiteX0" fmla="*/ 86519 w 750997"/>
                <a:gd name="connsiteY0" fmla="*/ 839788 h 1004888"/>
                <a:gd name="connsiteX1" fmla="*/ 86519 w 750997"/>
                <a:gd name="connsiteY1" fmla="*/ 79375 h 1004888"/>
                <a:gd name="connsiteX2" fmla="*/ 673894 w 750997"/>
                <a:gd name="connsiteY2" fmla="*/ 79375 h 1004888"/>
                <a:gd name="connsiteX3" fmla="*/ 671512 w 750997"/>
                <a:gd name="connsiteY3" fmla="*/ 957263 h 1004888"/>
                <a:gd name="connsiteX4" fmla="*/ 621507 w 750997"/>
                <a:gd name="connsiteY4" fmla="*/ 1002506 h 1004888"/>
                <a:gd name="connsiteX5" fmla="*/ 110736 w 750997"/>
                <a:gd name="connsiteY5" fmla="*/ 1004888 h 1004888"/>
                <a:gd name="connsiteX6" fmla="*/ 32434 w 750997"/>
                <a:gd name="connsiteY6" fmla="*/ 972454 h 1004888"/>
                <a:gd name="connsiteX7" fmla="*/ 0 w 750997"/>
                <a:gd name="connsiteY7" fmla="*/ 894152 h 1004888"/>
                <a:gd name="connsiteX8" fmla="*/ 0 w 750997"/>
                <a:gd name="connsiteY8" fmla="*/ 110736 h 1004888"/>
                <a:gd name="connsiteX9" fmla="*/ 32434 w 750997"/>
                <a:gd name="connsiteY9" fmla="*/ 32434 h 1004888"/>
                <a:gd name="connsiteX10" fmla="*/ 110736 w 750997"/>
                <a:gd name="connsiteY10" fmla="*/ 0 h 1004888"/>
                <a:gd name="connsiteX11" fmla="*/ 639358 w 750997"/>
                <a:gd name="connsiteY11" fmla="*/ 0 h 1004888"/>
                <a:gd name="connsiteX12" fmla="*/ 717660 w 750997"/>
                <a:gd name="connsiteY12" fmla="*/ 32434 h 1004888"/>
                <a:gd name="connsiteX13" fmla="*/ 750094 w 750997"/>
                <a:gd name="connsiteY13" fmla="*/ 110736 h 1004888"/>
                <a:gd name="connsiteX14" fmla="*/ 750094 w 750997"/>
                <a:gd name="connsiteY14" fmla="*/ 894152 h 1004888"/>
                <a:gd name="connsiteX15" fmla="*/ 750997 w 750997"/>
                <a:gd name="connsiteY15" fmla="*/ 1003410 h 1004888"/>
                <a:gd name="connsiteX0" fmla="*/ 86519 w 750997"/>
                <a:gd name="connsiteY0" fmla="*/ 839788 h 1004888"/>
                <a:gd name="connsiteX1" fmla="*/ 83344 w 750997"/>
                <a:gd name="connsiteY1" fmla="*/ 769144 h 1004888"/>
                <a:gd name="connsiteX2" fmla="*/ 86519 w 750997"/>
                <a:gd name="connsiteY2" fmla="*/ 79375 h 1004888"/>
                <a:gd name="connsiteX3" fmla="*/ 673894 w 750997"/>
                <a:gd name="connsiteY3" fmla="*/ 79375 h 1004888"/>
                <a:gd name="connsiteX4" fmla="*/ 671512 w 750997"/>
                <a:gd name="connsiteY4" fmla="*/ 957263 h 1004888"/>
                <a:gd name="connsiteX5" fmla="*/ 621507 w 750997"/>
                <a:gd name="connsiteY5" fmla="*/ 1002506 h 1004888"/>
                <a:gd name="connsiteX6" fmla="*/ 110736 w 750997"/>
                <a:gd name="connsiteY6" fmla="*/ 1004888 h 1004888"/>
                <a:gd name="connsiteX7" fmla="*/ 32434 w 750997"/>
                <a:gd name="connsiteY7" fmla="*/ 972454 h 1004888"/>
                <a:gd name="connsiteX8" fmla="*/ 0 w 750997"/>
                <a:gd name="connsiteY8" fmla="*/ 894152 h 1004888"/>
                <a:gd name="connsiteX9" fmla="*/ 0 w 750997"/>
                <a:gd name="connsiteY9" fmla="*/ 110736 h 1004888"/>
                <a:gd name="connsiteX10" fmla="*/ 32434 w 750997"/>
                <a:gd name="connsiteY10" fmla="*/ 32434 h 1004888"/>
                <a:gd name="connsiteX11" fmla="*/ 110736 w 750997"/>
                <a:gd name="connsiteY11" fmla="*/ 0 h 1004888"/>
                <a:gd name="connsiteX12" fmla="*/ 639358 w 750997"/>
                <a:gd name="connsiteY12" fmla="*/ 0 h 1004888"/>
                <a:gd name="connsiteX13" fmla="*/ 717660 w 750997"/>
                <a:gd name="connsiteY13" fmla="*/ 32434 h 1004888"/>
                <a:gd name="connsiteX14" fmla="*/ 750094 w 750997"/>
                <a:gd name="connsiteY14" fmla="*/ 110736 h 1004888"/>
                <a:gd name="connsiteX15" fmla="*/ 750094 w 750997"/>
                <a:gd name="connsiteY15" fmla="*/ 894152 h 1004888"/>
                <a:gd name="connsiteX16" fmla="*/ 750997 w 750997"/>
                <a:gd name="connsiteY16" fmla="*/ 1003410 h 1004888"/>
                <a:gd name="connsiteX0" fmla="*/ 347663 w 750997"/>
                <a:gd name="connsiteY0" fmla="*/ 839788 h 1004888"/>
                <a:gd name="connsiteX1" fmla="*/ 83344 w 750997"/>
                <a:gd name="connsiteY1" fmla="*/ 769144 h 1004888"/>
                <a:gd name="connsiteX2" fmla="*/ 86519 w 750997"/>
                <a:gd name="connsiteY2" fmla="*/ 79375 h 1004888"/>
                <a:gd name="connsiteX3" fmla="*/ 673894 w 750997"/>
                <a:gd name="connsiteY3" fmla="*/ 79375 h 1004888"/>
                <a:gd name="connsiteX4" fmla="*/ 671512 w 750997"/>
                <a:gd name="connsiteY4" fmla="*/ 957263 h 1004888"/>
                <a:gd name="connsiteX5" fmla="*/ 621507 w 750997"/>
                <a:gd name="connsiteY5" fmla="*/ 1002506 h 1004888"/>
                <a:gd name="connsiteX6" fmla="*/ 110736 w 750997"/>
                <a:gd name="connsiteY6" fmla="*/ 1004888 h 1004888"/>
                <a:gd name="connsiteX7" fmla="*/ 32434 w 750997"/>
                <a:gd name="connsiteY7" fmla="*/ 972454 h 1004888"/>
                <a:gd name="connsiteX8" fmla="*/ 0 w 750997"/>
                <a:gd name="connsiteY8" fmla="*/ 894152 h 1004888"/>
                <a:gd name="connsiteX9" fmla="*/ 0 w 750997"/>
                <a:gd name="connsiteY9" fmla="*/ 110736 h 1004888"/>
                <a:gd name="connsiteX10" fmla="*/ 32434 w 750997"/>
                <a:gd name="connsiteY10" fmla="*/ 32434 h 1004888"/>
                <a:gd name="connsiteX11" fmla="*/ 110736 w 750997"/>
                <a:gd name="connsiteY11" fmla="*/ 0 h 1004888"/>
                <a:gd name="connsiteX12" fmla="*/ 639358 w 750997"/>
                <a:gd name="connsiteY12" fmla="*/ 0 h 1004888"/>
                <a:gd name="connsiteX13" fmla="*/ 717660 w 750997"/>
                <a:gd name="connsiteY13" fmla="*/ 32434 h 1004888"/>
                <a:gd name="connsiteX14" fmla="*/ 750094 w 750997"/>
                <a:gd name="connsiteY14" fmla="*/ 110736 h 1004888"/>
                <a:gd name="connsiteX15" fmla="*/ 750094 w 750997"/>
                <a:gd name="connsiteY15" fmla="*/ 894152 h 1004888"/>
                <a:gd name="connsiteX16" fmla="*/ 750997 w 750997"/>
                <a:gd name="connsiteY16" fmla="*/ 1003410 h 1004888"/>
                <a:gd name="connsiteX0" fmla="*/ 347663 w 750997"/>
                <a:gd name="connsiteY0" fmla="*/ 839788 h 1004888"/>
                <a:gd name="connsiteX1" fmla="*/ 86519 w 750997"/>
                <a:gd name="connsiteY1" fmla="*/ 839788 h 1004888"/>
                <a:gd name="connsiteX2" fmla="*/ 86519 w 750997"/>
                <a:gd name="connsiteY2" fmla="*/ 79375 h 1004888"/>
                <a:gd name="connsiteX3" fmla="*/ 673894 w 750997"/>
                <a:gd name="connsiteY3" fmla="*/ 79375 h 1004888"/>
                <a:gd name="connsiteX4" fmla="*/ 671512 w 750997"/>
                <a:gd name="connsiteY4" fmla="*/ 957263 h 1004888"/>
                <a:gd name="connsiteX5" fmla="*/ 621507 w 750997"/>
                <a:gd name="connsiteY5" fmla="*/ 1002506 h 1004888"/>
                <a:gd name="connsiteX6" fmla="*/ 110736 w 750997"/>
                <a:gd name="connsiteY6" fmla="*/ 1004888 h 1004888"/>
                <a:gd name="connsiteX7" fmla="*/ 32434 w 750997"/>
                <a:gd name="connsiteY7" fmla="*/ 972454 h 1004888"/>
                <a:gd name="connsiteX8" fmla="*/ 0 w 750997"/>
                <a:gd name="connsiteY8" fmla="*/ 894152 h 1004888"/>
                <a:gd name="connsiteX9" fmla="*/ 0 w 750997"/>
                <a:gd name="connsiteY9" fmla="*/ 110736 h 1004888"/>
                <a:gd name="connsiteX10" fmla="*/ 32434 w 750997"/>
                <a:gd name="connsiteY10" fmla="*/ 32434 h 1004888"/>
                <a:gd name="connsiteX11" fmla="*/ 110736 w 750997"/>
                <a:gd name="connsiteY11" fmla="*/ 0 h 1004888"/>
                <a:gd name="connsiteX12" fmla="*/ 639358 w 750997"/>
                <a:gd name="connsiteY12" fmla="*/ 0 h 1004888"/>
                <a:gd name="connsiteX13" fmla="*/ 717660 w 750997"/>
                <a:gd name="connsiteY13" fmla="*/ 32434 h 1004888"/>
                <a:gd name="connsiteX14" fmla="*/ 750094 w 750997"/>
                <a:gd name="connsiteY14" fmla="*/ 110736 h 1004888"/>
                <a:gd name="connsiteX15" fmla="*/ 750094 w 750997"/>
                <a:gd name="connsiteY15" fmla="*/ 894152 h 1004888"/>
                <a:gd name="connsiteX16" fmla="*/ 750997 w 750997"/>
                <a:gd name="connsiteY16" fmla="*/ 1003410 h 1004888"/>
                <a:gd name="connsiteX0" fmla="*/ 347663 w 750997"/>
                <a:gd name="connsiteY0" fmla="*/ 839788 h 1004888"/>
                <a:gd name="connsiteX1" fmla="*/ 86519 w 750997"/>
                <a:gd name="connsiteY1" fmla="*/ 839788 h 1004888"/>
                <a:gd name="connsiteX2" fmla="*/ 86519 w 750997"/>
                <a:gd name="connsiteY2" fmla="*/ 79375 h 1004888"/>
                <a:gd name="connsiteX3" fmla="*/ 673894 w 750997"/>
                <a:gd name="connsiteY3" fmla="*/ 79375 h 1004888"/>
                <a:gd name="connsiteX4" fmla="*/ 671513 w 750997"/>
                <a:gd name="connsiteY4" fmla="*/ 128588 h 1004888"/>
                <a:gd name="connsiteX5" fmla="*/ 671512 w 750997"/>
                <a:gd name="connsiteY5" fmla="*/ 957263 h 1004888"/>
                <a:gd name="connsiteX6" fmla="*/ 621507 w 750997"/>
                <a:gd name="connsiteY6" fmla="*/ 1002506 h 1004888"/>
                <a:gd name="connsiteX7" fmla="*/ 110736 w 750997"/>
                <a:gd name="connsiteY7" fmla="*/ 1004888 h 1004888"/>
                <a:gd name="connsiteX8" fmla="*/ 32434 w 750997"/>
                <a:gd name="connsiteY8" fmla="*/ 972454 h 1004888"/>
                <a:gd name="connsiteX9" fmla="*/ 0 w 750997"/>
                <a:gd name="connsiteY9" fmla="*/ 894152 h 1004888"/>
                <a:gd name="connsiteX10" fmla="*/ 0 w 750997"/>
                <a:gd name="connsiteY10" fmla="*/ 110736 h 1004888"/>
                <a:gd name="connsiteX11" fmla="*/ 32434 w 750997"/>
                <a:gd name="connsiteY11" fmla="*/ 32434 h 1004888"/>
                <a:gd name="connsiteX12" fmla="*/ 110736 w 750997"/>
                <a:gd name="connsiteY12" fmla="*/ 0 h 1004888"/>
                <a:gd name="connsiteX13" fmla="*/ 639358 w 750997"/>
                <a:gd name="connsiteY13" fmla="*/ 0 h 1004888"/>
                <a:gd name="connsiteX14" fmla="*/ 717660 w 750997"/>
                <a:gd name="connsiteY14" fmla="*/ 32434 h 1004888"/>
                <a:gd name="connsiteX15" fmla="*/ 750094 w 750997"/>
                <a:gd name="connsiteY15" fmla="*/ 110736 h 1004888"/>
                <a:gd name="connsiteX16" fmla="*/ 750094 w 750997"/>
                <a:gd name="connsiteY16" fmla="*/ 894152 h 1004888"/>
                <a:gd name="connsiteX17" fmla="*/ 750997 w 750997"/>
                <a:gd name="connsiteY17" fmla="*/ 1003410 h 1004888"/>
                <a:gd name="connsiteX0" fmla="*/ 347663 w 750997"/>
                <a:gd name="connsiteY0" fmla="*/ 839788 h 1004888"/>
                <a:gd name="connsiteX1" fmla="*/ 86519 w 750997"/>
                <a:gd name="connsiteY1" fmla="*/ 839788 h 1004888"/>
                <a:gd name="connsiteX2" fmla="*/ 86519 w 750997"/>
                <a:gd name="connsiteY2" fmla="*/ 79375 h 1004888"/>
                <a:gd name="connsiteX3" fmla="*/ 619125 w 750997"/>
                <a:gd name="connsiteY3" fmla="*/ 76200 h 1004888"/>
                <a:gd name="connsiteX4" fmla="*/ 673894 w 750997"/>
                <a:gd name="connsiteY4" fmla="*/ 79375 h 1004888"/>
                <a:gd name="connsiteX5" fmla="*/ 671513 w 750997"/>
                <a:gd name="connsiteY5" fmla="*/ 128588 h 1004888"/>
                <a:gd name="connsiteX6" fmla="*/ 671512 w 750997"/>
                <a:gd name="connsiteY6" fmla="*/ 957263 h 1004888"/>
                <a:gd name="connsiteX7" fmla="*/ 621507 w 750997"/>
                <a:gd name="connsiteY7" fmla="*/ 1002506 h 1004888"/>
                <a:gd name="connsiteX8" fmla="*/ 110736 w 750997"/>
                <a:gd name="connsiteY8" fmla="*/ 1004888 h 1004888"/>
                <a:gd name="connsiteX9" fmla="*/ 32434 w 750997"/>
                <a:gd name="connsiteY9" fmla="*/ 972454 h 1004888"/>
                <a:gd name="connsiteX10" fmla="*/ 0 w 750997"/>
                <a:gd name="connsiteY10" fmla="*/ 894152 h 1004888"/>
                <a:gd name="connsiteX11" fmla="*/ 0 w 750997"/>
                <a:gd name="connsiteY11" fmla="*/ 110736 h 1004888"/>
                <a:gd name="connsiteX12" fmla="*/ 32434 w 750997"/>
                <a:gd name="connsiteY12" fmla="*/ 32434 h 1004888"/>
                <a:gd name="connsiteX13" fmla="*/ 110736 w 750997"/>
                <a:gd name="connsiteY13" fmla="*/ 0 h 1004888"/>
                <a:gd name="connsiteX14" fmla="*/ 639358 w 750997"/>
                <a:gd name="connsiteY14" fmla="*/ 0 h 1004888"/>
                <a:gd name="connsiteX15" fmla="*/ 717660 w 750997"/>
                <a:gd name="connsiteY15" fmla="*/ 32434 h 1004888"/>
                <a:gd name="connsiteX16" fmla="*/ 750094 w 750997"/>
                <a:gd name="connsiteY16" fmla="*/ 110736 h 1004888"/>
                <a:gd name="connsiteX17" fmla="*/ 750094 w 750997"/>
                <a:gd name="connsiteY17" fmla="*/ 894152 h 1004888"/>
                <a:gd name="connsiteX18" fmla="*/ 750997 w 750997"/>
                <a:gd name="connsiteY18" fmla="*/ 1003410 h 1004888"/>
                <a:gd name="connsiteX0" fmla="*/ 347663 w 750997"/>
                <a:gd name="connsiteY0" fmla="*/ 839788 h 1004888"/>
                <a:gd name="connsiteX1" fmla="*/ 86519 w 750997"/>
                <a:gd name="connsiteY1" fmla="*/ 839788 h 1004888"/>
                <a:gd name="connsiteX2" fmla="*/ 86519 w 750997"/>
                <a:gd name="connsiteY2" fmla="*/ 79375 h 1004888"/>
                <a:gd name="connsiteX3" fmla="*/ 619125 w 750997"/>
                <a:gd name="connsiteY3" fmla="*/ 76200 h 1004888"/>
                <a:gd name="connsiteX4" fmla="*/ 673894 w 750997"/>
                <a:gd name="connsiteY4" fmla="*/ 79375 h 1004888"/>
                <a:gd name="connsiteX5" fmla="*/ 671513 w 750997"/>
                <a:gd name="connsiteY5" fmla="*/ 128588 h 1004888"/>
                <a:gd name="connsiteX6" fmla="*/ 671512 w 750997"/>
                <a:gd name="connsiteY6" fmla="*/ 957263 h 1004888"/>
                <a:gd name="connsiteX7" fmla="*/ 669131 w 750997"/>
                <a:gd name="connsiteY7" fmla="*/ 9953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004888"/>
                <a:gd name="connsiteX1" fmla="*/ 86519 w 750997"/>
                <a:gd name="connsiteY1" fmla="*/ 839788 h 1004888"/>
                <a:gd name="connsiteX2" fmla="*/ 86519 w 750997"/>
                <a:gd name="connsiteY2" fmla="*/ 79375 h 1004888"/>
                <a:gd name="connsiteX3" fmla="*/ 121444 w 750997"/>
                <a:gd name="connsiteY3" fmla="*/ 78581 h 1004888"/>
                <a:gd name="connsiteX4" fmla="*/ 619125 w 750997"/>
                <a:gd name="connsiteY4" fmla="*/ 76200 h 1004888"/>
                <a:gd name="connsiteX5" fmla="*/ 673894 w 750997"/>
                <a:gd name="connsiteY5" fmla="*/ 79375 h 1004888"/>
                <a:gd name="connsiteX6" fmla="*/ 671513 w 750997"/>
                <a:gd name="connsiteY6" fmla="*/ 128588 h 1004888"/>
                <a:gd name="connsiteX7" fmla="*/ 671512 w 750997"/>
                <a:gd name="connsiteY7" fmla="*/ 957263 h 1004888"/>
                <a:gd name="connsiteX8" fmla="*/ 669131 w 750997"/>
                <a:gd name="connsiteY8" fmla="*/ 9953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52223 h 1017323"/>
                <a:gd name="connsiteX1" fmla="*/ 86519 w 750997"/>
                <a:gd name="connsiteY1" fmla="*/ 852223 h 1017323"/>
                <a:gd name="connsiteX2" fmla="*/ 86519 w 750997"/>
                <a:gd name="connsiteY2" fmla="*/ 126735 h 1017323"/>
                <a:gd name="connsiteX3" fmla="*/ 86519 w 750997"/>
                <a:gd name="connsiteY3" fmla="*/ 91810 h 1017323"/>
                <a:gd name="connsiteX4" fmla="*/ 121444 w 750997"/>
                <a:gd name="connsiteY4" fmla="*/ 91016 h 1017323"/>
                <a:gd name="connsiteX5" fmla="*/ 619125 w 750997"/>
                <a:gd name="connsiteY5" fmla="*/ 88635 h 1017323"/>
                <a:gd name="connsiteX6" fmla="*/ 673894 w 750997"/>
                <a:gd name="connsiteY6" fmla="*/ 91810 h 1017323"/>
                <a:gd name="connsiteX7" fmla="*/ 671513 w 750997"/>
                <a:gd name="connsiteY7" fmla="*/ 141023 h 1017323"/>
                <a:gd name="connsiteX8" fmla="*/ 671512 w 750997"/>
                <a:gd name="connsiteY8" fmla="*/ 969698 h 1017323"/>
                <a:gd name="connsiteX9" fmla="*/ 669131 w 750997"/>
                <a:gd name="connsiteY9" fmla="*/ 1007798 h 1017323"/>
                <a:gd name="connsiteX10" fmla="*/ 621507 w 750997"/>
                <a:gd name="connsiteY10" fmla="*/ 1014941 h 1017323"/>
                <a:gd name="connsiteX11" fmla="*/ 110736 w 750997"/>
                <a:gd name="connsiteY11" fmla="*/ 1017323 h 1017323"/>
                <a:gd name="connsiteX12" fmla="*/ 32434 w 750997"/>
                <a:gd name="connsiteY12" fmla="*/ 984889 h 1017323"/>
                <a:gd name="connsiteX13" fmla="*/ 0 w 750997"/>
                <a:gd name="connsiteY13" fmla="*/ 906587 h 1017323"/>
                <a:gd name="connsiteX14" fmla="*/ 0 w 750997"/>
                <a:gd name="connsiteY14" fmla="*/ 123171 h 1017323"/>
                <a:gd name="connsiteX15" fmla="*/ 32434 w 750997"/>
                <a:gd name="connsiteY15" fmla="*/ 44869 h 1017323"/>
                <a:gd name="connsiteX16" fmla="*/ 110736 w 750997"/>
                <a:gd name="connsiteY16" fmla="*/ 12435 h 1017323"/>
                <a:gd name="connsiteX17" fmla="*/ 639358 w 750997"/>
                <a:gd name="connsiteY17" fmla="*/ 12435 h 1017323"/>
                <a:gd name="connsiteX18" fmla="*/ 717660 w 750997"/>
                <a:gd name="connsiteY18" fmla="*/ 44869 h 1017323"/>
                <a:gd name="connsiteX19" fmla="*/ 750094 w 750997"/>
                <a:gd name="connsiteY19" fmla="*/ 123171 h 1017323"/>
                <a:gd name="connsiteX20" fmla="*/ 750094 w 750997"/>
                <a:gd name="connsiteY20" fmla="*/ 906587 h 1017323"/>
                <a:gd name="connsiteX21" fmla="*/ 750997 w 750997"/>
                <a:gd name="connsiteY21" fmla="*/ 1015845 h 1017323"/>
                <a:gd name="connsiteX0" fmla="*/ 347663 w 750997"/>
                <a:gd name="connsiteY0" fmla="*/ 852223 h 1017323"/>
                <a:gd name="connsiteX1" fmla="*/ 86519 w 750997"/>
                <a:gd name="connsiteY1" fmla="*/ 852223 h 1017323"/>
                <a:gd name="connsiteX2" fmla="*/ 86519 w 750997"/>
                <a:gd name="connsiteY2" fmla="*/ 126735 h 1017323"/>
                <a:gd name="connsiteX3" fmla="*/ 86519 w 750997"/>
                <a:gd name="connsiteY3" fmla="*/ 91810 h 1017323"/>
                <a:gd name="connsiteX4" fmla="*/ 121444 w 750997"/>
                <a:gd name="connsiteY4" fmla="*/ 91016 h 1017323"/>
                <a:gd name="connsiteX5" fmla="*/ 619125 w 750997"/>
                <a:gd name="connsiteY5" fmla="*/ 88635 h 1017323"/>
                <a:gd name="connsiteX6" fmla="*/ 673894 w 750997"/>
                <a:gd name="connsiteY6" fmla="*/ 91810 h 1017323"/>
                <a:gd name="connsiteX7" fmla="*/ 671513 w 750997"/>
                <a:gd name="connsiteY7" fmla="*/ 141023 h 1017323"/>
                <a:gd name="connsiteX8" fmla="*/ 671512 w 750997"/>
                <a:gd name="connsiteY8" fmla="*/ 969698 h 1017323"/>
                <a:gd name="connsiteX9" fmla="*/ 669131 w 750997"/>
                <a:gd name="connsiteY9" fmla="*/ 1007798 h 1017323"/>
                <a:gd name="connsiteX10" fmla="*/ 621507 w 750997"/>
                <a:gd name="connsiteY10" fmla="*/ 1014941 h 1017323"/>
                <a:gd name="connsiteX11" fmla="*/ 110736 w 750997"/>
                <a:gd name="connsiteY11" fmla="*/ 1017323 h 1017323"/>
                <a:gd name="connsiteX12" fmla="*/ 32434 w 750997"/>
                <a:gd name="connsiteY12" fmla="*/ 984889 h 1017323"/>
                <a:gd name="connsiteX13" fmla="*/ 0 w 750997"/>
                <a:gd name="connsiteY13" fmla="*/ 906587 h 1017323"/>
                <a:gd name="connsiteX14" fmla="*/ 0 w 750997"/>
                <a:gd name="connsiteY14" fmla="*/ 123171 h 1017323"/>
                <a:gd name="connsiteX15" fmla="*/ 32434 w 750997"/>
                <a:gd name="connsiteY15" fmla="*/ 44869 h 1017323"/>
                <a:gd name="connsiteX16" fmla="*/ 110736 w 750997"/>
                <a:gd name="connsiteY16" fmla="*/ 12435 h 1017323"/>
                <a:gd name="connsiteX17" fmla="*/ 639358 w 750997"/>
                <a:gd name="connsiteY17" fmla="*/ 12435 h 1017323"/>
                <a:gd name="connsiteX18" fmla="*/ 717660 w 750997"/>
                <a:gd name="connsiteY18" fmla="*/ 44869 h 1017323"/>
                <a:gd name="connsiteX19" fmla="*/ 750094 w 750997"/>
                <a:gd name="connsiteY19" fmla="*/ 123171 h 1017323"/>
                <a:gd name="connsiteX20" fmla="*/ 750094 w 750997"/>
                <a:gd name="connsiteY20" fmla="*/ 906587 h 1017323"/>
                <a:gd name="connsiteX21" fmla="*/ 750997 w 750997"/>
                <a:gd name="connsiteY21"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126735 h 1017323"/>
                <a:gd name="connsiteX4" fmla="*/ 86519 w 750997"/>
                <a:gd name="connsiteY4" fmla="*/ 91810 h 1017323"/>
                <a:gd name="connsiteX5" fmla="*/ 121444 w 750997"/>
                <a:gd name="connsiteY5" fmla="*/ 91016 h 1017323"/>
                <a:gd name="connsiteX6" fmla="*/ 619125 w 750997"/>
                <a:gd name="connsiteY6" fmla="*/ 88635 h 1017323"/>
                <a:gd name="connsiteX7" fmla="*/ 673894 w 750997"/>
                <a:gd name="connsiteY7" fmla="*/ 91810 h 1017323"/>
                <a:gd name="connsiteX8" fmla="*/ 671513 w 750997"/>
                <a:gd name="connsiteY8" fmla="*/ 141023 h 1017323"/>
                <a:gd name="connsiteX9" fmla="*/ 671512 w 750997"/>
                <a:gd name="connsiteY9" fmla="*/ 969698 h 1017323"/>
                <a:gd name="connsiteX10" fmla="*/ 669131 w 750997"/>
                <a:gd name="connsiteY10" fmla="*/ 1007798 h 1017323"/>
                <a:gd name="connsiteX11" fmla="*/ 621507 w 750997"/>
                <a:gd name="connsiteY11" fmla="*/ 1014941 h 1017323"/>
                <a:gd name="connsiteX12" fmla="*/ 110736 w 750997"/>
                <a:gd name="connsiteY12" fmla="*/ 1017323 h 1017323"/>
                <a:gd name="connsiteX13" fmla="*/ 32434 w 750997"/>
                <a:gd name="connsiteY13" fmla="*/ 984889 h 1017323"/>
                <a:gd name="connsiteX14" fmla="*/ 0 w 750997"/>
                <a:gd name="connsiteY14" fmla="*/ 906587 h 1017323"/>
                <a:gd name="connsiteX15" fmla="*/ 0 w 750997"/>
                <a:gd name="connsiteY15" fmla="*/ 123171 h 1017323"/>
                <a:gd name="connsiteX16" fmla="*/ 32434 w 750997"/>
                <a:gd name="connsiteY16" fmla="*/ 44869 h 1017323"/>
                <a:gd name="connsiteX17" fmla="*/ 110736 w 750997"/>
                <a:gd name="connsiteY17" fmla="*/ 12435 h 1017323"/>
                <a:gd name="connsiteX18" fmla="*/ 639358 w 750997"/>
                <a:gd name="connsiteY18" fmla="*/ 12435 h 1017323"/>
                <a:gd name="connsiteX19" fmla="*/ 717660 w 750997"/>
                <a:gd name="connsiteY19" fmla="*/ 44869 h 1017323"/>
                <a:gd name="connsiteX20" fmla="*/ 750094 w 750997"/>
                <a:gd name="connsiteY20" fmla="*/ 123171 h 1017323"/>
                <a:gd name="connsiteX21" fmla="*/ 750094 w 750997"/>
                <a:gd name="connsiteY21" fmla="*/ 906587 h 1017323"/>
                <a:gd name="connsiteX22" fmla="*/ 750997 w 750997"/>
                <a:gd name="connsiteY22"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619125 w 750997"/>
                <a:gd name="connsiteY7" fmla="*/ 88635 h 1017323"/>
                <a:gd name="connsiteX8" fmla="*/ 673894 w 750997"/>
                <a:gd name="connsiteY8" fmla="*/ 91810 h 1017323"/>
                <a:gd name="connsiteX9" fmla="*/ 671513 w 750997"/>
                <a:gd name="connsiteY9" fmla="*/ 141023 h 1017323"/>
                <a:gd name="connsiteX10" fmla="*/ 671512 w 750997"/>
                <a:gd name="connsiteY10" fmla="*/ 969698 h 1017323"/>
                <a:gd name="connsiteX11" fmla="*/ 669131 w 750997"/>
                <a:gd name="connsiteY11" fmla="*/ 1007798 h 1017323"/>
                <a:gd name="connsiteX12" fmla="*/ 621507 w 750997"/>
                <a:gd name="connsiteY12" fmla="*/ 1014941 h 1017323"/>
                <a:gd name="connsiteX13" fmla="*/ 110736 w 750997"/>
                <a:gd name="connsiteY13" fmla="*/ 1017323 h 1017323"/>
                <a:gd name="connsiteX14" fmla="*/ 32434 w 750997"/>
                <a:gd name="connsiteY14" fmla="*/ 984889 h 1017323"/>
                <a:gd name="connsiteX15" fmla="*/ 0 w 750997"/>
                <a:gd name="connsiteY15" fmla="*/ 906587 h 1017323"/>
                <a:gd name="connsiteX16" fmla="*/ 0 w 750997"/>
                <a:gd name="connsiteY16" fmla="*/ 123171 h 1017323"/>
                <a:gd name="connsiteX17" fmla="*/ 32434 w 750997"/>
                <a:gd name="connsiteY17" fmla="*/ 44869 h 1017323"/>
                <a:gd name="connsiteX18" fmla="*/ 110736 w 750997"/>
                <a:gd name="connsiteY18" fmla="*/ 12435 h 1017323"/>
                <a:gd name="connsiteX19" fmla="*/ 639358 w 750997"/>
                <a:gd name="connsiteY19" fmla="*/ 12435 h 1017323"/>
                <a:gd name="connsiteX20" fmla="*/ 717660 w 750997"/>
                <a:gd name="connsiteY20" fmla="*/ 44869 h 1017323"/>
                <a:gd name="connsiteX21" fmla="*/ 750094 w 750997"/>
                <a:gd name="connsiteY21" fmla="*/ 123171 h 1017323"/>
                <a:gd name="connsiteX22" fmla="*/ 750094 w 750997"/>
                <a:gd name="connsiteY22" fmla="*/ 906587 h 1017323"/>
                <a:gd name="connsiteX23" fmla="*/ 750997 w 750997"/>
                <a:gd name="connsiteY23"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404813 w 750997"/>
                <a:gd name="connsiteY7" fmla="*/ 83874 h 1017323"/>
                <a:gd name="connsiteX8" fmla="*/ 619125 w 750997"/>
                <a:gd name="connsiteY8" fmla="*/ 88635 h 1017323"/>
                <a:gd name="connsiteX9" fmla="*/ 673894 w 750997"/>
                <a:gd name="connsiteY9" fmla="*/ 91810 h 1017323"/>
                <a:gd name="connsiteX10" fmla="*/ 671513 w 750997"/>
                <a:gd name="connsiteY10" fmla="*/ 141023 h 1017323"/>
                <a:gd name="connsiteX11" fmla="*/ 671512 w 750997"/>
                <a:gd name="connsiteY11" fmla="*/ 969698 h 1017323"/>
                <a:gd name="connsiteX12" fmla="*/ 669131 w 750997"/>
                <a:gd name="connsiteY12" fmla="*/ 1007798 h 1017323"/>
                <a:gd name="connsiteX13" fmla="*/ 621507 w 750997"/>
                <a:gd name="connsiteY13" fmla="*/ 1014941 h 1017323"/>
                <a:gd name="connsiteX14" fmla="*/ 110736 w 750997"/>
                <a:gd name="connsiteY14" fmla="*/ 1017323 h 1017323"/>
                <a:gd name="connsiteX15" fmla="*/ 32434 w 750997"/>
                <a:gd name="connsiteY15" fmla="*/ 984889 h 1017323"/>
                <a:gd name="connsiteX16" fmla="*/ 0 w 750997"/>
                <a:gd name="connsiteY16" fmla="*/ 906587 h 1017323"/>
                <a:gd name="connsiteX17" fmla="*/ 0 w 750997"/>
                <a:gd name="connsiteY17" fmla="*/ 123171 h 1017323"/>
                <a:gd name="connsiteX18" fmla="*/ 32434 w 750997"/>
                <a:gd name="connsiteY18" fmla="*/ 44869 h 1017323"/>
                <a:gd name="connsiteX19" fmla="*/ 110736 w 750997"/>
                <a:gd name="connsiteY19" fmla="*/ 12435 h 1017323"/>
                <a:gd name="connsiteX20" fmla="*/ 639358 w 750997"/>
                <a:gd name="connsiteY20" fmla="*/ 12435 h 1017323"/>
                <a:gd name="connsiteX21" fmla="*/ 717660 w 750997"/>
                <a:gd name="connsiteY21" fmla="*/ 44869 h 1017323"/>
                <a:gd name="connsiteX22" fmla="*/ 750094 w 750997"/>
                <a:gd name="connsiteY22" fmla="*/ 123171 h 1017323"/>
                <a:gd name="connsiteX23" fmla="*/ 750094 w 750997"/>
                <a:gd name="connsiteY23" fmla="*/ 906587 h 1017323"/>
                <a:gd name="connsiteX24" fmla="*/ 750997 w 750997"/>
                <a:gd name="connsiteY24"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619125 w 750997"/>
                <a:gd name="connsiteY7" fmla="*/ 88635 h 1017323"/>
                <a:gd name="connsiteX8" fmla="*/ 673894 w 750997"/>
                <a:gd name="connsiteY8" fmla="*/ 91810 h 1017323"/>
                <a:gd name="connsiteX9" fmla="*/ 671513 w 750997"/>
                <a:gd name="connsiteY9" fmla="*/ 141023 h 1017323"/>
                <a:gd name="connsiteX10" fmla="*/ 671512 w 750997"/>
                <a:gd name="connsiteY10" fmla="*/ 969698 h 1017323"/>
                <a:gd name="connsiteX11" fmla="*/ 669131 w 750997"/>
                <a:gd name="connsiteY11" fmla="*/ 1007798 h 1017323"/>
                <a:gd name="connsiteX12" fmla="*/ 621507 w 750997"/>
                <a:gd name="connsiteY12" fmla="*/ 1014941 h 1017323"/>
                <a:gd name="connsiteX13" fmla="*/ 110736 w 750997"/>
                <a:gd name="connsiteY13" fmla="*/ 1017323 h 1017323"/>
                <a:gd name="connsiteX14" fmla="*/ 32434 w 750997"/>
                <a:gd name="connsiteY14" fmla="*/ 984889 h 1017323"/>
                <a:gd name="connsiteX15" fmla="*/ 0 w 750997"/>
                <a:gd name="connsiteY15" fmla="*/ 906587 h 1017323"/>
                <a:gd name="connsiteX16" fmla="*/ 0 w 750997"/>
                <a:gd name="connsiteY16" fmla="*/ 123171 h 1017323"/>
                <a:gd name="connsiteX17" fmla="*/ 32434 w 750997"/>
                <a:gd name="connsiteY17" fmla="*/ 44869 h 1017323"/>
                <a:gd name="connsiteX18" fmla="*/ 110736 w 750997"/>
                <a:gd name="connsiteY18" fmla="*/ 12435 h 1017323"/>
                <a:gd name="connsiteX19" fmla="*/ 639358 w 750997"/>
                <a:gd name="connsiteY19" fmla="*/ 12435 h 1017323"/>
                <a:gd name="connsiteX20" fmla="*/ 717660 w 750997"/>
                <a:gd name="connsiteY20" fmla="*/ 44869 h 1017323"/>
                <a:gd name="connsiteX21" fmla="*/ 750094 w 750997"/>
                <a:gd name="connsiteY21" fmla="*/ 123171 h 1017323"/>
                <a:gd name="connsiteX22" fmla="*/ 750094 w 750997"/>
                <a:gd name="connsiteY22" fmla="*/ 906587 h 1017323"/>
                <a:gd name="connsiteX23" fmla="*/ 750997 w 750997"/>
                <a:gd name="connsiteY23"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619125 w 750997"/>
                <a:gd name="connsiteY7" fmla="*/ 88635 h 1017323"/>
                <a:gd name="connsiteX8" fmla="*/ 673894 w 750997"/>
                <a:gd name="connsiteY8" fmla="*/ 91810 h 1017323"/>
                <a:gd name="connsiteX9" fmla="*/ 671513 w 750997"/>
                <a:gd name="connsiteY9" fmla="*/ 141023 h 1017323"/>
                <a:gd name="connsiteX10" fmla="*/ 671512 w 750997"/>
                <a:gd name="connsiteY10" fmla="*/ 969698 h 1017323"/>
                <a:gd name="connsiteX11" fmla="*/ 669131 w 750997"/>
                <a:gd name="connsiteY11" fmla="*/ 1007798 h 1017323"/>
                <a:gd name="connsiteX12" fmla="*/ 621507 w 750997"/>
                <a:gd name="connsiteY12" fmla="*/ 1014941 h 1017323"/>
                <a:gd name="connsiteX13" fmla="*/ 110736 w 750997"/>
                <a:gd name="connsiteY13" fmla="*/ 1017323 h 1017323"/>
                <a:gd name="connsiteX14" fmla="*/ 32434 w 750997"/>
                <a:gd name="connsiteY14" fmla="*/ 984889 h 1017323"/>
                <a:gd name="connsiteX15" fmla="*/ 0 w 750997"/>
                <a:gd name="connsiteY15" fmla="*/ 906587 h 1017323"/>
                <a:gd name="connsiteX16" fmla="*/ 0 w 750997"/>
                <a:gd name="connsiteY16" fmla="*/ 123171 h 1017323"/>
                <a:gd name="connsiteX17" fmla="*/ 32434 w 750997"/>
                <a:gd name="connsiteY17" fmla="*/ 44869 h 1017323"/>
                <a:gd name="connsiteX18" fmla="*/ 110736 w 750997"/>
                <a:gd name="connsiteY18" fmla="*/ 12435 h 1017323"/>
                <a:gd name="connsiteX19" fmla="*/ 639358 w 750997"/>
                <a:gd name="connsiteY19" fmla="*/ 12435 h 1017323"/>
                <a:gd name="connsiteX20" fmla="*/ 717660 w 750997"/>
                <a:gd name="connsiteY20" fmla="*/ 44869 h 1017323"/>
                <a:gd name="connsiteX21" fmla="*/ 750094 w 750997"/>
                <a:gd name="connsiteY21" fmla="*/ 123171 h 1017323"/>
                <a:gd name="connsiteX22" fmla="*/ 750094 w 750997"/>
                <a:gd name="connsiteY22" fmla="*/ 906587 h 1017323"/>
                <a:gd name="connsiteX23" fmla="*/ 750997 w 750997"/>
                <a:gd name="connsiteY23" fmla="*/ 1015845 h 1017323"/>
                <a:gd name="connsiteX0" fmla="*/ 347663 w 750997"/>
                <a:gd name="connsiteY0" fmla="*/ 857515 h 1022615"/>
                <a:gd name="connsiteX1" fmla="*/ 121444 w 750997"/>
                <a:gd name="connsiteY1" fmla="*/ 858309 h 1022615"/>
                <a:gd name="connsiteX2" fmla="*/ 86519 w 750997"/>
                <a:gd name="connsiteY2" fmla="*/ 857515 h 1022615"/>
                <a:gd name="connsiteX3" fmla="*/ 86519 w 750997"/>
                <a:gd name="connsiteY3" fmla="*/ 817828 h 1022615"/>
                <a:gd name="connsiteX4" fmla="*/ 86519 w 750997"/>
                <a:gd name="connsiteY4" fmla="*/ 132027 h 1022615"/>
                <a:gd name="connsiteX5" fmla="*/ 86519 w 750997"/>
                <a:gd name="connsiteY5" fmla="*/ 97102 h 1022615"/>
                <a:gd name="connsiteX6" fmla="*/ 121444 w 750997"/>
                <a:gd name="connsiteY6" fmla="*/ 96308 h 1022615"/>
                <a:gd name="connsiteX7" fmla="*/ 619125 w 750997"/>
                <a:gd name="connsiteY7" fmla="*/ 93927 h 1022615"/>
                <a:gd name="connsiteX8" fmla="*/ 673894 w 750997"/>
                <a:gd name="connsiteY8" fmla="*/ 97102 h 1022615"/>
                <a:gd name="connsiteX9" fmla="*/ 671513 w 750997"/>
                <a:gd name="connsiteY9" fmla="*/ 146315 h 1022615"/>
                <a:gd name="connsiteX10" fmla="*/ 671512 w 750997"/>
                <a:gd name="connsiteY10" fmla="*/ 974990 h 1022615"/>
                <a:gd name="connsiteX11" fmla="*/ 669131 w 750997"/>
                <a:gd name="connsiteY11" fmla="*/ 1013090 h 1022615"/>
                <a:gd name="connsiteX12" fmla="*/ 621507 w 750997"/>
                <a:gd name="connsiteY12" fmla="*/ 1020233 h 1022615"/>
                <a:gd name="connsiteX13" fmla="*/ 110736 w 750997"/>
                <a:gd name="connsiteY13" fmla="*/ 1022615 h 1022615"/>
                <a:gd name="connsiteX14" fmla="*/ 32434 w 750997"/>
                <a:gd name="connsiteY14" fmla="*/ 990181 h 1022615"/>
                <a:gd name="connsiteX15" fmla="*/ 0 w 750997"/>
                <a:gd name="connsiteY15" fmla="*/ 911879 h 1022615"/>
                <a:gd name="connsiteX16" fmla="*/ 0 w 750997"/>
                <a:gd name="connsiteY16" fmla="*/ 128463 h 1022615"/>
                <a:gd name="connsiteX17" fmla="*/ 32434 w 750997"/>
                <a:gd name="connsiteY17" fmla="*/ 50161 h 1022615"/>
                <a:gd name="connsiteX18" fmla="*/ 110736 w 750997"/>
                <a:gd name="connsiteY18" fmla="*/ 17727 h 1022615"/>
                <a:gd name="connsiteX19" fmla="*/ 639358 w 750997"/>
                <a:gd name="connsiteY19" fmla="*/ 17727 h 1022615"/>
                <a:gd name="connsiteX20" fmla="*/ 717660 w 750997"/>
                <a:gd name="connsiteY20" fmla="*/ 50161 h 1022615"/>
                <a:gd name="connsiteX21" fmla="*/ 750094 w 750997"/>
                <a:gd name="connsiteY21" fmla="*/ 128463 h 1022615"/>
                <a:gd name="connsiteX22" fmla="*/ 750094 w 750997"/>
                <a:gd name="connsiteY22" fmla="*/ 911879 h 1022615"/>
                <a:gd name="connsiteX23" fmla="*/ 750997 w 750997"/>
                <a:gd name="connsiteY23" fmla="*/ 1021137 h 1022615"/>
                <a:gd name="connsiteX0" fmla="*/ 347663 w 750997"/>
                <a:gd name="connsiteY0" fmla="*/ 857515 h 1022615"/>
                <a:gd name="connsiteX1" fmla="*/ 121444 w 750997"/>
                <a:gd name="connsiteY1" fmla="*/ 858309 h 1022615"/>
                <a:gd name="connsiteX2" fmla="*/ 86519 w 750997"/>
                <a:gd name="connsiteY2" fmla="*/ 857515 h 1022615"/>
                <a:gd name="connsiteX3" fmla="*/ 86519 w 750997"/>
                <a:gd name="connsiteY3" fmla="*/ 817828 h 1022615"/>
                <a:gd name="connsiteX4" fmla="*/ 86519 w 750997"/>
                <a:gd name="connsiteY4" fmla="*/ 132027 h 1022615"/>
                <a:gd name="connsiteX5" fmla="*/ 86519 w 750997"/>
                <a:gd name="connsiteY5" fmla="*/ 97102 h 1022615"/>
                <a:gd name="connsiteX6" fmla="*/ 121444 w 750997"/>
                <a:gd name="connsiteY6" fmla="*/ 96308 h 1022615"/>
                <a:gd name="connsiteX7" fmla="*/ 619125 w 750997"/>
                <a:gd name="connsiteY7" fmla="*/ 93927 h 1022615"/>
                <a:gd name="connsiteX8" fmla="*/ 647700 w 750997"/>
                <a:gd name="connsiteY8" fmla="*/ 96309 h 1022615"/>
                <a:gd name="connsiteX9" fmla="*/ 673894 w 750997"/>
                <a:gd name="connsiteY9" fmla="*/ 97102 h 1022615"/>
                <a:gd name="connsiteX10" fmla="*/ 671513 w 750997"/>
                <a:gd name="connsiteY10" fmla="*/ 146315 h 1022615"/>
                <a:gd name="connsiteX11" fmla="*/ 671512 w 750997"/>
                <a:gd name="connsiteY11" fmla="*/ 974990 h 1022615"/>
                <a:gd name="connsiteX12" fmla="*/ 669131 w 750997"/>
                <a:gd name="connsiteY12" fmla="*/ 1013090 h 1022615"/>
                <a:gd name="connsiteX13" fmla="*/ 621507 w 750997"/>
                <a:gd name="connsiteY13" fmla="*/ 1020233 h 1022615"/>
                <a:gd name="connsiteX14" fmla="*/ 110736 w 750997"/>
                <a:gd name="connsiteY14" fmla="*/ 1022615 h 1022615"/>
                <a:gd name="connsiteX15" fmla="*/ 32434 w 750997"/>
                <a:gd name="connsiteY15" fmla="*/ 990181 h 1022615"/>
                <a:gd name="connsiteX16" fmla="*/ 0 w 750997"/>
                <a:gd name="connsiteY16" fmla="*/ 911879 h 1022615"/>
                <a:gd name="connsiteX17" fmla="*/ 0 w 750997"/>
                <a:gd name="connsiteY17" fmla="*/ 128463 h 1022615"/>
                <a:gd name="connsiteX18" fmla="*/ 32434 w 750997"/>
                <a:gd name="connsiteY18" fmla="*/ 50161 h 1022615"/>
                <a:gd name="connsiteX19" fmla="*/ 110736 w 750997"/>
                <a:gd name="connsiteY19" fmla="*/ 17727 h 1022615"/>
                <a:gd name="connsiteX20" fmla="*/ 639358 w 750997"/>
                <a:gd name="connsiteY20" fmla="*/ 17727 h 1022615"/>
                <a:gd name="connsiteX21" fmla="*/ 717660 w 750997"/>
                <a:gd name="connsiteY21" fmla="*/ 50161 h 1022615"/>
                <a:gd name="connsiteX22" fmla="*/ 750094 w 750997"/>
                <a:gd name="connsiteY22" fmla="*/ 128463 h 1022615"/>
                <a:gd name="connsiteX23" fmla="*/ 750094 w 750997"/>
                <a:gd name="connsiteY23" fmla="*/ 911879 h 1022615"/>
                <a:gd name="connsiteX24" fmla="*/ 750997 w 750997"/>
                <a:gd name="connsiteY24" fmla="*/ 1021137 h 1022615"/>
                <a:gd name="connsiteX0" fmla="*/ 347663 w 750997"/>
                <a:gd name="connsiteY0" fmla="*/ 857515 h 1022615"/>
                <a:gd name="connsiteX1" fmla="*/ 121444 w 750997"/>
                <a:gd name="connsiteY1" fmla="*/ 858309 h 1022615"/>
                <a:gd name="connsiteX2" fmla="*/ 86519 w 750997"/>
                <a:gd name="connsiteY2" fmla="*/ 857515 h 1022615"/>
                <a:gd name="connsiteX3" fmla="*/ 86519 w 750997"/>
                <a:gd name="connsiteY3" fmla="*/ 817828 h 1022615"/>
                <a:gd name="connsiteX4" fmla="*/ 86519 w 750997"/>
                <a:gd name="connsiteY4" fmla="*/ 132027 h 1022615"/>
                <a:gd name="connsiteX5" fmla="*/ 86519 w 750997"/>
                <a:gd name="connsiteY5" fmla="*/ 97102 h 1022615"/>
                <a:gd name="connsiteX6" fmla="*/ 121444 w 750997"/>
                <a:gd name="connsiteY6" fmla="*/ 96308 h 1022615"/>
                <a:gd name="connsiteX7" fmla="*/ 619125 w 750997"/>
                <a:gd name="connsiteY7" fmla="*/ 93927 h 1022615"/>
                <a:gd name="connsiteX8" fmla="*/ 673894 w 750997"/>
                <a:gd name="connsiteY8" fmla="*/ 97102 h 1022615"/>
                <a:gd name="connsiteX9" fmla="*/ 671513 w 750997"/>
                <a:gd name="connsiteY9" fmla="*/ 146315 h 1022615"/>
                <a:gd name="connsiteX10" fmla="*/ 671512 w 750997"/>
                <a:gd name="connsiteY10" fmla="*/ 974990 h 1022615"/>
                <a:gd name="connsiteX11" fmla="*/ 669131 w 750997"/>
                <a:gd name="connsiteY11" fmla="*/ 1013090 h 1022615"/>
                <a:gd name="connsiteX12" fmla="*/ 621507 w 750997"/>
                <a:gd name="connsiteY12" fmla="*/ 1020233 h 1022615"/>
                <a:gd name="connsiteX13" fmla="*/ 110736 w 750997"/>
                <a:gd name="connsiteY13" fmla="*/ 1022615 h 1022615"/>
                <a:gd name="connsiteX14" fmla="*/ 32434 w 750997"/>
                <a:gd name="connsiteY14" fmla="*/ 990181 h 1022615"/>
                <a:gd name="connsiteX15" fmla="*/ 0 w 750997"/>
                <a:gd name="connsiteY15" fmla="*/ 911879 h 1022615"/>
                <a:gd name="connsiteX16" fmla="*/ 0 w 750997"/>
                <a:gd name="connsiteY16" fmla="*/ 128463 h 1022615"/>
                <a:gd name="connsiteX17" fmla="*/ 32434 w 750997"/>
                <a:gd name="connsiteY17" fmla="*/ 50161 h 1022615"/>
                <a:gd name="connsiteX18" fmla="*/ 110736 w 750997"/>
                <a:gd name="connsiteY18" fmla="*/ 17727 h 1022615"/>
                <a:gd name="connsiteX19" fmla="*/ 639358 w 750997"/>
                <a:gd name="connsiteY19" fmla="*/ 17727 h 1022615"/>
                <a:gd name="connsiteX20" fmla="*/ 717660 w 750997"/>
                <a:gd name="connsiteY20" fmla="*/ 50161 h 1022615"/>
                <a:gd name="connsiteX21" fmla="*/ 750094 w 750997"/>
                <a:gd name="connsiteY21" fmla="*/ 128463 h 1022615"/>
                <a:gd name="connsiteX22" fmla="*/ 750094 w 750997"/>
                <a:gd name="connsiteY22" fmla="*/ 911879 h 1022615"/>
                <a:gd name="connsiteX23" fmla="*/ 750997 w 750997"/>
                <a:gd name="connsiteY23" fmla="*/ 1021137 h 1022615"/>
                <a:gd name="connsiteX0" fmla="*/ 347663 w 750997"/>
                <a:gd name="connsiteY0" fmla="*/ 857515 h 1022615"/>
                <a:gd name="connsiteX1" fmla="*/ 121444 w 750997"/>
                <a:gd name="connsiteY1" fmla="*/ 858309 h 1022615"/>
                <a:gd name="connsiteX2" fmla="*/ 86519 w 750997"/>
                <a:gd name="connsiteY2" fmla="*/ 857515 h 1022615"/>
                <a:gd name="connsiteX3" fmla="*/ 86519 w 750997"/>
                <a:gd name="connsiteY3" fmla="*/ 817828 h 1022615"/>
                <a:gd name="connsiteX4" fmla="*/ 86519 w 750997"/>
                <a:gd name="connsiteY4" fmla="*/ 132027 h 1022615"/>
                <a:gd name="connsiteX5" fmla="*/ 86519 w 750997"/>
                <a:gd name="connsiteY5" fmla="*/ 97102 h 1022615"/>
                <a:gd name="connsiteX6" fmla="*/ 121444 w 750997"/>
                <a:gd name="connsiteY6" fmla="*/ 96308 h 1022615"/>
                <a:gd name="connsiteX7" fmla="*/ 619125 w 750997"/>
                <a:gd name="connsiteY7" fmla="*/ 93927 h 1022615"/>
                <a:gd name="connsiteX8" fmla="*/ 673894 w 750997"/>
                <a:gd name="connsiteY8" fmla="*/ 97102 h 1022615"/>
                <a:gd name="connsiteX9" fmla="*/ 671513 w 750997"/>
                <a:gd name="connsiteY9" fmla="*/ 146315 h 1022615"/>
                <a:gd name="connsiteX10" fmla="*/ 671512 w 750997"/>
                <a:gd name="connsiteY10" fmla="*/ 974990 h 1022615"/>
                <a:gd name="connsiteX11" fmla="*/ 669131 w 750997"/>
                <a:gd name="connsiteY11" fmla="*/ 1013090 h 1022615"/>
                <a:gd name="connsiteX12" fmla="*/ 621507 w 750997"/>
                <a:gd name="connsiteY12" fmla="*/ 1020233 h 1022615"/>
                <a:gd name="connsiteX13" fmla="*/ 110736 w 750997"/>
                <a:gd name="connsiteY13" fmla="*/ 1022615 h 1022615"/>
                <a:gd name="connsiteX14" fmla="*/ 32434 w 750997"/>
                <a:gd name="connsiteY14" fmla="*/ 990181 h 1022615"/>
                <a:gd name="connsiteX15" fmla="*/ 0 w 750997"/>
                <a:gd name="connsiteY15" fmla="*/ 911879 h 1022615"/>
                <a:gd name="connsiteX16" fmla="*/ 0 w 750997"/>
                <a:gd name="connsiteY16" fmla="*/ 128463 h 1022615"/>
                <a:gd name="connsiteX17" fmla="*/ 32434 w 750997"/>
                <a:gd name="connsiteY17" fmla="*/ 50161 h 1022615"/>
                <a:gd name="connsiteX18" fmla="*/ 110736 w 750997"/>
                <a:gd name="connsiteY18" fmla="*/ 17727 h 1022615"/>
                <a:gd name="connsiteX19" fmla="*/ 639358 w 750997"/>
                <a:gd name="connsiteY19" fmla="*/ 17727 h 1022615"/>
                <a:gd name="connsiteX20" fmla="*/ 717660 w 750997"/>
                <a:gd name="connsiteY20" fmla="*/ 50161 h 1022615"/>
                <a:gd name="connsiteX21" fmla="*/ 750094 w 750997"/>
                <a:gd name="connsiteY21" fmla="*/ 128463 h 1022615"/>
                <a:gd name="connsiteX22" fmla="*/ 750094 w 750997"/>
                <a:gd name="connsiteY22" fmla="*/ 911879 h 1022615"/>
                <a:gd name="connsiteX23" fmla="*/ 750997 w 750997"/>
                <a:gd name="connsiteY23" fmla="*/ 1021137 h 1022615"/>
                <a:gd name="connsiteX0" fmla="*/ 347663 w 750997"/>
                <a:gd name="connsiteY0" fmla="*/ 857515 h 1022615"/>
                <a:gd name="connsiteX1" fmla="*/ 121444 w 750997"/>
                <a:gd name="connsiteY1" fmla="*/ 858309 h 1022615"/>
                <a:gd name="connsiteX2" fmla="*/ 86519 w 750997"/>
                <a:gd name="connsiteY2" fmla="*/ 857515 h 1022615"/>
                <a:gd name="connsiteX3" fmla="*/ 86519 w 750997"/>
                <a:gd name="connsiteY3" fmla="*/ 817828 h 1022615"/>
                <a:gd name="connsiteX4" fmla="*/ 86519 w 750997"/>
                <a:gd name="connsiteY4" fmla="*/ 132027 h 1022615"/>
                <a:gd name="connsiteX5" fmla="*/ 86519 w 750997"/>
                <a:gd name="connsiteY5" fmla="*/ 97102 h 1022615"/>
                <a:gd name="connsiteX6" fmla="*/ 121444 w 750997"/>
                <a:gd name="connsiteY6" fmla="*/ 96308 h 1022615"/>
                <a:gd name="connsiteX7" fmla="*/ 619125 w 750997"/>
                <a:gd name="connsiteY7" fmla="*/ 93927 h 1022615"/>
                <a:gd name="connsiteX8" fmla="*/ 673894 w 750997"/>
                <a:gd name="connsiteY8" fmla="*/ 97102 h 1022615"/>
                <a:gd name="connsiteX9" fmla="*/ 671513 w 750997"/>
                <a:gd name="connsiteY9" fmla="*/ 146315 h 1022615"/>
                <a:gd name="connsiteX10" fmla="*/ 671512 w 750997"/>
                <a:gd name="connsiteY10" fmla="*/ 974990 h 1022615"/>
                <a:gd name="connsiteX11" fmla="*/ 669131 w 750997"/>
                <a:gd name="connsiteY11" fmla="*/ 1013090 h 1022615"/>
                <a:gd name="connsiteX12" fmla="*/ 621507 w 750997"/>
                <a:gd name="connsiteY12" fmla="*/ 1020233 h 1022615"/>
                <a:gd name="connsiteX13" fmla="*/ 110736 w 750997"/>
                <a:gd name="connsiteY13" fmla="*/ 1022615 h 1022615"/>
                <a:gd name="connsiteX14" fmla="*/ 32434 w 750997"/>
                <a:gd name="connsiteY14" fmla="*/ 990181 h 1022615"/>
                <a:gd name="connsiteX15" fmla="*/ 0 w 750997"/>
                <a:gd name="connsiteY15" fmla="*/ 911879 h 1022615"/>
                <a:gd name="connsiteX16" fmla="*/ 0 w 750997"/>
                <a:gd name="connsiteY16" fmla="*/ 128463 h 1022615"/>
                <a:gd name="connsiteX17" fmla="*/ 32434 w 750997"/>
                <a:gd name="connsiteY17" fmla="*/ 50161 h 1022615"/>
                <a:gd name="connsiteX18" fmla="*/ 110736 w 750997"/>
                <a:gd name="connsiteY18" fmla="*/ 17727 h 1022615"/>
                <a:gd name="connsiteX19" fmla="*/ 639358 w 750997"/>
                <a:gd name="connsiteY19" fmla="*/ 17727 h 1022615"/>
                <a:gd name="connsiteX20" fmla="*/ 717660 w 750997"/>
                <a:gd name="connsiteY20" fmla="*/ 50161 h 1022615"/>
                <a:gd name="connsiteX21" fmla="*/ 750094 w 750997"/>
                <a:gd name="connsiteY21" fmla="*/ 128463 h 1022615"/>
                <a:gd name="connsiteX22" fmla="*/ 750094 w 750997"/>
                <a:gd name="connsiteY22" fmla="*/ 911879 h 1022615"/>
                <a:gd name="connsiteX23" fmla="*/ 750997 w 750997"/>
                <a:gd name="connsiteY23" fmla="*/ 1021137 h 1022615"/>
                <a:gd name="connsiteX0" fmla="*/ 347663 w 750997"/>
                <a:gd name="connsiteY0" fmla="*/ 858044 h 1023144"/>
                <a:gd name="connsiteX1" fmla="*/ 121444 w 750997"/>
                <a:gd name="connsiteY1" fmla="*/ 858838 h 1023144"/>
                <a:gd name="connsiteX2" fmla="*/ 86519 w 750997"/>
                <a:gd name="connsiteY2" fmla="*/ 858044 h 1023144"/>
                <a:gd name="connsiteX3" fmla="*/ 86519 w 750997"/>
                <a:gd name="connsiteY3" fmla="*/ 818357 h 1023144"/>
                <a:gd name="connsiteX4" fmla="*/ 86519 w 750997"/>
                <a:gd name="connsiteY4" fmla="*/ 132556 h 1023144"/>
                <a:gd name="connsiteX5" fmla="*/ 86519 w 750997"/>
                <a:gd name="connsiteY5" fmla="*/ 97631 h 1023144"/>
                <a:gd name="connsiteX6" fmla="*/ 121444 w 750997"/>
                <a:gd name="connsiteY6" fmla="*/ 96837 h 1023144"/>
                <a:gd name="connsiteX7" fmla="*/ 619125 w 750997"/>
                <a:gd name="connsiteY7" fmla="*/ 94456 h 1023144"/>
                <a:gd name="connsiteX8" fmla="*/ 671513 w 750997"/>
                <a:gd name="connsiteY8" fmla="*/ 146844 h 1023144"/>
                <a:gd name="connsiteX9" fmla="*/ 671512 w 750997"/>
                <a:gd name="connsiteY9" fmla="*/ 975519 h 1023144"/>
                <a:gd name="connsiteX10" fmla="*/ 669131 w 750997"/>
                <a:gd name="connsiteY10" fmla="*/ 1013619 h 1023144"/>
                <a:gd name="connsiteX11" fmla="*/ 621507 w 750997"/>
                <a:gd name="connsiteY11" fmla="*/ 1020762 h 1023144"/>
                <a:gd name="connsiteX12" fmla="*/ 110736 w 750997"/>
                <a:gd name="connsiteY12" fmla="*/ 1023144 h 1023144"/>
                <a:gd name="connsiteX13" fmla="*/ 32434 w 750997"/>
                <a:gd name="connsiteY13" fmla="*/ 990710 h 1023144"/>
                <a:gd name="connsiteX14" fmla="*/ 0 w 750997"/>
                <a:gd name="connsiteY14" fmla="*/ 912408 h 1023144"/>
                <a:gd name="connsiteX15" fmla="*/ 0 w 750997"/>
                <a:gd name="connsiteY15" fmla="*/ 128992 h 1023144"/>
                <a:gd name="connsiteX16" fmla="*/ 32434 w 750997"/>
                <a:gd name="connsiteY16" fmla="*/ 50690 h 1023144"/>
                <a:gd name="connsiteX17" fmla="*/ 110736 w 750997"/>
                <a:gd name="connsiteY17" fmla="*/ 18256 h 1023144"/>
                <a:gd name="connsiteX18" fmla="*/ 639358 w 750997"/>
                <a:gd name="connsiteY18" fmla="*/ 18256 h 1023144"/>
                <a:gd name="connsiteX19" fmla="*/ 717660 w 750997"/>
                <a:gd name="connsiteY19" fmla="*/ 50690 h 1023144"/>
                <a:gd name="connsiteX20" fmla="*/ 750094 w 750997"/>
                <a:gd name="connsiteY20" fmla="*/ 128992 h 1023144"/>
                <a:gd name="connsiteX21" fmla="*/ 750094 w 750997"/>
                <a:gd name="connsiteY21" fmla="*/ 912408 h 1023144"/>
                <a:gd name="connsiteX22" fmla="*/ 750997 w 750997"/>
                <a:gd name="connsiteY22" fmla="*/ 1021666 h 1023144"/>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619125 w 750997"/>
                <a:gd name="connsiteY7" fmla="*/ 88635 h 1017323"/>
                <a:gd name="connsiteX8" fmla="*/ 671513 w 750997"/>
                <a:gd name="connsiteY8" fmla="*/ 141023 h 1017323"/>
                <a:gd name="connsiteX9" fmla="*/ 671512 w 750997"/>
                <a:gd name="connsiteY9" fmla="*/ 969698 h 1017323"/>
                <a:gd name="connsiteX10" fmla="*/ 669131 w 750997"/>
                <a:gd name="connsiteY10" fmla="*/ 1007798 h 1017323"/>
                <a:gd name="connsiteX11" fmla="*/ 621507 w 750997"/>
                <a:gd name="connsiteY11" fmla="*/ 1014941 h 1017323"/>
                <a:gd name="connsiteX12" fmla="*/ 110736 w 750997"/>
                <a:gd name="connsiteY12" fmla="*/ 1017323 h 1017323"/>
                <a:gd name="connsiteX13" fmla="*/ 32434 w 750997"/>
                <a:gd name="connsiteY13" fmla="*/ 984889 h 1017323"/>
                <a:gd name="connsiteX14" fmla="*/ 0 w 750997"/>
                <a:gd name="connsiteY14" fmla="*/ 906587 h 1017323"/>
                <a:gd name="connsiteX15" fmla="*/ 0 w 750997"/>
                <a:gd name="connsiteY15" fmla="*/ 123171 h 1017323"/>
                <a:gd name="connsiteX16" fmla="*/ 32434 w 750997"/>
                <a:gd name="connsiteY16" fmla="*/ 44869 h 1017323"/>
                <a:gd name="connsiteX17" fmla="*/ 110736 w 750997"/>
                <a:gd name="connsiteY17" fmla="*/ 12435 h 1017323"/>
                <a:gd name="connsiteX18" fmla="*/ 639358 w 750997"/>
                <a:gd name="connsiteY18" fmla="*/ 12435 h 1017323"/>
                <a:gd name="connsiteX19" fmla="*/ 717660 w 750997"/>
                <a:gd name="connsiteY19" fmla="*/ 44869 h 1017323"/>
                <a:gd name="connsiteX20" fmla="*/ 750094 w 750997"/>
                <a:gd name="connsiteY20" fmla="*/ 123171 h 1017323"/>
                <a:gd name="connsiteX21" fmla="*/ 750094 w 750997"/>
                <a:gd name="connsiteY21" fmla="*/ 906587 h 1017323"/>
                <a:gd name="connsiteX22" fmla="*/ 750997 w 750997"/>
                <a:gd name="connsiteY22"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619125 w 750997"/>
                <a:gd name="connsiteY7" fmla="*/ 88635 h 1017323"/>
                <a:gd name="connsiteX8" fmla="*/ 671513 w 750997"/>
                <a:gd name="connsiteY8" fmla="*/ 141023 h 1017323"/>
                <a:gd name="connsiteX9" fmla="*/ 671512 w 750997"/>
                <a:gd name="connsiteY9" fmla="*/ 969698 h 1017323"/>
                <a:gd name="connsiteX10" fmla="*/ 669131 w 750997"/>
                <a:gd name="connsiteY10" fmla="*/ 1007798 h 1017323"/>
                <a:gd name="connsiteX11" fmla="*/ 621507 w 750997"/>
                <a:gd name="connsiteY11" fmla="*/ 1014941 h 1017323"/>
                <a:gd name="connsiteX12" fmla="*/ 110736 w 750997"/>
                <a:gd name="connsiteY12" fmla="*/ 1017323 h 1017323"/>
                <a:gd name="connsiteX13" fmla="*/ 32434 w 750997"/>
                <a:gd name="connsiteY13" fmla="*/ 984889 h 1017323"/>
                <a:gd name="connsiteX14" fmla="*/ 0 w 750997"/>
                <a:gd name="connsiteY14" fmla="*/ 906587 h 1017323"/>
                <a:gd name="connsiteX15" fmla="*/ 0 w 750997"/>
                <a:gd name="connsiteY15" fmla="*/ 123171 h 1017323"/>
                <a:gd name="connsiteX16" fmla="*/ 32434 w 750997"/>
                <a:gd name="connsiteY16" fmla="*/ 44869 h 1017323"/>
                <a:gd name="connsiteX17" fmla="*/ 110736 w 750997"/>
                <a:gd name="connsiteY17" fmla="*/ 12435 h 1017323"/>
                <a:gd name="connsiteX18" fmla="*/ 639358 w 750997"/>
                <a:gd name="connsiteY18" fmla="*/ 12435 h 1017323"/>
                <a:gd name="connsiteX19" fmla="*/ 717660 w 750997"/>
                <a:gd name="connsiteY19" fmla="*/ 44869 h 1017323"/>
                <a:gd name="connsiteX20" fmla="*/ 750094 w 750997"/>
                <a:gd name="connsiteY20" fmla="*/ 123171 h 1017323"/>
                <a:gd name="connsiteX21" fmla="*/ 750094 w 750997"/>
                <a:gd name="connsiteY21" fmla="*/ 906587 h 1017323"/>
                <a:gd name="connsiteX22" fmla="*/ 750997 w 750997"/>
                <a:gd name="connsiteY22"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619125 w 750997"/>
                <a:gd name="connsiteY7" fmla="*/ 88635 h 1017323"/>
                <a:gd name="connsiteX8" fmla="*/ 671513 w 750997"/>
                <a:gd name="connsiteY8" fmla="*/ 141023 h 1017323"/>
                <a:gd name="connsiteX9" fmla="*/ 671512 w 750997"/>
                <a:gd name="connsiteY9" fmla="*/ 969698 h 1017323"/>
                <a:gd name="connsiteX10" fmla="*/ 669131 w 750997"/>
                <a:gd name="connsiteY10" fmla="*/ 1007798 h 1017323"/>
                <a:gd name="connsiteX11" fmla="*/ 621507 w 750997"/>
                <a:gd name="connsiteY11" fmla="*/ 1014941 h 1017323"/>
                <a:gd name="connsiteX12" fmla="*/ 110736 w 750997"/>
                <a:gd name="connsiteY12" fmla="*/ 1017323 h 1017323"/>
                <a:gd name="connsiteX13" fmla="*/ 32434 w 750997"/>
                <a:gd name="connsiteY13" fmla="*/ 984889 h 1017323"/>
                <a:gd name="connsiteX14" fmla="*/ 0 w 750997"/>
                <a:gd name="connsiteY14" fmla="*/ 906587 h 1017323"/>
                <a:gd name="connsiteX15" fmla="*/ 0 w 750997"/>
                <a:gd name="connsiteY15" fmla="*/ 123171 h 1017323"/>
                <a:gd name="connsiteX16" fmla="*/ 32434 w 750997"/>
                <a:gd name="connsiteY16" fmla="*/ 44869 h 1017323"/>
                <a:gd name="connsiteX17" fmla="*/ 110736 w 750997"/>
                <a:gd name="connsiteY17" fmla="*/ 12435 h 1017323"/>
                <a:gd name="connsiteX18" fmla="*/ 639358 w 750997"/>
                <a:gd name="connsiteY18" fmla="*/ 12435 h 1017323"/>
                <a:gd name="connsiteX19" fmla="*/ 717660 w 750997"/>
                <a:gd name="connsiteY19" fmla="*/ 44869 h 1017323"/>
                <a:gd name="connsiteX20" fmla="*/ 750094 w 750997"/>
                <a:gd name="connsiteY20" fmla="*/ 123171 h 1017323"/>
                <a:gd name="connsiteX21" fmla="*/ 750094 w 750997"/>
                <a:gd name="connsiteY21" fmla="*/ 906587 h 1017323"/>
                <a:gd name="connsiteX22" fmla="*/ 750997 w 750997"/>
                <a:gd name="connsiteY22" fmla="*/ 1015845 h 1017323"/>
                <a:gd name="connsiteX0" fmla="*/ 347663 w 750997"/>
                <a:gd name="connsiteY0" fmla="*/ 845741 h 1010841"/>
                <a:gd name="connsiteX1" fmla="*/ 121444 w 750997"/>
                <a:gd name="connsiteY1" fmla="*/ 846535 h 1010841"/>
                <a:gd name="connsiteX2" fmla="*/ 86519 w 750997"/>
                <a:gd name="connsiteY2" fmla="*/ 845741 h 1010841"/>
                <a:gd name="connsiteX3" fmla="*/ 86519 w 750997"/>
                <a:gd name="connsiteY3" fmla="*/ 806054 h 1010841"/>
                <a:gd name="connsiteX4" fmla="*/ 86519 w 750997"/>
                <a:gd name="connsiteY4" fmla="*/ 120253 h 1010841"/>
                <a:gd name="connsiteX5" fmla="*/ 121444 w 750997"/>
                <a:gd name="connsiteY5" fmla="*/ 84534 h 1010841"/>
                <a:gd name="connsiteX6" fmla="*/ 619125 w 750997"/>
                <a:gd name="connsiteY6" fmla="*/ 82153 h 1010841"/>
                <a:gd name="connsiteX7" fmla="*/ 671513 w 750997"/>
                <a:gd name="connsiteY7" fmla="*/ 134541 h 1010841"/>
                <a:gd name="connsiteX8" fmla="*/ 671512 w 750997"/>
                <a:gd name="connsiteY8" fmla="*/ 963216 h 1010841"/>
                <a:gd name="connsiteX9" fmla="*/ 669131 w 750997"/>
                <a:gd name="connsiteY9" fmla="*/ 1001316 h 1010841"/>
                <a:gd name="connsiteX10" fmla="*/ 621507 w 750997"/>
                <a:gd name="connsiteY10" fmla="*/ 1008459 h 1010841"/>
                <a:gd name="connsiteX11" fmla="*/ 110736 w 750997"/>
                <a:gd name="connsiteY11" fmla="*/ 1010841 h 1010841"/>
                <a:gd name="connsiteX12" fmla="*/ 32434 w 750997"/>
                <a:gd name="connsiteY12" fmla="*/ 978407 h 1010841"/>
                <a:gd name="connsiteX13" fmla="*/ 0 w 750997"/>
                <a:gd name="connsiteY13" fmla="*/ 900105 h 1010841"/>
                <a:gd name="connsiteX14" fmla="*/ 0 w 750997"/>
                <a:gd name="connsiteY14" fmla="*/ 116689 h 1010841"/>
                <a:gd name="connsiteX15" fmla="*/ 32434 w 750997"/>
                <a:gd name="connsiteY15" fmla="*/ 38387 h 1010841"/>
                <a:gd name="connsiteX16" fmla="*/ 110736 w 750997"/>
                <a:gd name="connsiteY16" fmla="*/ 5953 h 1010841"/>
                <a:gd name="connsiteX17" fmla="*/ 639358 w 750997"/>
                <a:gd name="connsiteY17" fmla="*/ 5953 h 1010841"/>
                <a:gd name="connsiteX18" fmla="*/ 717660 w 750997"/>
                <a:gd name="connsiteY18" fmla="*/ 38387 h 1010841"/>
                <a:gd name="connsiteX19" fmla="*/ 750094 w 750997"/>
                <a:gd name="connsiteY19" fmla="*/ 116689 h 1010841"/>
                <a:gd name="connsiteX20" fmla="*/ 750094 w 750997"/>
                <a:gd name="connsiteY20" fmla="*/ 900105 h 1010841"/>
                <a:gd name="connsiteX21" fmla="*/ 750997 w 750997"/>
                <a:gd name="connsiteY21" fmla="*/ 1009363 h 1010841"/>
                <a:gd name="connsiteX0" fmla="*/ 347663 w 750997"/>
                <a:gd name="connsiteY0" fmla="*/ 845741 h 1010841"/>
                <a:gd name="connsiteX1" fmla="*/ 121444 w 750997"/>
                <a:gd name="connsiteY1" fmla="*/ 846535 h 1010841"/>
                <a:gd name="connsiteX2" fmla="*/ 86519 w 750997"/>
                <a:gd name="connsiteY2" fmla="*/ 845741 h 1010841"/>
                <a:gd name="connsiteX3" fmla="*/ 86519 w 750997"/>
                <a:gd name="connsiteY3" fmla="*/ 806054 h 1010841"/>
                <a:gd name="connsiteX4" fmla="*/ 86519 w 750997"/>
                <a:gd name="connsiteY4" fmla="*/ 120253 h 1010841"/>
                <a:gd name="connsiteX5" fmla="*/ 121444 w 750997"/>
                <a:gd name="connsiteY5" fmla="*/ 84534 h 1010841"/>
                <a:gd name="connsiteX6" fmla="*/ 619125 w 750997"/>
                <a:gd name="connsiteY6" fmla="*/ 82153 h 1010841"/>
                <a:gd name="connsiteX7" fmla="*/ 671513 w 750997"/>
                <a:gd name="connsiteY7" fmla="*/ 134541 h 1010841"/>
                <a:gd name="connsiteX8" fmla="*/ 671512 w 750997"/>
                <a:gd name="connsiteY8" fmla="*/ 963216 h 1010841"/>
                <a:gd name="connsiteX9" fmla="*/ 669131 w 750997"/>
                <a:gd name="connsiteY9" fmla="*/ 1001316 h 1010841"/>
                <a:gd name="connsiteX10" fmla="*/ 621507 w 750997"/>
                <a:gd name="connsiteY10" fmla="*/ 1008459 h 1010841"/>
                <a:gd name="connsiteX11" fmla="*/ 110736 w 750997"/>
                <a:gd name="connsiteY11" fmla="*/ 1010841 h 1010841"/>
                <a:gd name="connsiteX12" fmla="*/ 32434 w 750997"/>
                <a:gd name="connsiteY12" fmla="*/ 978407 h 1010841"/>
                <a:gd name="connsiteX13" fmla="*/ 0 w 750997"/>
                <a:gd name="connsiteY13" fmla="*/ 900105 h 1010841"/>
                <a:gd name="connsiteX14" fmla="*/ 0 w 750997"/>
                <a:gd name="connsiteY14" fmla="*/ 116689 h 1010841"/>
                <a:gd name="connsiteX15" fmla="*/ 32434 w 750997"/>
                <a:gd name="connsiteY15" fmla="*/ 38387 h 1010841"/>
                <a:gd name="connsiteX16" fmla="*/ 110736 w 750997"/>
                <a:gd name="connsiteY16" fmla="*/ 5953 h 1010841"/>
                <a:gd name="connsiteX17" fmla="*/ 639358 w 750997"/>
                <a:gd name="connsiteY17" fmla="*/ 5953 h 1010841"/>
                <a:gd name="connsiteX18" fmla="*/ 717660 w 750997"/>
                <a:gd name="connsiteY18" fmla="*/ 38387 h 1010841"/>
                <a:gd name="connsiteX19" fmla="*/ 750094 w 750997"/>
                <a:gd name="connsiteY19" fmla="*/ 116689 h 1010841"/>
                <a:gd name="connsiteX20" fmla="*/ 750094 w 750997"/>
                <a:gd name="connsiteY20" fmla="*/ 900105 h 1010841"/>
                <a:gd name="connsiteX21" fmla="*/ 750997 w 750997"/>
                <a:gd name="connsiteY21" fmla="*/ 1009363 h 1010841"/>
                <a:gd name="connsiteX0" fmla="*/ 347663 w 750997"/>
                <a:gd name="connsiteY0" fmla="*/ 839788 h 1004888"/>
                <a:gd name="connsiteX1" fmla="*/ 121444 w 750997"/>
                <a:gd name="connsiteY1" fmla="*/ 840582 h 1004888"/>
                <a:gd name="connsiteX2" fmla="*/ 86519 w 750997"/>
                <a:gd name="connsiteY2" fmla="*/ 839788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69131 w 750997"/>
                <a:gd name="connsiteY9" fmla="*/ 9953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347663 w 750997"/>
                <a:gd name="connsiteY0" fmla="*/ 839788 h 1004888"/>
                <a:gd name="connsiteX1" fmla="*/ 121444 w 750997"/>
                <a:gd name="connsiteY1" fmla="*/ 840582 h 1004888"/>
                <a:gd name="connsiteX2" fmla="*/ 86519 w 750997"/>
                <a:gd name="connsiteY2" fmla="*/ 839788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69131 w 750997"/>
                <a:gd name="connsiteY9" fmla="*/ 9953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347663 w 750997"/>
                <a:gd name="connsiteY0" fmla="*/ 839788 h 1004888"/>
                <a:gd name="connsiteX1" fmla="*/ 121444 w 750997"/>
                <a:gd name="connsiteY1" fmla="*/ 840582 h 1004888"/>
                <a:gd name="connsiteX2" fmla="*/ 86519 w 750997"/>
                <a:gd name="connsiteY2" fmla="*/ 839788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69131 w 750997"/>
                <a:gd name="connsiteY9" fmla="*/ 9953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347663 w 750997"/>
                <a:gd name="connsiteY0" fmla="*/ 839788 h 1004888"/>
                <a:gd name="connsiteX1" fmla="*/ 121444 w 750997"/>
                <a:gd name="connsiteY1" fmla="*/ 840582 h 1004888"/>
                <a:gd name="connsiteX2" fmla="*/ 86519 w 750997"/>
                <a:gd name="connsiteY2" fmla="*/ 839788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69131 w 750997"/>
                <a:gd name="connsiteY9" fmla="*/ 9953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347663 w 750997"/>
                <a:gd name="connsiteY0" fmla="*/ 839788 h 1004888"/>
                <a:gd name="connsiteX1" fmla="*/ 121444 w 750997"/>
                <a:gd name="connsiteY1" fmla="*/ 840582 h 1004888"/>
                <a:gd name="connsiteX2" fmla="*/ 86519 w 750997"/>
                <a:gd name="connsiteY2" fmla="*/ 839788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69131 w 750997"/>
                <a:gd name="connsiteY9" fmla="*/ 9953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69131 w 750997"/>
                <a:gd name="connsiteY8" fmla="*/ 9953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69131 w 750997"/>
                <a:gd name="connsiteY8" fmla="*/ 9953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69131 w 750997"/>
                <a:gd name="connsiteY8" fmla="*/ 9953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69131 w 750997"/>
                <a:gd name="connsiteY8" fmla="*/ 9953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69131 w 750997"/>
                <a:gd name="connsiteY8" fmla="*/ 9953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102916"/>
                <a:gd name="connsiteX1" fmla="*/ 121444 w 750997"/>
                <a:gd name="connsiteY1" fmla="*/ 840582 h 1102916"/>
                <a:gd name="connsiteX2" fmla="*/ 86519 w 750997"/>
                <a:gd name="connsiteY2" fmla="*/ 800101 h 1102916"/>
                <a:gd name="connsiteX3" fmla="*/ 86519 w 750997"/>
                <a:gd name="connsiteY3" fmla="*/ 114300 h 1102916"/>
                <a:gd name="connsiteX4" fmla="*/ 121444 w 750997"/>
                <a:gd name="connsiteY4" fmla="*/ 78581 h 1102916"/>
                <a:gd name="connsiteX5" fmla="*/ 619125 w 750997"/>
                <a:gd name="connsiteY5" fmla="*/ 76200 h 1102916"/>
                <a:gd name="connsiteX6" fmla="*/ 671513 w 750997"/>
                <a:gd name="connsiteY6" fmla="*/ 128588 h 1102916"/>
                <a:gd name="connsiteX7" fmla="*/ 671512 w 750997"/>
                <a:gd name="connsiteY7" fmla="*/ 957263 h 1102916"/>
                <a:gd name="connsiteX8" fmla="*/ 621507 w 750997"/>
                <a:gd name="connsiteY8" fmla="*/ 1002506 h 1102916"/>
                <a:gd name="connsiteX9" fmla="*/ 110736 w 750997"/>
                <a:gd name="connsiteY9" fmla="*/ 1004888 h 1102916"/>
                <a:gd name="connsiteX10" fmla="*/ 32434 w 750997"/>
                <a:gd name="connsiteY10" fmla="*/ 972454 h 1102916"/>
                <a:gd name="connsiteX11" fmla="*/ 0 w 750997"/>
                <a:gd name="connsiteY11" fmla="*/ 894152 h 1102916"/>
                <a:gd name="connsiteX12" fmla="*/ 0 w 750997"/>
                <a:gd name="connsiteY12" fmla="*/ 110736 h 1102916"/>
                <a:gd name="connsiteX13" fmla="*/ 32434 w 750997"/>
                <a:gd name="connsiteY13" fmla="*/ 32434 h 1102916"/>
                <a:gd name="connsiteX14" fmla="*/ 110736 w 750997"/>
                <a:gd name="connsiteY14" fmla="*/ 0 h 1102916"/>
                <a:gd name="connsiteX15" fmla="*/ 639358 w 750997"/>
                <a:gd name="connsiteY15" fmla="*/ 0 h 1102916"/>
                <a:gd name="connsiteX16" fmla="*/ 717660 w 750997"/>
                <a:gd name="connsiteY16" fmla="*/ 32434 h 1102916"/>
                <a:gd name="connsiteX17" fmla="*/ 750094 w 750997"/>
                <a:gd name="connsiteY17" fmla="*/ 110736 h 1102916"/>
                <a:gd name="connsiteX18" fmla="*/ 750094 w 750997"/>
                <a:gd name="connsiteY18" fmla="*/ 894152 h 1102916"/>
                <a:gd name="connsiteX19" fmla="*/ 750997 w 750997"/>
                <a:gd name="connsiteY19" fmla="*/ 1003410 h 1102916"/>
                <a:gd name="connsiteX0" fmla="*/ 347663 w 750997"/>
                <a:gd name="connsiteY0" fmla="*/ 839788 h 1102916"/>
                <a:gd name="connsiteX1" fmla="*/ 121444 w 750997"/>
                <a:gd name="connsiteY1" fmla="*/ 840582 h 1102916"/>
                <a:gd name="connsiteX2" fmla="*/ 86519 w 750997"/>
                <a:gd name="connsiteY2" fmla="*/ 800101 h 1102916"/>
                <a:gd name="connsiteX3" fmla="*/ 86519 w 750997"/>
                <a:gd name="connsiteY3" fmla="*/ 114300 h 1102916"/>
                <a:gd name="connsiteX4" fmla="*/ 121444 w 750997"/>
                <a:gd name="connsiteY4" fmla="*/ 78581 h 1102916"/>
                <a:gd name="connsiteX5" fmla="*/ 619125 w 750997"/>
                <a:gd name="connsiteY5" fmla="*/ 76200 h 1102916"/>
                <a:gd name="connsiteX6" fmla="*/ 671513 w 750997"/>
                <a:gd name="connsiteY6" fmla="*/ 128588 h 1102916"/>
                <a:gd name="connsiteX7" fmla="*/ 671512 w 750997"/>
                <a:gd name="connsiteY7" fmla="*/ 957263 h 1102916"/>
                <a:gd name="connsiteX8" fmla="*/ 621507 w 750997"/>
                <a:gd name="connsiteY8" fmla="*/ 1002506 h 1102916"/>
                <a:gd name="connsiteX9" fmla="*/ 110736 w 750997"/>
                <a:gd name="connsiteY9" fmla="*/ 1004888 h 1102916"/>
                <a:gd name="connsiteX10" fmla="*/ 32434 w 750997"/>
                <a:gd name="connsiteY10" fmla="*/ 972454 h 1102916"/>
                <a:gd name="connsiteX11" fmla="*/ 0 w 750997"/>
                <a:gd name="connsiteY11" fmla="*/ 894152 h 1102916"/>
                <a:gd name="connsiteX12" fmla="*/ 0 w 750997"/>
                <a:gd name="connsiteY12" fmla="*/ 110736 h 1102916"/>
                <a:gd name="connsiteX13" fmla="*/ 32434 w 750997"/>
                <a:gd name="connsiteY13" fmla="*/ 32434 h 1102916"/>
                <a:gd name="connsiteX14" fmla="*/ 110736 w 750997"/>
                <a:gd name="connsiteY14" fmla="*/ 0 h 1102916"/>
                <a:gd name="connsiteX15" fmla="*/ 639358 w 750997"/>
                <a:gd name="connsiteY15" fmla="*/ 0 h 1102916"/>
                <a:gd name="connsiteX16" fmla="*/ 717660 w 750997"/>
                <a:gd name="connsiteY16" fmla="*/ 32434 h 1102916"/>
                <a:gd name="connsiteX17" fmla="*/ 750094 w 750997"/>
                <a:gd name="connsiteY17" fmla="*/ 110736 h 1102916"/>
                <a:gd name="connsiteX18" fmla="*/ 750094 w 750997"/>
                <a:gd name="connsiteY18" fmla="*/ 894152 h 1102916"/>
                <a:gd name="connsiteX19" fmla="*/ 750997 w 750997"/>
                <a:gd name="connsiteY19" fmla="*/ 1003410 h 1102916"/>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004888"/>
                <a:gd name="connsiteX1" fmla="*/ 326232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39788 h 1004888"/>
                <a:gd name="connsiteX1" fmla="*/ 326232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295276 w 750997"/>
                <a:gd name="connsiteY0" fmla="*/ 915988 h 1004888"/>
                <a:gd name="connsiteX1" fmla="*/ 326232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295276 w 750997"/>
                <a:gd name="connsiteY0" fmla="*/ 915988 h 1004888"/>
                <a:gd name="connsiteX1" fmla="*/ 371476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295276 w 750997"/>
                <a:gd name="connsiteY0" fmla="*/ 915988 h 1004888"/>
                <a:gd name="connsiteX1" fmla="*/ 369095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295276 w 750997"/>
                <a:gd name="connsiteY0" fmla="*/ 915988 h 1004888"/>
                <a:gd name="connsiteX1" fmla="*/ 354807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295276 w 750997"/>
                <a:gd name="connsiteY0" fmla="*/ 915988 h 1004888"/>
                <a:gd name="connsiteX1" fmla="*/ 354807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295276 w 750997"/>
                <a:gd name="connsiteY0" fmla="*/ 915988 h 1004888"/>
                <a:gd name="connsiteX1" fmla="*/ 390525 w 750997"/>
                <a:gd name="connsiteY1" fmla="*/ 904875 h 1004888"/>
                <a:gd name="connsiteX2" fmla="*/ 354807 w 750997"/>
                <a:gd name="connsiteY2" fmla="*/ 838200 h 1004888"/>
                <a:gd name="connsiteX3" fmla="*/ 121444 w 750997"/>
                <a:gd name="connsiteY3" fmla="*/ 840582 h 1004888"/>
                <a:gd name="connsiteX4" fmla="*/ 86519 w 750997"/>
                <a:gd name="connsiteY4" fmla="*/ 800101 h 1004888"/>
                <a:gd name="connsiteX5" fmla="*/ 86519 w 750997"/>
                <a:gd name="connsiteY5" fmla="*/ 114300 h 1004888"/>
                <a:gd name="connsiteX6" fmla="*/ 121444 w 750997"/>
                <a:gd name="connsiteY6" fmla="*/ 78581 h 1004888"/>
                <a:gd name="connsiteX7" fmla="*/ 619125 w 750997"/>
                <a:gd name="connsiteY7" fmla="*/ 76200 h 1004888"/>
                <a:gd name="connsiteX8" fmla="*/ 671513 w 750997"/>
                <a:gd name="connsiteY8" fmla="*/ 128588 h 1004888"/>
                <a:gd name="connsiteX9" fmla="*/ 671512 w 750997"/>
                <a:gd name="connsiteY9" fmla="*/ 9572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295276 w 750997"/>
                <a:gd name="connsiteY0" fmla="*/ 915988 h 1004888"/>
                <a:gd name="connsiteX1" fmla="*/ 409575 w 750997"/>
                <a:gd name="connsiteY1" fmla="*/ 912019 h 1004888"/>
                <a:gd name="connsiteX2" fmla="*/ 354807 w 750997"/>
                <a:gd name="connsiteY2" fmla="*/ 838200 h 1004888"/>
                <a:gd name="connsiteX3" fmla="*/ 121444 w 750997"/>
                <a:gd name="connsiteY3" fmla="*/ 840582 h 1004888"/>
                <a:gd name="connsiteX4" fmla="*/ 86519 w 750997"/>
                <a:gd name="connsiteY4" fmla="*/ 800101 h 1004888"/>
                <a:gd name="connsiteX5" fmla="*/ 86519 w 750997"/>
                <a:gd name="connsiteY5" fmla="*/ 114300 h 1004888"/>
                <a:gd name="connsiteX6" fmla="*/ 121444 w 750997"/>
                <a:gd name="connsiteY6" fmla="*/ 78581 h 1004888"/>
                <a:gd name="connsiteX7" fmla="*/ 619125 w 750997"/>
                <a:gd name="connsiteY7" fmla="*/ 76200 h 1004888"/>
                <a:gd name="connsiteX8" fmla="*/ 671513 w 750997"/>
                <a:gd name="connsiteY8" fmla="*/ 128588 h 1004888"/>
                <a:gd name="connsiteX9" fmla="*/ 671512 w 750997"/>
                <a:gd name="connsiteY9" fmla="*/ 9572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295276 w 750997"/>
                <a:gd name="connsiteY0" fmla="*/ 915988 h 1011767"/>
                <a:gd name="connsiteX1" fmla="*/ 409575 w 750997"/>
                <a:gd name="connsiteY1" fmla="*/ 912019 h 1011767"/>
                <a:gd name="connsiteX2" fmla="*/ 354807 w 750997"/>
                <a:gd name="connsiteY2" fmla="*/ 838200 h 1011767"/>
                <a:gd name="connsiteX3" fmla="*/ 121444 w 750997"/>
                <a:gd name="connsiteY3" fmla="*/ 840582 h 1011767"/>
                <a:gd name="connsiteX4" fmla="*/ 86519 w 750997"/>
                <a:gd name="connsiteY4" fmla="*/ 800101 h 1011767"/>
                <a:gd name="connsiteX5" fmla="*/ 86519 w 750997"/>
                <a:gd name="connsiteY5" fmla="*/ 114300 h 1011767"/>
                <a:gd name="connsiteX6" fmla="*/ 121444 w 750997"/>
                <a:gd name="connsiteY6" fmla="*/ 78581 h 1011767"/>
                <a:gd name="connsiteX7" fmla="*/ 619125 w 750997"/>
                <a:gd name="connsiteY7" fmla="*/ 76200 h 1011767"/>
                <a:gd name="connsiteX8" fmla="*/ 671513 w 750997"/>
                <a:gd name="connsiteY8" fmla="*/ 128588 h 1011767"/>
                <a:gd name="connsiteX9" fmla="*/ 671512 w 750997"/>
                <a:gd name="connsiteY9" fmla="*/ 957263 h 1011767"/>
                <a:gd name="connsiteX10" fmla="*/ 621507 w 750997"/>
                <a:gd name="connsiteY10" fmla="*/ 1002506 h 1011767"/>
                <a:gd name="connsiteX11" fmla="*/ 110736 w 750997"/>
                <a:gd name="connsiteY11" fmla="*/ 1004888 h 1011767"/>
                <a:gd name="connsiteX12" fmla="*/ 32434 w 750997"/>
                <a:gd name="connsiteY12" fmla="*/ 972454 h 1011767"/>
                <a:gd name="connsiteX13" fmla="*/ 0 w 750997"/>
                <a:gd name="connsiteY13" fmla="*/ 894152 h 1011767"/>
                <a:gd name="connsiteX14" fmla="*/ 0 w 750997"/>
                <a:gd name="connsiteY14" fmla="*/ 110736 h 1011767"/>
                <a:gd name="connsiteX15" fmla="*/ 32434 w 750997"/>
                <a:gd name="connsiteY15" fmla="*/ 32434 h 1011767"/>
                <a:gd name="connsiteX16" fmla="*/ 110736 w 750997"/>
                <a:gd name="connsiteY16" fmla="*/ 0 h 1011767"/>
                <a:gd name="connsiteX17" fmla="*/ 639358 w 750997"/>
                <a:gd name="connsiteY17" fmla="*/ 0 h 1011767"/>
                <a:gd name="connsiteX18" fmla="*/ 717660 w 750997"/>
                <a:gd name="connsiteY18" fmla="*/ 32434 h 1011767"/>
                <a:gd name="connsiteX19" fmla="*/ 750094 w 750997"/>
                <a:gd name="connsiteY19" fmla="*/ 110736 h 1011767"/>
                <a:gd name="connsiteX20" fmla="*/ 750094 w 750997"/>
                <a:gd name="connsiteY20" fmla="*/ 894152 h 1011767"/>
                <a:gd name="connsiteX21" fmla="*/ 750997 w 750997"/>
                <a:gd name="connsiteY21" fmla="*/ 1003410 h 1011767"/>
                <a:gd name="connsiteX0" fmla="*/ 295276 w 750997"/>
                <a:gd name="connsiteY0" fmla="*/ 915988 h 1004888"/>
                <a:gd name="connsiteX1" fmla="*/ 409575 w 750997"/>
                <a:gd name="connsiteY1" fmla="*/ 912019 h 1004888"/>
                <a:gd name="connsiteX2" fmla="*/ 354807 w 750997"/>
                <a:gd name="connsiteY2" fmla="*/ 838200 h 1004888"/>
                <a:gd name="connsiteX3" fmla="*/ 121444 w 750997"/>
                <a:gd name="connsiteY3" fmla="*/ 840582 h 1004888"/>
                <a:gd name="connsiteX4" fmla="*/ 86519 w 750997"/>
                <a:gd name="connsiteY4" fmla="*/ 800101 h 1004888"/>
                <a:gd name="connsiteX5" fmla="*/ 86519 w 750997"/>
                <a:gd name="connsiteY5" fmla="*/ 114300 h 1004888"/>
                <a:gd name="connsiteX6" fmla="*/ 121444 w 750997"/>
                <a:gd name="connsiteY6" fmla="*/ 78581 h 1004888"/>
                <a:gd name="connsiteX7" fmla="*/ 619125 w 750997"/>
                <a:gd name="connsiteY7" fmla="*/ 76200 h 1004888"/>
                <a:gd name="connsiteX8" fmla="*/ 671513 w 750997"/>
                <a:gd name="connsiteY8" fmla="*/ 128588 h 1004888"/>
                <a:gd name="connsiteX9" fmla="*/ 671512 w 750997"/>
                <a:gd name="connsiteY9" fmla="*/ 9572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295276 w 750997"/>
                <a:gd name="connsiteY0" fmla="*/ 915988 h 1004888"/>
                <a:gd name="connsiteX1" fmla="*/ 400050 w 750997"/>
                <a:gd name="connsiteY1" fmla="*/ 902494 h 1004888"/>
                <a:gd name="connsiteX2" fmla="*/ 354807 w 750997"/>
                <a:gd name="connsiteY2" fmla="*/ 838200 h 1004888"/>
                <a:gd name="connsiteX3" fmla="*/ 121444 w 750997"/>
                <a:gd name="connsiteY3" fmla="*/ 840582 h 1004888"/>
                <a:gd name="connsiteX4" fmla="*/ 86519 w 750997"/>
                <a:gd name="connsiteY4" fmla="*/ 800101 h 1004888"/>
                <a:gd name="connsiteX5" fmla="*/ 86519 w 750997"/>
                <a:gd name="connsiteY5" fmla="*/ 114300 h 1004888"/>
                <a:gd name="connsiteX6" fmla="*/ 121444 w 750997"/>
                <a:gd name="connsiteY6" fmla="*/ 78581 h 1004888"/>
                <a:gd name="connsiteX7" fmla="*/ 619125 w 750997"/>
                <a:gd name="connsiteY7" fmla="*/ 76200 h 1004888"/>
                <a:gd name="connsiteX8" fmla="*/ 671513 w 750997"/>
                <a:gd name="connsiteY8" fmla="*/ 128588 h 1004888"/>
                <a:gd name="connsiteX9" fmla="*/ 671512 w 750997"/>
                <a:gd name="connsiteY9" fmla="*/ 9572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295276 w 750997"/>
                <a:gd name="connsiteY0" fmla="*/ 915988 h 1004888"/>
                <a:gd name="connsiteX1" fmla="*/ 404812 w 750997"/>
                <a:gd name="connsiteY1" fmla="*/ 904875 h 1004888"/>
                <a:gd name="connsiteX2" fmla="*/ 354807 w 750997"/>
                <a:gd name="connsiteY2" fmla="*/ 838200 h 1004888"/>
                <a:gd name="connsiteX3" fmla="*/ 121444 w 750997"/>
                <a:gd name="connsiteY3" fmla="*/ 840582 h 1004888"/>
                <a:gd name="connsiteX4" fmla="*/ 86519 w 750997"/>
                <a:gd name="connsiteY4" fmla="*/ 800101 h 1004888"/>
                <a:gd name="connsiteX5" fmla="*/ 86519 w 750997"/>
                <a:gd name="connsiteY5" fmla="*/ 114300 h 1004888"/>
                <a:gd name="connsiteX6" fmla="*/ 121444 w 750997"/>
                <a:gd name="connsiteY6" fmla="*/ 78581 h 1004888"/>
                <a:gd name="connsiteX7" fmla="*/ 619125 w 750997"/>
                <a:gd name="connsiteY7" fmla="*/ 76200 h 1004888"/>
                <a:gd name="connsiteX8" fmla="*/ 671513 w 750997"/>
                <a:gd name="connsiteY8" fmla="*/ 128588 h 1004888"/>
                <a:gd name="connsiteX9" fmla="*/ 671512 w 750997"/>
                <a:gd name="connsiteY9" fmla="*/ 9572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295276 w 750997"/>
                <a:gd name="connsiteY0" fmla="*/ 915988 h 1004888"/>
                <a:gd name="connsiteX1" fmla="*/ 378619 w 750997"/>
                <a:gd name="connsiteY1" fmla="*/ 945356 h 1004888"/>
                <a:gd name="connsiteX2" fmla="*/ 404812 w 750997"/>
                <a:gd name="connsiteY2" fmla="*/ 904875 h 1004888"/>
                <a:gd name="connsiteX3" fmla="*/ 354807 w 750997"/>
                <a:gd name="connsiteY3" fmla="*/ 838200 h 1004888"/>
                <a:gd name="connsiteX4" fmla="*/ 121444 w 750997"/>
                <a:gd name="connsiteY4" fmla="*/ 840582 h 1004888"/>
                <a:gd name="connsiteX5" fmla="*/ 86519 w 750997"/>
                <a:gd name="connsiteY5" fmla="*/ 800101 h 1004888"/>
                <a:gd name="connsiteX6" fmla="*/ 86519 w 750997"/>
                <a:gd name="connsiteY6" fmla="*/ 114300 h 1004888"/>
                <a:gd name="connsiteX7" fmla="*/ 121444 w 750997"/>
                <a:gd name="connsiteY7" fmla="*/ 78581 h 1004888"/>
                <a:gd name="connsiteX8" fmla="*/ 619125 w 750997"/>
                <a:gd name="connsiteY8" fmla="*/ 76200 h 1004888"/>
                <a:gd name="connsiteX9" fmla="*/ 671513 w 750997"/>
                <a:gd name="connsiteY9" fmla="*/ 128588 h 1004888"/>
                <a:gd name="connsiteX10" fmla="*/ 671512 w 750997"/>
                <a:gd name="connsiteY10" fmla="*/ 957263 h 1004888"/>
                <a:gd name="connsiteX11" fmla="*/ 621507 w 750997"/>
                <a:gd name="connsiteY11" fmla="*/ 1002506 h 1004888"/>
                <a:gd name="connsiteX12" fmla="*/ 110736 w 750997"/>
                <a:gd name="connsiteY12" fmla="*/ 1004888 h 1004888"/>
                <a:gd name="connsiteX13" fmla="*/ 32434 w 750997"/>
                <a:gd name="connsiteY13" fmla="*/ 972454 h 1004888"/>
                <a:gd name="connsiteX14" fmla="*/ 0 w 750997"/>
                <a:gd name="connsiteY14" fmla="*/ 894152 h 1004888"/>
                <a:gd name="connsiteX15" fmla="*/ 0 w 750997"/>
                <a:gd name="connsiteY15" fmla="*/ 110736 h 1004888"/>
                <a:gd name="connsiteX16" fmla="*/ 32434 w 750997"/>
                <a:gd name="connsiteY16" fmla="*/ 32434 h 1004888"/>
                <a:gd name="connsiteX17" fmla="*/ 110736 w 750997"/>
                <a:gd name="connsiteY17" fmla="*/ 0 h 1004888"/>
                <a:gd name="connsiteX18" fmla="*/ 639358 w 750997"/>
                <a:gd name="connsiteY18" fmla="*/ 0 h 1004888"/>
                <a:gd name="connsiteX19" fmla="*/ 717660 w 750997"/>
                <a:gd name="connsiteY19" fmla="*/ 32434 h 1004888"/>
                <a:gd name="connsiteX20" fmla="*/ 750094 w 750997"/>
                <a:gd name="connsiteY20" fmla="*/ 110736 h 1004888"/>
                <a:gd name="connsiteX21" fmla="*/ 750094 w 750997"/>
                <a:gd name="connsiteY21" fmla="*/ 894152 h 1004888"/>
                <a:gd name="connsiteX22" fmla="*/ 750997 w 750997"/>
                <a:gd name="connsiteY22" fmla="*/ 1003410 h 1004888"/>
                <a:gd name="connsiteX0" fmla="*/ 295276 w 750997"/>
                <a:gd name="connsiteY0" fmla="*/ 915988 h 1004888"/>
                <a:gd name="connsiteX1" fmla="*/ 378619 w 750997"/>
                <a:gd name="connsiteY1" fmla="*/ 945356 h 1004888"/>
                <a:gd name="connsiteX2" fmla="*/ 404812 w 750997"/>
                <a:gd name="connsiteY2" fmla="*/ 904875 h 1004888"/>
                <a:gd name="connsiteX3" fmla="*/ 354807 w 750997"/>
                <a:gd name="connsiteY3" fmla="*/ 838200 h 1004888"/>
                <a:gd name="connsiteX4" fmla="*/ 121444 w 750997"/>
                <a:gd name="connsiteY4" fmla="*/ 840582 h 1004888"/>
                <a:gd name="connsiteX5" fmla="*/ 86519 w 750997"/>
                <a:gd name="connsiteY5" fmla="*/ 800101 h 1004888"/>
                <a:gd name="connsiteX6" fmla="*/ 86519 w 750997"/>
                <a:gd name="connsiteY6" fmla="*/ 114300 h 1004888"/>
                <a:gd name="connsiteX7" fmla="*/ 121444 w 750997"/>
                <a:gd name="connsiteY7" fmla="*/ 78581 h 1004888"/>
                <a:gd name="connsiteX8" fmla="*/ 619125 w 750997"/>
                <a:gd name="connsiteY8" fmla="*/ 76200 h 1004888"/>
                <a:gd name="connsiteX9" fmla="*/ 671513 w 750997"/>
                <a:gd name="connsiteY9" fmla="*/ 128588 h 1004888"/>
                <a:gd name="connsiteX10" fmla="*/ 671512 w 750997"/>
                <a:gd name="connsiteY10" fmla="*/ 957263 h 1004888"/>
                <a:gd name="connsiteX11" fmla="*/ 621507 w 750997"/>
                <a:gd name="connsiteY11" fmla="*/ 1002506 h 1004888"/>
                <a:gd name="connsiteX12" fmla="*/ 110736 w 750997"/>
                <a:gd name="connsiteY12" fmla="*/ 1004888 h 1004888"/>
                <a:gd name="connsiteX13" fmla="*/ 32434 w 750997"/>
                <a:gd name="connsiteY13" fmla="*/ 972454 h 1004888"/>
                <a:gd name="connsiteX14" fmla="*/ 0 w 750997"/>
                <a:gd name="connsiteY14" fmla="*/ 894152 h 1004888"/>
                <a:gd name="connsiteX15" fmla="*/ 0 w 750997"/>
                <a:gd name="connsiteY15" fmla="*/ 110736 h 1004888"/>
                <a:gd name="connsiteX16" fmla="*/ 32434 w 750997"/>
                <a:gd name="connsiteY16" fmla="*/ 32434 h 1004888"/>
                <a:gd name="connsiteX17" fmla="*/ 110736 w 750997"/>
                <a:gd name="connsiteY17" fmla="*/ 0 h 1004888"/>
                <a:gd name="connsiteX18" fmla="*/ 639358 w 750997"/>
                <a:gd name="connsiteY18" fmla="*/ 0 h 1004888"/>
                <a:gd name="connsiteX19" fmla="*/ 717660 w 750997"/>
                <a:gd name="connsiteY19" fmla="*/ 32434 h 1004888"/>
                <a:gd name="connsiteX20" fmla="*/ 750094 w 750997"/>
                <a:gd name="connsiteY20" fmla="*/ 110736 h 1004888"/>
                <a:gd name="connsiteX21" fmla="*/ 750094 w 750997"/>
                <a:gd name="connsiteY21" fmla="*/ 894152 h 1004888"/>
                <a:gd name="connsiteX22" fmla="*/ 750997 w 750997"/>
                <a:gd name="connsiteY22" fmla="*/ 1003410 h 1004888"/>
                <a:gd name="connsiteX0" fmla="*/ 295276 w 750997"/>
                <a:gd name="connsiteY0" fmla="*/ 915988 h 1004888"/>
                <a:gd name="connsiteX1" fmla="*/ 378619 w 750997"/>
                <a:gd name="connsiteY1" fmla="*/ 945356 h 1004888"/>
                <a:gd name="connsiteX2" fmla="*/ 407193 w 750997"/>
                <a:gd name="connsiteY2" fmla="*/ 907256 h 1004888"/>
                <a:gd name="connsiteX3" fmla="*/ 354807 w 750997"/>
                <a:gd name="connsiteY3" fmla="*/ 838200 h 1004888"/>
                <a:gd name="connsiteX4" fmla="*/ 121444 w 750997"/>
                <a:gd name="connsiteY4" fmla="*/ 840582 h 1004888"/>
                <a:gd name="connsiteX5" fmla="*/ 86519 w 750997"/>
                <a:gd name="connsiteY5" fmla="*/ 800101 h 1004888"/>
                <a:gd name="connsiteX6" fmla="*/ 86519 w 750997"/>
                <a:gd name="connsiteY6" fmla="*/ 114300 h 1004888"/>
                <a:gd name="connsiteX7" fmla="*/ 121444 w 750997"/>
                <a:gd name="connsiteY7" fmla="*/ 78581 h 1004888"/>
                <a:gd name="connsiteX8" fmla="*/ 619125 w 750997"/>
                <a:gd name="connsiteY8" fmla="*/ 76200 h 1004888"/>
                <a:gd name="connsiteX9" fmla="*/ 671513 w 750997"/>
                <a:gd name="connsiteY9" fmla="*/ 128588 h 1004888"/>
                <a:gd name="connsiteX10" fmla="*/ 671512 w 750997"/>
                <a:gd name="connsiteY10" fmla="*/ 957263 h 1004888"/>
                <a:gd name="connsiteX11" fmla="*/ 621507 w 750997"/>
                <a:gd name="connsiteY11" fmla="*/ 1002506 h 1004888"/>
                <a:gd name="connsiteX12" fmla="*/ 110736 w 750997"/>
                <a:gd name="connsiteY12" fmla="*/ 1004888 h 1004888"/>
                <a:gd name="connsiteX13" fmla="*/ 32434 w 750997"/>
                <a:gd name="connsiteY13" fmla="*/ 972454 h 1004888"/>
                <a:gd name="connsiteX14" fmla="*/ 0 w 750997"/>
                <a:gd name="connsiteY14" fmla="*/ 894152 h 1004888"/>
                <a:gd name="connsiteX15" fmla="*/ 0 w 750997"/>
                <a:gd name="connsiteY15" fmla="*/ 110736 h 1004888"/>
                <a:gd name="connsiteX16" fmla="*/ 32434 w 750997"/>
                <a:gd name="connsiteY16" fmla="*/ 32434 h 1004888"/>
                <a:gd name="connsiteX17" fmla="*/ 110736 w 750997"/>
                <a:gd name="connsiteY17" fmla="*/ 0 h 1004888"/>
                <a:gd name="connsiteX18" fmla="*/ 639358 w 750997"/>
                <a:gd name="connsiteY18" fmla="*/ 0 h 1004888"/>
                <a:gd name="connsiteX19" fmla="*/ 717660 w 750997"/>
                <a:gd name="connsiteY19" fmla="*/ 32434 h 1004888"/>
                <a:gd name="connsiteX20" fmla="*/ 750094 w 750997"/>
                <a:gd name="connsiteY20" fmla="*/ 110736 h 1004888"/>
                <a:gd name="connsiteX21" fmla="*/ 750094 w 750997"/>
                <a:gd name="connsiteY21" fmla="*/ 894152 h 1004888"/>
                <a:gd name="connsiteX22" fmla="*/ 750997 w 750997"/>
                <a:gd name="connsiteY22" fmla="*/ 1003410 h 1004888"/>
                <a:gd name="connsiteX0" fmla="*/ 295276 w 750997"/>
                <a:gd name="connsiteY0" fmla="*/ 915988 h 1004888"/>
                <a:gd name="connsiteX1" fmla="*/ 333375 w 750997"/>
                <a:gd name="connsiteY1" fmla="*/ 931069 h 1004888"/>
                <a:gd name="connsiteX2" fmla="*/ 378619 w 750997"/>
                <a:gd name="connsiteY2" fmla="*/ 945356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95276 w 750997"/>
                <a:gd name="connsiteY0" fmla="*/ 915988 h 1004888"/>
                <a:gd name="connsiteX1" fmla="*/ 330994 w 750997"/>
                <a:gd name="connsiteY1" fmla="*/ 959644 h 1004888"/>
                <a:gd name="connsiteX2" fmla="*/ 378619 w 750997"/>
                <a:gd name="connsiteY2" fmla="*/ 945356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95276 w 750997"/>
                <a:gd name="connsiteY0" fmla="*/ 915988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88133 w 750997"/>
                <a:gd name="connsiteY0" fmla="*/ 920750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85751 w 750997"/>
                <a:gd name="connsiteY0" fmla="*/ 904082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85751 w 750997"/>
                <a:gd name="connsiteY0" fmla="*/ 904082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85751 w 750997"/>
                <a:gd name="connsiteY0" fmla="*/ 904082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85751 w 750997"/>
                <a:gd name="connsiteY0" fmla="*/ 904082 h 1004888"/>
                <a:gd name="connsiteX1" fmla="*/ 292894 w 750997"/>
                <a:gd name="connsiteY1" fmla="*/ 897731 h 1004888"/>
                <a:gd name="connsiteX2" fmla="*/ 330994 w 750997"/>
                <a:gd name="connsiteY2" fmla="*/ 959644 h 1004888"/>
                <a:gd name="connsiteX3" fmla="*/ 381001 w 750997"/>
                <a:gd name="connsiteY3" fmla="*/ 952499 h 1004888"/>
                <a:gd name="connsiteX4" fmla="*/ 407193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85751 w 750997"/>
                <a:gd name="connsiteY0" fmla="*/ 904082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85751 w 750997"/>
                <a:gd name="connsiteY0" fmla="*/ 904082 h 1004888"/>
                <a:gd name="connsiteX1" fmla="*/ 292894 w 750997"/>
                <a:gd name="connsiteY1" fmla="*/ 902494 h 1004888"/>
                <a:gd name="connsiteX2" fmla="*/ 330994 w 750997"/>
                <a:gd name="connsiteY2" fmla="*/ 959644 h 1004888"/>
                <a:gd name="connsiteX3" fmla="*/ 381001 w 750997"/>
                <a:gd name="connsiteY3" fmla="*/ 952499 h 1004888"/>
                <a:gd name="connsiteX4" fmla="*/ 407193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85751 w 750997"/>
                <a:gd name="connsiteY0" fmla="*/ 904082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90514 w 750997"/>
                <a:gd name="connsiteY0" fmla="*/ 892175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90514 w 750997"/>
                <a:gd name="connsiteY0" fmla="*/ 892175 h 1004888"/>
                <a:gd name="connsiteX1" fmla="*/ 302419 w 750997"/>
                <a:gd name="connsiteY1" fmla="*/ 919163 h 1004888"/>
                <a:gd name="connsiteX2" fmla="*/ 330994 w 750997"/>
                <a:gd name="connsiteY2" fmla="*/ 959644 h 1004888"/>
                <a:gd name="connsiteX3" fmla="*/ 381001 w 750997"/>
                <a:gd name="connsiteY3" fmla="*/ 952499 h 1004888"/>
                <a:gd name="connsiteX4" fmla="*/ 407193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90514 w 750997"/>
                <a:gd name="connsiteY0" fmla="*/ 892175 h 1004888"/>
                <a:gd name="connsiteX1" fmla="*/ 292894 w 750997"/>
                <a:gd name="connsiteY1" fmla="*/ 928688 h 1004888"/>
                <a:gd name="connsiteX2" fmla="*/ 330994 w 750997"/>
                <a:gd name="connsiteY2" fmla="*/ 959644 h 1004888"/>
                <a:gd name="connsiteX3" fmla="*/ 381001 w 750997"/>
                <a:gd name="connsiteY3" fmla="*/ 952499 h 1004888"/>
                <a:gd name="connsiteX4" fmla="*/ 407193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90514 w 750997"/>
                <a:gd name="connsiteY0" fmla="*/ 892175 h 1004888"/>
                <a:gd name="connsiteX1" fmla="*/ 292894 w 750997"/>
                <a:gd name="connsiteY1" fmla="*/ 928688 h 1004888"/>
                <a:gd name="connsiteX2" fmla="*/ 330994 w 750997"/>
                <a:gd name="connsiteY2" fmla="*/ 959644 h 1004888"/>
                <a:gd name="connsiteX3" fmla="*/ 381001 w 750997"/>
                <a:gd name="connsiteY3" fmla="*/ 952499 h 1004888"/>
                <a:gd name="connsiteX4" fmla="*/ 407193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90514 w 750997"/>
                <a:gd name="connsiteY0" fmla="*/ 892175 h 1004888"/>
                <a:gd name="connsiteX1" fmla="*/ 292894 w 750997"/>
                <a:gd name="connsiteY1" fmla="*/ 928688 h 1004888"/>
                <a:gd name="connsiteX2" fmla="*/ 330994 w 750997"/>
                <a:gd name="connsiteY2" fmla="*/ 959644 h 1004888"/>
                <a:gd name="connsiteX3" fmla="*/ 381001 w 750997"/>
                <a:gd name="connsiteY3" fmla="*/ 952499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90514 w 750997"/>
                <a:gd name="connsiteY0" fmla="*/ 892175 h 1004888"/>
                <a:gd name="connsiteX1" fmla="*/ 273619 w 750997"/>
                <a:gd name="connsiteY1" fmla="*/ 892969 h 1004888"/>
                <a:gd name="connsiteX2" fmla="*/ 292894 w 750997"/>
                <a:gd name="connsiteY2" fmla="*/ 928688 h 1004888"/>
                <a:gd name="connsiteX3" fmla="*/ 330994 w 750997"/>
                <a:gd name="connsiteY3" fmla="*/ 959644 h 1004888"/>
                <a:gd name="connsiteX4" fmla="*/ 381001 w 750997"/>
                <a:gd name="connsiteY4" fmla="*/ 952499 h 1004888"/>
                <a:gd name="connsiteX5" fmla="*/ 421749 w 750997"/>
                <a:gd name="connsiteY5" fmla="*/ 907256 h 1004888"/>
                <a:gd name="connsiteX6" fmla="*/ 354807 w 750997"/>
                <a:gd name="connsiteY6" fmla="*/ 838200 h 1004888"/>
                <a:gd name="connsiteX7" fmla="*/ 121444 w 750997"/>
                <a:gd name="connsiteY7" fmla="*/ 840582 h 1004888"/>
                <a:gd name="connsiteX8" fmla="*/ 86519 w 750997"/>
                <a:gd name="connsiteY8" fmla="*/ 800101 h 1004888"/>
                <a:gd name="connsiteX9" fmla="*/ 86519 w 750997"/>
                <a:gd name="connsiteY9" fmla="*/ 114300 h 1004888"/>
                <a:gd name="connsiteX10" fmla="*/ 121444 w 750997"/>
                <a:gd name="connsiteY10" fmla="*/ 78581 h 1004888"/>
                <a:gd name="connsiteX11" fmla="*/ 619125 w 750997"/>
                <a:gd name="connsiteY11" fmla="*/ 76200 h 1004888"/>
                <a:gd name="connsiteX12" fmla="*/ 671513 w 750997"/>
                <a:gd name="connsiteY12" fmla="*/ 128588 h 1004888"/>
                <a:gd name="connsiteX13" fmla="*/ 671512 w 750997"/>
                <a:gd name="connsiteY13" fmla="*/ 957263 h 1004888"/>
                <a:gd name="connsiteX14" fmla="*/ 621507 w 750997"/>
                <a:gd name="connsiteY14" fmla="*/ 1002506 h 1004888"/>
                <a:gd name="connsiteX15" fmla="*/ 110736 w 750997"/>
                <a:gd name="connsiteY15" fmla="*/ 1004888 h 1004888"/>
                <a:gd name="connsiteX16" fmla="*/ 32434 w 750997"/>
                <a:gd name="connsiteY16" fmla="*/ 972454 h 1004888"/>
                <a:gd name="connsiteX17" fmla="*/ 0 w 750997"/>
                <a:gd name="connsiteY17" fmla="*/ 894152 h 1004888"/>
                <a:gd name="connsiteX18" fmla="*/ 0 w 750997"/>
                <a:gd name="connsiteY18" fmla="*/ 110736 h 1004888"/>
                <a:gd name="connsiteX19" fmla="*/ 32434 w 750997"/>
                <a:gd name="connsiteY19" fmla="*/ 32434 h 1004888"/>
                <a:gd name="connsiteX20" fmla="*/ 110736 w 750997"/>
                <a:gd name="connsiteY20" fmla="*/ 0 h 1004888"/>
                <a:gd name="connsiteX21" fmla="*/ 639358 w 750997"/>
                <a:gd name="connsiteY21" fmla="*/ 0 h 1004888"/>
                <a:gd name="connsiteX22" fmla="*/ 717660 w 750997"/>
                <a:gd name="connsiteY22" fmla="*/ 32434 h 1004888"/>
                <a:gd name="connsiteX23" fmla="*/ 750094 w 750997"/>
                <a:gd name="connsiteY23" fmla="*/ 110736 h 1004888"/>
                <a:gd name="connsiteX24" fmla="*/ 750094 w 750997"/>
                <a:gd name="connsiteY24" fmla="*/ 894152 h 1004888"/>
                <a:gd name="connsiteX25" fmla="*/ 750997 w 750997"/>
                <a:gd name="connsiteY25" fmla="*/ 1003410 h 1004888"/>
                <a:gd name="connsiteX0" fmla="*/ 273619 w 750997"/>
                <a:gd name="connsiteY0" fmla="*/ 892969 h 1004888"/>
                <a:gd name="connsiteX1" fmla="*/ 292894 w 750997"/>
                <a:gd name="connsiteY1" fmla="*/ 928688 h 1004888"/>
                <a:gd name="connsiteX2" fmla="*/ 330994 w 750997"/>
                <a:gd name="connsiteY2" fmla="*/ 959644 h 1004888"/>
                <a:gd name="connsiteX3" fmla="*/ 381001 w 750997"/>
                <a:gd name="connsiteY3" fmla="*/ 952499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73619 w 750997"/>
                <a:gd name="connsiteY0" fmla="*/ 892969 h 1004888"/>
                <a:gd name="connsiteX1" fmla="*/ 281251 w 750997"/>
                <a:gd name="connsiteY1" fmla="*/ 938213 h 1004888"/>
                <a:gd name="connsiteX2" fmla="*/ 330994 w 750997"/>
                <a:gd name="connsiteY2" fmla="*/ 959644 h 1004888"/>
                <a:gd name="connsiteX3" fmla="*/ 381001 w 750997"/>
                <a:gd name="connsiteY3" fmla="*/ 952499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73619 w 750997"/>
                <a:gd name="connsiteY0" fmla="*/ 892969 h 1004888"/>
                <a:gd name="connsiteX1" fmla="*/ 281251 w 750997"/>
                <a:gd name="connsiteY1" fmla="*/ 938213 h 1004888"/>
                <a:gd name="connsiteX2" fmla="*/ 330994 w 750997"/>
                <a:gd name="connsiteY2" fmla="*/ 959644 h 1004888"/>
                <a:gd name="connsiteX3" fmla="*/ 392645 w 750997"/>
                <a:gd name="connsiteY3" fmla="*/ 947736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73619 w 750997"/>
                <a:gd name="connsiteY0" fmla="*/ 892969 h 1004888"/>
                <a:gd name="connsiteX1" fmla="*/ 281251 w 750997"/>
                <a:gd name="connsiteY1" fmla="*/ 938213 h 1004888"/>
                <a:gd name="connsiteX2" fmla="*/ 330994 w 750997"/>
                <a:gd name="connsiteY2" fmla="*/ 962025 h 1004888"/>
                <a:gd name="connsiteX3" fmla="*/ 392645 w 750997"/>
                <a:gd name="connsiteY3" fmla="*/ 947736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73619 w 750997"/>
                <a:gd name="connsiteY0" fmla="*/ 892969 h 1004888"/>
                <a:gd name="connsiteX1" fmla="*/ 281251 w 750997"/>
                <a:gd name="connsiteY1" fmla="*/ 938213 h 1004888"/>
                <a:gd name="connsiteX2" fmla="*/ 330994 w 750997"/>
                <a:gd name="connsiteY2" fmla="*/ 962025 h 1004888"/>
                <a:gd name="connsiteX3" fmla="*/ 392646 w 750997"/>
                <a:gd name="connsiteY3" fmla="*/ 954880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73619 w 750997"/>
                <a:gd name="connsiteY0" fmla="*/ 892969 h 1004888"/>
                <a:gd name="connsiteX1" fmla="*/ 289983 w 750997"/>
                <a:gd name="connsiteY1" fmla="*/ 938213 h 1004888"/>
                <a:gd name="connsiteX2" fmla="*/ 330994 w 750997"/>
                <a:gd name="connsiteY2" fmla="*/ 962025 h 1004888"/>
                <a:gd name="connsiteX3" fmla="*/ 392646 w 750997"/>
                <a:gd name="connsiteY3" fmla="*/ 954880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50997" h="1004888">
                  <a:moveTo>
                    <a:pt x="273619" y="892969"/>
                  </a:moveTo>
                  <a:cubicBezTo>
                    <a:pt x="274016" y="899054"/>
                    <a:pt x="280421" y="926704"/>
                    <a:pt x="289983" y="938213"/>
                  </a:cubicBezTo>
                  <a:cubicBezTo>
                    <a:pt x="299545" y="949722"/>
                    <a:pt x="313884" y="959247"/>
                    <a:pt x="330994" y="962025"/>
                  </a:cubicBezTo>
                  <a:cubicBezTo>
                    <a:pt x="348104" y="964803"/>
                    <a:pt x="377520" y="964008"/>
                    <a:pt x="392646" y="954880"/>
                  </a:cubicBezTo>
                  <a:cubicBezTo>
                    <a:pt x="407772" y="945752"/>
                    <a:pt x="425718" y="925115"/>
                    <a:pt x="421749" y="907256"/>
                  </a:cubicBezTo>
                  <a:cubicBezTo>
                    <a:pt x="424924" y="884635"/>
                    <a:pt x="399654" y="848916"/>
                    <a:pt x="354807" y="838200"/>
                  </a:cubicBezTo>
                  <a:lnTo>
                    <a:pt x="121444" y="840582"/>
                  </a:lnTo>
                  <a:cubicBezTo>
                    <a:pt x="94588" y="829205"/>
                    <a:pt x="92341" y="837804"/>
                    <a:pt x="86519" y="800101"/>
                  </a:cubicBezTo>
                  <a:cubicBezTo>
                    <a:pt x="86784" y="571501"/>
                    <a:pt x="86254" y="342900"/>
                    <a:pt x="86519" y="114300"/>
                  </a:cubicBezTo>
                  <a:cubicBezTo>
                    <a:pt x="97102" y="91678"/>
                    <a:pt x="92206" y="92075"/>
                    <a:pt x="121444" y="78581"/>
                  </a:cubicBezTo>
                  <a:lnTo>
                    <a:pt x="619125" y="76200"/>
                  </a:lnTo>
                  <a:cubicBezTo>
                    <a:pt x="656034" y="84534"/>
                    <a:pt x="665163" y="98425"/>
                    <a:pt x="671513" y="128588"/>
                  </a:cubicBezTo>
                  <a:cubicBezTo>
                    <a:pt x="671513" y="404813"/>
                    <a:pt x="671512" y="681038"/>
                    <a:pt x="671512" y="957263"/>
                  </a:cubicBezTo>
                  <a:cubicBezTo>
                    <a:pt x="665560" y="993378"/>
                    <a:pt x="660202" y="994569"/>
                    <a:pt x="621507" y="1002506"/>
                  </a:cubicBezTo>
                  <a:lnTo>
                    <a:pt x="110736" y="1004888"/>
                  </a:lnTo>
                  <a:cubicBezTo>
                    <a:pt x="81367" y="1004888"/>
                    <a:pt x="53201" y="993221"/>
                    <a:pt x="32434" y="972454"/>
                  </a:cubicBezTo>
                  <a:cubicBezTo>
                    <a:pt x="11667" y="951687"/>
                    <a:pt x="0" y="923521"/>
                    <a:pt x="0" y="894152"/>
                  </a:cubicBezTo>
                  <a:lnTo>
                    <a:pt x="0" y="110736"/>
                  </a:lnTo>
                  <a:cubicBezTo>
                    <a:pt x="0" y="81367"/>
                    <a:pt x="11667" y="53201"/>
                    <a:pt x="32434" y="32434"/>
                  </a:cubicBezTo>
                  <a:cubicBezTo>
                    <a:pt x="53201" y="11667"/>
                    <a:pt x="81367" y="0"/>
                    <a:pt x="110736" y="0"/>
                  </a:cubicBezTo>
                  <a:lnTo>
                    <a:pt x="639358" y="0"/>
                  </a:lnTo>
                  <a:cubicBezTo>
                    <a:pt x="668727" y="0"/>
                    <a:pt x="696893" y="11667"/>
                    <a:pt x="717660" y="32434"/>
                  </a:cubicBezTo>
                  <a:cubicBezTo>
                    <a:pt x="738427" y="53201"/>
                    <a:pt x="750094" y="81367"/>
                    <a:pt x="750094" y="110736"/>
                  </a:cubicBezTo>
                  <a:lnTo>
                    <a:pt x="750094" y="894152"/>
                  </a:lnTo>
                  <a:lnTo>
                    <a:pt x="750997" y="1003410"/>
                  </a:lnTo>
                </a:path>
              </a:pathLst>
            </a:custGeom>
            <a:ln>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defRPr/>
              </a:pPr>
              <a:endParaRPr lang="en-US" sz="1600" b="1" kern="0" dirty="0">
                <a:latin typeface="Arial"/>
                <a:cs typeface="Arial" charset="0"/>
              </a:endParaRPr>
            </a:p>
          </p:txBody>
        </p:sp>
        <p:sp>
          <p:nvSpPr>
            <p:cNvPr id="60" name="Freeform 59"/>
            <p:cNvSpPr/>
            <p:nvPr/>
          </p:nvSpPr>
          <p:spPr bwMode="auto">
            <a:xfrm>
              <a:off x="1844771" y="5345640"/>
              <a:ext cx="346904" cy="466344"/>
            </a:xfrm>
            <a:custGeom>
              <a:avLst/>
              <a:gdLst>
                <a:gd name="connsiteX0" fmla="*/ 0 w 750094"/>
                <a:gd name="connsiteY0" fmla="*/ 110736 h 1004888"/>
                <a:gd name="connsiteX1" fmla="*/ 32434 w 750094"/>
                <a:gd name="connsiteY1" fmla="*/ 32434 h 1004888"/>
                <a:gd name="connsiteX2" fmla="*/ 110736 w 750094"/>
                <a:gd name="connsiteY2" fmla="*/ 0 h 1004888"/>
                <a:gd name="connsiteX3" fmla="*/ 639358 w 750094"/>
                <a:gd name="connsiteY3" fmla="*/ 0 h 1004888"/>
                <a:gd name="connsiteX4" fmla="*/ 717660 w 750094"/>
                <a:gd name="connsiteY4" fmla="*/ 32434 h 1004888"/>
                <a:gd name="connsiteX5" fmla="*/ 750094 w 750094"/>
                <a:gd name="connsiteY5" fmla="*/ 110736 h 1004888"/>
                <a:gd name="connsiteX6" fmla="*/ 750094 w 750094"/>
                <a:gd name="connsiteY6" fmla="*/ 894152 h 1004888"/>
                <a:gd name="connsiteX7" fmla="*/ 717660 w 750094"/>
                <a:gd name="connsiteY7" fmla="*/ 972454 h 1004888"/>
                <a:gd name="connsiteX8" fmla="*/ 639358 w 750094"/>
                <a:gd name="connsiteY8" fmla="*/ 1004888 h 1004888"/>
                <a:gd name="connsiteX9" fmla="*/ 110736 w 750094"/>
                <a:gd name="connsiteY9" fmla="*/ 1004888 h 1004888"/>
                <a:gd name="connsiteX10" fmla="*/ 32434 w 750094"/>
                <a:gd name="connsiteY10" fmla="*/ 972454 h 1004888"/>
                <a:gd name="connsiteX11" fmla="*/ 0 w 750094"/>
                <a:gd name="connsiteY11" fmla="*/ 894152 h 1004888"/>
                <a:gd name="connsiteX12" fmla="*/ 0 w 750094"/>
                <a:gd name="connsiteY12" fmla="*/ 110736 h 1004888"/>
                <a:gd name="connsiteX0" fmla="*/ 639358 w 750094"/>
                <a:gd name="connsiteY0" fmla="*/ 1004888 h 1096328"/>
                <a:gd name="connsiteX1" fmla="*/ 110736 w 750094"/>
                <a:gd name="connsiteY1" fmla="*/ 1004888 h 1096328"/>
                <a:gd name="connsiteX2" fmla="*/ 32434 w 750094"/>
                <a:gd name="connsiteY2" fmla="*/ 972454 h 1096328"/>
                <a:gd name="connsiteX3" fmla="*/ 0 w 750094"/>
                <a:gd name="connsiteY3" fmla="*/ 894152 h 1096328"/>
                <a:gd name="connsiteX4" fmla="*/ 0 w 750094"/>
                <a:gd name="connsiteY4" fmla="*/ 110736 h 1096328"/>
                <a:gd name="connsiteX5" fmla="*/ 32434 w 750094"/>
                <a:gd name="connsiteY5" fmla="*/ 32434 h 1096328"/>
                <a:gd name="connsiteX6" fmla="*/ 110736 w 750094"/>
                <a:gd name="connsiteY6" fmla="*/ 0 h 1096328"/>
                <a:gd name="connsiteX7" fmla="*/ 639358 w 750094"/>
                <a:gd name="connsiteY7" fmla="*/ 0 h 1096328"/>
                <a:gd name="connsiteX8" fmla="*/ 717660 w 750094"/>
                <a:gd name="connsiteY8" fmla="*/ 32434 h 1096328"/>
                <a:gd name="connsiteX9" fmla="*/ 750094 w 750094"/>
                <a:gd name="connsiteY9" fmla="*/ 110736 h 1096328"/>
                <a:gd name="connsiteX10" fmla="*/ 750094 w 750094"/>
                <a:gd name="connsiteY10" fmla="*/ 894152 h 1096328"/>
                <a:gd name="connsiteX11" fmla="*/ 717660 w 750094"/>
                <a:gd name="connsiteY11" fmla="*/ 972454 h 1096328"/>
                <a:gd name="connsiteX12" fmla="*/ 730798 w 750094"/>
                <a:gd name="connsiteY12" fmla="*/ 1096328 h 1096328"/>
                <a:gd name="connsiteX0" fmla="*/ 639358 w 750094"/>
                <a:gd name="connsiteY0" fmla="*/ 1004888 h 1004888"/>
                <a:gd name="connsiteX1" fmla="*/ 110736 w 750094"/>
                <a:gd name="connsiteY1" fmla="*/ 1004888 h 1004888"/>
                <a:gd name="connsiteX2" fmla="*/ 32434 w 750094"/>
                <a:gd name="connsiteY2" fmla="*/ 972454 h 1004888"/>
                <a:gd name="connsiteX3" fmla="*/ 0 w 750094"/>
                <a:gd name="connsiteY3" fmla="*/ 894152 h 1004888"/>
                <a:gd name="connsiteX4" fmla="*/ 0 w 750094"/>
                <a:gd name="connsiteY4" fmla="*/ 110736 h 1004888"/>
                <a:gd name="connsiteX5" fmla="*/ 32434 w 750094"/>
                <a:gd name="connsiteY5" fmla="*/ 32434 h 1004888"/>
                <a:gd name="connsiteX6" fmla="*/ 110736 w 750094"/>
                <a:gd name="connsiteY6" fmla="*/ 0 h 1004888"/>
                <a:gd name="connsiteX7" fmla="*/ 639358 w 750094"/>
                <a:gd name="connsiteY7" fmla="*/ 0 h 1004888"/>
                <a:gd name="connsiteX8" fmla="*/ 717660 w 750094"/>
                <a:gd name="connsiteY8" fmla="*/ 32434 h 1004888"/>
                <a:gd name="connsiteX9" fmla="*/ 750094 w 750094"/>
                <a:gd name="connsiteY9" fmla="*/ 110736 h 1004888"/>
                <a:gd name="connsiteX10" fmla="*/ 750094 w 750094"/>
                <a:gd name="connsiteY10" fmla="*/ 894152 h 1004888"/>
                <a:gd name="connsiteX11" fmla="*/ 717660 w 750094"/>
                <a:gd name="connsiteY11" fmla="*/ 972454 h 1004888"/>
                <a:gd name="connsiteX0" fmla="*/ 639358 w 750094"/>
                <a:gd name="connsiteY0" fmla="*/ 1004888 h 1004888"/>
                <a:gd name="connsiteX1" fmla="*/ 110736 w 750094"/>
                <a:gd name="connsiteY1" fmla="*/ 1004888 h 1004888"/>
                <a:gd name="connsiteX2" fmla="*/ 32434 w 750094"/>
                <a:gd name="connsiteY2" fmla="*/ 972454 h 1004888"/>
                <a:gd name="connsiteX3" fmla="*/ 0 w 750094"/>
                <a:gd name="connsiteY3" fmla="*/ 894152 h 1004888"/>
                <a:gd name="connsiteX4" fmla="*/ 0 w 750094"/>
                <a:gd name="connsiteY4" fmla="*/ 110736 h 1004888"/>
                <a:gd name="connsiteX5" fmla="*/ 32434 w 750094"/>
                <a:gd name="connsiteY5" fmla="*/ 32434 h 1004888"/>
                <a:gd name="connsiteX6" fmla="*/ 110736 w 750094"/>
                <a:gd name="connsiteY6" fmla="*/ 0 h 1004888"/>
                <a:gd name="connsiteX7" fmla="*/ 639358 w 750094"/>
                <a:gd name="connsiteY7" fmla="*/ 0 h 1004888"/>
                <a:gd name="connsiteX8" fmla="*/ 717660 w 750094"/>
                <a:gd name="connsiteY8" fmla="*/ 32434 h 1004888"/>
                <a:gd name="connsiteX9" fmla="*/ 750094 w 750094"/>
                <a:gd name="connsiteY9" fmla="*/ 110736 h 1004888"/>
                <a:gd name="connsiteX10" fmla="*/ 750094 w 750094"/>
                <a:gd name="connsiteY10" fmla="*/ 894152 h 1004888"/>
                <a:gd name="connsiteX11" fmla="*/ 717660 w 750094"/>
                <a:gd name="connsiteY11" fmla="*/ 972454 h 1004888"/>
                <a:gd name="connsiteX0" fmla="*/ 639358 w 750997"/>
                <a:gd name="connsiteY0" fmla="*/ 1004888 h 1004888"/>
                <a:gd name="connsiteX1" fmla="*/ 110736 w 750997"/>
                <a:gd name="connsiteY1" fmla="*/ 1004888 h 1004888"/>
                <a:gd name="connsiteX2" fmla="*/ 32434 w 750997"/>
                <a:gd name="connsiteY2" fmla="*/ 972454 h 1004888"/>
                <a:gd name="connsiteX3" fmla="*/ 0 w 750997"/>
                <a:gd name="connsiteY3" fmla="*/ 894152 h 1004888"/>
                <a:gd name="connsiteX4" fmla="*/ 0 w 750997"/>
                <a:gd name="connsiteY4" fmla="*/ 110736 h 1004888"/>
                <a:gd name="connsiteX5" fmla="*/ 32434 w 750997"/>
                <a:gd name="connsiteY5" fmla="*/ 32434 h 1004888"/>
                <a:gd name="connsiteX6" fmla="*/ 110736 w 750997"/>
                <a:gd name="connsiteY6" fmla="*/ 0 h 1004888"/>
                <a:gd name="connsiteX7" fmla="*/ 639358 w 750997"/>
                <a:gd name="connsiteY7" fmla="*/ 0 h 1004888"/>
                <a:gd name="connsiteX8" fmla="*/ 717660 w 750997"/>
                <a:gd name="connsiteY8" fmla="*/ 32434 h 1004888"/>
                <a:gd name="connsiteX9" fmla="*/ 750094 w 750997"/>
                <a:gd name="connsiteY9" fmla="*/ 110736 h 1004888"/>
                <a:gd name="connsiteX10" fmla="*/ 750094 w 750997"/>
                <a:gd name="connsiteY10" fmla="*/ 894152 h 1004888"/>
                <a:gd name="connsiteX11" fmla="*/ 750997 w 750997"/>
                <a:gd name="connsiteY11" fmla="*/ 996267 h 1004888"/>
                <a:gd name="connsiteX0" fmla="*/ 639358 w 750997"/>
                <a:gd name="connsiteY0" fmla="*/ 1004888 h 1004888"/>
                <a:gd name="connsiteX1" fmla="*/ 110736 w 750997"/>
                <a:gd name="connsiteY1" fmla="*/ 1004888 h 1004888"/>
                <a:gd name="connsiteX2" fmla="*/ 32434 w 750997"/>
                <a:gd name="connsiteY2" fmla="*/ 972454 h 1004888"/>
                <a:gd name="connsiteX3" fmla="*/ 0 w 750997"/>
                <a:gd name="connsiteY3" fmla="*/ 894152 h 1004888"/>
                <a:gd name="connsiteX4" fmla="*/ 0 w 750997"/>
                <a:gd name="connsiteY4" fmla="*/ 110736 h 1004888"/>
                <a:gd name="connsiteX5" fmla="*/ 32434 w 750997"/>
                <a:gd name="connsiteY5" fmla="*/ 32434 h 1004888"/>
                <a:gd name="connsiteX6" fmla="*/ 110736 w 750997"/>
                <a:gd name="connsiteY6" fmla="*/ 0 h 1004888"/>
                <a:gd name="connsiteX7" fmla="*/ 639358 w 750997"/>
                <a:gd name="connsiteY7" fmla="*/ 0 h 1004888"/>
                <a:gd name="connsiteX8" fmla="*/ 717660 w 750997"/>
                <a:gd name="connsiteY8" fmla="*/ 32434 h 1004888"/>
                <a:gd name="connsiteX9" fmla="*/ 750094 w 750997"/>
                <a:gd name="connsiteY9" fmla="*/ 110736 h 1004888"/>
                <a:gd name="connsiteX10" fmla="*/ 750094 w 750997"/>
                <a:gd name="connsiteY10" fmla="*/ 894152 h 1004888"/>
                <a:gd name="connsiteX11" fmla="*/ 750997 w 750997"/>
                <a:gd name="connsiteY11" fmla="*/ 1003410 h 1004888"/>
                <a:gd name="connsiteX0" fmla="*/ 639358 w 750997"/>
                <a:gd name="connsiteY0" fmla="*/ 1004888 h 1004888"/>
                <a:gd name="connsiteX1" fmla="*/ 621507 w 750997"/>
                <a:gd name="connsiteY1" fmla="*/ 1002506 h 1004888"/>
                <a:gd name="connsiteX2" fmla="*/ 110736 w 750997"/>
                <a:gd name="connsiteY2" fmla="*/ 1004888 h 1004888"/>
                <a:gd name="connsiteX3" fmla="*/ 32434 w 750997"/>
                <a:gd name="connsiteY3" fmla="*/ 972454 h 1004888"/>
                <a:gd name="connsiteX4" fmla="*/ 0 w 750997"/>
                <a:gd name="connsiteY4" fmla="*/ 894152 h 1004888"/>
                <a:gd name="connsiteX5" fmla="*/ 0 w 750997"/>
                <a:gd name="connsiteY5" fmla="*/ 110736 h 1004888"/>
                <a:gd name="connsiteX6" fmla="*/ 32434 w 750997"/>
                <a:gd name="connsiteY6" fmla="*/ 32434 h 1004888"/>
                <a:gd name="connsiteX7" fmla="*/ 110736 w 750997"/>
                <a:gd name="connsiteY7" fmla="*/ 0 h 1004888"/>
                <a:gd name="connsiteX8" fmla="*/ 639358 w 750997"/>
                <a:gd name="connsiteY8" fmla="*/ 0 h 1004888"/>
                <a:gd name="connsiteX9" fmla="*/ 717660 w 750997"/>
                <a:gd name="connsiteY9" fmla="*/ 32434 h 1004888"/>
                <a:gd name="connsiteX10" fmla="*/ 750094 w 750997"/>
                <a:gd name="connsiteY10" fmla="*/ 110736 h 1004888"/>
                <a:gd name="connsiteX11" fmla="*/ 750094 w 750997"/>
                <a:gd name="connsiteY11" fmla="*/ 894152 h 1004888"/>
                <a:gd name="connsiteX12" fmla="*/ 750997 w 750997"/>
                <a:gd name="connsiteY12" fmla="*/ 1003410 h 1004888"/>
                <a:gd name="connsiteX0" fmla="*/ 639358 w 750997"/>
                <a:gd name="connsiteY0" fmla="*/ 1004888 h 1004888"/>
                <a:gd name="connsiteX1" fmla="*/ 671512 w 750997"/>
                <a:gd name="connsiteY1" fmla="*/ 957263 h 1004888"/>
                <a:gd name="connsiteX2" fmla="*/ 621507 w 750997"/>
                <a:gd name="connsiteY2" fmla="*/ 1002506 h 1004888"/>
                <a:gd name="connsiteX3" fmla="*/ 110736 w 750997"/>
                <a:gd name="connsiteY3" fmla="*/ 1004888 h 1004888"/>
                <a:gd name="connsiteX4" fmla="*/ 32434 w 750997"/>
                <a:gd name="connsiteY4" fmla="*/ 972454 h 1004888"/>
                <a:gd name="connsiteX5" fmla="*/ 0 w 750997"/>
                <a:gd name="connsiteY5" fmla="*/ 894152 h 1004888"/>
                <a:gd name="connsiteX6" fmla="*/ 0 w 750997"/>
                <a:gd name="connsiteY6" fmla="*/ 110736 h 1004888"/>
                <a:gd name="connsiteX7" fmla="*/ 32434 w 750997"/>
                <a:gd name="connsiteY7" fmla="*/ 32434 h 1004888"/>
                <a:gd name="connsiteX8" fmla="*/ 110736 w 750997"/>
                <a:gd name="connsiteY8" fmla="*/ 0 h 1004888"/>
                <a:gd name="connsiteX9" fmla="*/ 639358 w 750997"/>
                <a:gd name="connsiteY9" fmla="*/ 0 h 1004888"/>
                <a:gd name="connsiteX10" fmla="*/ 717660 w 750997"/>
                <a:gd name="connsiteY10" fmla="*/ 32434 h 1004888"/>
                <a:gd name="connsiteX11" fmla="*/ 750094 w 750997"/>
                <a:gd name="connsiteY11" fmla="*/ 110736 h 1004888"/>
                <a:gd name="connsiteX12" fmla="*/ 750094 w 750997"/>
                <a:gd name="connsiteY12" fmla="*/ 894152 h 1004888"/>
                <a:gd name="connsiteX13" fmla="*/ 750997 w 750997"/>
                <a:gd name="connsiteY13" fmla="*/ 1003410 h 1004888"/>
                <a:gd name="connsiteX0" fmla="*/ 675076 w 750997"/>
                <a:gd name="connsiteY0" fmla="*/ 685800 h 1004888"/>
                <a:gd name="connsiteX1" fmla="*/ 671512 w 750997"/>
                <a:gd name="connsiteY1" fmla="*/ 957263 h 1004888"/>
                <a:gd name="connsiteX2" fmla="*/ 621507 w 750997"/>
                <a:gd name="connsiteY2" fmla="*/ 1002506 h 1004888"/>
                <a:gd name="connsiteX3" fmla="*/ 110736 w 750997"/>
                <a:gd name="connsiteY3" fmla="*/ 1004888 h 1004888"/>
                <a:gd name="connsiteX4" fmla="*/ 32434 w 750997"/>
                <a:gd name="connsiteY4" fmla="*/ 972454 h 1004888"/>
                <a:gd name="connsiteX5" fmla="*/ 0 w 750997"/>
                <a:gd name="connsiteY5" fmla="*/ 894152 h 1004888"/>
                <a:gd name="connsiteX6" fmla="*/ 0 w 750997"/>
                <a:gd name="connsiteY6" fmla="*/ 110736 h 1004888"/>
                <a:gd name="connsiteX7" fmla="*/ 32434 w 750997"/>
                <a:gd name="connsiteY7" fmla="*/ 32434 h 1004888"/>
                <a:gd name="connsiteX8" fmla="*/ 110736 w 750997"/>
                <a:gd name="connsiteY8" fmla="*/ 0 h 1004888"/>
                <a:gd name="connsiteX9" fmla="*/ 639358 w 750997"/>
                <a:gd name="connsiteY9" fmla="*/ 0 h 1004888"/>
                <a:gd name="connsiteX10" fmla="*/ 717660 w 750997"/>
                <a:gd name="connsiteY10" fmla="*/ 32434 h 1004888"/>
                <a:gd name="connsiteX11" fmla="*/ 750094 w 750997"/>
                <a:gd name="connsiteY11" fmla="*/ 110736 h 1004888"/>
                <a:gd name="connsiteX12" fmla="*/ 750094 w 750997"/>
                <a:gd name="connsiteY12" fmla="*/ 894152 h 1004888"/>
                <a:gd name="connsiteX13" fmla="*/ 750997 w 750997"/>
                <a:gd name="connsiteY13" fmla="*/ 1003410 h 1004888"/>
                <a:gd name="connsiteX0" fmla="*/ 101195 w 750997"/>
                <a:gd name="connsiteY0" fmla="*/ 90488 h 1004888"/>
                <a:gd name="connsiteX1" fmla="*/ 671512 w 750997"/>
                <a:gd name="connsiteY1" fmla="*/ 957263 h 1004888"/>
                <a:gd name="connsiteX2" fmla="*/ 621507 w 750997"/>
                <a:gd name="connsiteY2" fmla="*/ 1002506 h 1004888"/>
                <a:gd name="connsiteX3" fmla="*/ 110736 w 750997"/>
                <a:gd name="connsiteY3" fmla="*/ 1004888 h 1004888"/>
                <a:gd name="connsiteX4" fmla="*/ 32434 w 750997"/>
                <a:gd name="connsiteY4" fmla="*/ 972454 h 1004888"/>
                <a:gd name="connsiteX5" fmla="*/ 0 w 750997"/>
                <a:gd name="connsiteY5" fmla="*/ 894152 h 1004888"/>
                <a:gd name="connsiteX6" fmla="*/ 0 w 750997"/>
                <a:gd name="connsiteY6" fmla="*/ 110736 h 1004888"/>
                <a:gd name="connsiteX7" fmla="*/ 32434 w 750997"/>
                <a:gd name="connsiteY7" fmla="*/ 32434 h 1004888"/>
                <a:gd name="connsiteX8" fmla="*/ 110736 w 750997"/>
                <a:gd name="connsiteY8" fmla="*/ 0 h 1004888"/>
                <a:gd name="connsiteX9" fmla="*/ 639358 w 750997"/>
                <a:gd name="connsiteY9" fmla="*/ 0 h 1004888"/>
                <a:gd name="connsiteX10" fmla="*/ 717660 w 750997"/>
                <a:gd name="connsiteY10" fmla="*/ 32434 h 1004888"/>
                <a:gd name="connsiteX11" fmla="*/ 750094 w 750997"/>
                <a:gd name="connsiteY11" fmla="*/ 110736 h 1004888"/>
                <a:gd name="connsiteX12" fmla="*/ 750094 w 750997"/>
                <a:gd name="connsiteY12" fmla="*/ 894152 h 1004888"/>
                <a:gd name="connsiteX13" fmla="*/ 750997 w 750997"/>
                <a:gd name="connsiteY13" fmla="*/ 1003410 h 1004888"/>
                <a:gd name="connsiteX0" fmla="*/ 101195 w 750997"/>
                <a:gd name="connsiteY0" fmla="*/ 90488 h 1004888"/>
                <a:gd name="connsiteX1" fmla="*/ 209550 w 750997"/>
                <a:gd name="connsiteY1" fmla="*/ 254794 h 1004888"/>
                <a:gd name="connsiteX2" fmla="*/ 671512 w 750997"/>
                <a:gd name="connsiteY2" fmla="*/ 957263 h 1004888"/>
                <a:gd name="connsiteX3" fmla="*/ 621507 w 750997"/>
                <a:gd name="connsiteY3" fmla="*/ 1002506 h 1004888"/>
                <a:gd name="connsiteX4" fmla="*/ 110736 w 750997"/>
                <a:gd name="connsiteY4" fmla="*/ 1004888 h 1004888"/>
                <a:gd name="connsiteX5" fmla="*/ 32434 w 750997"/>
                <a:gd name="connsiteY5" fmla="*/ 972454 h 1004888"/>
                <a:gd name="connsiteX6" fmla="*/ 0 w 750997"/>
                <a:gd name="connsiteY6" fmla="*/ 894152 h 1004888"/>
                <a:gd name="connsiteX7" fmla="*/ 0 w 750997"/>
                <a:gd name="connsiteY7" fmla="*/ 110736 h 1004888"/>
                <a:gd name="connsiteX8" fmla="*/ 32434 w 750997"/>
                <a:gd name="connsiteY8" fmla="*/ 32434 h 1004888"/>
                <a:gd name="connsiteX9" fmla="*/ 110736 w 750997"/>
                <a:gd name="connsiteY9" fmla="*/ 0 h 1004888"/>
                <a:gd name="connsiteX10" fmla="*/ 639358 w 750997"/>
                <a:gd name="connsiteY10" fmla="*/ 0 h 1004888"/>
                <a:gd name="connsiteX11" fmla="*/ 717660 w 750997"/>
                <a:gd name="connsiteY11" fmla="*/ 32434 h 1004888"/>
                <a:gd name="connsiteX12" fmla="*/ 750094 w 750997"/>
                <a:gd name="connsiteY12" fmla="*/ 110736 h 1004888"/>
                <a:gd name="connsiteX13" fmla="*/ 750094 w 750997"/>
                <a:gd name="connsiteY13" fmla="*/ 894152 h 1004888"/>
                <a:gd name="connsiteX14" fmla="*/ 750997 w 750997"/>
                <a:gd name="connsiteY14" fmla="*/ 1003410 h 1004888"/>
                <a:gd name="connsiteX0" fmla="*/ 101195 w 750997"/>
                <a:gd name="connsiteY0" fmla="*/ 90488 h 1004888"/>
                <a:gd name="connsiteX1" fmla="*/ 673894 w 750997"/>
                <a:gd name="connsiteY1" fmla="*/ 76201 h 1004888"/>
                <a:gd name="connsiteX2" fmla="*/ 671512 w 750997"/>
                <a:gd name="connsiteY2" fmla="*/ 957263 h 1004888"/>
                <a:gd name="connsiteX3" fmla="*/ 621507 w 750997"/>
                <a:gd name="connsiteY3" fmla="*/ 1002506 h 1004888"/>
                <a:gd name="connsiteX4" fmla="*/ 110736 w 750997"/>
                <a:gd name="connsiteY4" fmla="*/ 1004888 h 1004888"/>
                <a:gd name="connsiteX5" fmla="*/ 32434 w 750997"/>
                <a:gd name="connsiteY5" fmla="*/ 972454 h 1004888"/>
                <a:gd name="connsiteX6" fmla="*/ 0 w 750997"/>
                <a:gd name="connsiteY6" fmla="*/ 894152 h 1004888"/>
                <a:gd name="connsiteX7" fmla="*/ 0 w 750997"/>
                <a:gd name="connsiteY7" fmla="*/ 110736 h 1004888"/>
                <a:gd name="connsiteX8" fmla="*/ 32434 w 750997"/>
                <a:gd name="connsiteY8" fmla="*/ 32434 h 1004888"/>
                <a:gd name="connsiteX9" fmla="*/ 110736 w 750997"/>
                <a:gd name="connsiteY9" fmla="*/ 0 h 1004888"/>
                <a:gd name="connsiteX10" fmla="*/ 639358 w 750997"/>
                <a:gd name="connsiteY10" fmla="*/ 0 h 1004888"/>
                <a:gd name="connsiteX11" fmla="*/ 717660 w 750997"/>
                <a:gd name="connsiteY11" fmla="*/ 32434 h 1004888"/>
                <a:gd name="connsiteX12" fmla="*/ 750094 w 750997"/>
                <a:gd name="connsiteY12" fmla="*/ 110736 h 1004888"/>
                <a:gd name="connsiteX13" fmla="*/ 750094 w 750997"/>
                <a:gd name="connsiteY13" fmla="*/ 894152 h 1004888"/>
                <a:gd name="connsiteX14" fmla="*/ 750997 w 750997"/>
                <a:gd name="connsiteY14" fmla="*/ 1003410 h 1004888"/>
                <a:gd name="connsiteX0" fmla="*/ 96432 w 750997"/>
                <a:gd name="connsiteY0" fmla="*/ 79375 h 1004888"/>
                <a:gd name="connsiteX1" fmla="*/ 673894 w 750997"/>
                <a:gd name="connsiteY1" fmla="*/ 76201 h 1004888"/>
                <a:gd name="connsiteX2" fmla="*/ 671512 w 750997"/>
                <a:gd name="connsiteY2" fmla="*/ 957263 h 1004888"/>
                <a:gd name="connsiteX3" fmla="*/ 621507 w 750997"/>
                <a:gd name="connsiteY3" fmla="*/ 1002506 h 1004888"/>
                <a:gd name="connsiteX4" fmla="*/ 110736 w 750997"/>
                <a:gd name="connsiteY4" fmla="*/ 1004888 h 1004888"/>
                <a:gd name="connsiteX5" fmla="*/ 32434 w 750997"/>
                <a:gd name="connsiteY5" fmla="*/ 972454 h 1004888"/>
                <a:gd name="connsiteX6" fmla="*/ 0 w 750997"/>
                <a:gd name="connsiteY6" fmla="*/ 894152 h 1004888"/>
                <a:gd name="connsiteX7" fmla="*/ 0 w 750997"/>
                <a:gd name="connsiteY7" fmla="*/ 110736 h 1004888"/>
                <a:gd name="connsiteX8" fmla="*/ 32434 w 750997"/>
                <a:gd name="connsiteY8" fmla="*/ 32434 h 1004888"/>
                <a:gd name="connsiteX9" fmla="*/ 110736 w 750997"/>
                <a:gd name="connsiteY9" fmla="*/ 0 h 1004888"/>
                <a:gd name="connsiteX10" fmla="*/ 639358 w 750997"/>
                <a:gd name="connsiteY10" fmla="*/ 0 h 1004888"/>
                <a:gd name="connsiteX11" fmla="*/ 717660 w 750997"/>
                <a:gd name="connsiteY11" fmla="*/ 32434 h 1004888"/>
                <a:gd name="connsiteX12" fmla="*/ 750094 w 750997"/>
                <a:gd name="connsiteY12" fmla="*/ 110736 h 1004888"/>
                <a:gd name="connsiteX13" fmla="*/ 750094 w 750997"/>
                <a:gd name="connsiteY13" fmla="*/ 894152 h 1004888"/>
                <a:gd name="connsiteX14" fmla="*/ 750997 w 750997"/>
                <a:gd name="connsiteY14" fmla="*/ 1003410 h 1004888"/>
                <a:gd name="connsiteX0" fmla="*/ 96432 w 750997"/>
                <a:gd name="connsiteY0" fmla="*/ 79375 h 1004888"/>
                <a:gd name="connsiteX1" fmla="*/ 673894 w 750997"/>
                <a:gd name="connsiteY1" fmla="*/ 79375 h 1004888"/>
                <a:gd name="connsiteX2" fmla="*/ 671512 w 750997"/>
                <a:gd name="connsiteY2" fmla="*/ 957263 h 1004888"/>
                <a:gd name="connsiteX3" fmla="*/ 621507 w 750997"/>
                <a:gd name="connsiteY3" fmla="*/ 1002506 h 1004888"/>
                <a:gd name="connsiteX4" fmla="*/ 110736 w 750997"/>
                <a:gd name="connsiteY4" fmla="*/ 1004888 h 1004888"/>
                <a:gd name="connsiteX5" fmla="*/ 32434 w 750997"/>
                <a:gd name="connsiteY5" fmla="*/ 972454 h 1004888"/>
                <a:gd name="connsiteX6" fmla="*/ 0 w 750997"/>
                <a:gd name="connsiteY6" fmla="*/ 894152 h 1004888"/>
                <a:gd name="connsiteX7" fmla="*/ 0 w 750997"/>
                <a:gd name="connsiteY7" fmla="*/ 110736 h 1004888"/>
                <a:gd name="connsiteX8" fmla="*/ 32434 w 750997"/>
                <a:gd name="connsiteY8" fmla="*/ 32434 h 1004888"/>
                <a:gd name="connsiteX9" fmla="*/ 110736 w 750997"/>
                <a:gd name="connsiteY9" fmla="*/ 0 h 1004888"/>
                <a:gd name="connsiteX10" fmla="*/ 639358 w 750997"/>
                <a:gd name="connsiteY10" fmla="*/ 0 h 1004888"/>
                <a:gd name="connsiteX11" fmla="*/ 717660 w 750997"/>
                <a:gd name="connsiteY11" fmla="*/ 32434 h 1004888"/>
                <a:gd name="connsiteX12" fmla="*/ 750094 w 750997"/>
                <a:gd name="connsiteY12" fmla="*/ 110736 h 1004888"/>
                <a:gd name="connsiteX13" fmla="*/ 750094 w 750997"/>
                <a:gd name="connsiteY13" fmla="*/ 894152 h 1004888"/>
                <a:gd name="connsiteX14" fmla="*/ 750997 w 750997"/>
                <a:gd name="connsiteY14" fmla="*/ 1003410 h 1004888"/>
                <a:gd name="connsiteX0" fmla="*/ 86519 w 750997"/>
                <a:gd name="connsiteY0" fmla="*/ 79375 h 1004888"/>
                <a:gd name="connsiteX1" fmla="*/ 673894 w 750997"/>
                <a:gd name="connsiteY1" fmla="*/ 79375 h 1004888"/>
                <a:gd name="connsiteX2" fmla="*/ 671512 w 750997"/>
                <a:gd name="connsiteY2" fmla="*/ 957263 h 1004888"/>
                <a:gd name="connsiteX3" fmla="*/ 621507 w 750997"/>
                <a:gd name="connsiteY3" fmla="*/ 1002506 h 1004888"/>
                <a:gd name="connsiteX4" fmla="*/ 110736 w 750997"/>
                <a:gd name="connsiteY4" fmla="*/ 1004888 h 1004888"/>
                <a:gd name="connsiteX5" fmla="*/ 32434 w 750997"/>
                <a:gd name="connsiteY5" fmla="*/ 972454 h 1004888"/>
                <a:gd name="connsiteX6" fmla="*/ 0 w 750997"/>
                <a:gd name="connsiteY6" fmla="*/ 894152 h 1004888"/>
                <a:gd name="connsiteX7" fmla="*/ 0 w 750997"/>
                <a:gd name="connsiteY7" fmla="*/ 110736 h 1004888"/>
                <a:gd name="connsiteX8" fmla="*/ 32434 w 750997"/>
                <a:gd name="connsiteY8" fmla="*/ 32434 h 1004888"/>
                <a:gd name="connsiteX9" fmla="*/ 110736 w 750997"/>
                <a:gd name="connsiteY9" fmla="*/ 0 h 1004888"/>
                <a:gd name="connsiteX10" fmla="*/ 639358 w 750997"/>
                <a:gd name="connsiteY10" fmla="*/ 0 h 1004888"/>
                <a:gd name="connsiteX11" fmla="*/ 717660 w 750997"/>
                <a:gd name="connsiteY11" fmla="*/ 32434 h 1004888"/>
                <a:gd name="connsiteX12" fmla="*/ 750094 w 750997"/>
                <a:gd name="connsiteY12" fmla="*/ 110736 h 1004888"/>
                <a:gd name="connsiteX13" fmla="*/ 750094 w 750997"/>
                <a:gd name="connsiteY13" fmla="*/ 894152 h 1004888"/>
                <a:gd name="connsiteX14" fmla="*/ 750997 w 750997"/>
                <a:gd name="connsiteY14" fmla="*/ 1003410 h 1004888"/>
                <a:gd name="connsiteX0" fmla="*/ 86519 w 750997"/>
                <a:gd name="connsiteY0" fmla="*/ 79375 h 1004888"/>
                <a:gd name="connsiteX1" fmla="*/ 138113 w 750997"/>
                <a:gd name="connsiteY1" fmla="*/ 76200 h 1004888"/>
                <a:gd name="connsiteX2" fmla="*/ 673894 w 750997"/>
                <a:gd name="connsiteY2" fmla="*/ 79375 h 1004888"/>
                <a:gd name="connsiteX3" fmla="*/ 671512 w 750997"/>
                <a:gd name="connsiteY3" fmla="*/ 957263 h 1004888"/>
                <a:gd name="connsiteX4" fmla="*/ 621507 w 750997"/>
                <a:gd name="connsiteY4" fmla="*/ 1002506 h 1004888"/>
                <a:gd name="connsiteX5" fmla="*/ 110736 w 750997"/>
                <a:gd name="connsiteY5" fmla="*/ 1004888 h 1004888"/>
                <a:gd name="connsiteX6" fmla="*/ 32434 w 750997"/>
                <a:gd name="connsiteY6" fmla="*/ 972454 h 1004888"/>
                <a:gd name="connsiteX7" fmla="*/ 0 w 750997"/>
                <a:gd name="connsiteY7" fmla="*/ 894152 h 1004888"/>
                <a:gd name="connsiteX8" fmla="*/ 0 w 750997"/>
                <a:gd name="connsiteY8" fmla="*/ 110736 h 1004888"/>
                <a:gd name="connsiteX9" fmla="*/ 32434 w 750997"/>
                <a:gd name="connsiteY9" fmla="*/ 32434 h 1004888"/>
                <a:gd name="connsiteX10" fmla="*/ 110736 w 750997"/>
                <a:gd name="connsiteY10" fmla="*/ 0 h 1004888"/>
                <a:gd name="connsiteX11" fmla="*/ 639358 w 750997"/>
                <a:gd name="connsiteY11" fmla="*/ 0 h 1004888"/>
                <a:gd name="connsiteX12" fmla="*/ 717660 w 750997"/>
                <a:gd name="connsiteY12" fmla="*/ 32434 h 1004888"/>
                <a:gd name="connsiteX13" fmla="*/ 750094 w 750997"/>
                <a:gd name="connsiteY13" fmla="*/ 110736 h 1004888"/>
                <a:gd name="connsiteX14" fmla="*/ 750094 w 750997"/>
                <a:gd name="connsiteY14" fmla="*/ 894152 h 1004888"/>
                <a:gd name="connsiteX15" fmla="*/ 750997 w 750997"/>
                <a:gd name="connsiteY15" fmla="*/ 1003410 h 1004888"/>
                <a:gd name="connsiteX0" fmla="*/ 86519 w 750997"/>
                <a:gd name="connsiteY0" fmla="*/ 839788 h 1004888"/>
                <a:gd name="connsiteX1" fmla="*/ 138113 w 750997"/>
                <a:gd name="connsiteY1" fmla="*/ 76200 h 1004888"/>
                <a:gd name="connsiteX2" fmla="*/ 673894 w 750997"/>
                <a:gd name="connsiteY2" fmla="*/ 79375 h 1004888"/>
                <a:gd name="connsiteX3" fmla="*/ 671512 w 750997"/>
                <a:gd name="connsiteY3" fmla="*/ 957263 h 1004888"/>
                <a:gd name="connsiteX4" fmla="*/ 621507 w 750997"/>
                <a:gd name="connsiteY4" fmla="*/ 1002506 h 1004888"/>
                <a:gd name="connsiteX5" fmla="*/ 110736 w 750997"/>
                <a:gd name="connsiteY5" fmla="*/ 1004888 h 1004888"/>
                <a:gd name="connsiteX6" fmla="*/ 32434 w 750997"/>
                <a:gd name="connsiteY6" fmla="*/ 972454 h 1004888"/>
                <a:gd name="connsiteX7" fmla="*/ 0 w 750997"/>
                <a:gd name="connsiteY7" fmla="*/ 894152 h 1004888"/>
                <a:gd name="connsiteX8" fmla="*/ 0 w 750997"/>
                <a:gd name="connsiteY8" fmla="*/ 110736 h 1004888"/>
                <a:gd name="connsiteX9" fmla="*/ 32434 w 750997"/>
                <a:gd name="connsiteY9" fmla="*/ 32434 h 1004888"/>
                <a:gd name="connsiteX10" fmla="*/ 110736 w 750997"/>
                <a:gd name="connsiteY10" fmla="*/ 0 h 1004888"/>
                <a:gd name="connsiteX11" fmla="*/ 639358 w 750997"/>
                <a:gd name="connsiteY11" fmla="*/ 0 h 1004888"/>
                <a:gd name="connsiteX12" fmla="*/ 717660 w 750997"/>
                <a:gd name="connsiteY12" fmla="*/ 32434 h 1004888"/>
                <a:gd name="connsiteX13" fmla="*/ 750094 w 750997"/>
                <a:gd name="connsiteY13" fmla="*/ 110736 h 1004888"/>
                <a:gd name="connsiteX14" fmla="*/ 750094 w 750997"/>
                <a:gd name="connsiteY14" fmla="*/ 894152 h 1004888"/>
                <a:gd name="connsiteX15" fmla="*/ 750997 w 750997"/>
                <a:gd name="connsiteY15" fmla="*/ 1003410 h 1004888"/>
                <a:gd name="connsiteX0" fmla="*/ 86519 w 750997"/>
                <a:gd name="connsiteY0" fmla="*/ 839788 h 1004888"/>
                <a:gd name="connsiteX1" fmla="*/ 86519 w 750997"/>
                <a:gd name="connsiteY1" fmla="*/ 79375 h 1004888"/>
                <a:gd name="connsiteX2" fmla="*/ 673894 w 750997"/>
                <a:gd name="connsiteY2" fmla="*/ 79375 h 1004888"/>
                <a:gd name="connsiteX3" fmla="*/ 671512 w 750997"/>
                <a:gd name="connsiteY3" fmla="*/ 957263 h 1004888"/>
                <a:gd name="connsiteX4" fmla="*/ 621507 w 750997"/>
                <a:gd name="connsiteY4" fmla="*/ 1002506 h 1004888"/>
                <a:gd name="connsiteX5" fmla="*/ 110736 w 750997"/>
                <a:gd name="connsiteY5" fmla="*/ 1004888 h 1004888"/>
                <a:gd name="connsiteX6" fmla="*/ 32434 w 750997"/>
                <a:gd name="connsiteY6" fmla="*/ 972454 h 1004888"/>
                <a:gd name="connsiteX7" fmla="*/ 0 w 750997"/>
                <a:gd name="connsiteY7" fmla="*/ 894152 h 1004888"/>
                <a:gd name="connsiteX8" fmla="*/ 0 w 750997"/>
                <a:gd name="connsiteY8" fmla="*/ 110736 h 1004888"/>
                <a:gd name="connsiteX9" fmla="*/ 32434 w 750997"/>
                <a:gd name="connsiteY9" fmla="*/ 32434 h 1004888"/>
                <a:gd name="connsiteX10" fmla="*/ 110736 w 750997"/>
                <a:gd name="connsiteY10" fmla="*/ 0 h 1004888"/>
                <a:gd name="connsiteX11" fmla="*/ 639358 w 750997"/>
                <a:gd name="connsiteY11" fmla="*/ 0 h 1004888"/>
                <a:gd name="connsiteX12" fmla="*/ 717660 w 750997"/>
                <a:gd name="connsiteY12" fmla="*/ 32434 h 1004888"/>
                <a:gd name="connsiteX13" fmla="*/ 750094 w 750997"/>
                <a:gd name="connsiteY13" fmla="*/ 110736 h 1004888"/>
                <a:gd name="connsiteX14" fmla="*/ 750094 w 750997"/>
                <a:gd name="connsiteY14" fmla="*/ 894152 h 1004888"/>
                <a:gd name="connsiteX15" fmla="*/ 750997 w 750997"/>
                <a:gd name="connsiteY15" fmla="*/ 1003410 h 1004888"/>
                <a:gd name="connsiteX0" fmla="*/ 86519 w 750997"/>
                <a:gd name="connsiteY0" fmla="*/ 839788 h 1004888"/>
                <a:gd name="connsiteX1" fmla="*/ 83344 w 750997"/>
                <a:gd name="connsiteY1" fmla="*/ 769144 h 1004888"/>
                <a:gd name="connsiteX2" fmla="*/ 86519 w 750997"/>
                <a:gd name="connsiteY2" fmla="*/ 79375 h 1004888"/>
                <a:gd name="connsiteX3" fmla="*/ 673894 w 750997"/>
                <a:gd name="connsiteY3" fmla="*/ 79375 h 1004888"/>
                <a:gd name="connsiteX4" fmla="*/ 671512 w 750997"/>
                <a:gd name="connsiteY4" fmla="*/ 957263 h 1004888"/>
                <a:gd name="connsiteX5" fmla="*/ 621507 w 750997"/>
                <a:gd name="connsiteY5" fmla="*/ 1002506 h 1004888"/>
                <a:gd name="connsiteX6" fmla="*/ 110736 w 750997"/>
                <a:gd name="connsiteY6" fmla="*/ 1004888 h 1004888"/>
                <a:gd name="connsiteX7" fmla="*/ 32434 w 750997"/>
                <a:gd name="connsiteY7" fmla="*/ 972454 h 1004888"/>
                <a:gd name="connsiteX8" fmla="*/ 0 w 750997"/>
                <a:gd name="connsiteY8" fmla="*/ 894152 h 1004888"/>
                <a:gd name="connsiteX9" fmla="*/ 0 w 750997"/>
                <a:gd name="connsiteY9" fmla="*/ 110736 h 1004888"/>
                <a:gd name="connsiteX10" fmla="*/ 32434 w 750997"/>
                <a:gd name="connsiteY10" fmla="*/ 32434 h 1004888"/>
                <a:gd name="connsiteX11" fmla="*/ 110736 w 750997"/>
                <a:gd name="connsiteY11" fmla="*/ 0 h 1004888"/>
                <a:gd name="connsiteX12" fmla="*/ 639358 w 750997"/>
                <a:gd name="connsiteY12" fmla="*/ 0 h 1004888"/>
                <a:gd name="connsiteX13" fmla="*/ 717660 w 750997"/>
                <a:gd name="connsiteY13" fmla="*/ 32434 h 1004888"/>
                <a:gd name="connsiteX14" fmla="*/ 750094 w 750997"/>
                <a:gd name="connsiteY14" fmla="*/ 110736 h 1004888"/>
                <a:gd name="connsiteX15" fmla="*/ 750094 w 750997"/>
                <a:gd name="connsiteY15" fmla="*/ 894152 h 1004888"/>
                <a:gd name="connsiteX16" fmla="*/ 750997 w 750997"/>
                <a:gd name="connsiteY16" fmla="*/ 1003410 h 1004888"/>
                <a:gd name="connsiteX0" fmla="*/ 347663 w 750997"/>
                <a:gd name="connsiteY0" fmla="*/ 839788 h 1004888"/>
                <a:gd name="connsiteX1" fmla="*/ 83344 w 750997"/>
                <a:gd name="connsiteY1" fmla="*/ 769144 h 1004888"/>
                <a:gd name="connsiteX2" fmla="*/ 86519 w 750997"/>
                <a:gd name="connsiteY2" fmla="*/ 79375 h 1004888"/>
                <a:gd name="connsiteX3" fmla="*/ 673894 w 750997"/>
                <a:gd name="connsiteY3" fmla="*/ 79375 h 1004888"/>
                <a:gd name="connsiteX4" fmla="*/ 671512 w 750997"/>
                <a:gd name="connsiteY4" fmla="*/ 957263 h 1004888"/>
                <a:gd name="connsiteX5" fmla="*/ 621507 w 750997"/>
                <a:gd name="connsiteY5" fmla="*/ 1002506 h 1004888"/>
                <a:gd name="connsiteX6" fmla="*/ 110736 w 750997"/>
                <a:gd name="connsiteY6" fmla="*/ 1004888 h 1004888"/>
                <a:gd name="connsiteX7" fmla="*/ 32434 w 750997"/>
                <a:gd name="connsiteY7" fmla="*/ 972454 h 1004888"/>
                <a:gd name="connsiteX8" fmla="*/ 0 w 750997"/>
                <a:gd name="connsiteY8" fmla="*/ 894152 h 1004888"/>
                <a:gd name="connsiteX9" fmla="*/ 0 w 750997"/>
                <a:gd name="connsiteY9" fmla="*/ 110736 h 1004888"/>
                <a:gd name="connsiteX10" fmla="*/ 32434 w 750997"/>
                <a:gd name="connsiteY10" fmla="*/ 32434 h 1004888"/>
                <a:gd name="connsiteX11" fmla="*/ 110736 w 750997"/>
                <a:gd name="connsiteY11" fmla="*/ 0 h 1004888"/>
                <a:gd name="connsiteX12" fmla="*/ 639358 w 750997"/>
                <a:gd name="connsiteY12" fmla="*/ 0 h 1004888"/>
                <a:gd name="connsiteX13" fmla="*/ 717660 w 750997"/>
                <a:gd name="connsiteY13" fmla="*/ 32434 h 1004888"/>
                <a:gd name="connsiteX14" fmla="*/ 750094 w 750997"/>
                <a:gd name="connsiteY14" fmla="*/ 110736 h 1004888"/>
                <a:gd name="connsiteX15" fmla="*/ 750094 w 750997"/>
                <a:gd name="connsiteY15" fmla="*/ 894152 h 1004888"/>
                <a:gd name="connsiteX16" fmla="*/ 750997 w 750997"/>
                <a:gd name="connsiteY16" fmla="*/ 1003410 h 1004888"/>
                <a:gd name="connsiteX0" fmla="*/ 347663 w 750997"/>
                <a:gd name="connsiteY0" fmla="*/ 839788 h 1004888"/>
                <a:gd name="connsiteX1" fmla="*/ 86519 w 750997"/>
                <a:gd name="connsiteY1" fmla="*/ 839788 h 1004888"/>
                <a:gd name="connsiteX2" fmla="*/ 86519 w 750997"/>
                <a:gd name="connsiteY2" fmla="*/ 79375 h 1004888"/>
                <a:gd name="connsiteX3" fmla="*/ 673894 w 750997"/>
                <a:gd name="connsiteY3" fmla="*/ 79375 h 1004888"/>
                <a:gd name="connsiteX4" fmla="*/ 671512 w 750997"/>
                <a:gd name="connsiteY4" fmla="*/ 957263 h 1004888"/>
                <a:gd name="connsiteX5" fmla="*/ 621507 w 750997"/>
                <a:gd name="connsiteY5" fmla="*/ 1002506 h 1004888"/>
                <a:gd name="connsiteX6" fmla="*/ 110736 w 750997"/>
                <a:gd name="connsiteY6" fmla="*/ 1004888 h 1004888"/>
                <a:gd name="connsiteX7" fmla="*/ 32434 w 750997"/>
                <a:gd name="connsiteY7" fmla="*/ 972454 h 1004888"/>
                <a:gd name="connsiteX8" fmla="*/ 0 w 750997"/>
                <a:gd name="connsiteY8" fmla="*/ 894152 h 1004888"/>
                <a:gd name="connsiteX9" fmla="*/ 0 w 750997"/>
                <a:gd name="connsiteY9" fmla="*/ 110736 h 1004888"/>
                <a:gd name="connsiteX10" fmla="*/ 32434 w 750997"/>
                <a:gd name="connsiteY10" fmla="*/ 32434 h 1004888"/>
                <a:gd name="connsiteX11" fmla="*/ 110736 w 750997"/>
                <a:gd name="connsiteY11" fmla="*/ 0 h 1004888"/>
                <a:gd name="connsiteX12" fmla="*/ 639358 w 750997"/>
                <a:gd name="connsiteY12" fmla="*/ 0 h 1004888"/>
                <a:gd name="connsiteX13" fmla="*/ 717660 w 750997"/>
                <a:gd name="connsiteY13" fmla="*/ 32434 h 1004888"/>
                <a:gd name="connsiteX14" fmla="*/ 750094 w 750997"/>
                <a:gd name="connsiteY14" fmla="*/ 110736 h 1004888"/>
                <a:gd name="connsiteX15" fmla="*/ 750094 w 750997"/>
                <a:gd name="connsiteY15" fmla="*/ 894152 h 1004888"/>
                <a:gd name="connsiteX16" fmla="*/ 750997 w 750997"/>
                <a:gd name="connsiteY16" fmla="*/ 1003410 h 1004888"/>
                <a:gd name="connsiteX0" fmla="*/ 347663 w 750997"/>
                <a:gd name="connsiteY0" fmla="*/ 839788 h 1004888"/>
                <a:gd name="connsiteX1" fmla="*/ 86519 w 750997"/>
                <a:gd name="connsiteY1" fmla="*/ 839788 h 1004888"/>
                <a:gd name="connsiteX2" fmla="*/ 86519 w 750997"/>
                <a:gd name="connsiteY2" fmla="*/ 79375 h 1004888"/>
                <a:gd name="connsiteX3" fmla="*/ 673894 w 750997"/>
                <a:gd name="connsiteY3" fmla="*/ 79375 h 1004888"/>
                <a:gd name="connsiteX4" fmla="*/ 671513 w 750997"/>
                <a:gd name="connsiteY4" fmla="*/ 128588 h 1004888"/>
                <a:gd name="connsiteX5" fmla="*/ 671512 w 750997"/>
                <a:gd name="connsiteY5" fmla="*/ 957263 h 1004888"/>
                <a:gd name="connsiteX6" fmla="*/ 621507 w 750997"/>
                <a:gd name="connsiteY6" fmla="*/ 1002506 h 1004888"/>
                <a:gd name="connsiteX7" fmla="*/ 110736 w 750997"/>
                <a:gd name="connsiteY7" fmla="*/ 1004888 h 1004888"/>
                <a:gd name="connsiteX8" fmla="*/ 32434 w 750997"/>
                <a:gd name="connsiteY8" fmla="*/ 972454 h 1004888"/>
                <a:gd name="connsiteX9" fmla="*/ 0 w 750997"/>
                <a:gd name="connsiteY9" fmla="*/ 894152 h 1004888"/>
                <a:gd name="connsiteX10" fmla="*/ 0 w 750997"/>
                <a:gd name="connsiteY10" fmla="*/ 110736 h 1004888"/>
                <a:gd name="connsiteX11" fmla="*/ 32434 w 750997"/>
                <a:gd name="connsiteY11" fmla="*/ 32434 h 1004888"/>
                <a:gd name="connsiteX12" fmla="*/ 110736 w 750997"/>
                <a:gd name="connsiteY12" fmla="*/ 0 h 1004888"/>
                <a:gd name="connsiteX13" fmla="*/ 639358 w 750997"/>
                <a:gd name="connsiteY13" fmla="*/ 0 h 1004888"/>
                <a:gd name="connsiteX14" fmla="*/ 717660 w 750997"/>
                <a:gd name="connsiteY14" fmla="*/ 32434 h 1004888"/>
                <a:gd name="connsiteX15" fmla="*/ 750094 w 750997"/>
                <a:gd name="connsiteY15" fmla="*/ 110736 h 1004888"/>
                <a:gd name="connsiteX16" fmla="*/ 750094 w 750997"/>
                <a:gd name="connsiteY16" fmla="*/ 894152 h 1004888"/>
                <a:gd name="connsiteX17" fmla="*/ 750997 w 750997"/>
                <a:gd name="connsiteY17" fmla="*/ 1003410 h 1004888"/>
                <a:gd name="connsiteX0" fmla="*/ 347663 w 750997"/>
                <a:gd name="connsiteY0" fmla="*/ 839788 h 1004888"/>
                <a:gd name="connsiteX1" fmla="*/ 86519 w 750997"/>
                <a:gd name="connsiteY1" fmla="*/ 839788 h 1004888"/>
                <a:gd name="connsiteX2" fmla="*/ 86519 w 750997"/>
                <a:gd name="connsiteY2" fmla="*/ 79375 h 1004888"/>
                <a:gd name="connsiteX3" fmla="*/ 619125 w 750997"/>
                <a:gd name="connsiteY3" fmla="*/ 76200 h 1004888"/>
                <a:gd name="connsiteX4" fmla="*/ 673894 w 750997"/>
                <a:gd name="connsiteY4" fmla="*/ 79375 h 1004888"/>
                <a:gd name="connsiteX5" fmla="*/ 671513 w 750997"/>
                <a:gd name="connsiteY5" fmla="*/ 128588 h 1004888"/>
                <a:gd name="connsiteX6" fmla="*/ 671512 w 750997"/>
                <a:gd name="connsiteY6" fmla="*/ 957263 h 1004888"/>
                <a:gd name="connsiteX7" fmla="*/ 621507 w 750997"/>
                <a:gd name="connsiteY7" fmla="*/ 1002506 h 1004888"/>
                <a:gd name="connsiteX8" fmla="*/ 110736 w 750997"/>
                <a:gd name="connsiteY8" fmla="*/ 1004888 h 1004888"/>
                <a:gd name="connsiteX9" fmla="*/ 32434 w 750997"/>
                <a:gd name="connsiteY9" fmla="*/ 972454 h 1004888"/>
                <a:gd name="connsiteX10" fmla="*/ 0 w 750997"/>
                <a:gd name="connsiteY10" fmla="*/ 894152 h 1004888"/>
                <a:gd name="connsiteX11" fmla="*/ 0 w 750997"/>
                <a:gd name="connsiteY11" fmla="*/ 110736 h 1004888"/>
                <a:gd name="connsiteX12" fmla="*/ 32434 w 750997"/>
                <a:gd name="connsiteY12" fmla="*/ 32434 h 1004888"/>
                <a:gd name="connsiteX13" fmla="*/ 110736 w 750997"/>
                <a:gd name="connsiteY13" fmla="*/ 0 h 1004888"/>
                <a:gd name="connsiteX14" fmla="*/ 639358 w 750997"/>
                <a:gd name="connsiteY14" fmla="*/ 0 h 1004888"/>
                <a:gd name="connsiteX15" fmla="*/ 717660 w 750997"/>
                <a:gd name="connsiteY15" fmla="*/ 32434 h 1004888"/>
                <a:gd name="connsiteX16" fmla="*/ 750094 w 750997"/>
                <a:gd name="connsiteY16" fmla="*/ 110736 h 1004888"/>
                <a:gd name="connsiteX17" fmla="*/ 750094 w 750997"/>
                <a:gd name="connsiteY17" fmla="*/ 894152 h 1004888"/>
                <a:gd name="connsiteX18" fmla="*/ 750997 w 750997"/>
                <a:gd name="connsiteY18" fmla="*/ 1003410 h 1004888"/>
                <a:gd name="connsiteX0" fmla="*/ 347663 w 750997"/>
                <a:gd name="connsiteY0" fmla="*/ 839788 h 1004888"/>
                <a:gd name="connsiteX1" fmla="*/ 86519 w 750997"/>
                <a:gd name="connsiteY1" fmla="*/ 839788 h 1004888"/>
                <a:gd name="connsiteX2" fmla="*/ 86519 w 750997"/>
                <a:gd name="connsiteY2" fmla="*/ 79375 h 1004888"/>
                <a:gd name="connsiteX3" fmla="*/ 619125 w 750997"/>
                <a:gd name="connsiteY3" fmla="*/ 76200 h 1004888"/>
                <a:gd name="connsiteX4" fmla="*/ 673894 w 750997"/>
                <a:gd name="connsiteY4" fmla="*/ 79375 h 1004888"/>
                <a:gd name="connsiteX5" fmla="*/ 671513 w 750997"/>
                <a:gd name="connsiteY5" fmla="*/ 128588 h 1004888"/>
                <a:gd name="connsiteX6" fmla="*/ 671512 w 750997"/>
                <a:gd name="connsiteY6" fmla="*/ 957263 h 1004888"/>
                <a:gd name="connsiteX7" fmla="*/ 669131 w 750997"/>
                <a:gd name="connsiteY7" fmla="*/ 9953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004888"/>
                <a:gd name="connsiteX1" fmla="*/ 86519 w 750997"/>
                <a:gd name="connsiteY1" fmla="*/ 839788 h 1004888"/>
                <a:gd name="connsiteX2" fmla="*/ 86519 w 750997"/>
                <a:gd name="connsiteY2" fmla="*/ 79375 h 1004888"/>
                <a:gd name="connsiteX3" fmla="*/ 121444 w 750997"/>
                <a:gd name="connsiteY3" fmla="*/ 78581 h 1004888"/>
                <a:gd name="connsiteX4" fmla="*/ 619125 w 750997"/>
                <a:gd name="connsiteY4" fmla="*/ 76200 h 1004888"/>
                <a:gd name="connsiteX5" fmla="*/ 673894 w 750997"/>
                <a:gd name="connsiteY5" fmla="*/ 79375 h 1004888"/>
                <a:gd name="connsiteX6" fmla="*/ 671513 w 750997"/>
                <a:gd name="connsiteY6" fmla="*/ 128588 h 1004888"/>
                <a:gd name="connsiteX7" fmla="*/ 671512 w 750997"/>
                <a:gd name="connsiteY7" fmla="*/ 957263 h 1004888"/>
                <a:gd name="connsiteX8" fmla="*/ 669131 w 750997"/>
                <a:gd name="connsiteY8" fmla="*/ 9953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52223 h 1017323"/>
                <a:gd name="connsiteX1" fmla="*/ 86519 w 750997"/>
                <a:gd name="connsiteY1" fmla="*/ 852223 h 1017323"/>
                <a:gd name="connsiteX2" fmla="*/ 86519 w 750997"/>
                <a:gd name="connsiteY2" fmla="*/ 126735 h 1017323"/>
                <a:gd name="connsiteX3" fmla="*/ 86519 w 750997"/>
                <a:gd name="connsiteY3" fmla="*/ 91810 h 1017323"/>
                <a:gd name="connsiteX4" fmla="*/ 121444 w 750997"/>
                <a:gd name="connsiteY4" fmla="*/ 91016 h 1017323"/>
                <a:gd name="connsiteX5" fmla="*/ 619125 w 750997"/>
                <a:gd name="connsiteY5" fmla="*/ 88635 h 1017323"/>
                <a:gd name="connsiteX6" fmla="*/ 673894 w 750997"/>
                <a:gd name="connsiteY6" fmla="*/ 91810 h 1017323"/>
                <a:gd name="connsiteX7" fmla="*/ 671513 w 750997"/>
                <a:gd name="connsiteY7" fmla="*/ 141023 h 1017323"/>
                <a:gd name="connsiteX8" fmla="*/ 671512 w 750997"/>
                <a:gd name="connsiteY8" fmla="*/ 969698 h 1017323"/>
                <a:gd name="connsiteX9" fmla="*/ 669131 w 750997"/>
                <a:gd name="connsiteY9" fmla="*/ 1007798 h 1017323"/>
                <a:gd name="connsiteX10" fmla="*/ 621507 w 750997"/>
                <a:gd name="connsiteY10" fmla="*/ 1014941 h 1017323"/>
                <a:gd name="connsiteX11" fmla="*/ 110736 w 750997"/>
                <a:gd name="connsiteY11" fmla="*/ 1017323 h 1017323"/>
                <a:gd name="connsiteX12" fmla="*/ 32434 w 750997"/>
                <a:gd name="connsiteY12" fmla="*/ 984889 h 1017323"/>
                <a:gd name="connsiteX13" fmla="*/ 0 w 750997"/>
                <a:gd name="connsiteY13" fmla="*/ 906587 h 1017323"/>
                <a:gd name="connsiteX14" fmla="*/ 0 w 750997"/>
                <a:gd name="connsiteY14" fmla="*/ 123171 h 1017323"/>
                <a:gd name="connsiteX15" fmla="*/ 32434 w 750997"/>
                <a:gd name="connsiteY15" fmla="*/ 44869 h 1017323"/>
                <a:gd name="connsiteX16" fmla="*/ 110736 w 750997"/>
                <a:gd name="connsiteY16" fmla="*/ 12435 h 1017323"/>
                <a:gd name="connsiteX17" fmla="*/ 639358 w 750997"/>
                <a:gd name="connsiteY17" fmla="*/ 12435 h 1017323"/>
                <a:gd name="connsiteX18" fmla="*/ 717660 w 750997"/>
                <a:gd name="connsiteY18" fmla="*/ 44869 h 1017323"/>
                <a:gd name="connsiteX19" fmla="*/ 750094 w 750997"/>
                <a:gd name="connsiteY19" fmla="*/ 123171 h 1017323"/>
                <a:gd name="connsiteX20" fmla="*/ 750094 w 750997"/>
                <a:gd name="connsiteY20" fmla="*/ 906587 h 1017323"/>
                <a:gd name="connsiteX21" fmla="*/ 750997 w 750997"/>
                <a:gd name="connsiteY21" fmla="*/ 1015845 h 1017323"/>
                <a:gd name="connsiteX0" fmla="*/ 347663 w 750997"/>
                <a:gd name="connsiteY0" fmla="*/ 852223 h 1017323"/>
                <a:gd name="connsiteX1" fmla="*/ 86519 w 750997"/>
                <a:gd name="connsiteY1" fmla="*/ 852223 h 1017323"/>
                <a:gd name="connsiteX2" fmla="*/ 86519 w 750997"/>
                <a:gd name="connsiteY2" fmla="*/ 126735 h 1017323"/>
                <a:gd name="connsiteX3" fmla="*/ 86519 w 750997"/>
                <a:gd name="connsiteY3" fmla="*/ 91810 h 1017323"/>
                <a:gd name="connsiteX4" fmla="*/ 121444 w 750997"/>
                <a:gd name="connsiteY4" fmla="*/ 91016 h 1017323"/>
                <a:gd name="connsiteX5" fmla="*/ 619125 w 750997"/>
                <a:gd name="connsiteY5" fmla="*/ 88635 h 1017323"/>
                <a:gd name="connsiteX6" fmla="*/ 673894 w 750997"/>
                <a:gd name="connsiteY6" fmla="*/ 91810 h 1017323"/>
                <a:gd name="connsiteX7" fmla="*/ 671513 w 750997"/>
                <a:gd name="connsiteY7" fmla="*/ 141023 h 1017323"/>
                <a:gd name="connsiteX8" fmla="*/ 671512 w 750997"/>
                <a:gd name="connsiteY8" fmla="*/ 969698 h 1017323"/>
                <a:gd name="connsiteX9" fmla="*/ 669131 w 750997"/>
                <a:gd name="connsiteY9" fmla="*/ 1007798 h 1017323"/>
                <a:gd name="connsiteX10" fmla="*/ 621507 w 750997"/>
                <a:gd name="connsiteY10" fmla="*/ 1014941 h 1017323"/>
                <a:gd name="connsiteX11" fmla="*/ 110736 w 750997"/>
                <a:gd name="connsiteY11" fmla="*/ 1017323 h 1017323"/>
                <a:gd name="connsiteX12" fmla="*/ 32434 w 750997"/>
                <a:gd name="connsiteY12" fmla="*/ 984889 h 1017323"/>
                <a:gd name="connsiteX13" fmla="*/ 0 w 750997"/>
                <a:gd name="connsiteY13" fmla="*/ 906587 h 1017323"/>
                <a:gd name="connsiteX14" fmla="*/ 0 w 750997"/>
                <a:gd name="connsiteY14" fmla="*/ 123171 h 1017323"/>
                <a:gd name="connsiteX15" fmla="*/ 32434 w 750997"/>
                <a:gd name="connsiteY15" fmla="*/ 44869 h 1017323"/>
                <a:gd name="connsiteX16" fmla="*/ 110736 w 750997"/>
                <a:gd name="connsiteY16" fmla="*/ 12435 h 1017323"/>
                <a:gd name="connsiteX17" fmla="*/ 639358 w 750997"/>
                <a:gd name="connsiteY17" fmla="*/ 12435 h 1017323"/>
                <a:gd name="connsiteX18" fmla="*/ 717660 w 750997"/>
                <a:gd name="connsiteY18" fmla="*/ 44869 h 1017323"/>
                <a:gd name="connsiteX19" fmla="*/ 750094 w 750997"/>
                <a:gd name="connsiteY19" fmla="*/ 123171 h 1017323"/>
                <a:gd name="connsiteX20" fmla="*/ 750094 w 750997"/>
                <a:gd name="connsiteY20" fmla="*/ 906587 h 1017323"/>
                <a:gd name="connsiteX21" fmla="*/ 750997 w 750997"/>
                <a:gd name="connsiteY21"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126735 h 1017323"/>
                <a:gd name="connsiteX4" fmla="*/ 86519 w 750997"/>
                <a:gd name="connsiteY4" fmla="*/ 91810 h 1017323"/>
                <a:gd name="connsiteX5" fmla="*/ 121444 w 750997"/>
                <a:gd name="connsiteY5" fmla="*/ 91016 h 1017323"/>
                <a:gd name="connsiteX6" fmla="*/ 619125 w 750997"/>
                <a:gd name="connsiteY6" fmla="*/ 88635 h 1017323"/>
                <a:gd name="connsiteX7" fmla="*/ 673894 w 750997"/>
                <a:gd name="connsiteY7" fmla="*/ 91810 h 1017323"/>
                <a:gd name="connsiteX8" fmla="*/ 671513 w 750997"/>
                <a:gd name="connsiteY8" fmla="*/ 141023 h 1017323"/>
                <a:gd name="connsiteX9" fmla="*/ 671512 w 750997"/>
                <a:gd name="connsiteY9" fmla="*/ 969698 h 1017323"/>
                <a:gd name="connsiteX10" fmla="*/ 669131 w 750997"/>
                <a:gd name="connsiteY10" fmla="*/ 1007798 h 1017323"/>
                <a:gd name="connsiteX11" fmla="*/ 621507 w 750997"/>
                <a:gd name="connsiteY11" fmla="*/ 1014941 h 1017323"/>
                <a:gd name="connsiteX12" fmla="*/ 110736 w 750997"/>
                <a:gd name="connsiteY12" fmla="*/ 1017323 h 1017323"/>
                <a:gd name="connsiteX13" fmla="*/ 32434 w 750997"/>
                <a:gd name="connsiteY13" fmla="*/ 984889 h 1017323"/>
                <a:gd name="connsiteX14" fmla="*/ 0 w 750997"/>
                <a:gd name="connsiteY14" fmla="*/ 906587 h 1017323"/>
                <a:gd name="connsiteX15" fmla="*/ 0 w 750997"/>
                <a:gd name="connsiteY15" fmla="*/ 123171 h 1017323"/>
                <a:gd name="connsiteX16" fmla="*/ 32434 w 750997"/>
                <a:gd name="connsiteY16" fmla="*/ 44869 h 1017323"/>
                <a:gd name="connsiteX17" fmla="*/ 110736 w 750997"/>
                <a:gd name="connsiteY17" fmla="*/ 12435 h 1017323"/>
                <a:gd name="connsiteX18" fmla="*/ 639358 w 750997"/>
                <a:gd name="connsiteY18" fmla="*/ 12435 h 1017323"/>
                <a:gd name="connsiteX19" fmla="*/ 717660 w 750997"/>
                <a:gd name="connsiteY19" fmla="*/ 44869 h 1017323"/>
                <a:gd name="connsiteX20" fmla="*/ 750094 w 750997"/>
                <a:gd name="connsiteY20" fmla="*/ 123171 h 1017323"/>
                <a:gd name="connsiteX21" fmla="*/ 750094 w 750997"/>
                <a:gd name="connsiteY21" fmla="*/ 906587 h 1017323"/>
                <a:gd name="connsiteX22" fmla="*/ 750997 w 750997"/>
                <a:gd name="connsiteY22"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619125 w 750997"/>
                <a:gd name="connsiteY7" fmla="*/ 88635 h 1017323"/>
                <a:gd name="connsiteX8" fmla="*/ 673894 w 750997"/>
                <a:gd name="connsiteY8" fmla="*/ 91810 h 1017323"/>
                <a:gd name="connsiteX9" fmla="*/ 671513 w 750997"/>
                <a:gd name="connsiteY9" fmla="*/ 141023 h 1017323"/>
                <a:gd name="connsiteX10" fmla="*/ 671512 w 750997"/>
                <a:gd name="connsiteY10" fmla="*/ 969698 h 1017323"/>
                <a:gd name="connsiteX11" fmla="*/ 669131 w 750997"/>
                <a:gd name="connsiteY11" fmla="*/ 1007798 h 1017323"/>
                <a:gd name="connsiteX12" fmla="*/ 621507 w 750997"/>
                <a:gd name="connsiteY12" fmla="*/ 1014941 h 1017323"/>
                <a:gd name="connsiteX13" fmla="*/ 110736 w 750997"/>
                <a:gd name="connsiteY13" fmla="*/ 1017323 h 1017323"/>
                <a:gd name="connsiteX14" fmla="*/ 32434 w 750997"/>
                <a:gd name="connsiteY14" fmla="*/ 984889 h 1017323"/>
                <a:gd name="connsiteX15" fmla="*/ 0 w 750997"/>
                <a:gd name="connsiteY15" fmla="*/ 906587 h 1017323"/>
                <a:gd name="connsiteX16" fmla="*/ 0 w 750997"/>
                <a:gd name="connsiteY16" fmla="*/ 123171 h 1017323"/>
                <a:gd name="connsiteX17" fmla="*/ 32434 w 750997"/>
                <a:gd name="connsiteY17" fmla="*/ 44869 h 1017323"/>
                <a:gd name="connsiteX18" fmla="*/ 110736 w 750997"/>
                <a:gd name="connsiteY18" fmla="*/ 12435 h 1017323"/>
                <a:gd name="connsiteX19" fmla="*/ 639358 w 750997"/>
                <a:gd name="connsiteY19" fmla="*/ 12435 h 1017323"/>
                <a:gd name="connsiteX20" fmla="*/ 717660 w 750997"/>
                <a:gd name="connsiteY20" fmla="*/ 44869 h 1017323"/>
                <a:gd name="connsiteX21" fmla="*/ 750094 w 750997"/>
                <a:gd name="connsiteY21" fmla="*/ 123171 h 1017323"/>
                <a:gd name="connsiteX22" fmla="*/ 750094 w 750997"/>
                <a:gd name="connsiteY22" fmla="*/ 906587 h 1017323"/>
                <a:gd name="connsiteX23" fmla="*/ 750997 w 750997"/>
                <a:gd name="connsiteY23"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404813 w 750997"/>
                <a:gd name="connsiteY7" fmla="*/ 83874 h 1017323"/>
                <a:gd name="connsiteX8" fmla="*/ 619125 w 750997"/>
                <a:gd name="connsiteY8" fmla="*/ 88635 h 1017323"/>
                <a:gd name="connsiteX9" fmla="*/ 673894 w 750997"/>
                <a:gd name="connsiteY9" fmla="*/ 91810 h 1017323"/>
                <a:gd name="connsiteX10" fmla="*/ 671513 w 750997"/>
                <a:gd name="connsiteY10" fmla="*/ 141023 h 1017323"/>
                <a:gd name="connsiteX11" fmla="*/ 671512 w 750997"/>
                <a:gd name="connsiteY11" fmla="*/ 969698 h 1017323"/>
                <a:gd name="connsiteX12" fmla="*/ 669131 w 750997"/>
                <a:gd name="connsiteY12" fmla="*/ 1007798 h 1017323"/>
                <a:gd name="connsiteX13" fmla="*/ 621507 w 750997"/>
                <a:gd name="connsiteY13" fmla="*/ 1014941 h 1017323"/>
                <a:gd name="connsiteX14" fmla="*/ 110736 w 750997"/>
                <a:gd name="connsiteY14" fmla="*/ 1017323 h 1017323"/>
                <a:gd name="connsiteX15" fmla="*/ 32434 w 750997"/>
                <a:gd name="connsiteY15" fmla="*/ 984889 h 1017323"/>
                <a:gd name="connsiteX16" fmla="*/ 0 w 750997"/>
                <a:gd name="connsiteY16" fmla="*/ 906587 h 1017323"/>
                <a:gd name="connsiteX17" fmla="*/ 0 w 750997"/>
                <a:gd name="connsiteY17" fmla="*/ 123171 h 1017323"/>
                <a:gd name="connsiteX18" fmla="*/ 32434 w 750997"/>
                <a:gd name="connsiteY18" fmla="*/ 44869 h 1017323"/>
                <a:gd name="connsiteX19" fmla="*/ 110736 w 750997"/>
                <a:gd name="connsiteY19" fmla="*/ 12435 h 1017323"/>
                <a:gd name="connsiteX20" fmla="*/ 639358 w 750997"/>
                <a:gd name="connsiteY20" fmla="*/ 12435 h 1017323"/>
                <a:gd name="connsiteX21" fmla="*/ 717660 w 750997"/>
                <a:gd name="connsiteY21" fmla="*/ 44869 h 1017323"/>
                <a:gd name="connsiteX22" fmla="*/ 750094 w 750997"/>
                <a:gd name="connsiteY22" fmla="*/ 123171 h 1017323"/>
                <a:gd name="connsiteX23" fmla="*/ 750094 w 750997"/>
                <a:gd name="connsiteY23" fmla="*/ 906587 h 1017323"/>
                <a:gd name="connsiteX24" fmla="*/ 750997 w 750997"/>
                <a:gd name="connsiteY24"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619125 w 750997"/>
                <a:gd name="connsiteY7" fmla="*/ 88635 h 1017323"/>
                <a:gd name="connsiteX8" fmla="*/ 673894 w 750997"/>
                <a:gd name="connsiteY8" fmla="*/ 91810 h 1017323"/>
                <a:gd name="connsiteX9" fmla="*/ 671513 w 750997"/>
                <a:gd name="connsiteY9" fmla="*/ 141023 h 1017323"/>
                <a:gd name="connsiteX10" fmla="*/ 671512 w 750997"/>
                <a:gd name="connsiteY10" fmla="*/ 969698 h 1017323"/>
                <a:gd name="connsiteX11" fmla="*/ 669131 w 750997"/>
                <a:gd name="connsiteY11" fmla="*/ 1007798 h 1017323"/>
                <a:gd name="connsiteX12" fmla="*/ 621507 w 750997"/>
                <a:gd name="connsiteY12" fmla="*/ 1014941 h 1017323"/>
                <a:gd name="connsiteX13" fmla="*/ 110736 w 750997"/>
                <a:gd name="connsiteY13" fmla="*/ 1017323 h 1017323"/>
                <a:gd name="connsiteX14" fmla="*/ 32434 w 750997"/>
                <a:gd name="connsiteY14" fmla="*/ 984889 h 1017323"/>
                <a:gd name="connsiteX15" fmla="*/ 0 w 750997"/>
                <a:gd name="connsiteY15" fmla="*/ 906587 h 1017323"/>
                <a:gd name="connsiteX16" fmla="*/ 0 w 750997"/>
                <a:gd name="connsiteY16" fmla="*/ 123171 h 1017323"/>
                <a:gd name="connsiteX17" fmla="*/ 32434 w 750997"/>
                <a:gd name="connsiteY17" fmla="*/ 44869 h 1017323"/>
                <a:gd name="connsiteX18" fmla="*/ 110736 w 750997"/>
                <a:gd name="connsiteY18" fmla="*/ 12435 h 1017323"/>
                <a:gd name="connsiteX19" fmla="*/ 639358 w 750997"/>
                <a:gd name="connsiteY19" fmla="*/ 12435 h 1017323"/>
                <a:gd name="connsiteX20" fmla="*/ 717660 w 750997"/>
                <a:gd name="connsiteY20" fmla="*/ 44869 h 1017323"/>
                <a:gd name="connsiteX21" fmla="*/ 750094 w 750997"/>
                <a:gd name="connsiteY21" fmla="*/ 123171 h 1017323"/>
                <a:gd name="connsiteX22" fmla="*/ 750094 w 750997"/>
                <a:gd name="connsiteY22" fmla="*/ 906587 h 1017323"/>
                <a:gd name="connsiteX23" fmla="*/ 750997 w 750997"/>
                <a:gd name="connsiteY23"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619125 w 750997"/>
                <a:gd name="connsiteY7" fmla="*/ 88635 h 1017323"/>
                <a:gd name="connsiteX8" fmla="*/ 673894 w 750997"/>
                <a:gd name="connsiteY8" fmla="*/ 91810 h 1017323"/>
                <a:gd name="connsiteX9" fmla="*/ 671513 w 750997"/>
                <a:gd name="connsiteY9" fmla="*/ 141023 h 1017323"/>
                <a:gd name="connsiteX10" fmla="*/ 671512 w 750997"/>
                <a:gd name="connsiteY10" fmla="*/ 969698 h 1017323"/>
                <a:gd name="connsiteX11" fmla="*/ 669131 w 750997"/>
                <a:gd name="connsiteY11" fmla="*/ 1007798 h 1017323"/>
                <a:gd name="connsiteX12" fmla="*/ 621507 w 750997"/>
                <a:gd name="connsiteY12" fmla="*/ 1014941 h 1017323"/>
                <a:gd name="connsiteX13" fmla="*/ 110736 w 750997"/>
                <a:gd name="connsiteY13" fmla="*/ 1017323 h 1017323"/>
                <a:gd name="connsiteX14" fmla="*/ 32434 w 750997"/>
                <a:gd name="connsiteY14" fmla="*/ 984889 h 1017323"/>
                <a:gd name="connsiteX15" fmla="*/ 0 w 750997"/>
                <a:gd name="connsiteY15" fmla="*/ 906587 h 1017323"/>
                <a:gd name="connsiteX16" fmla="*/ 0 w 750997"/>
                <a:gd name="connsiteY16" fmla="*/ 123171 h 1017323"/>
                <a:gd name="connsiteX17" fmla="*/ 32434 w 750997"/>
                <a:gd name="connsiteY17" fmla="*/ 44869 h 1017323"/>
                <a:gd name="connsiteX18" fmla="*/ 110736 w 750997"/>
                <a:gd name="connsiteY18" fmla="*/ 12435 h 1017323"/>
                <a:gd name="connsiteX19" fmla="*/ 639358 w 750997"/>
                <a:gd name="connsiteY19" fmla="*/ 12435 h 1017323"/>
                <a:gd name="connsiteX20" fmla="*/ 717660 w 750997"/>
                <a:gd name="connsiteY20" fmla="*/ 44869 h 1017323"/>
                <a:gd name="connsiteX21" fmla="*/ 750094 w 750997"/>
                <a:gd name="connsiteY21" fmla="*/ 123171 h 1017323"/>
                <a:gd name="connsiteX22" fmla="*/ 750094 w 750997"/>
                <a:gd name="connsiteY22" fmla="*/ 906587 h 1017323"/>
                <a:gd name="connsiteX23" fmla="*/ 750997 w 750997"/>
                <a:gd name="connsiteY23" fmla="*/ 1015845 h 1017323"/>
                <a:gd name="connsiteX0" fmla="*/ 347663 w 750997"/>
                <a:gd name="connsiteY0" fmla="*/ 857515 h 1022615"/>
                <a:gd name="connsiteX1" fmla="*/ 121444 w 750997"/>
                <a:gd name="connsiteY1" fmla="*/ 858309 h 1022615"/>
                <a:gd name="connsiteX2" fmla="*/ 86519 w 750997"/>
                <a:gd name="connsiteY2" fmla="*/ 857515 h 1022615"/>
                <a:gd name="connsiteX3" fmla="*/ 86519 w 750997"/>
                <a:gd name="connsiteY3" fmla="*/ 817828 h 1022615"/>
                <a:gd name="connsiteX4" fmla="*/ 86519 w 750997"/>
                <a:gd name="connsiteY4" fmla="*/ 132027 h 1022615"/>
                <a:gd name="connsiteX5" fmla="*/ 86519 w 750997"/>
                <a:gd name="connsiteY5" fmla="*/ 97102 h 1022615"/>
                <a:gd name="connsiteX6" fmla="*/ 121444 w 750997"/>
                <a:gd name="connsiteY6" fmla="*/ 96308 h 1022615"/>
                <a:gd name="connsiteX7" fmla="*/ 619125 w 750997"/>
                <a:gd name="connsiteY7" fmla="*/ 93927 h 1022615"/>
                <a:gd name="connsiteX8" fmla="*/ 673894 w 750997"/>
                <a:gd name="connsiteY8" fmla="*/ 97102 h 1022615"/>
                <a:gd name="connsiteX9" fmla="*/ 671513 w 750997"/>
                <a:gd name="connsiteY9" fmla="*/ 146315 h 1022615"/>
                <a:gd name="connsiteX10" fmla="*/ 671512 w 750997"/>
                <a:gd name="connsiteY10" fmla="*/ 974990 h 1022615"/>
                <a:gd name="connsiteX11" fmla="*/ 669131 w 750997"/>
                <a:gd name="connsiteY11" fmla="*/ 1013090 h 1022615"/>
                <a:gd name="connsiteX12" fmla="*/ 621507 w 750997"/>
                <a:gd name="connsiteY12" fmla="*/ 1020233 h 1022615"/>
                <a:gd name="connsiteX13" fmla="*/ 110736 w 750997"/>
                <a:gd name="connsiteY13" fmla="*/ 1022615 h 1022615"/>
                <a:gd name="connsiteX14" fmla="*/ 32434 w 750997"/>
                <a:gd name="connsiteY14" fmla="*/ 990181 h 1022615"/>
                <a:gd name="connsiteX15" fmla="*/ 0 w 750997"/>
                <a:gd name="connsiteY15" fmla="*/ 911879 h 1022615"/>
                <a:gd name="connsiteX16" fmla="*/ 0 w 750997"/>
                <a:gd name="connsiteY16" fmla="*/ 128463 h 1022615"/>
                <a:gd name="connsiteX17" fmla="*/ 32434 w 750997"/>
                <a:gd name="connsiteY17" fmla="*/ 50161 h 1022615"/>
                <a:gd name="connsiteX18" fmla="*/ 110736 w 750997"/>
                <a:gd name="connsiteY18" fmla="*/ 17727 h 1022615"/>
                <a:gd name="connsiteX19" fmla="*/ 639358 w 750997"/>
                <a:gd name="connsiteY19" fmla="*/ 17727 h 1022615"/>
                <a:gd name="connsiteX20" fmla="*/ 717660 w 750997"/>
                <a:gd name="connsiteY20" fmla="*/ 50161 h 1022615"/>
                <a:gd name="connsiteX21" fmla="*/ 750094 w 750997"/>
                <a:gd name="connsiteY21" fmla="*/ 128463 h 1022615"/>
                <a:gd name="connsiteX22" fmla="*/ 750094 w 750997"/>
                <a:gd name="connsiteY22" fmla="*/ 911879 h 1022615"/>
                <a:gd name="connsiteX23" fmla="*/ 750997 w 750997"/>
                <a:gd name="connsiteY23" fmla="*/ 1021137 h 1022615"/>
                <a:gd name="connsiteX0" fmla="*/ 347663 w 750997"/>
                <a:gd name="connsiteY0" fmla="*/ 857515 h 1022615"/>
                <a:gd name="connsiteX1" fmla="*/ 121444 w 750997"/>
                <a:gd name="connsiteY1" fmla="*/ 858309 h 1022615"/>
                <a:gd name="connsiteX2" fmla="*/ 86519 w 750997"/>
                <a:gd name="connsiteY2" fmla="*/ 857515 h 1022615"/>
                <a:gd name="connsiteX3" fmla="*/ 86519 w 750997"/>
                <a:gd name="connsiteY3" fmla="*/ 817828 h 1022615"/>
                <a:gd name="connsiteX4" fmla="*/ 86519 w 750997"/>
                <a:gd name="connsiteY4" fmla="*/ 132027 h 1022615"/>
                <a:gd name="connsiteX5" fmla="*/ 86519 w 750997"/>
                <a:gd name="connsiteY5" fmla="*/ 97102 h 1022615"/>
                <a:gd name="connsiteX6" fmla="*/ 121444 w 750997"/>
                <a:gd name="connsiteY6" fmla="*/ 96308 h 1022615"/>
                <a:gd name="connsiteX7" fmla="*/ 619125 w 750997"/>
                <a:gd name="connsiteY7" fmla="*/ 93927 h 1022615"/>
                <a:gd name="connsiteX8" fmla="*/ 647700 w 750997"/>
                <a:gd name="connsiteY8" fmla="*/ 96309 h 1022615"/>
                <a:gd name="connsiteX9" fmla="*/ 673894 w 750997"/>
                <a:gd name="connsiteY9" fmla="*/ 97102 h 1022615"/>
                <a:gd name="connsiteX10" fmla="*/ 671513 w 750997"/>
                <a:gd name="connsiteY10" fmla="*/ 146315 h 1022615"/>
                <a:gd name="connsiteX11" fmla="*/ 671512 w 750997"/>
                <a:gd name="connsiteY11" fmla="*/ 974990 h 1022615"/>
                <a:gd name="connsiteX12" fmla="*/ 669131 w 750997"/>
                <a:gd name="connsiteY12" fmla="*/ 1013090 h 1022615"/>
                <a:gd name="connsiteX13" fmla="*/ 621507 w 750997"/>
                <a:gd name="connsiteY13" fmla="*/ 1020233 h 1022615"/>
                <a:gd name="connsiteX14" fmla="*/ 110736 w 750997"/>
                <a:gd name="connsiteY14" fmla="*/ 1022615 h 1022615"/>
                <a:gd name="connsiteX15" fmla="*/ 32434 w 750997"/>
                <a:gd name="connsiteY15" fmla="*/ 990181 h 1022615"/>
                <a:gd name="connsiteX16" fmla="*/ 0 w 750997"/>
                <a:gd name="connsiteY16" fmla="*/ 911879 h 1022615"/>
                <a:gd name="connsiteX17" fmla="*/ 0 w 750997"/>
                <a:gd name="connsiteY17" fmla="*/ 128463 h 1022615"/>
                <a:gd name="connsiteX18" fmla="*/ 32434 w 750997"/>
                <a:gd name="connsiteY18" fmla="*/ 50161 h 1022615"/>
                <a:gd name="connsiteX19" fmla="*/ 110736 w 750997"/>
                <a:gd name="connsiteY19" fmla="*/ 17727 h 1022615"/>
                <a:gd name="connsiteX20" fmla="*/ 639358 w 750997"/>
                <a:gd name="connsiteY20" fmla="*/ 17727 h 1022615"/>
                <a:gd name="connsiteX21" fmla="*/ 717660 w 750997"/>
                <a:gd name="connsiteY21" fmla="*/ 50161 h 1022615"/>
                <a:gd name="connsiteX22" fmla="*/ 750094 w 750997"/>
                <a:gd name="connsiteY22" fmla="*/ 128463 h 1022615"/>
                <a:gd name="connsiteX23" fmla="*/ 750094 w 750997"/>
                <a:gd name="connsiteY23" fmla="*/ 911879 h 1022615"/>
                <a:gd name="connsiteX24" fmla="*/ 750997 w 750997"/>
                <a:gd name="connsiteY24" fmla="*/ 1021137 h 1022615"/>
                <a:gd name="connsiteX0" fmla="*/ 347663 w 750997"/>
                <a:gd name="connsiteY0" fmla="*/ 857515 h 1022615"/>
                <a:gd name="connsiteX1" fmla="*/ 121444 w 750997"/>
                <a:gd name="connsiteY1" fmla="*/ 858309 h 1022615"/>
                <a:gd name="connsiteX2" fmla="*/ 86519 w 750997"/>
                <a:gd name="connsiteY2" fmla="*/ 857515 h 1022615"/>
                <a:gd name="connsiteX3" fmla="*/ 86519 w 750997"/>
                <a:gd name="connsiteY3" fmla="*/ 817828 h 1022615"/>
                <a:gd name="connsiteX4" fmla="*/ 86519 w 750997"/>
                <a:gd name="connsiteY4" fmla="*/ 132027 h 1022615"/>
                <a:gd name="connsiteX5" fmla="*/ 86519 w 750997"/>
                <a:gd name="connsiteY5" fmla="*/ 97102 h 1022615"/>
                <a:gd name="connsiteX6" fmla="*/ 121444 w 750997"/>
                <a:gd name="connsiteY6" fmla="*/ 96308 h 1022615"/>
                <a:gd name="connsiteX7" fmla="*/ 619125 w 750997"/>
                <a:gd name="connsiteY7" fmla="*/ 93927 h 1022615"/>
                <a:gd name="connsiteX8" fmla="*/ 673894 w 750997"/>
                <a:gd name="connsiteY8" fmla="*/ 97102 h 1022615"/>
                <a:gd name="connsiteX9" fmla="*/ 671513 w 750997"/>
                <a:gd name="connsiteY9" fmla="*/ 146315 h 1022615"/>
                <a:gd name="connsiteX10" fmla="*/ 671512 w 750997"/>
                <a:gd name="connsiteY10" fmla="*/ 974990 h 1022615"/>
                <a:gd name="connsiteX11" fmla="*/ 669131 w 750997"/>
                <a:gd name="connsiteY11" fmla="*/ 1013090 h 1022615"/>
                <a:gd name="connsiteX12" fmla="*/ 621507 w 750997"/>
                <a:gd name="connsiteY12" fmla="*/ 1020233 h 1022615"/>
                <a:gd name="connsiteX13" fmla="*/ 110736 w 750997"/>
                <a:gd name="connsiteY13" fmla="*/ 1022615 h 1022615"/>
                <a:gd name="connsiteX14" fmla="*/ 32434 w 750997"/>
                <a:gd name="connsiteY14" fmla="*/ 990181 h 1022615"/>
                <a:gd name="connsiteX15" fmla="*/ 0 w 750997"/>
                <a:gd name="connsiteY15" fmla="*/ 911879 h 1022615"/>
                <a:gd name="connsiteX16" fmla="*/ 0 w 750997"/>
                <a:gd name="connsiteY16" fmla="*/ 128463 h 1022615"/>
                <a:gd name="connsiteX17" fmla="*/ 32434 w 750997"/>
                <a:gd name="connsiteY17" fmla="*/ 50161 h 1022615"/>
                <a:gd name="connsiteX18" fmla="*/ 110736 w 750997"/>
                <a:gd name="connsiteY18" fmla="*/ 17727 h 1022615"/>
                <a:gd name="connsiteX19" fmla="*/ 639358 w 750997"/>
                <a:gd name="connsiteY19" fmla="*/ 17727 h 1022615"/>
                <a:gd name="connsiteX20" fmla="*/ 717660 w 750997"/>
                <a:gd name="connsiteY20" fmla="*/ 50161 h 1022615"/>
                <a:gd name="connsiteX21" fmla="*/ 750094 w 750997"/>
                <a:gd name="connsiteY21" fmla="*/ 128463 h 1022615"/>
                <a:gd name="connsiteX22" fmla="*/ 750094 w 750997"/>
                <a:gd name="connsiteY22" fmla="*/ 911879 h 1022615"/>
                <a:gd name="connsiteX23" fmla="*/ 750997 w 750997"/>
                <a:gd name="connsiteY23" fmla="*/ 1021137 h 1022615"/>
                <a:gd name="connsiteX0" fmla="*/ 347663 w 750997"/>
                <a:gd name="connsiteY0" fmla="*/ 857515 h 1022615"/>
                <a:gd name="connsiteX1" fmla="*/ 121444 w 750997"/>
                <a:gd name="connsiteY1" fmla="*/ 858309 h 1022615"/>
                <a:gd name="connsiteX2" fmla="*/ 86519 w 750997"/>
                <a:gd name="connsiteY2" fmla="*/ 857515 h 1022615"/>
                <a:gd name="connsiteX3" fmla="*/ 86519 w 750997"/>
                <a:gd name="connsiteY3" fmla="*/ 817828 h 1022615"/>
                <a:gd name="connsiteX4" fmla="*/ 86519 w 750997"/>
                <a:gd name="connsiteY4" fmla="*/ 132027 h 1022615"/>
                <a:gd name="connsiteX5" fmla="*/ 86519 w 750997"/>
                <a:gd name="connsiteY5" fmla="*/ 97102 h 1022615"/>
                <a:gd name="connsiteX6" fmla="*/ 121444 w 750997"/>
                <a:gd name="connsiteY6" fmla="*/ 96308 h 1022615"/>
                <a:gd name="connsiteX7" fmla="*/ 619125 w 750997"/>
                <a:gd name="connsiteY7" fmla="*/ 93927 h 1022615"/>
                <a:gd name="connsiteX8" fmla="*/ 673894 w 750997"/>
                <a:gd name="connsiteY8" fmla="*/ 97102 h 1022615"/>
                <a:gd name="connsiteX9" fmla="*/ 671513 w 750997"/>
                <a:gd name="connsiteY9" fmla="*/ 146315 h 1022615"/>
                <a:gd name="connsiteX10" fmla="*/ 671512 w 750997"/>
                <a:gd name="connsiteY10" fmla="*/ 974990 h 1022615"/>
                <a:gd name="connsiteX11" fmla="*/ 669131 w 750997"/>
                <a:gd name="connsiteY11" fmla="*/ 1013090 h 1022615"/>
                <a:gd name="connsiteX12" fmla="*/ 621507 w 750997"/>
                <a:gd name="connsiteY12" fmla="*/ 1020233 h 1022615"/>
                <a:gd name="connsiteX13" fmla="*/ 110736 w 750997"/>
                <a:gd name="connsiteY13" fmla="*/ 1022615 h 1022615"/>
                <a:gd name="connsiteX14" fmla="*/ 32434 w 750997"/>
                <a:gd name="connsiteY14" fmla="*/ 990181 h 1022615"/>
                <a:gd name="connsiteX15" fmla="*/ 0 w 750997"/>
                <a:gd name="connsiteY15" fmla="*/ 911879 h 1022615"/>
                <a:gd name="connsiteX16" fmla="*/ 0 w 750997"/>
                <a:gd name="connsiteY16" fmla="*/ 128463 h 1022615"/>
                <a:gd name="connsiteX17" fmla="*/ 32434 w 750997"/>
                <a:gd name="connsiteY17" fmla="*/ 50161 h 1022615"/>
                <a:gd name="connsiteX18" fmla="*/ 110736 w 750997"/>
                <a:gd name="connsiteY18" fmla="*/ 17727 h 1022615"/>
                <a:gd name="connsiteX19" fmla="*/ 639358 w 750997"/>
                <a:gd name="connsiteY19" fmla="*/ 17727 h 1022615"/>
                <a:gd name="connsiteX20" fmla="*/ 717660 w 750997"/>
                <a:gd name="connsiteY20" fmla="*/ 50161 h 1022615"/>
                <a:gd name="connsiteX21" fmla="*/ 750094 w 750997"/>
                <a:gd name="connsiteY21" fmla="*/ 128463 h 1022615"/>
                <a:gd name="connsiteX22" fmla="*/ 750094 w 750997"/>
                <a:gd name="connsiteY22" fmla="*/ 911879 h 1022615"/>
                <a:gd name="connsiteX23" fmla="*/ 750997 w 750997"/>
                <a:gd name="connsiteY23" fmla="*/ 1021137 h 1022615"/>
                <a:gd name="connsiteX0" fmla="*/ 347663 w 750997"/>
                <a:gd name="connsiteY0" fmla="*/ 857515 h 1022615"/>
                <a:gd name="connsiteX1" fmla="*/ 121444 w 750997"/>
                <a:gd name="connsiteY1" fmla="*/ 858309 h 1022615"/>
                <a:gd name="connsiteX2" fmla="*/ 86519 w 750997"/>
                <a:gd name="connsiteY2" fmla="*/ 857515 h 1022615"/>
                <a:gd name="connsiteX3" fmla="*/ 86519 w 750997"/>
                <a:gd name="connsiteY3" fmla="*/ 817828 h 1022615"/>
                <a:gd name="connsiteX4" fmla="*/ 86519 w 750997"/>
                <a:gd name="connsiteY4" fmla="*/ 132027 h 1022615"/>
                <a:gd name="connsiteX5" fmla="*/ 86519 w 750997"/>
                <a:gd name="connsiteY5" fmla="*/ 97102 h 1022615"/>
                <a:gd name="connsiteX6" fmla="*/ 121444 w 750997"/>
                <a:gd name="connsiteY6" fmla="*/ 96308 h 1022615"/>
                <a:gd name="connsiteX7" fmla="*/ 619125 w 750997"/>
                <a:gd name="connsiteY7" fmla="*/ 93927 h 1022615"/>
                <a:gd name="connsiteX8" fmla="*/ 673894 w 750997"/>
                <a:gd name="connsiteY8" fmla="*/ 97102 h 1022615"/>
                <a:gd name="connsiteX9" fmla="*/ 671513 w 750997"/>
                <a:gd name="connsiteY9" fmla="*/ 146315 h 1022615"/>
                <a:gd name="connsiteX10" fmla="*/ 671512 w 750997"/>
                <a:gd name="connsiteY10" fmla="*/ 974990 h 1022615"/>
                <a:gd name="connsiteX11" fmla="*/ 669131 w 750997"/>
                <a:gd name="connsiteY11" fmla="*/ 1013090 h 1022615"/>
                <a:gd name="connsiteX12" fmla="*/ 621507 w 750997"/>
                <a:gd name="connsiteY12" fmla="*/ 1020233 h 1022615"/>
                <a:gd name="connsiteX13" fmla="*/ 110736 w 750997"/>
                <a:gd name="connsiteY13" fmla="*/ 1022615 h 1022615"/>
                <a:gd name="connsiteX14" fmla="*/ 32434 w 750997"/>
                <a:gd name="connsiteY14" fmla="*/ 990181 h 1022615"/>
                <a:gd name="connsiteX15" fmla="*/ 0 w 750997"/>
                <a:gd name="connsiteY15" fmla="*/ 911879 h 1022615"/>
                <a:gd name="connsiteX16" fmla="*/ 0 w 750997"/>
                <a:gd name="connsiteY16" fmla="*/ 128463 h 1022615"/>
                <a:gd name="connsiteX17" fmla="*/ 32434 w 750997"/>
                <a:gd name="connsiteY17" fmla="*/ 50161 h 1022615"/>
                <a:gd name="connsiteX18" fmla="*/ 110736 w 750997"/>
                <a:gd name="connsiteY18" fmla="*/ 17727 h 1022615"/>
                <a:gd name="connsiteX19" fmla="*/ 639358 w 750997"/>
                <a:gd name="connsiteY19" fmla="*/ 17727 h 1022615"/>
                <a:gd name="connsiteX20" fmla="*/ 717660 w 750997"/>
                <a:gd name="connsiteY20" fmla="*/ 50161 h 1022615"/>
                <a:gd name="connsiteX21" fmla="*/ 750094 w 750997"/>
                <a:gd name="connsiteY21" fmla="*/ 128463 h 1022615"/>
                <a:gd name="connsiteX22" fmla="*/ 750094 w 750997"/>
                <a:gd name="connsiteY22" fmla="*/ 911879 h 1022615"/>
                <a:gd name="connsiteX23" fmla="*/ 750997 w 750997"/>
                <a:gd name="connsiteY23" fmla="*/ 1021137 h 1022615"/>
                <a:gd name="connsiteX0" fmla="*/ 347663 w 750997"/>
                <a:gd name="connsiteY0" fmla="*/ 858044 h 1023144"/>
                <a:gd name="connsiteX1" fmla="*/ 121444 w 750997"/>
                <a:gd name="connsiteY1" fmla="*/ 858838 h 1023144"/>
                <a:gd name="connsiteX2" fmla="*/ 86519 w 750997"/>
                <a:gd name="connsiteY2" fmla="*/ 858044 h 1023144"/>
                <a:gd name="connsiteX3" fmla="*/ 86519 w 750997"/>
                <a:gd name="connsiteY3" fmla="*/ 818357 h 1023144"/>
                <a:gd name="connsiteX4" fmla="*/ 86519 w 750997"/>
                <a:gd name="connsiteY4" fmla="*/ 132556 h 1023144"/>
                <a:gd name="connsiteX5" fmla="*/ 86519 w 750997"/>
                <a:gd name="connsiteY5" fmla="*/ 97631 h 1023144"/>
                <a:gd name="connsiteX6" fmla="*/ 121444 w 750997"/>
                <a:gd name="connsiteY6" fmla="*/ 96837 h 1023144"/>
                <a:gd name="connsiteX7" fmla="*/ 619125 w 750997"/>
                <a:gd name="connsiteY7" fmla="*/ 94456 h 1023144"/>
                <a:gd name="connsiteX8" fmla="*/ 671513 w 750997"/>
                <a:gd name="connsiteY8" fmla="*/ 146844 h 1023144"/>
                <a:gd name="connsiteX9" fmla="*/ 671512 w 750997"/>
                <a:gd name="connsiteY9" fmla="*/ 975519 h 1023144"/>
                <a:gd name="connsiteX10" fmla="*/ 669131 w 750997"/>
                <a:gd name="connsiteY10" fmla="*/ 1013619 h 1023144"/>
                <a:gd name="connsiteX11" fmla="*/ 621507 w 750997"/>
                <a:gd name="connsiteY11" fmla="*/ 1020762 h 1023144"/>
                <a:gd name="connsiteX12" fmla="*/ 110736 w 750997"/>
                <a:gd name="connsiteY12" fmla="*/ 1023144 h 1023144"/>
                <a:gd name="connsiteX13" fmla="*/ 32434 w 750997"/>
                <a:gd name="connsiteY13" fmla="*/ 990710 h 1023144"/>
                <a:gd name="connsiteX14" fmla="*/ 0 w 750997"/>
                <a:gd name="connsiteY14" fmla="*/ 912408 h 1023144"/>
                <a:gd name="connsiteX15" fmla="*/ 0 w 750997"/>
                <a:gd name="connsiteY15" fmla="*/ 128992 h 1023144"/>
                <a:gd name="connsiteX16" fmla="*/ 32434 w 750997"/>
                <a:gd name="connsiteY16" fmla="*/ 50690 h 1023144"/>
                <a:gd name="connsiteX17" fmla="*/ 110736 w 750997"/>
                <a:gd name="connsiteY17" fmla="*/ 18256 h 1023144"/>
                <a:gd name="connsiteX18" fmla="*/ 639358 w 750997"/>
                <a:gd name="connsiteY18" fmla="*/ 18256 h 1023144"/>
                <a:gd name="connsiteX19" fmla="*/ 717660 w 750997"/>
                <a:gd name="connsiteY19" fmla="*/ 50690 h 1023144"/>
                <a:gd name="connsiteX20" fmla="*/ 750094 w 750997"/>
                <a:gd name="connsiteY20" fmla="*/ 128992 h 1023144"/>
                <a:gd name="connsiteX21" fmla="*/ 750094 w 750997"/>
                <a:gd name="connsiteY21" fmla="*/ 912408 h 1023144"/>
                <a:gd name="connsiteX22" fmla="*/ 750997 w 750997"/>
                <a:gd name="connsiteY22" fmla="*/ 1021666 h 1023144"/>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619125 w 750997"/>
                <a:gd name="connsiteY7" fmla="*/ 88635 h 1017323"/>
                <a:gd name="connsiteX8" fmla="*/ 671513 w 750997"/>
                <a:gd name="connsiteY8" fmla="*/ 141023 h 1017323"/>
                <a:gd name="connsiteX9" fmla="*/ 671512 w 750997"/>
                <a:gd name="connsiteY9" fmla="*/ 969698 h 1017323"/>
                <a:gd name="connsiteX10" fmla="*/ 669131 w 750997"/>
                <a:gd name="connsiteY10" fmla="*/ 1007798 h 1017323"/>
                <a:gd name="connsiteX11" fmla="*/ 621507 w 750997"/>
                <a:gd name="connsiteY11" fmla="*/ 1014941 h 1017323"/>
                <a:gd name="connsiteX12" fmla="*/ 110736 w 750997"/>
                <a:gd name="connsiteY12" fmla="*/ 1017323 h 1017323"/>
                <a:gd name="connsiteX13" fmla="*/ 32434 w 750997"/>
                <a:gd name="connsiteY13" fmla="*/ 984889 h 1017323"/>
                <a:gd name="connsiteX14" fmla="*/ 0 w 750997"/>
                <a:gd name="connsiteY14" fmla="*/ 906587 h 1017323"/>
                <a:gd name="connsiteX15" fmla="*/ 0 w 750997"/>
                <a:gd name="connsiteY15" fmla="*/ 123171 h 1017323"/>
                <a:gd name="connsiteX16" fmla="*/ 32434 w 750997"/>
                <a:gd name="connsiteY16" fmla="*/ 44869 h 1017323"/>
                <a:gd name="connsiteX17" fmla="*/ 110736 w 750997"/>
                <a:gd name="connsiteY17" fmla="*/ 12435 h 1017323"/>
                <a:gd name="connsiteX18" fmla="*/ 639358 w 750997"/>
                <a:gd name="connsiteY18" fmla="*/ 12435 h 1017323"/>
                <a:gd name="connsiteX19" fmla="*/ 717660 w 750997"/>
                <a:gd name="connsiteY19" fmla="*/ 44869 h 1017323"/>
                <a:gd name="connsiteX20" fmla="*/ 750094 w 750997"/>
                <a:gd name="connsiteY20" fmla="*/ 123171 h 1017323"/>
                <a:gd name="connsiteX21" fmla="*/ 750094 w 750997"/>
                <a:gd name="connsiteY21" fmla="*/ 906587 h 1017323"/>
                <a:gd name="connsiteX22" fmla="*/ 750997 w 750997"/>
                <a:gd name="connsiteY22"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619125 w 750997"/>
                <a:gd name="connsiteY7" fmla="*/ 88635 h 1017323"/>
                <a:gd name="connsiteX8" fmla="*/ 671513 w 750997"/>
                <a:gd name="connsiteY8" fmla="*/ 141023 h 1017323"/>
                <a:gd name="connsiteX9" fmla="*/ 671512 w 750997"/>
                <a:gd name="connsiteY9" fmla="*/ 969698 h 1017323"/>
                <a:gd name="connsiteX10" fmla="*/ 669131 w 750997"/>
                <a:gd name="connsiteY10" fmla="*/ 1007798 h 1017323"/>
                <a:gd name="connsiteX11" fmla="*/ 621507 w 750997"/>
                <a:gd name="connsiteY11" fmla="*/ 1014941 h 1017323"/>
                <a:gd name="connsiteX12" fmla="*/ 110736 w 750997"/>
                <a:gd name="connsiteY12" fmla="*/ 1017323 h 1017323"/>
                <a:gd name="connsiteX13" fmla="*/ 32434 w 750997"/>
                <a:gd name="connsiteY13" fmla="*/ 984889 h 1017323"/>
                <a:gd name="connsiteX14" fmla="*/ 0 w 750997"/>
                <a:gd name="connsiteY14" fmla="*/ 906587 h 1017323"/>
                <a:gd name="connsiteX15" fmla="*/ 0 w 750997"/>
                <a:gd name="connsiteY15" fmla="*/ 123171 h 1017323"/>
                <a:gd name="connsiteX16" fmla="*/ 32434 w 750997"/>
                <a:gd name="connsiteY16" fmla="*/ 44869 h 1017323"/>
                <a:gd name="connsiteX17" fmla="*/ 110736 w 750997"/>
                <a:gd name="connsiteY17" fmla="*/ 12435 h 1017323"/>
                <a:gd name="connsiteX18" fmla="*/ 639358 w 750997"/>
                <a:gd name="connsiteY18" fmla="*/ 12435 h 1017323"/>
                <a:gd name="connsiteX19" fmla="*/ 717660 w 750997"/>
                <a:gd name="connsiteY19" fmla="*/ 44869 h 1017323"/>
                <a:gd name="connsiteX20" fmla="*/ 750094 w 750997"/>
                <a:gd name="connsiteY20" fmla="*/ 123171 h 1017323"/>
                <a:gd name="connsiteX21" fmla="*/ 750094 w 750997"/>
                <a:gd name="connsiteY21" fmla="*/ 906587 h 1017323"/>
                <a:gd name="connsiteX22" fmla="*/ 750997 w 750997"/>
                <a:gd name="connsiteY22" fmla="*/ 1015845 h 1017323"/>
                <a:gd name="connsiteX0" fmla="*/ 347663 w 750997"/>
                <a:gd name="connsiteY0" fmla="*/ 852223 h 1017323"/>
                <a:gd name="connsiteX1" fmla="*/ 121444 w 750997"/>
                <a:gd name="connsiteY1" fmla="*/ 853017 h 1017323"/>
                <a:gd name="connsiteX2" fmla="*/ 86519 w 750997"/>
                <a:gd name="connsiteY2" fmla="*/ 852223 h 1017323"/>
                <a:gd name="connsiteX3" fmla="*/ 86519 w 750997"/>
                <a:gd name="connsiteY3" fmla="*/ 812536 h 1017323"/>
                <a:gd name="connsiteX4" fmla="*/ 86519 w 750997"/>
                <a:gd name="connsiteY4" fmla="*/ 126735 h 1017323"/>
                <a:gd name="connsiteX5" fmla="*/ 86519 w 750997"/>
                <a:gd name="connsiteY5" fmla="*/ 91810 h 1017323"/>
                <a:gd name="connsiteX6" fmla="*/ 121444 w 750997"/>
                <a:gd name="connsiteY6" fmla="*/ 91016 h 1017323"/>
                <a:gd name="connsiteX7" fmla="*/ 619125 w 750997"/>
                <a:gd name="connsiteY7" fmla="*/ 88635 h 1017323"/>
                <a:gd name="connsiteX8" fmla="*/ 671513 w 750997"/>
                <a:gd name="connsiteY8" fmla="*/ 141023 h 1017323"/>
                <a:gd name="connsiteX9" fmla="*/ 671512 w 750997"/>
                <a:gd name="connsiteY9" fmla="*/ 969698 h 1017323"/>
                <a:gd name="connsiteX10" fmla="*/ 669131 w 750997"/>
                <a:gd name="connsiteY10" fmla="*/ 1007798 h 1017323"/>
                <a:gd name="connsiteX11" fmla="*/ 621507 w 750997"/>
                <a:gd name="connsiteY11" fmla="*/ 1014941 h 1017323"/>
                <a:gd name="connsiteX12" fmla="*/ 110736 w 750997"/>
                <a:gd name="connsiteY12" fmla="*/ 1017323 h 1017323"/>
                <a:gd name="connsiteX13" fmla="*/ 32434 w 750997"/>
                <a:gd name="connsiteY13" fmla="*/ 984889 h 1017323"/>
                <a:gd name="connsiteX14" fmla="*/ 0 w 750997"/>
                <a:gd name="connsiteY14" fmla="*/ 906587 h 1017323"/>
                <a:gd name="connsiteX15" fmla="*/ 0 w 750997"/>
                <a:gd name="connsiteY15" fmla="*/ 123171 h 1017323"/>
                <a:gd name="connsiteX16" fmla="*/ 32434 w 750997"/>
                <a:gd name="connsiteY16" fmla="*/ 44869 h 1017323"/>
                <a:gd name="connsiteX17" fmla="*/ 110736 w 750997"/>
                <a:gd name="connsiteY17" fmla="*/ 12435 h 1017323"/>
                <a:gd name="connsiteX18" fmla="*/ 639358 w 750997"/>
                <a:gd name="connsiteY18" fmla="*/ 12435 h 1017323"/>
                <a:gd name="connsiteX19" fmla="*/ 717660 w 750997"/>
                <a:gd name="connsiteY19" fmla="*/ 44869 h 1017323"/>
                <a:gd name="connsiteX20" fmla="*/ 750094 w 750997"/>
                <a:gd name="connsiteY20" fmla="*/ 123171 h 1017323"/>
                <a:gd name="connsiteX21" fmla="*/ 750094 w 750997"/>
                <a:gd name="connsiteY21" fmla="*/ 906587 h 1017323"/>
                <a:gd name="connsiteX22" fmla="*/ 750997 w 750997"/>
                <a:gd name="connsiteY22" fmla="*/ 1015845 h 1017323"/>
                <a:gd name="connsiteX0" fmla="*/ 347663 w 750997"/>
                <a:gd name="connsiteY0" fmla="*/ 845741 h 1010841"/>
                <a:gd name="connsiteX1" fmla="*/ 121444 w 750997"/>
                <a:gd name="connsiteY1" fmla="*/ 846535 h 1010841"/>
                <a:gd name="connsiteX2" fmla="*/ 86519 w 750997"/>
                <a:gd name="connsiteY2" fmla="*/ 845741 h 1010841"/>
                <a:gd name="connsiteX3" fmla="*/ 86519 w 750997"/>
                <a:gd name="connsiteY3" fmla="*/ 806054 h 1010841"/>
                <a:gd name="connsiteX4" fmla="*/ 86519 w 750997"/>
                <a:gd name="connsiteY4" fmla="*/ 120253 h 1010841"/>
                <a:gd name="connsiteX5" fmla="*/ 121444 w 750997"/>
                <a:gd name="connsiteY5" fmla="*/ 84534 h 1010841"/>
                <a:gd name="connsiteX6" fmla="*/ 619125 w 750997"/>
                <a:gd name="connsiteY6" fmla="*/ 82153 h 1010841"/>
                <a:gd name="connsiteX7" fmla="*/ 671513 w 750997"/>
                <a:gd name="connsiteY7" fmla="*/ 134541 h 1010841"/>
                <a:gd name="connsiteX8" fmla="*/ 671512 w 750997"/>
                <a:gd name="connsiteY8" fmla="*/ 963216 h 1010841"/>
                <a:gd name="connsiteX9" fmla="*/ 669131 w 750997"/>
                <a:gd name="connsiteY9" fmla="*/ 1001316 h 1010841"/>
                <a:gd name="connsiteX10" fmla="*/ 621507 w 750997"/>
                <a:gd name="connsiteY10" fmla="*/ 1008459 h 1010841"/>
                <a:gd name="connsiteX11" fmla="*/ 110736 w 750997"/>
                <a:gd name="connsiteY11" fmla="*/ 1010841 h 1010841"/>
                <a:gd name="connsiteX12" fmla="*/ 32434 w 750997"/>
                <a:gd name="connsiteY12" fmla="*/ 978407 h 1010841"/>
                <a:gd name="connsiteX13" fmla="*/ 0 w 750997"/>
                <a:gd name="connsiteY13" fmla="*/ 900105 h 1010841"/>
                <a:gd name="connsiteX14" fmla="*/ 0 w 750997"/>
                <a:gd name="connsiteY14" fmla="*/ 116689 h 1010841"/>
                <a:gd name="connsiteX15" fmla="*/ 32434 w 750997"/>
                <a:gd name="connsiteY15" fmla="*/ 38387 h 1010841"/>
                <a:gd name="connsiteX16" fmla="*/ 110736 w 750997"/>
                <a:gd name="connsiteY16" fmla="*/ 5953 h 1010841"/>
                <a:gd name="connsiteX17" fmla="*/ 639358 w 750997"/>
                <a:gd name="connsiteY17" fmla="*/ 5953 h 1010841"/>
                <a:gd name="connsiteX18" fmla="*/ 717660 w 750997"/>
                <a:gd name="connsiteY18" fmla="*/ 38387 h 1010841"/>
                <a:gd name="connsiteX19" fmla="*/ 750094 w 750997"/>
                <a:gd name="connsiteY19" fmla="*/ 116689 h 1010841"/>
                <a:gd name="connsiteX20" fmla="*/ 750094 w 750997"/>
                <a:gd name="connsiteY20" fmla="*/ 900105 h 1010841"/>
                <a:gd name="connsiteX21" fmla="*/ 750997 w 750997"/>
                <a:gd name="connsiteY21" fmla="*/ 1009363 h 1010841"/>
                <a:gd name="connsiteX0" fmla="*/ 347663 w 750997"/>
                <a:gd name="connsiteY0" fmla="*/ 845741 h 1010841"/>
                <a:gd name="connsiteX1" fmla="*/ 121444 w 750997"/>
                <a:gd name="connsiteY1" fmla="*/ 846535 h 1010841"/>
                <a:gd name="connsiteX2" fmla="*/ 86519 w 750997"/>
                <a:gd name="connsiteY2" fmla="*/ 845741 h 1010841"/>
                <a:gd name="connsiteX3" fmla="*/ 86519 w 750997"/>
                <a:gd name="connsiteY3" fmla="*/ 806054 h 1010841"/>
                <a:gd name="connsiteX4" fmla="*/ 86519 w 750997"/>
                <a:gd name="connsiteY4" fmla="*/ 120253 h 1010841"/>
                <a:gd name="connsiteX5" fmla="*/ 121444 w 750997"/>
                <a:gd name="connsiteY5" fmla="*/ 84534 h 1010841"/>
                <a:gd name="connsiteX6" fmla="*/ 619125 w 750997"/>
                <a:gd name="connsiteY6" fmla="*/ 82153 h 1010841"/>
                <a:gd name="connsiteX7" fmla="*/ 671513 w 750997"/>
                <a:gd name="connsiteY7" fmla="*/ 134541 h 1010841"/>
                <a:gd name="connsiteX8" fmla="*/ 671512 w 750997"/>
                <a:gd name="connsiteY8" fmla="*/ 963216 h 1010841"/>
                <a:gd name="connsiteX9" fmla="*/ 669131 w 750997"/>
                <a:gd name="connsiteY9" fmla="*/ 1001316 h 1010841"/>
                <a:gd name="connsiteX10" fmla="*/ 621507 w 750997"/>
                <a:gd name="connsiteY10" fmla="*/ 1008459 h 1010841"/>
                <a:gd name="connsiteX11" fmla="*/ 110736 w 750997"/>
                <a:gd name="connsiteY11" fmla="*/ 1010841 h 1010841"/>
                <a:gd name="connsiteX12" fmla="*/ 32434 w 750997"/>
                <a:gd name="connsiteY12" fmla="*/ 978407 h 1010841"/>
                <a:gd name="connsiteX13" fmla="*/ 0 w 750997"/>
                <a:gd name="connsiteY13" fmla="*/ 900105 h 1010841"/>
                <a:gd name="connsiteX14" fmla="*/ 0 w 750997"/>
                <a:gd name="connsiteY14" fmla="*/ 116689 h 1010841"/>
                <a:gd name="connsiteX15" fmla="*/ 32434 w 750997"/>
                <a:gd name="connsiteY15" fmla="*/ 38387 h 1010841"/>
                <a:gd name="connsiteX16" fmla="*/ 110736 w 750997"/>
                <a:gd name="connsiteY16" fmla="*/ 5953 h 1010841"/>
                <a:gd name="connsiteX17" fmla="*/ 639358 w 750997"/>
                <a:gd name="connsiteY17" fmla="*/ 5953 h 1010841"/>
                <a:gd name="connsiteX18" fmla="*/ 717660 w 750997"/>
                <a:gd name="connsiteY18" fmla="*/ 38387 h 1010841"/>
                <a:gd name="connsiteX19" fmla="*/ 750094 w 750997"/>
                <a:gd name="connsiteY19" fmla="*/ 116689 h 1010841"/>
                <a:gd name="connsiteX20" fmla="*/ 750094 w 750997"/>
                <a:gd name="connsiteY20" fmla="*/ 900105 h 1010841"/>
                <a:gd name="connsiteX21" fmla="*/ 750997 w 750997"/>
                <a:gd name="connsiteY21" fmla="*/ 1009363 h 1010841"/>
                <a:gd name="connsiteX0" fmla="*/ 347663 w 750997"/>
                <a:gd name="connsiteY0" fmla="*/ 839788 h 1004888"/>
                <a:gd name="connsiteX1" fmla="*/ 121444 w 750997"/>
                <a:gd name="connsiteY1" fmla="*/ 840582 h 1004888"/>
                <a:gd name="connsiteX2" fmla="*/ 86519 w 750997"/>
                <a:gd name="connsiteY2" fmla="*/ 839788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69131 w 750997"/>
                <a:gd name="connsiteY9" fmla="*/ 9953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347663 w 750997"/>
                <a:gd name="connsiteY0" fmla="*/ 839788 h 1004888"/>
                <a:gd name="connsiteX1" fmla="*/ 121444 w 750997"/>
                <a:gd name="connsiteY1" fmla="*/ 840582 h 1004888"/>
                <a:gd name="connsiteX2" fmla="*/ 86519 w 750997"/>
                <a:gd name="connsiteY2" fmla="*/ 839788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69131 w 750997"/>
                <a:gd name="connsiteY9" fmla="*/ 9953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347663 w 750997"/>
                <a:gd name="connsiteY0" fmla="*/ 839788 h 1004888"/>
                <a:gd name="connsiteX1" fmla="*/ 121444 w 750997"/>
                <a:gd name="connsiteY1" fmla="*/ 840582 h 1004888"/>
                <a:gd name="connsiteX2" fmla="*/ 86519 w 750997"/>
                <a:gd name="connsiteY2" fmla="*/ 839788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69131 w 750997"/>
                <a:gd name="connsiteY9" fmla="*/ 9953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347663 w 750997"/>
                <a:gd name="connsiteY0" fmla="*/ 839788 h 1004888"/>
                <a:gd name="connsiteX1" fmla="*/ 121444 w 750997"/>
                <a:gd name="connsiteY1" fmla="*/ 840582 h 1004888"/>
                <a:gd name="connsiteX2" fmla="*/ 86519 w 750997"/>
                <a:gd name="connsiteY2" fmla="*/ 839788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69131 w 750997"/>
                <a:gd name="connsiteY9" fmla="*/ 9953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347663 w 750997"/>
                <a:gd name="connsiteY0" fmla="*/ 839788 h 1004888"/>
                <a:gd name="connsiteX1" fmla="*/ 121444 w 750997"/>
                <a:gd name="connsiteY1" fmla="*/ 840582 h 1004888"/>
                <a:gd name="connsiteX2" fmla="*/ 86519 w 750997"/>
                <a:gd name="connsiteY2" fmla="*/ 839788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69131 w 750997"/>
                <a:gd name="connsiteY9" fmla="*/ 9953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69131 w 750997"/>
                <a:gd name="connsiteY8" fmla="*/ 9953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69131 w 750997"/>
                <a:gd name="connsiteY8" fmla="*/ 9953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69131 w 750997"/>
                <a:gd name="connsiteY8" fmla="*/ 9953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69131 w 750997"/>
                <a:gd name="connsiteY8" fmla="*/ 9953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69131 w 750997"/>
                <a:gd name="connsiteY8" fmla="*/ 9953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102916"/>
                <a:gd name="connsiteX1" fmla="*/ 121444 w 750997"/>
                <a:gd name="connsiteY1" fmla="*/ 840582 h 1102916"/>
                <a:gd name="connsiteX2" fmla="*/ 86519 w 750997"/>
                <a:gd name="connsiteY2" fmla="*/ 800101 h 1102916"/>
                <a:gd name="connsiteX3" fmla="*/ 86519 w 750997"/>
                <a:gd name="connsiteY3" fmla="*/ 114300 h 1102916"/>
                <a:gd name="connsiteX4" fmla="*/ 121444 w 750997"/>
                <a:gd name="connsiteY4" fmla="*/ 78581 h 1102916"/>
                <a:gd name="connsiteX5" fmla="*/ 619125 w 750997"/>
                <a:gd name="connsiteY5" fmla="*/ 76200 h 1102916"/>
                <a:gd name="connsiteX6" fmla="*/ 671513 w 750997"/>
                <a:gd name="connsiteY6" fmla="*/ 128588 h 1102916"/>
                <a:gd name="connsiteX7" fmla="*/ 671512 w 750997"/>
                <a:gd name="connsiteY7" fmla="*/ 957263 h 1102916"/>
                <a:gd name="connsiteX8" fmla="*/ 621507 w 750997"/>
                <a:gd name="connsiteY8" fmla="*/ 1002506 h 1102916"/>
                <a:gd name="connsiteX9" fmla="*/ 110736 w 750997"/>
                <a:gd name="connsiteY9" fmla="*/ 1004888 h 1102916"/>
                <a:gd name="connsiteX10" fmla="*/ 32434 w 750997"/>
                <a:gd name="connsiteY10" fmla="*/ 972454 h 1102916"/>
                <a:gd name="connsiteX11" fmla="*/ 0 w 750997"/>
                <a:gd name="connsiteY11" fmla="*/ 894152 h 1102916"/>
                <a:gd name="connsiteX12" fmla="*/ 0 w 750997"/>
                <a:gd name="connsiteY12" fmla="*/ 110736 h 1102916"/>
                <a:gd name="connsiteX13" fmla="*/ 32434 w 750997"/>
                <a:gd name="connsiteY13" fmla="*/ 32434 h 1102916"/>
                <a:gd name="connsiteX14" fmla="*/ 110736 w 750997"/>
                <a:gd name="connsiteY14" fmla="*/ 0 h 1102916"/>
                <a:gd name="connsiteX15" fmla="*/ 639358 w 750997"/>
                <a:gd name="connsiteY15" fmla="*/ 0 h 1102916"/>
                <a:gd name="connsiteX16" fmla="*/ 717660 w 750997"/>
                <a:gd name="connsiteY16" fmla="*/ 32434 h 1102916"/>
                <a:gd name="connsiteX17" fmla="*/ 750094 w 750997"/>
                <a:gd name="connsiteY17" fmla="*/ 110736 h 1102916"/>
                <a:gd name="connsiteX18" fmla="*/ 750094 w 750997"/>
                <a:gd name="connsiteY18" fmla="*/ 894152 h 1102916"/>
                <a:gd name="connsiteX19" fmla="*/ 750997 w 750997"/>
                <a:gd name="connsiteY19" fmla="*/ 1003410 h 1102916"/>
                <a:gd name="connsiteX0" fmla="*/ 347663 w 750997"/>
                <a:gd name="connsiteY0" fmla="*/ 839788 h 1102916"/>
                <a:gd name="connsiteX1" fmla="*/ 121444 w 750997"/>
                <a:gd name="connsiteY1" fmla="*/ 840582 h 1102916"/>
                <a:gd name="connsiteX2" fmla="*/ 86519 w 750997"/>
                <a:gd name="connsiteY2" fmla="*/ 800101 h 1102916"/>
                <a:gd name="connsiteX3" fmla="*/ 86519 w 750997"/>
                <a:gd name="connsiteY3" fmla="*/ 114300 h 1102916"/>
                <a:gd name="connsiteX4" fmla="*/ 121444 w 750997"/>
                <a:gd name="connsiteY4" fmla="*/ 78581 h 1102916"/>
                <a:gd name="connsiteX5" fmla="*/ 619125 w 750997"/>
                <a:gd name="connsiteY5" fmla="*/ 76200 h 1102916"/>
                <a:gd name="connsiteX6" fmla="*/ 671513 w 750997"/>
                <a:gd name="connsiteY6" fmla="*/ 128588 h 1102916"/>
                <a:gd name="connsiteX7" fmla="*/ 671512 w 750997"/>
                <a:gd name="connsiteY7" fmla="*/ 957263 h 1102916"/>
                <a:gd name="connsiteX8" fmla="*/ 621507 w 750997"/>
                <a:gd name="connsiteY8" fmla="*/ 1002506 h 1102916"/>
                <a:gd name="connsiteX9" fmla="*/ 110736 w 750997"/>
                <a:gd name="connsiteY9" fmla="*/ 1004888 h 1102916"/>
                <a:gd name="connsiteX10" fmla="*/ 32434 w 750997"/>
                <a:gd name="connsiteY10" fmla="*/ 972454 h 1102916"/>
                <a:gd name="connsiteX11" fmla="*/ 0 w 750997"/>
                <a:gd name="connsiteY11" fmla="*/ 894152 h 1102916"/>
                <a:gd name="connsiteX12" fmla="*/ 0 w 750997"/>
                <a:gd name="connsiteY12" fmla="*/ 110736 h 1102916"/>
                <a:gd name="connsiteX13" fmla="*/ 32434 w 750997"/>
                <a:gd name="connsiteY13" fmla="*/ 32434 h 1102916"/>
                <a:gd name="connsiteX14" fmla="*/ 110736 w 750997"/>
                <a:gd name="connsiteY14" fmla="*/ 0 h 1102916"/>
                <a:gd name="connsiteX15" fmla="*/ 639358 w 750997"/>
                <a:gd name="connsiteY15" fmla="*/ 0 h 1102916"/>
                <a:gd name="connsiteX16" fmla="*/ 717660 w 750997"/>
                <a:gd name="connsiteY16" fmla="*/ 32434 h 1102916"/>
                <a:gd name="connsiteX17" fmla="*/ 750094 w 750997"/>
                <a:gd name="connsiteY17" fmla="*/ 110736 h 1102916"/>
                <a:gd name="connsiteX18" fmla="*/ 750094 w 750997"/>
                <a:gd name="connsiteY18" fmla="*/ 894152 h 1102916"/>
                <a:gd name="connsiteX19" fmla="*/ 750997 w 750997"/>
                <a:gd name="connsiteY19" fmla="*/ 1003410 h 1102916"/>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004888"/>
                <a:gd name="connsiteX1" fmla="*/ 121444 w 750997"/>
                <a:gd name="connsiteY1" fmla="*/ 840582 h 1004888"/>
                <a:gd name="connsiteX2" fmla="*/ 86519 w 750997"/>
                <a:gd name="connsiteY2" fmla="*/ 800101 h 1004888"/>
                <a:gd name="connsiteX3" fmla="*/ 86519 w 750997"/>
                <a:gd name="connsiteY3" fmla="*/ 114300 h 1004888"/>
                <a:gd name="connsiteX4" fmla="*/ 121444 w 750997"/>
                <a:gd name="connsiteY4" fmla="*/ 78581 h 1004888"/>
                <a:gd name="connsiteX5" fmla="*/ 619125 w 750997"/>
                <a:gd name="connsiteY5" fmla="*/ 76200 h 1004888"/>
                <a:gd name="connsiteX6" fmla="*/ 671513 w 750997"/>
                <a:gd name="connsiteY6" fmla="*/ 128588 h 1004888"/>
                <a:gd name="connsiteX7" fmla="*/ 671512 w 750997"/>
                <a:gd name="connsiteY7" fmla="*/ 957263 h 1004888"/>
                <a:gd name="connsiteX8" fmla="*/ 621507 w 750997"/>
                <a:gd name="connsiteY8" fmla="*/ 1002506 h 1004888"/>
                <a:gd name="connsiteX9" fmla="*/ 110736 w 750997"/>
                <a:gd name="connsiteY9" fmla="*/ 1004888 h 1004888"/>
                <a:gd name="connsiteX10" fmla="*/ 32434 w 750997"/>
                <a:gd name="connsiteY10" fmla="*/ 972454 h 1004888"/>
                <a:gd name="connsiteX11" fmla="*/ 0 w 750997"/>
                <a:gd name="connsiteY11" fmla="*/ 894152 h 1004888"/>
                <a:gd name="connsiteX12" fmla="*/ 0 w 750997"/>
                <a:gd name="connsiteY12" fmla="*/ 110736 h 1004888"/>
                <a:gd name="connsiteX13" fmla="*/ 32434 w 750997"/>
                <a:gd name="connsiteY13" fmla="*/ 32434 h 1004888"/>
                <a:gd name="connsiteX14" fmla="*/ 110736 w 750997"/>
                <a:gd name="connsiteY14" fmla="*/ 0 h 1004888"/>
                <a:gd name="connsiteX15" fmla="*/ 639358 w 750997"/>
                <a:gd name="connsiteY15" fmla="*/ 0 h 1004888"/>
                <a:gd name="connsiteX16" fmla="*/ 717660 w 750997"/>
                <a:gd name="connsiteY16" fmla="*/ 32434 h 1004888"/>
                <a:gd name="connsiteX17" fmla="*/ 750094 w 750997"/>
                <a:gd name="connsiteY17" fmla="*/ 110736 h 1004888"/>
                <a:gd name="connsiteX18" fmla="*/ 750094 w 750997"/>
                <a:gd name="connsiteY18" fmla="*/ 894152 h 1004888"/>
                <a:gd name="connsiteX19" fmla="*/ 750997 w 750997"/>
                <a:gd name="connsiteY19" fmla="*/ 1003410 h 1004888"/>
                <a:gd name="connsiteX0" fmla="*/ 347663 w 750997"/>
                <a:gd name="connsiteY0" fmla="*/ 839788 h 1004888"/>
                <a:gd name="connsiteX1" fmla="*/ 326232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347663 w 750997"/>
                <a:gd name="connsiteY0" fmla="*/ 839788 h 1004888"/>
                <a:gd name="connsiteX1" fmla="*/ 326232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295276 w 750997"/>
                <a:gd name="connsiteY0" fmla="*/ 915988 h 1004888"/>
                <a:gd name="connsiteX1" fmla="*/ 326232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295276 w 750997"/>
                <a:gd name="connsiteY0" fmla="*/ 915988 h 1004888"/>
                <a:gd name="connsiteX1" fmla="*/ 371476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295276 w 750997"/>
                <a:gd name="connsiteY0" fmla="*/ 915988 h 1004888"/>
                <a:gd name="connsiteX1" fmla="*/ 369095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295276 w 750997"/>
                <a:gd name="connsiteY0" fmla="*/ 915988 h 1004888"/>
                <a:gd name="connsiteX1" fmla="*/ 354807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295276 w 750997"/>
                <a:gd name="connsiteY0" fmla="*/ 915988 h 1004888"/>
                <a:gd name="connsiteX1" fmla="*/ 354807 w 750997"/>
                <a:gd name="connsiteY1" fmla="*/ 838200 h 1004888"/>
                <a:gd name="connsiteX2" fmla="*/ 121444 w 750997"/>
                <a:gd name="connsiteY2" fmla="*/ 840582 h 1004888"/>
                <a:gd name="connsiteX3" fmla="*/ 86519 w 750997"/>
                <a:gd name="connsiteY3" fmla="*/ 800101 h 1004888"/>
                <a:gd name="connsiteX4" fmla="*/ 86519 w 750997"/>
                <a:gd name="connsiteY4" fmla="*/ 114300 h 1004888"/>
                <a:gd name="connsiteX5" fmla="*/ 121444 w 750997"/>
                <a:gd name="connsiteY5" fmla="*/ 78581 h 1004888"/>
                <a:gd name="connsiteX6" fmla="*/ 619125 w 750997"/>
                <a:gd name="connsiteY6" fmla="*/ 76200 h 1004888"/>
                <a:gd name="connsiteX7" fmla="*/ 671513 w 750997"/>
                <a:gd name="connsiteY7" fmla="*/ 128588 h 1004888"/>
                <a:gd name="connsiteX8" fmla="*/ 671512 w 750997"/>
                <a:gd name="connsiteY8" fmla="*/ 957263 h 1004888"/>
                <a:gd name="connsiteX9" fmla="*/ 621507 w 750997"/>
                <a:gd name="connsiteY9" fmla="*/ 1002506 h 1004888"/>
                <a:gd name="connsiteX10" fmla="*/ 110736 w 750997"/>
                <a:gd name="connsiteY10" fmla="*/ 1004888 h 1004888"/>
                <a:gd name="connsiteX11" fmla="*/ 32434 w 750997"/>
                <a:gd name="connsiteY11" fmla="*/ 972454 h 1004888"/>
                <a:gd name="connsiteX12" fmla="*/ 0 w 750997"/>
                <a:gd name="connsiteY12" fmla="*/ 894152 h 1004888"/>
                <a:gd name="connsiteX13" fmla="*/ 0 w 750997"/>
                <a:gd name="connsiteY13" fmla="*/ 110736 h 1004888"/>
                <a:gd name="connsiteX14" fmla="*/ 32434 w 750997"/>
                <a:gd name="connsiteY14" fmla="*/ 32434 h 1004888"/>
                <a:gd name="connsiteX15" fmla="*/ 110736 w 750997"/>
                <a:gd name="connsiteY15" fmla="*/ 0 h 1004888"/>
                <a:gd name="connsiteX16" fmla="*/ 639358 w 750997"/>
                <a:gd name="connsiteY16" fmla="*/ 0 h 1004888"/>
                <a:gd name="connsiteX17" fmla="*/ 717660 w 750997"/>
                <a:gd name="connsiteY17" fmla="*/ 32434 h 1004888"/>
                <a:gd name="connsiteX18" fmla="*/ 750094 w 750997"/>
                <a:gd name="connsiteY18" fmla="*/ 110736 h 1004888"/>
                <a:gd name="connsiteX19" fmla="*/ 750094 w 750997"/>
                <a:gd name="connsiteY19" fmla="*/ 894152 h 1004888"/>
                <a:gd name="connsiteX20" fmla="*/ 750997 w 750997"/>
                <a:gd name="connsiteY20" fmla="*/ 1003410 h 1004888"/>
                <a:gd name="connsiteX0" fmla="*/ 295276 w 750997"/>
                <a:gd name="connsiteY0" fmla="*/ 915988 h 1004888"/>
                <a:gd name="connsiteX1" fmla="*/ 390525 w 750997"/>
                <a:gd name="connsiteY1" fmla="*/ 904875 h 1004888"/>
                <a:gd name="connsiteX2" fmla="*/ 354807 w 750997"/>
                <a:gd name="connsiteY2" fmla="*/ 838200 h 1004888"/>
                <a:gd name="connsiteX3" fmla="*/ 121444 w 750997"/>
                <a:gd name="connsiteY3" fmla="*/ 840582 h 1004888"/>
                <a:gd name="connsiteX4" fmla="*/ 86519 w 750997"/>
                <a:gd name="connsiteY4" fmla="*/ 800101 h 1004888"/>
                <a:gd name="connsiteX5" fmla="*/ 86519 w 750997"/>
                <a:gd name="connsiteY5" fmla="*/ 114300 h 1004888"/>
                <a:gd name="connsiteX6" fmla="*/ 121444 w 750997"/>
                <a:gd name="connsiteY6" fmla="*/ 78581 h 1004888"/>
                <a:gd name="connsiteX7" fmla="*/ 619125 w 750997"/>
                <a:gd name="connsiteY7" fmla="*/ 76200 h 1004888"/>
                <a:gd name="connsiteX8" fmla="*/ 671513 w 750997"/>
                <a:gd name="connsiteY8" fmla="*/ 128588 h 1004888"/>
                <a:gd name="connsiteX9" fmla="*/ 671512 w 750997"/>
                <a:gd name="connsiteY9" fmla="*/ 9572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295276 w 750997"/>
                <a:gd name="connsiteY0" fmla="*/ 915988 h 1004888"/>
                <a:gd name="connsiteX1" fmla="*/ 409575 w 750997"/>
                <a:gd name="connsiteY1" fmla="*/ 912019 h 1004888"/>
                <a:gd name="connsiteX2" fmla="*/ 354807 w 750997"/>
                <a:gd name="connsiteY2" fmla="*/ 838200 h 1004888"/>
                <a:gd name="connsiteX3" fmla="*/ 121444 w 750997"/>
                <a:gd name="connsiteY3" fmla="*/ 840582 h 1004888"/>
                <a:gd name="connsiteX4" fmla="*/ 86519 w 750997"/>
                <a:gd name="connsiteY4" fmla="*/ 800101 h 1004888"/>
                <a:gd name="connsiteX5" fmla="*/ 86519 w 750997"/>
                <a:gd name="connsiteY5" fmla="*/ 114300 h 1004888"/>
                <a:gd name="connsiteX6" fmla="*/ 121444 w 750997"/>
                <a:gd name="connsiteY6" fmla="*/ 78581 h 1004888"/>
                <a:gd name="connsiteX7" fmla="*/ 619125 w 750997"/>
                <a:gd name="connsiteY7" fmla="*/ 76200 h 1004888"/>
                <a:gd name="connsiteX8" fmla="*/ 671513 w 750997"/>
                <a:gd name="connsiteY8" fmla="*/ 128588 h 1004888"/>
                <a:gd name="connsiteX9" fmla="*/ 671512 w 750997"/>
                <a:gd name="connsiteY9" fmla="*/ 9572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295276 w 750997"/>
                <a:gd name="connsiteY0" fmla="*/ 915988 h 1011767"/>
                <a:gd name="connsiteX1" fmla="*/ 409575 w 750997"/>
                <a:gd name="connsiteY1" fmla="*/ 912019 h 1011767"/>
                <a:gd name="connsiteX2" fmla="*/ 354807 w 750997"/>
                <a:gd name="connsiteY2" fmla="*/ 838200 h 1011767"/>
                <a:gd name="connsiteX3" fmla="*/ 121444 w 750997"/>
                <a:gd name="connsiteY3" fmla="*/ 840582 h 1011767"/>
                <a:gd name="connsiteX4" fmla="*/ 86519 w 750997"/>
                <a:gd name="connsiteY4" fmla="*/ 800101 h 1011767"/>
                <a:gd name="connsiteX5" fmla="*/ 86519 w 750997"/>
                <a:gd name="connsiteY5" fmla="*/ 114300 h 1011767"/>
                <a:gd name="connsiteX6" fmla="*/ 121444 w 750997"/>
                <a:gd name="connsiteY6" fmla="*/ 78581 h 1011767"/>
                <a:gd name="connsiteX7" fmla="*/ 619125 w 750997"/>
                <a:gd name="connsiteY7" fmla="*/ 76200 h 1011767"/>
                <a:gd name="connsiteX8" fmla="*/ 671513 w 750997"/>
                <a:gd name="connsiteY8" fmla="*/ 128588 h 1011767"/>
                <a:gd name="connsiteX9" fmla="*/ 671512 w 750997"/>
                <a:gd name="connsiteY9" fmla="*/ 957263 h 1011767"/>
                <a:gd name="connsiteX10" fmla="*/ 621507 w 750997"/>
                <a:gd name="connsiteY10" fmla="*/ 1002506 h 1011767"/>
                <a:gd name="connsiteX11" fmla="*/ 110736 w 750997"/>
                <a:gd name="connsiteY11" fmla="*/ 1004888 h 1011767"/>
                <a:gd name="connsiteX12" fmla="*/ 32434 w 750997"/>
                <a:gd name="connsiteY12" fmla="*/ 972454 h 1011767"/>
                <a:gd name="connsiteX13" fmla="*/ 0 w 750997"/>
                <a:gd name="connsiteY13" fmla="*/ 894152 h 1011767"/>
                <a:gd name="connsiteX14" fmla="*/ 0 w 750997"/>
                <a:gd name="connsiteY14" fmla="*/ 110736 h 1011767"/>
                <a:gd name="connsiteX15" fmla="*/ 32434 w 750997"/>
                <a:gd name="connsiteY15" fmla="*/ 32434 h 1011767"/>
                <a:gd name="connsiteX16" fmla="*/ 110736 w 750997"/>
                <a:gd name="connsiteY16" fmla="*/ 0 h 1011767"/>
                <a:gd name="connsiteX17" fmla="*/ 639358 w 750997"/>
                <a:gd name="connsiteY17" fmla="*/ 0 h 1011767"/>
                <a:gd name="connsiteX18" fmla="*/ 717660 w 750997"/>
                <a:gd name="connsiteY18" fmla="*/ 32434 h 1011767"/>
                <a:gd name="connsiteX19" fmla="*/ 750094 w 750997"/>
                <a:gd name="connsiteY19" fmla="*/ 110736 h 1011767"/>
                <a:gd name="connsiteX20" fmla="*/ 750094 w 750997"/>
                <a:gd name="connsiteY20" fmla="*/ 894152 h 1011767"/>
                <a:gd name="connsiteX21" fmla="*/ 750997 w 750997"/>
                <a:gd name="connsiteY21" fmla="*/ 1003410 h 1011767"/>
                <a:gd name="connsiteX0" fmla="*/ 295276 w 750997"/>
                <a:gd name="connsiteY0" fmla="*/ 915988 h 1004888"/>
                <a:gd name="connsiteX1" fmla="*/ 409575 w 750997"/>
                <a:gd name="connsiteY1" fmla="*/ 912019 h 1004888"/>
                <a:gd name="connsiteX2" fmla="*/ 354807 w 750997"/>
                <a:gd name="connsiteY2" fmla="*/ 838200 h 1004888"/>
                <a:gd name="connsiteX3" fmla="*/ 121444 w 750997"/>
                <a:gd name="connsiteY3" fmla="*/ 840582 h 1004888"/>
                <a:gd name="connsiteX4" fmla="*/ 86519 w 750997"/>
                <a:gd name="connsiteY4" fmla="*/ 800101 h 1004888"/>
                <a:gd name="connsiteX5" fmla="*/ 86519 w 750997"/>
                <a:gd name="connsiteY5" fmla="*/ 114300 h 1004888"/>
                <a:gd name="connsiteX6" fmla="*/ 121444 w 750997"/>
                <a:gd name="connsiteY6" fmla="*/ 78581 h 1004888"/>
                <a:gd name="connsiteX7" fmla="*/ 619125 w 750997"/>
                <a:gd name="connsiteY7" fmla="*/ 76200 h 1004888"/>
                <a:gd name="connsiteX8" fmla="*/ 671513 w 750997"/>
                <a:gd name="connsiteY8" fmla="*/ 128588 h 1004888"/>
                <a:gd name="connsiteX9" fmla="*/ 671512 w 750997"/>
                <a:gd name="connsiteY9" fmla="*/ 9572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295276 w 750997"/>
                <a:gd name="connsiteY0" fmla="*/ 915988 h 1004888"/>
                <a:gd name="connsiteX1" fmla="*/ 400050 w 750997"/>
                <a:gd name="connsiteY1" fmla="*/ 902494 h 1004888"/>
                <a:gd name="connsiteX2" fmla="*/ 354807 w 750997"/>
                <a:gd name="connsiteY2" fmla="*/ 838200 h 1004888"/>
                <a:gd name="connsiteX3" fmla="*/ 121444 w 750997"/>
                <a:gd name="connsiteY3" fmla="*/ 840582 h 1004888"/>
                <a:gd name="connsiteX4" fmla="*/ 86519 w 750997"/>
                <a:gd name="connsiteY4" fmla="*/ 800101 h 1004888"/>
                <a:gd name="connsiteX5" fmla="*/ 86519 w 750997"/>
                <a:gd name="connsiteY5" fmla="*/ 114300 h 1004888"/>
                <a:gd name="connsiteX6" fmla="*/ 121444 w 750997"/>
                <a:gd name="connsiteY6" fmla="*/ 78581 h 1004888"/>
                <a:gd name="connsiteX7" fmla="*/ 619125 w 750997"/>
                <a:gd name="connsiteY7" fmla="*/ 76200 h 1004888"/>
                <a:gd name="connsiteX8" fmla="*/ 671513 w 750997"/>
                <a:gd name="connsiteY8" fmla="*/ 128588 h 1004888"/>
                <a:gd name="connsiteX9" fmla="*/ 671512 w 750997"/>
                <a:gd name="connsiteY9" fmla="*/ 9572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295276 w 750997"/>
                <a:gd name="connsiteY0" fmla="*/ 915988 h 1004888"/>
                <a:gd name="connsiteX1" fmla="*/ 404812 w 750997"/>
                <a:gd name="connsiteY1" fmla="*/ 904875 h 1004888"/>
                <a:gd name="connsiteX2" fmla="*/ 354807 w 750997"/>
                <a:gd name="connsiteY2" fmla="*/ 838200 h 1004888"/>
                <a:gd name="connsiteX3" fmla="*/ 121444 w 750997"/>
                <a:gd name="connsiteY3" fmla="*/ 840582 h 1004888"/>
                <a:gd name="connsiteX4" fmla="*/ 86519 w 750997"/>
                <a:gd name="connsiteY4" fmla="*/ 800101 h 1004888"/>
                <a:gd name="connsiteX5" fmla="*/ 86519 w 750997"/>
                <a:gd name="connsiteY5" fmla="*/ 114300 h 1004888"/>
                <a:gd name="connsiteX6" fmla="*/ 121444 w 750997"/>
                <a:gd name="connsiteY6" fmla="*/ 78581 h 1004888"/>
                <a:gd name="connsiteX7" fmla="*/ 619125 w 750997"/>
                <a:gd name="connsiteY7" fmla="*/ 76200 h 1004888"/>
                <a:gd name="connsiteX8" fmla="*/ 671513 w 750997"/>
                <a:gd name="connsiteY8" fmla="*/ 128588 h 1004888"/>
                <a:gd name="connsiteX9" fmla="*/ 671512 w 750997"/>
                <a:gd name="connsiteY9" fmla="*/ 957263 h 1004888"/>
                <a:gd name="connsiteX10" fmla="*/ 621507 w 750997"/>
                <a:gd name="connsiteY10" fmla="*/ 1002506 h 1004888"/>
                <a:gd name="connsiteX11" fmla="*/ 110736 w 750997"/>
                <a:gd name="connsiteY11" fmla="*/ 1004888 h 1004888"/>
                <a:gd name="connsiteX12" fmla="*/ 32434 w 750997"/>
                <a:gd name="connsiteY12" fmla="*/ 972454 h 1004888"/>
                <a:gd name="connsiteX13" fmla="*/ 0 w 750997"/>
                <a:gd name="connsiteY13" fmla="*/ 894152 h 1004888"/>
                <a:gd name="connsiteX14" fmla="*/ 0 w 750997"/>
                <a:gd name="connsiteY14" fmla="*/ 110736 h 1004888"/>
                <a:gd name="connsiteX15" fmla="*/ 32434 w 750997"/>
                <a:gd name="connsiteY15" fmla="*/ 32434 h 1004888"/>
                <a:gd name="connsiteX16" fmla="*/ 110736 w 750997"/>
                <a:gd name="connsiteY16" fmla="*/ 0 h 1004888"/>
                <a:gd name="connsiteX17" fmla="*/ 639358 w 750997"/>
                <a:gd name="connsiteY17" fmla="*/ 0 h 1004888"/>
                <a:gd name="connsiteX18" fmla="*/ 717660 w 750997"/>
                <a:gd name="connsiteY18" fmla="*/ 32434 h 1004888"/>
                <a:gd name="connsiteX19" fmla="*/ 750094 w 750997"/>
                <a:gd name="connsiteY19" fmla="*/ 110736 h 1004888"/>
                <a:gd name="connsiteX20" fmla="*/ 750094 w 750997"/>
                <a:gd name="connsiteY20" fmla="*/ 894152 h 1004888"/>
                <a:gd name="connsiteX21" fmla="*/ 750997 w 750997"/>
                <a:gd name="connsiteY21" fmla="*/ 1003410 h 1004888"/>
                <a:gd name="connsiteX0" fmla="*/ 295276 w 750997"/>
                <a:gd name="connsiteY0" fmla="*/ 915988 h 1004888"/>
                <a:gd name="connsiteX1" fmla="*/ 378619 w 750997"/>
                <a:gd name="connsiteY1" fmla="*/ 945356 h 1004888"/>
                <a:gd name="connsiteX2" fmla="*/ 404812 w 750997"/>
                <a:gd name="connsiteY2" fmla="*/ 904875 h 1004888"/>
                <a:gd name="connsiteX3" fmla="*/ 354807 w 750997"/>
                <a:gd name="connsiteY3" fmla="*/ 838200 h 1004888"/>
                <a:gd name="connsiteX4" fmla="*/ 121444 w 750997"/>
                <a:gd name="connsiteY4" fmla="*/ 840582 h 1004888"/>
                <a:gd name="connsiteX5" fmla="*/ 86519 w 750997"/>
                <a:gd name="connsiteY5" fmla="*/ 800101 h 1004888"/>
                <a:gd name="connsiteX6" fmla="*/ 86519 w 750997"/>
                <a:gd name="connsiteY6" fmla="*/ 114300 h 1004888"/>
                <a:gd name="connsiteX7" fmla="*/ 121444 w 750997"/>
                <a:gd name="connsiteY7" fmla="*/ 78581 h 1004888"/>
                <a:gd name="connsiteX8" fmla="*/ 619125 w 750997"/>
                <a:gd name="connsiteY8" fmla="*/ 76200 h 1004888"/>
                <a:gd name="connsiteX9" fmla="*/ 671513 w 750997"/>
                <a:gd name="connsiteY9" fmla="*/ 128588 h 1004888"/>
                <a:gd name="connsiteX10" fmla="*/ 671512 w 750997"/>
                <a:gd name="connsiteY10" fmla="*/ 957263 h 1004888"/>
                <a:gd name="connsiteX11" fmla="*/ 621507 w 750997"/>
                <a:gd name="connsiteY11" fmla="*/ 1002506 h 1004888"/>
                <a:gd name="connsiteX12" fmla="*/ 110736 w 750997"/>
                <a:gd name="connsiteY12" fmla="*/ 1004888 h 1004888"/>
                <a:gd name="connsiteX13" fmla="*/ 32434 w 750997"/>
                <a:gd name="connsiteY13" fmla="*/ 972454 h 1004888"/>
                <a:gd name="connsiteX14" fmla="*/ 0 w 750997"/>
                <a:gd name="connsiteY14" fmla="*/ 894152 h 1004888"/>
                <a:gd name="connsiteX15" fmla="*/ 0 w 750997"/>
                <a:gd name="connsiteY15" fmla="*/ 110736 h 1004888"/>
                <a:gd name="connsiteX16" fmla="*/ 32434 w 750997"/>
                <a:gd name="connsiteY16" fmla="*/ 32434 h 1004888"/>
                <a:gd name="connsiteX17" fmla="*/ 110736 w 750997"/>
                <a:gd name="connsiteY17" fmla="*/ 0 h 1004888"/>
                <a:gd name="connsiteX18" fmla="*/ 639358 w 750997"/>
                <a:gd name="connsiteY18" fmla="*/ 0 h 1004888"/>
                <a:gd name="connsiteX19" fmla="*/ 717660 w 750997"/>
                <a:gd name="connsiteY19" fmla="*/ 32434 h 1004888"/>
                <a:gd name="connsiteX20" fmla="*/ 750094 w 750997"/>
                <a:gd name="connsiteY20" fmla="*/ 110736 h 1004888"/>
                <a:gd name="connsiteX21" fmla="*/ 750094 w 750997"/>
                <a:gd name="connsiteY21" fmla="*/ 894152 h 1004888"/>
                <a:gd name="connsiteX22" fmla="*/ 750997 w 750997"/>
                <a:gd name="connsiteY22" fmla="*/ 1003410 h 1004888"/>
                <a:gd name="connsiteX0" fmla="*/ 295276 w 750997"/>
                <a:gd name="connsiteY0" fmla="*/ 915988 h 1004888"/>
                <a:gd name="connsiteX1" fmla="*/ 378619 w 750997"/>
                <a:gd name="connsiteY1" fmla="*/ 945356 h 1004888"/>
                <a:gd name="connsiteX2" fmla="*/ 404812 w 750997"/>
                <a:gd name="connsiteY2" fmla="*/ 904875 h 1004888"/>
                <a:gd name="connsiteX3" fmla="*/ 354807 w 750997"/>
                <a:gd name="connsiteY3" fmla="*/ 838200 h 1004888"/>
                <a:gd name="connsiteX4" fmla="*/ 121444 w 750997"/>
                <a:gd name="connsiteY4" fmla="*/ 840582 h 1004888"/>
                <a:gd name="connsiteX5" fmla="*/ 86519 w 750997"/>
                <a:gd name="connsiteY5" fmla="*/ 800101 h 1004888"/>
                <a:gd name="connsiteX6" fmla="*/ 86519 w 750997"/>
                <a:gd name="connsiteY6" fmla="*/ 114300 h 1004888"/>
                <a:gd name="connsiteX7" fmla="*/ 121444 w 750997"/>
                <a:gd name="connsiteY7" fmla="*/ 78581 h 1004888"/>
                <a:gd name="connsiteX8" fmla="*/ 619125 w 750997"/>
                <a:gd name="connsiteY8" fmla="*/ 76200 h 1004888"/>
                <a:gd name="connsiteX9" fmla="*/ 671513 w 750997"/>
                <a:gd name="connsiteY9" fmla="*/ 128588 h 1004888"/>
                <a:gd name="connsiteX10" fmla="*/ 671512 w 750997"/>
                <a:gd name="connsiteY10" fmla="*/ 957263 h 1004888"/>
                <a:gd name="connsiteX11" fmla="*/ 621507 w 750997"/>
                <a:gd name="connsiteY11" fmla="*/ 1002506 h 1004888"/>
                <a:gd name="connsiteX12" fmla="*/ 110736 w 750997"/>
                <a:gd name="connsiteY12" fmla="*/ 1004888 h 1004888"/>
                <a:gd name="connsiteX13" fmla="*/ 32434 w 750997"/>
                <a:gd name="connsiteY13" fmla="*/ 972454 h 1004888"/>
                <a:gd name="connsiteX14" fmla="*/ 0 w 750997"/>
                <a:gd name="connsiteY14" fmla="*/ 894152 h 1004888"/>
                <a:gd name="connsiteX15" fmla="*/ 0 w 750997"/>
                <a:gd name="connsiteY15" fmla="*/ 110736 h 1004888"/>
                <a:gd name="connsiteX16" fmla="*/ 32434 w 750997"/>
                <a:gd name="connsiteY16" fmla="*/ 32434 h 1004888"/>
                <a:gd name="connsiteX17" fmla="*/ 110736 w 750997"/>
                <a:gd name="connsiteY17" fmla="*/ 0 h 1004888"/>
                <a:gd name="connsiteX18" fmla="*/ 639358 w 750997"/>
                <a:gd name="connsiteY18" fmla="*/ 0 h 1004888"/>
                <a:gd name="connsiteX19" fmla="*/ 717660 w 750997"/>
                <a:gd name="connsiteY19" fmla="*/ 32434 h 1004888"/>
                <a:gd name="connsiteX20" fmla="*/ 750094 w 750997"/>
                <a:gd name="connsiteY20" fmla="*/ 110736 h 1004888"/>
                <a:gd name="connsiteX21" fmla="*/ 750094 w 750997"/>
                <a:gd name="connsiteY21" fmla="*/ 894152 h 1004888"/>
                <a:gd name="connsiteX22" fmla="*/ 750997 w 750997"/>
                <a:gd name="connsiteY22" fmla="*/ 1003410 h 1004888"/>
                <a:gd name="connsiteX0" fmla="*/ 295276 w 750997"/>
                <a:gd name="connsiteY0" fmla="*/ 915988 h 1004888"/>
                <a:gd name="connsiteX1" fmla="*/ 378619 w 750997"/>
                <a:gd name="connsiteY1" fmla="*/ 945356 h 1004888"/>
                <a:gd name="connsiteX2" fmla="*/ 407193 w 750997"/>
                <a:gd name="connsiteY2" fmla="*/ 907256 h 1004888"/>
                <a:gd name="connsiteX3" fmla="*/ 354807 w 750997"/>
                <a:gd name="connsiteY3" fmla="*/ 838200 h 1004888"/>
                <a:gd name="connsiteX4" fmla="*/ 121444 w 750997"/>
                <a:gd name="connsiteY4" fmla="*/ 840582 h 1004888"/>
                <a:gd name="connsiteX5" fmla="*/ 86519 w 750997"/>
                <a:gd name="connsiteY5" fmla="*/ 800101 h 1004888"/>
                <a:gd name="connsiteX6" fmla="*/ 86519 w 750997"/>
                <a:gd name="connsiteY6" fmla="*/ 114300 h 1004888"/>
                <a:gd name="connsiteX7" fmla="*/ 121444 w 750997"/>
                <a:gd name="connsiteY7" fmla="*/ 78581 h 1004888"/>
                <a:gd name="connsiteX8" fmla="*/ 619125 w 750997"/>
                <a:gd name="connsiteY8" fmla="*/ 76200 h 1004888"/>
                <a:gd name="connsiteX9" fmla="*/ 671513 w 750997"/>
                <a:gd name="connsiteY9" fmla="*/ 128588 h 1004888"/>
                <a:gd name="connsiteX10" fmla="*/ 671512 w 750997"/>
                <a:gd name="connsiteY10" fmla="*/ 957263 h 1004888"/>
                <a:gd name="connsiteX11" fmla="*/ 621507 w 750997"/>
                <a:gd name="connsiteY11" fmla="*/ 1002506 h 1004888"/>
                <a:gd name="connsiteX12" fmla="*/ 110736 w 750997"/>
                <a:gd name="connsiteY12" fmla="*/ 1004888 h 1004888"/>
                <a:gd name="connsiteX13" fmla="*/ 32434 w 750997"/>
                <a:gd name="connsiteY13" fmla="*/ 972454 h 1004888"/>
                <a:gd name="connsiteX14" fmla="*/ 0 w 750997"/>
                <a:gd name="connsiteY14" fmla="*/ 894152 h 1004888"/>
                <a:gd name="connsiteX15" fmla="*/ 0 w 750997"/>
                <a:gd name="connsiteY15" fmla="*/ 110736 h 1004888"/>
                <a:gd name="connsiteX16" fmla="*/ 32434 w 750997"/>
                <a:gd name="connsiteY16" fmla="*/ 32434 h 1004888"/>
                <a:gd name="connsiteX17" fmla="*/ 110736 w 750997"/>
                <a:gd name="connsiteY17" fmla="*/ 0 h 1004888"/>
                <a:gd name="connsiteX18" fmla="*/ 639358 w 750997"/>
                <a:gd name="connsiteY18" fmla="*/ 0 h 1004888"/>
                <a:gd name="connsiteX19" fmla="*/ 717660 w 750997"/>
                <a:gd name="connsiteY19" fmla="*/ 32434 h 1004888"/>
                <a:gd name="connsiteX20" fmla="*/ 750094 w 750997"/>
                <a:gd name="connsiteY20" fmla="*/ 110736 h 1004888"/>
                <a:gd name="connsiteX21" fmla="*/ 750094 w 750997"/>
                <a:gd name="connsiteY21" fmla="*/ 894152 h 1004888"/>
                <a:gd name="connsiteX22" fmla="*/ 750997 w 750997"/>
                <a:gd name="connsiteY22" fmla="*/ 1003410 h 1004888"/>
                <a:gd name="connsiteX0" fmla="*/ 295276 w 750997"/>
                <a:gd name="connsiteY0" fmla="*/ 915988 h 1004888"/>
                <a:gd name="connsiteX1" fmla="*/ 333375 w 750997"/>
                <a:gd name="connsiteY1" fmla="*/ 931069 h 1004888"/>
                <a:gd name="connsiteX2" fmla="*/ 378619 w 750997"/>
                <a:gd name="connsiteY2" fmla="*/ 945356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95276 w 750997"/>
                <a:gd name="connsiteY0" fmla="*/ 915988 h 1004888"/>
                <a:gd name="connsiteX1" fmla="*/ 330994 w 750997"/>
                <a:gd name="connsiteY1" fmla="*/ 959644 h 1004888"/>
                <a:gd name="connsiteX2" fmla="*/ 378619 w 750997"/>
                <a:gd name="connsiteY2" fmla="*/ 945356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95276 w 750997"/>
                <a:gd name="connsiteY0" fmla="*/ 915988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88133 w 750997"/>
                <a:gd name="connsiteY0" fmla="*/ 920750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85751 w 750997"/>
                <a:gd name="connsiteY0" fmla="*/ 904082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85751 w 750997"/>
                <a:gd name="connsiteY0" fmla="*/ 904082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85751 w 750997"/>
                <a:gd name="connsiteY0" fmla="*/ 904082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85751 w 750997"/>
                <a:gd name="connsiteY0" fmla="*/ 904082 h 1004888"/>
                <a:gd name="connsiteX1" fmla="*/ 292894 w 750997"/>
                <a:gd name="connsiteY1" fmla="*/ 897731 h 1004888"/>
                <a:gd name="connsiteX2" fmla="*/ 330994 w 750997"/>
                <a:gd name="connsiteY2" fmla="*/ 959644 h 1004888"/>
                <a:gd name="connsiteX3" fmla="*/ 381001 w 750997"/>
                <a:gd name="connsiteY3" fmla="*/ 952499 h 1004888"/>
                <a:gd name="connsiteX4" fmla="*/ 407193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85751 w 750997"/>
                <a:gd name="connsiteY0" fmla="*/ 904082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85751 w 750997"/>
                <a:gd name="connsiteY0" fmla="*/ 904082 h 1004888"/>
                <a:gd name="connsiteX1" fmla="*/ 292894 w 750997"/>
                <a:gd name="connsiteY1" fmla="*/ 902494 h 1004888"/>
                <a:gd name="connsiteX2" fmla="*/ 330994 w 750997"/>
                <a:gd name="connsiteY2" fmla="*/ 959644 h 1004888"/>
                <a:gd name="connsiteX3" fmla="*/ 381001 w 750997"/>
                <a:gd name="connsiteY3" fmla="*/ 952499 h 1004888"/>
                <a:gd name="connsiteX4" fmla="*/ 407193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85751 w 750997"/>
                <a:gd name="connsiteY0" fmla="*/ 904082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90514 w 750997"/>
                <a:gd name="connsiteY0" fmla="*/ 892175 h 1004888"/>
                <a:gd name="connsiteX1" fmla="*/ 330994 w 750997"/>
                <a:gd name="connsiteY1" fmla="*/ 959644 h 1004888"/>
                <a:gd name="connsiteX2" fmla="*/ 381001 w 750997"/>
                <a:gd name="connsiteY2" fmla="*/ 952499 h 1004888"/>
                <a:gd name="connsiteX3" fmla="*/ 407193 w 750997"/>
                <a:gd name="connsiteY3" fmla="*/ 907256 h 1004888"/>
                <a:gd name="connsiteX4" fmla="*/ 354807 w 750997"/>
                <a:gd name="connsiteY4" fmla="*/ 838200 h 1004888"/>
                <a:gd name="connsiteX5" fmla="*/ 121444 w 750997"/>
                <a:gd name="connsiteY5" fmla="*/ 840582 h 1004888"/>
                <a:gd name="connsiteX6" fmla="*/ 86519 w 750997"/>
                <a:gd name="connsiteY6" fmla="*/ 800101 h 1004888"/>
                <a:gd name="connsiteX7" fmla="*/ 86519 w 750997"/>
                <a:gd name="connsiteY7" fmla="*/ 114300 h 1004888"/>
                <a:gd name="connsiteX8" fmla="*/ 121444 w 750997"/>
                <a:gd name="connsiteY8" fmla="*/ 78581 h 1004888"/>
                <a:gd name="connsiteX9" fmla="*/ 619125 w 750997"/>
                <a:gd name="connsiteY9" fmla="*/ 76200 h 1004888"/>
                <a:gd name="connsiteX10" fmla="*/ 671513 w 750997"/>
                <a:gd name="connsiteY10" fmla="*/ 128588 h 1004888"/>
                <a:gd name="connsiteX11" fmla="*/ 671512 w 750997"/>
                <a:gd name="connsiteY11" fmla="*/ 957263 h 1004888"/>
                <a:gd name="connsiteX12" fmla="*/ 621507 w 750997"/>
                <a:gd name="connsiteY12" fmla="*/ 1002506 h 1004888"/>
                <a:gd name="connsiteX13" fmla="*/ 110736 w 750997"/>
                <a:gd name="connsiteY13" fmla="*/ 1004888 h 1004888"/>
                <a:gd name="connsiteX14" fmla="*/ 32434 w 750997"/>
                <a:gd name="connsiteY14" fmla="*/ 972454 h 1004888"/>
                <a:gd name="connsiteX15" fmla="*/ 0 w 750997"/>
                <a:gd name="connsiteY15" fmla="*/ 894152 h 1004888"/>
                <a:gd name="connsiteX16" fmla="*/ 0 w 750997"/>
                <a:gd name="connsiteY16" fmla="*/ 110736 h 1004888"/>
                <a:gd name="connsiteX17" fmla="*/ 32434 w 750997"/>
                <a:gd name="connsiteY17" fmla="*/ 32434 h 1004888"/>
                <a:gd name="connsiteX18" fmla="*/ 110736 w 750997"/>
                <a:gd name="connsiteY18" fmla="*/ 0 h 1004888"/>
                <a:gd name="connsiteX19" fmla="*/ 639358 w 750997"/>
                <a:gd name="connsiteY19" fmla="*/ 0 h 1004888"/>
                <a:gd name="connsiteX20" fmla="*/ 717660 w 750997"/>
                <a:gd name="connsiteY20" fmla="*/ 32434 h 1004888"/>
                <a:gd name="connsiteX21" fmla="*/ 750094 w 750997"/>
                <a:gd name="connsiteY21" fmla="*/ 110736 h 1004888"/>
                <a:gd name="connsiteX22" fmla="*/ 750094 w 750997"/>
                <a:gd name="connsiteY22" fmla="*/ 894152 h 1004888"/>
                <a:gd name="connsiteX23" fmla="*/ 750997 w 750997"/>
                <a:gd name="connsiteY23" fmla="*/ 1003410 h 1004888"/>
                <a:gd name="connsiteX0" fmla="*/ 290514 w 750997"/>
                <a:gd name="connsiteY0" fmla="*/ 892175 h 1004888"/>
                <a:gd name="connsiteX1" fmla="*/ 302419 w 750997"/>
                <a:gd name="connsiteY1" fmla="*/ 919163 h 1004888"/>
                <a:gd name="connsiteX2" fmla="*/ 330994 w 750997"/>
                <a:gd name="connsiteY2" fmla="*/ 959644 h 1004888"/>
                <a:gd name="connsiteX3" fmla="*/ 381001 w 750997"/>
                <a:gd name="connsiteY3" fmla="*/ 952499 h 1004888"/>
                <a:gd name="connsiteX4" fmla="*/ 407193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90514 w 750997"/>
                <a:gd name="connsiteY0" fmla="*/ 892175 h 1004888"/>
                <a:gd name="connsiteX1" fmla="*/ 292894 w 750997"/>
                <a:gd name="connsiteY1" fmla="*/ 928688 h 1004888"/>
                <a:gd name="connsiteX2" fmla="*/ 330994 w 750997"/>
                <a:gd name="connsiteY2" fmla="*/ 959644 h 1004888"/>
                <a:gd name="connsiteX3" fmla="*/ 381001 w 750997"/>
                <a:gd name="connsiteY3" fmla="*/ 952499 h 1004888"/>
                <a:gd name="connsiteX4" fmla="*/ 407193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90514 w 750997"/>
                <a:gd name="connsiteY0" fmla="*/ 892175 h 1004888"/>
                <a:gd name="connsiteX1" fmla="*/ 292894 w 750997"/>
                <a:gd name="connsiteY1" fmla="*/ 928688 h 1004888"/>
                <a:gd name="connsiteX2" fmla="*/ 330994 w 750997"/>
                <a:gd name="connsiteY2" fmla="*/ 959644 h 1004888"/>
                <a:gd name="connsiteX3" fmla="*/ 381001 w 750997"/>
                <a:gd name="connsiteY3" fmla="*/ 952499 h 1004888"/>
                <a:gd name="connsiteX4" fmla="*/ 407193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90514 w 750997"/>
                <a:gd name="connsiteY0" fmla="*/ 892175 h 1004888"/>
                <a:gd name="connsiteX1" fmla="*/ 292894 w 750997"/>
                <a:gd name="connsiteY1" fmla="*/ 928688 h 1004888"/>
                <a:gd name="connsiteX2" fmla="*/ 330994 w 750997"/>
                <a:gd name="connsiteY2" fmla="*/ 959644 h 1004888"/>
                <a:gd name="connsiteX3" fmla="*/ 381001 w 750997"/>
                <a:gd name="connsiteY3" fmla="*/ 952499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90514 w 750997"/>
                <a:gd name="connsiteY0" fmla="*/ 892175 h 1004888"/>
                <a:gd name="connsiteX1" fmla="*/ 273619 w 750997"/>
                <a:gd name="connsiteY1" fmla="*/ 892969 h 1004888"/>
                <a:gd name="connsiteX2" fmla="*/ 292894 w 750997"/>
                <a:gd name="connsiteY2" fmla="*/ 928688 h 1004888"/>
                <a:gd name="connsiteX3" fmla="*/ 330994 w 750997"/>
                <a:gd name="connsiteY3" fmla="*/ 959644 h 1004888"/>
                <a:gd name="connsiteX4" fmla="*/ 381001 w 750997"/>
                <a:gd name="connsiteY4" fmla="*/ 952499 h 1004888"/>
                <a:gd name="connsiteX5" fmla="*/ 421749 w 750997"/>
                <a:gd name="connsiteY5" fmla="*/ 907256 h 1004888"/>
                <a:gd name="connsiteX6" fmla="*/ 354807 w 750997"/>
                <a:gd name="connsiteY6" fmla="*/ 838200 h 1004888"/>
                <a:gd name="connsiteX7" fmla="*/ 121444 w 750997"/>
                <a:gd name="connsiteY7" fmla="*/ 840582 h 1004888"/>
                <a:gd name="connsiteX8" fmla="*/ 86519 w 750997"/>
                <a:gd name="connsiteY8" fmla="*/ 800101 h 1004888"/>
                <a:gd name="connsiteX9" fmla="*/ 86519 w 750997"/>
                <a:gd name="connsiteY9" fmla="*/ 114300 h 1004888"/>
                <a:gd name="connsiteX10" fmla="*/ 121444 w 750997"/>
                <a:gd name="connsiteY10" fmla="*/ 78581 h 1004888"/>
                <a:gd name="connsiteX11" fmla="*/ 619125 w 750997"/>
                <a:gd name="connsiteY11" fmla="*/ 76200 h 1004888"/>
                <a:gd name="connsiteX12" fmla="*/ 671513 w 750997"/>
                <a:gd name="connsiteY12" fmla="*/ 128588 h 1004888"/>
                <a:gd name="connsiteX13" fmla="*/ 671512 w 750997"/>
                <a:gd name="connsiteY13" fmla="*/ 957263 h 1004888"/>
                <a:gd name="connsiteX14" fmla="*/ 621507 w 750997"/>
                <a:gd name="connsiteY14" fmla="*/ 1002506 h 1004888"/>
                <a:gd name="connsiteX15" fmla="*/ 110736 w 750997"/>
                <a:gd name="connsiteY15" fmla="*/ 1004888 h 1004888"/>
                <a:gd name="connsiteX16" fmla="*/ 32434 w 750997"/>
                <a:gd name="connsiteY16" fmla="*/ 972454 h 1004888"/>
                <a:gd name="connsiteX17" fmla="*/ 0 w 750997"/>
                <a:gd name="connsiteY17" fmla="*/ 894152 h 1004888"/>
                <a:gd name="connsiteX18" fmla="*/ 0 w 750997"/>
                <a:gd name="connsiteY18" fmla="*/ 110736 h 1004888"/>
                <a:gd name="connsiteX19" fmla="*/ 32434 w 750997"/>
                <a:gd name="connsiteY19" fmla="*/ 32434 h 1004888"/>
                <a:gd name="connsiteX20" fmla="*/ 110736 w 750997"/>
                <a:gd name="connsiteY20" fmla="*/ 0 h 1004888"/>
                <a:gd name="connsiteX21" fmla="*/ 639358 w 750997"/>
                <a:gd name="connsiteY21" fmla="*/ 0 h 1004888"/>
                <a:gd name="connsiteX22" fmla="*/ 717660 w 750997"/>
                <a:gd name="connsiteY22" fmla="*/ 32434 h 1004888"/>
                <a:gd name="connsiteX23" fmla="*/ 750094 w 750997"/>
                <a:gd name="connsiteY23" fmla="*/ 110736 h 1004888"/>
                <a:gd name="connsiteX24" fmla="*/ 750094 w 750997"/>
                <a:gd name="connsiteY24" fmla="*/ 894152 h 1004888"/>
                <a:gd name="connsiteX25" fmla="*/ 750997 w 750997"/>
                <a:gd name="connsiteY25" fmla="*/ 1003410 h 1004888"/>
                <a:gd name="connsiteX0" fmla="*/ 273619 w 750997"/>
                <a:gd name="connsiteY0" fmla="*/ 892969 h 1004888"/>
                <a:gd name="connsiteX1" fmla="*/ 292894 w 750997"/>
                <a:gd name="connsiteY1" fmla="*/ 928688 h 1004888"/>
                <a:gd name="connsiteX2" fmla="*/ 330994 w 750997"/>
                <a:gd name="connsiteY2" fmla="*/ 959644 h 1004888"/>
                <a:gd name="connsiteX3" fmla="*/ 381001 w 750997"/>
                <a:gd name="connsiteY3" fmla="*/ 952499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73619 w 750997"/>
                <a:gd name="connsiteY0" fmla="*/ 892969 h 1004888"/>
                <a:gd name="connsiteX1" fmla="*/ 281251 w 750997"/>
                <a:gd name="connsiteY1" fmla="*/ 938213 h 1004888"/>
                <a:gd name="connsiteX2" fmla="*/ 330994 w 750997"/>
                <a:gd name="connsiteY2" fmla="*/ 959644 h 1004888"/>
                <a:gd name="connsiteX3" fmla="*/ 381001 w 750997"/>
                <a:gd name="connsiteY3" fmla="*/ 952499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73619 w 750997"/>
                <a:gd name="connsiteY0" fmla="*/ 892969 h 1004888"/>
                <a:gd name="connsiteX1" fmla="*/ 281251 w 750997"/>
                <a:gd name="connsiteY1" fmla="*/ 938213 h 1004888"/>
                <a:gd name="connsiteX2" fmla="*/ 330994 w 750997"/>
                <a:gd name="connsiteY2" fmla="*/ 959644 h 1004888"/>
                <a:gd name="connsiteX3" fmla="*/ 392645 w 750997"/>
                <a:gd name="connsiteY3" fmla="*/ 947736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73619 w 750997"/>
                <a:gd name="connsiteY0" fmla="*/ 892969 h 1004888"/>
                <a:gd name="connsiteX1" fmla="*/ 281251 w 750997"/>
                <a:gd name="connsiteY1" fmla="*/ 938213 h 1004888"/>
                <a:gd name="connsiteX2" fmla="*/ 330994 w 750997"/>
                <a:gd name="connsiteY2" fmla="*/ 962025 h 1004888"/>
                <a:gd name="connsiteX3" fmla="*/ 392645 w 750997"/>
                <a:gd name="connsiteY3" fmla="*/ 947736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73619 w 750997"/>
                <a:gd name="connsiteY0" fmla="*/ 892969 h 1004888"/>
                <a:gd name="connsiteX1" fmla="*/ 281251 w 750997"/>
                <a:gd name="connsiteY1" fmla="*/ 938213 h 1004888"/>
                <a:gd name="connsiteX2" fmla="*/ 330994 w 750997"/>
                <a:gd name="connsiteY2" fmla="*/ 962025 h 1004888"/>
                <a:gd name="connsiteX3" fmla="*/ 392646 w 750997"/>
                <a:gd name="connsiteY3" fmla="*/ 954880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 name="connsiteX0" fmla="*/ 273619 w 750997"/>
                <a:gd name="connsiteY0" fmla="*/ 892969 h 1004888"/>
                <a:gd name="connsiteX1" fmla="*/ 289983 w 750997"/>
                <a:gd name="connsiteY1" fmla="*/ 938213 h 1004888"/>
                <a:gd name="connsiteX2" fmla="*/ 330994 w 750997"/>
                <a:gd name="connsiteY2" fmla="*/ 962025 h 1004888"/>
                <a:gd name="connsiteX3" fmla="*/ 392646 w 750997"/>
                <a:gd name="connsiteY3" fmla="*/ 954880 h 1004888"/>
                <a:gd name="connsiteX4" fmla="*/ 421749 w 750997"/>
                <a:gd name="connsiteY4" fmla="*/ 907256 h 1004888"/>
                <a:gd name="connsiteX5" fmla="*/ 354807 w 750997"/>
                <a:gd name="connsiteY5" fmla="*/ 838200 h 1004888"/>
                <a:gd name="connsiteX6" fmla="*/ 121444 w 750997"/>
                <a:gd name="connsiteY6" fmla="*/ 840582 h 1004888"/>
                <a:gd name="connsiteX7" fmla="*/ 86519 w 750997"/>
                <a:gd name="connsiteY7" fmla="*/ 800101 h 1004888"/>
                <a:gd name="connsiteX8" fmla="*/ 86519 w 750997"/>
                <a:gd name="connsiteY8" fmla="*/ 114300 h 1004888"/>
                <a:gd name="connsiteX9" fmla="*/ 121444 w 750997"/>
                <a:gd name="connsiteY9" fmla="*/ 78581 h 1004888"/>
                <a:gd name="connsiteX10" fmla="*/ 619125 w 750997"/>
                <a:gd name="connsiteY10" fmla="*/ 76200 h 1004888"/>
                <a:gd name="connsiteX11" fmla="*/ 671513 w 750997"/>
                <a:gd name="connsiteY11" fmla="*/ 128588 h 1004888"/>
                <a:gd name="connsiteX12" fmla="*/ 671512 w 750997"/>
                <a:gd name="connsiteY12" fmla="*/ 957263 h 1004888"/>
                <a:gd name="connsiteX13" fmla="*/ 621507 w 750997"/>
                <a:gd name="connsiteY13" fmla="*/ 1002506 h 1004888"/>
                <a:gd name="connsiteX14" fmla="*/ 110736 w 750997"/>
                <a:gd name="connsiteY14" fmla="*/ 1004888 h 1004888"/>
                <a:gd name="connsiteX15" fmla="*/ 32434 w 750997"/>
                <a:gd name="connsiteY15" fmla="*/ 972454 h 1004888"/>
                <a:gd name="connsiteX16" fmla="*/ 0 w 750997"/>
                <a:gd name="connsiteY16" fmla="*/ 894152 h 1004888"/>
                <a:gd name="connsiteX17" fmla="*/ 0 w 750997"/>
                <a:gd name="connsiteY17" fmla="*/ 110736 h 1004888"/>
                <a:gd name="connsiteX18" fmla="*/ 32434 w 750997"/>
                <a:gd name="connsiteY18" fmla="*/ 32434 h 1004888"/>
                <a:gd name="connsiteX19" fmla="*/ 110736 w 750997"/>
                <a:gd name="connsiteY19" fmla="*/ 0 h 1004888"/>
                <a:gd name="connsiteX20" fmla="*/ 639358 w 750997"/>
                <a:gd name="connsiteY20" fmla="*/ 0 h 1004888"/>
                <a:gd name="connsiteX21" fmla="*/ 717660 w 750997"/>
                <a:gd name="connsiteY21" fmla="*/ 32434 h 1004888"/>
                <a:gd name="connsiteX22" fmla="*/ 750094 w 750997"/>
                <a:gd name="connsiteY22" fmla="*/ 110736 h 1004888"/>
                <a:gd name="connsiteX23" fmla="*/ 750094 w 750997"/>
                <a:gd name="connsiteY23" fmla="*/ 894152 h 1004888"/>
                <a:gd name="connsiteX24" fmla="*/ 750997 w 750997"/>
                <a:gd name="connsiteY24" fmla="*/ 1003410 h 1004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50997" h="1004888">
                  <a:moveTo>
                    <a:pt x="273619" y="892969"/>
                  </a:moveTo>
                  <a:cubicBezTo>
                    <a:pt x="274016" y="899054"/>
                    <a:pt x="280421" y="926704"/>
                    <a:pt x="289983" y="938213"/>
                  </a:cubicBezTo>
                  <a:cubicBezTo>
                    <a:pt x="299545" y="949722"/>
                    <a:pt x="313884" y="959247"/>
                    <a:pt x="330994" y="962025"/>
                  </a:cubicBezTo>
                  <a:cubicBezTo>
                    <a:pt x="348104" y="964803"/>
                    <a:pt x="377520" y="964008"/>
                    <a:pt x="392646" y="954880"/>
                  </a:cubicBezTo>
                  <a:cubicBezTo>
                    <a:pt x="407772" y="945752"/>
                    <a:pt x="425718" y="925115"/>
                    <a:pt x="421749" y="907256"/>
                  </a:cubicBezTo>
                  <a:cubicBezTo>
                    <a:pt x="424924" y="884635"/>
                    <a:pt x="399654" y="848916"/>
                    <a:pt x="354807" y="838200"/>
                  </a:cubicBezTo>
                  <a:lnTo>
                    <a:pt x="121444" y="840582"/>
                  </a:lnTo>
                  <a:cubicBezTo>
                    <a:pt x="94588" y="829205"/>
                    <a:pt x="92341" y="837804"/>
                    <a:pt x="86519" y="800101"/>
                  </a:cubicBezTo>
                  <a:cubicBezTo>
                    <a:pt x="86784" y="571501"/>
                    <a:pt x="86254" y="342900"/>
                    <a:pt x="86519" y="114300"/>
                  </a:cubicBezTo>
                  <a:cubicBezTo>
                    <a:pt x="97102" y="91678"/>
                    <a:pt x="92206" y="92075"/>
                    <a:pt x="121444" y="78581"/>
                  </a:cubicBezTo>
                  <a:lnTo>
                    <a:pt x="619125" y="76200"/>
                  </a:lnTo>
                  <a:cubicBezTo>
                    <a:pt x="656034" y="84534"/>
                    <a:pt x="665163" y="98425"/>
                    <a:pt x="671513" y="128588"/>
                  </a:cubicBezTo>
                  <a:cubicBezTo>
                    <a:pt x="671513" y="404813"/>
                    <a:pt x="671512" y="681038"/>
                    <a:pt x="671512" y="957263"/>
                  </a:cubicBezTo>
                  <a:cubicBezTo>
                    <a:pt x="665560" y="993378"/>
                    <a:pt x="660202" y="994569"/>
                    <a:pt x="621507" y="1002506"/>
                  </a:cubicBezTo>
                  <a:lnTo>
                    <a:pt x="110736" y="1004888"/>
                  </a:lnTo>
                  <a:cubicBezTo>
                    <a:pt x="81367" y="1004888"/>
                    <a:pt x="53201" y="993221"/>
                    <a:pt x="32434" y="972454"/>
                  </a:cubicBezTo>
                  <a:cubicBezTo>
                    <a:pt x="11667" y="951687"/>
                    <a:pt x="0" y="923521"/>
                    <a:pt x="0" y="894152"/>
                  </a:cubicBezTo>
                  <a:lnTo>
                    <a:pt x="0" y="110736"/>
                  </a:lnTo>
                  <a:cubicBezTo>
                    <a:pt x="0" y="81367"/>
                    <a:pt x="11667" y="53201"/>
                    <a:pt x="32434" y="32434"/>
                  </a:cubicBezTo>
                  <a:cubicBezTo>
                    <a:pt x="53201" y="11667"/>
                    <a:pt x="81367" y="0"/>
                    <a:pt x="110736" y="0"/>
                  </a:cubicBezTo>
                  <a:lnTo>
                    <a:pt x="639358" y="0"/>
                  </a:lnTo>
                  <a:cubicBezTo>
                    <a:pt x="668727" y="0"/>
                    <a:pt x="696893" y="11667"/>
                    <a:pt x="717660" y="32434"/>
                  </a:cubicBezTo>
                  <a:cubicBezTo>
                    <a:pt x="738427" y="53201"/>
                    <a:pt x="750094" y="81367"/>
                    <a:pt x="750094" y="110736"/>
                  </a:cubicBezTo>
                  <a:lnTo>
                    <a:pt x="750094" y="894152"/>
                  </a:lnTo>
                  <a:lnTo>
                    <a:pt x="750997" y="1003410"/>
                  </a:lnTo>
                </a:path>
              </a:pathLst>
            </a:custGeom>
            <a:ln>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defRPr/>
              </a:pPr>
              <a:endParaRPr lang="en-US" sz="1600" b="1" kern="0" dirty="0">
                <a:latin typeface="Arial"/>
                <a:cs typeface="Arial" charset="0"/>
              </a:endParaRPr>
            </a:p>
          </p:txBody>
        </p:sp>
        <p:sp>
          <p:nvSpPr>
            <p:cNvPr id="61" name="Freeform 60"/>
            <p:cNvSpPr/>
            <p:nvPr/>
          </p:nvSpPr>
          <p:spPr bwMode="auto">
            <a:xfrm>
              <a:off x="1916140" y="5438436"/>
              <a:ext cx="203823" cy="214289"/>
            </a:xfrm>
            <a:custGeom>
              <a:avLst/>
              <a:gdLst>
                <a:gd name="connsiteX0" fmla="*/ 0 w 359568"/>
                <a:gd name="connsiteY0" fmla="*/ 172642 h 345283"/>
                <a:gd name="connsiteX1" fmla="*/ 55260 w 359568"/>
                <a:gd name="connsiteY1" fmla="*/ 48117 h 345283"/>
                <a:gd name="connsiteX2" fmla="*/ 179785 w 359568"/>
                <a:gd name="connsiteY2" fmla="*/ 0 h 345283"/>
                <a:gd name="connsiteX3" fmla="*/ 304310 w 359568"/>
                <a:gd name="connsiteY3" fmla="*/ 48118 h 345283"/>
                <a:gd name="connsiteX4" fmla="*/ 359569 w 359568"/>
                <a:gd name="connsiteY4" fmla="*/ 172643 h 345283"/>
                <a:gd name="connsiteX5" fmla="*/ 304310 w 359568"/>
                <a:gd name="connsiteY5" fmla="*/ 297168 h 345283"/>
                <a:gd name="connsiteX6" fmla="*/ 179785 w 359568"/>
                <a:gd name="connsiteY6" fmla="*/ 345285 h 345283"/>
                <a:gd name="connsiteX7" fmla="*/ 55260 w 359568"/>
                <a:gd name="connsiteY7" fmla="*/ 297168 h 345283"/>
                <a:gd name="connsiteX8" fmla="*/ 1 w 359568"/>
                <a:gd name="connsiteY8" fmla="*/ 172643 h 345283"/>
                <a:gd name="connsiteX9" fmla="*/ 0 w 359568"/>
                <a:gd name="connsiteY9" fmla="*/ 172642 h 345283"/>
                <a:gd name="connsiteX0" fmla="*/ 179785 w 359569"/>
                <a:gd name="connsiteY0" fmla="*/ 345285 h 436725"/>
                <a:gd name="connsiteX1" fmla="*/ 55260 w 359569"/>
                <a:gd name="connsiteY1" fmla="*/ 297168 h 436725"/>
                <a:gd name="connsiteX2" fmla="*/ 1 w 359569"/>
                <a:gd name="connsiteY2" fmla="*/ 172643 h 436725"/>
                <a:gd name="connsiteX3" fmla="*/ 0 w 359569"/>
                <a:gd name="connsiteY3" fmla="*/ 172642 h 436725"/>
                <a:gd name="connsiteX4" fmla="*/ 55260 w 359569"/>
                <a:gd name="connsiteY4" fmla="*/ 48117 h 436725"/>
                <a:gd name="connsiteX5" fmla="*/ 179785 w 359569"/>
                <a:gd name="connsiteY5" fmla="*/ 0 h 436725"/>
                <a:gd name="connsiteX6" fmla="*/ 304310 w 359569"/>
                <a:gd name="connsiteY6" fmla="*/ 48118 h 436725"/>
                <a:gd name="connsiteX7" fmla="*/ 359569 w 359569"/>
                <a:gd name="connsiteY7" fmla="*/ 172643 h 436725"/>
                <a:gd name="connsiteX8" fmla="*/ 304310 w 359569"/>
                <a:gd name="connsiteY8" fmla="*/ 297168 h 436725"/>
                <a:gd name="connsiteX9" fmla="*/ 271225 w 359569"/>
                <a:gd name="connsiteY9" fmla="*/ 436725 h 436725"/>
                <a:gd name="connsiteX0" fmla="*/ 179785 w 359569"/>
                <a:gd name="connsiteY0" fmla="*/ 345285 h 436725"/>
                <a:gd name="connsiteX1" fmla="*/ 78581 w 359569"/>
                <a:gd name="connsiteY1" fmla="*/ 321470 h 436725"/>
                <a:gd name="connsiteX2" fmla="*/ 55260 w 359569"/>
                <a:gd name="connsiteY2" fmla="*/ 297168 h 436725"/>
                <a:gd name="connsiteX3" fmla="*/ 1 w 359569"/>
                <a:gd name="connsiteY3" fmla="*/ 172643 h 436725"/>
                <a:gd name="connsiteX4" fmla="*/ 0 w 359569"/>
                <a:gd name="connsiteY4" fmla="*/ 172642 h 436725"/>
                <a:gd name="connsiteX5" fmla="*/ 55260 w 359569"/>
                <a:gd name="connsiteY5" fmla="*/ 48117 h 436725"/>
                <a:gd name="connsiteX6" fmla="*/ 179785 w 359569"/>
                <a:gd name="connsiteY6" fmla="*/ 0 h 436725"/>
                <a:gd name="connsiteX7" fmla="*/ 304310 w 359569"/>
                <a:gd name="connsiteY7" fmla="*/ 48118 h 436725"/>
                <a:gd name="connsiteX8" fmla="*/ 359569 w 359569"/>
                <a:gd name="connsiteY8" fmla="*/ 172643 h 436725"/>
                <a:gd name="connsiteX9" fmla="*/ 304310 w 359569"/>
                <a:gd name="connsiteY9" fmla="*/ 297168 h 436725"/>
                <a:gd name="connsiteX10" fmla="*/ 271225 w 359569"/>
                <a:gd name="connsiteY10" fmla="*/ 436725 h 436725"/>
                <a:gd name="connsiteX0" fmla="*/ 179785 w 359569"/>
                <a:gd name="connsiteY0" fmla="*/ 345285 h 436725"/>
                <a:gd name="connsiteX1" fmla="*/ 85725 w 359569"/>
                <a:gd name="connsiteY1" fmla="*/ 319089 h 436725"/>
                <a:gd name="connsiteX2" fmla="*/ 55260 w 359569"/>
                <a:gd name="connsiteY2" fmla="*/ 297168 h 436725"/>
                <a:gd name="connsiteX3" fmla="*/ 1 w 359569"/>
                <a:gd name="connsiteY3" fmla="*/ 172643 h 436725"/>
                <a:gd name="connsiteX4" fmla="*/ 0 w 359569"/>
                <a:gd name="connsiteY4" fmla="*/ 172642 h 436725"/>
                <a:gd name="connsiteX5" fmla="*/ 55260 w 359569"/>
                <a:gd name="connsiteY5" fmla="*/ 48117 h 436725"/>
                <a:gd name="connsiteX6" fmla="*/ 179785 w 359569"/>
                <a:gd name="connsiteY6" fmla="*/ 0 h 436725"/>
                <a:gd name="connsiteX7" fmla="*/ 304310 w 359569"/>
                <a:gd name="connsiteY7" fmla="*/ 48118 h 436725"/>
                <a:gd name="connsiteX8" fmla="*/ 359569 w 359569"/>
                <a:gd name="connsiteY8" fmla="*/ 172643 h 436725"/>
                <a:gd name="connsiteX9" fmla="*/ 304310 w 359569"/>
                <a:gd name="connsiteY9" fmla="*/ 297168 h 436725"/>
                <a:gd name="connsiteX10" fmla="*/ 271225 w 359569"/>
                <a:gd name="connsiteY10" fmla="*/ 436725 h 436725"/>
                <a:gd name="connsiteX0" fmla="*/ 179785 w 359569"/>
                <a:gd name="connsiteY0" fmla="*/ 345285 h 436725"/>
                <a:gd name="connsiteX1" fmla="*/ 85725 w 359569"/>
                <a:gd name="connsiteY1" fmla="*/ 319089 h 436725"/>
                <a:gd name="connsiteX2" fmla="*/ 55260 w 359569"/>
                <a:gd name="connsiteY2" fmla="*/ 297168 h 436725"/>
                <a:gd name="connsiteX3" fmla="*/ 1 w 359569"/>
                <a:gd name="connsiteY3" fmla="*/ 172643 h 436725"/>
                <a:gd name="connsiteX4" fmla="*/ 0 w 359569"/>
                <a:gd name="connsiteY4" fmla="*/ 172642 h 436725"/>
                <a:gd name="connsiteX5" fmla="*/ 55260 w 359569"/>
                <a:gd name="connsiteY5" fmla="*/ 48117 h 436725"/>
                <a:gd name="connsiteX6" fmla="*/ 179785 w 359569"/>
                <a:gd name="connsiteY6" fmla="*/ 0 h 436725"/>
                <a:gd name="connsiteX7" fmla="*/ 304310 w 359569"/>
                <a:gd name="connsiteY7" fmla="*/ 48118 h 436725"/>
                <a:gd name="connsiteX8" fmla="*/ 359569 w 359569"/>
                <a:gd name="connsiteY8" fmla="*/ 172643 h 436725"/>
                <a:gd name="connsiteX9" fmla="*/ 304310 w 359569"/>
                <a:gd name="connsiteY9" fmla="*/ 297168 h 436725"/>
                <a:gd name="connsiteX10" fmla="*/ 271225 w 359569"/>
                <a:gd name="connsiteY10" fmla="*/ 436725 h 436725"/>
                <a:gd name="connsiteX0" fmla="*/ 179785 w 359569"/>
                <a:gd name="connsiteY0" fmla="*/ 345285 h 436725"/>
                <a:gd name="connsiteX1" fmla="*/ 85725 w 359569"/>
                <a:gd name="connsiteY1" fmla="*/ 319089 h 436725"/>
                <a:gd name="connsiteX2" fmla="*/ 55260 w 359569"/>
                <a:gd name="connsiteY2" fmla="*/ 297168 h 436725"/>
                <a:gd name="connsiteX3" fmla="*/ 1 w 359569"/>
                <a:gd name="connsiteY3" fmla="*/ 172643 h 436725"/>
                <a:gd name="connsiteX4" fmla="*/ 0 w 359569"/>
                <a:gd name="connsiteY4" fmla="*/ 172642 h 436725"/>
                <a:gd name="connsiteX5" fmla="*/ 55260 w 359569"/>
                <a:gd name="connsiteY5" fmla="*/ 48117 h 436725"/>
                <a:gd name="connsiteX6" fmla="*/ 179785 w 359569"/>
                <a:gd name="connsiteY6" fmla="*/ 0 h 436725"/>
                <a:gd name="connsiteX7" fmla="*/ 304310 w 359569"/>
                <a:gd name="connsiteY7" fmla="*/ 48118 h 436725"/>
                <a:gd name="connsiteX8" fmla="*/ 359569 w 359569"/>
                <a:gd name="connsiteY8" fmla="*/ 172643 h 436725"/>
                <a:gd name="connsiteX9" fmla="*/ 304310 w 359569"/>
                <a:gd name="connsiteY9" fmla="*/ 297168 h 436725"/>
                <a:gd name="connsiteX10" fmla="*/ 271225 w 359569"/>
                <a:gd name="connsiteY10" fmla="*/ 436725 h 436725"/>
                <a:gd name="connsiteX0" fmla="*/ 85725 w 359569"/>
                <a:gd name="connsiteY0" fmla="*/ 319089 h 436725"/>
                <a:gd name="connsiteX1" fmla="*/ 55260 w 359569"/>
                <a:gd name="connsiteY1" fmla="*/ 297168 h 436725"/>
                <a:gd name="connsiteX2" fmla="*/ 1 w 359569"/>
                <a:gd name="connsiteY2" fmla="*/ 172643 h 436725"/>
                <a:gd name="connsiteX3" fmla="*/ 0 w 359569"/>
                <a:gd name="connsiteY3" fmla="*/ 172642 h 436725"/>
                <a:gd name="connsiteX4" fmla="*/ 55260 w 359569"/>
                <a:gd name="connsiteY4" fmla="*/ 48117 h 436725"/>
                <a:gd name="connsiteX5" fmla="*/ 179785 w 359569"/>
                <a:gd name="connsiteY5" fmla="*/ 0 h 436725"/>
                <a:gd name="connsiteX6" fmla="*/ 304310 w 359569"/>
                <a:gd name="connsiteY6" fmla="*/ 48118 h 436725"/>
                <a:gd name="connsiteX7" fmla="*/ 359569 w 359569"/>
                <a:gd name="connsiteY7" fmla="*/ 172643 h 436725"/>
                <a:gd name="connsiteX8" fmla="*/ 304310 w 359569"/>
                <a:gd name="connsiteY8" fmla="*/ 297168 h 436725"/>
                <a:gd name="connsiteX9" fmla="*/ 271225 w 359569"/>
                <a:gd name="connsiteY9" fmla="*/ 436725 h 436725"/>
                <a:gd name="connsiteX0" fmla="*/ 85725 w 359569"/>
                <a:gd name="connsiteY0" fmla="*/ 319089 h 436725"/>
                <a:gd name="connsiteX1" fmla="*/ 55260 w 359569"/>
                <a:gd name="connsiteY1" fmla="*/ 297168 h 436725"/>
                <a:gd name="connsiteX2" fmla="*/ 1 w 359569"/>
                <a:gd name="connsiteY2" fmla="*/ 172643 h 436725"/>
                <a:gd name="connsiteX3" fmla="*/ 0 w 359569"/>
                <a:gd name="connsiteY3" fmla="*/ 172642 h 436725"/>
                <a:gd name="connsiteX4" fmla="*/ 55260 w 359569"/>
                <a:gd name="connsiteY4" fmla="*/ 48117 h 436725"/>
                <a:gd name="connsiteX5" fmla="*/ 179785 w 359569"/>
                <a:gd name="connsiteY5" fmla="*/ 0 h 436725"/>
                <a:gd name="connsiteX6" fmla="*/ 304310 w 359569"/>
                <a:gd name="connsiteY6" fmla="*/ 48118 h 436725"/>
                <a:gd name="connsiteX7" fmla="*/ 359569 w 359569"/>
                <a:gd name="connsiteY7" fmla="*/ 172643 h 436725"/>
                <a:gd name="connsiteX8" fmla="*/ 304310 w 359569"/>
                <a:gd name="connsiteY8" fmla="*/ 297168 h 436725"/>
                <a:gd name="connsiteX9" fmla="*/ 271225 w 359569"/>
                <a:gd name="connsiteY9" fmla="*/ 436725 h 436725"/>
                <a:gd name="connsiteX0" fmla="*/ 85725 w 359569"/>
                <a:gd name="connsiteY0" fmla="*/ 319089 h 346238"/>
                <a:gd name="connsiteX1" fmla="*/ 55260 w 359569"/>
                <a:gd name="connsiteY1" fmla="*/ 297168 h 346238"/>
                <a:gd name="connsiteX2" fmla="*/ 1 w 359569"/>
                <a:gd name="connsiteY2" fmla="*/ 172643 h 346238"/>
                <a:gd name="connsiteX3" fmla="*/ 0 w 359569"/>
                <a:gd name="connsiteY3" fmla="*/ 172642 h 346238"/>
                <a:gd name="connsiteX4" fmla="*/ 55260 w 359569"/>
                <a:gd name="connsiteY4" fmla="*/ 48117 h 346238"/>
                <a:gd name="connsiteX5" fmla="*/ 179785 w 359569"/>
                <a:gd name="connsiteY5" fmla="*/ 0 h 346238"/>
                <a:gd name="connsiteX6" fmla="*/ 304310 w 359569"/>
                <a:gd name="connsiteY6" fmla="*/ 48118 h 346238"/>
                <a:gd name="connsiteX7" fmla="*/ 359569 w 359569"/>
                <a:gd name="connsiteY7" fmla="*/ 172643 h 346238"/>
                <a:gd name="connsiteX8" fmla="*/ 304310 w 359569"/>
                <a:gd name="connsiteY8" fmla="*/ 297168 h 346238"/>
                <a:gd name="connsiteX9" fmla="*/ 142637 w 359569"/>
                <a:gd name="connsiteY9" fmla="*/ 346238 h 346238"/>
                <a:gd name="connsiteX0" fmla="*/ 85725 w 359569"/>
                <a:gd name="connsiteY0" fmla="*/ 319089 h 346238"/>
                <a:gd name="connsiteX1" fmla="*/ 55260 w 359569"/>
                <a:gd name="connsiteY1" fmla="*/ 297168 h 346238"/>
                <a:gd name="connsiteX2" fmla="*/ 1 w 359569"/>
                <a:gd name="connsiteY2" fmla="*/ 172643 h 346238"/>
                <a:gd name="connsiteX3" fmla="*/ 0 w 359569"/>
                <a:gd name="connsiteY3" fmla="*/ 172642 h 346238"/>
                <a:gd name="connsiteX4" fmla="*/ 55260 w 359569"/>
                <a:gd name="connsiteY4" fmla="*/ 48117 h 346238"/>
                <a:gd name="connsiteX5" fmla="*/ 179785 w 359569"/>
                <a:gd name="connsiteY5" fmla="*/ 0 h 346238"/>
                <a:gd name="connsiteX6" fmla="*/ 304310 w 359569"/>
                <a:gd name="connsiteY6" fmla="*/ 48118 h 346238"/>
                <a:gd name="connsiteX7" fmla="*/ 359569 w 359569"/>
                <a:gd name="connsiteY7" fmla="*/ 172643 h 346238"/>
                <a:gd name="connsiteX8" fmla="*/ 304310 w 359569"/>
                <a:gd name="connsiteY8" fmla="*/ 297168 h 346238"/>
                <a:gd name="connsiteX9" fmla="*/ 176212 w 359569"/>
                <a:gd name="connsiteY9" fmla="*/ 333376 h 346238"/>
                <a:gd name="connsiteX10" fmla="*/ 142637 w 359569"/>
                <a:gd name="connsiteY10" fmla="*/ 346238 h 346238"/>
                <a:gd name="connsiteX0" fmla="*/ 85725 w 359569"/>
                <a:gd name="connsiteY0" fmla="*/ 319089 h 445295"/>
                <a:gd name="connsiteX1" fmla="*/ 55260 w 359569"/>
                <a:gd name="connsiteY1" fmla="*/ 297168 h 445295"/>
                <a:gd name="connsiteX2" fmla="*/ 1 w 359569"/>
                <a:gd name="connsiteY2" fmla="*/ 172643 h 445295"/>
                <a:gd name="connsiteX3" fmla="*/ 0 w 359569"/>
                <a:gd name="connsiteY3" fmla="*/ 172642 h 445295"/>
                <a:gd name="connsiteX4" fmla="*/ 55260 w 359569"/>
                <a:gd name="connsiteY4" fmla="*/ 48117 h 445295"/>
                <a:gd name="connsiteX5" fmla="*/ 179785 w 359569"/>
                <a:gd name="connsiteY5" fmla="*/ 0 h 445295"/>
                <a:gd name="connsiteX6" fmla="*/ 304310 w 359569"/>
                <a:gd name="connsiteY6" fmla="*/ 48118 h 445295"/>
                <a:gd name="connsiteX7" fmla="*/ 359569 w 359569"/>
                <a:gd name="connsiteY7" fmla="*/ 172643 h 445295"/>
                <a:gd name="connsiteX8" fmla="*/ 304310 w 359569"/>
                <a:gd name="connsiteY8" fmla="*/ 297168 h 445295"/>
                <a:gd name="connsiteX9" fmla="*/ 114300 w 359569"/>
                <a:gd name="connsiteY9" fmla="*/ 445295 h 445295"/>
                <a:gd name="connsiteX10" fmla="*/ 142637 w 359569"/>
                <a:gd name="connsiteY10" fmla="*/ 346238 h 445295"/>
                <a:gd name="connsiteX0" fmla="*/ 85725 w 359569"/>
                <a:gd name="connsiteY0" fmla="*/ 319089 h 445295"/>
                <a:gd name="connsiteX1" fmla="*/ 55260 w 359569"/>
                <a:gd name="connsiteY1" fmla="*/ 297168 h 445295"/>
                <a:gd name="connsiteX2" fmla="*/ 1 w 359569"/>
                <a:gd name="connsiteY2" fmla="*/ 172643 h 445295"/>
                <a:gd name="connsiteX3" fmla="*/ 0 w 359569"/>
                <a:gd name="connsiteY3" fmla="*/ 172642 h 445295"/>
                <a:gd name="connsiteX4" fmla="*/ 55260 w 359569"/>
                <a:gd name="connsiteY4" fmla="*/ 48117 h 445295"/>
                <a:gd name="connsiteX5" fmla="*/ 179785 w 359569"/>
                <a:gd name="connsiteY5" fmla="*/ 0 h 445295"/>
                <a:gd name="connsiteX6" fmla="*/ 304310 w 359569"/>
                <a:gd name="connsiteY6" fmla="*/ 48118 h 445295"/>
                <a:gd name="connsiteX7" fmla="*/ 359569 w 359569"/>
                <a:gd name="connsiteY7" fmla="*/ 172643 h 445295"/>
                <a:gd name="connsiteX8" fmla="*/ 304310 w 359569"/>
                <a:gd name="connsiteY8" fmla="*/ 297168 h 445295"/>
                <a:gd name="connsiteX9" fmla="*/ 114300 w 359569"/>
                <a:gd name="connsiteY9" fmla="*/ 445295 h 445295"/>
                <a:gd name="connsiteX10" fmla="*/ 142637 w 359569"/>
                <a:gd name="connsiteY10" fmla="*/ 346238 h 445295"/>
                <a:gd name="connsiteX0" fmla="*/ 85725 w 359569"/>
                <a:gd name="connsiteY0" fmla="*/ 319089 h 445295"/>
                <a:gd name="connsiteX1" fmla="*/ 55260 w 359569"/>
                <a:gd name="connsiteY1" fmla="*/ 297168 h 445295"/>
                <a:gd name="connsiteX2" fmla="*/ 1 w 359569"/>
                <a:gd name="connsiteY2" fmla="*/ 172643 h 445295"/>
                <a:gd name="connsiteX3" fmla="*/ 0 w 359569"/>
                <a:gd name="connsiteY3" fmla="*/ 172642 h 445295"/>
                <a:gd name="connsiteX4" fmla="*/ 55260 w 359569"/>
                <a:gd name="connsiteY4" fmla="*/ 48117 h 445295"/>
                <a:gd name="connsiteX5" fmla="*/ 179785 w 359569"/>
                <a:gd name="connsiteY5" fmla="*/ 0 h 445295"/>
                <a:gd name="connsiteX6" fmla="*/ 304310 w 359569"/>
                <a:gd name="connsiteY6" fmla="*/ 48118 h 445295"/>
                <a:gd name="connsiteX7" fmla="*/ 359569 w 359569"/>
                <a:gd name="connsiteY7" fmla="*/ 172643 h 445295"/>
                <a:gd name="connsiteX8" fmla="*/ 304310 w 359569"/>
                <a:gd name="connsiteY8" fmla="*/ 297168 h 445295"/>
                <a:gd name="connsiteX9" fmla="*/ 114300 w 359569"/>
                <a:gd name="connsiteY9" fmla="*/ 445295 h 445295"/>
                <a:gd name="connsiteX10" fmla="*/ 142637 w 359569"/>
                <a:gd name="connsiteY10" fmla="*/ 346238 h 445295"/>
                <a:gd name="connsiteX0" fmla="*/ 85725 w 359569"/>
                <a:gd name="connsiteY0" fmla="*/ 319089 h 445295"/>
                <a:gd name="connsiteX1" fmla="*/ 55260 w 359569"/>
                <a:gd name="connsiteY1" fmla="*/ 297168 h 445295"/>
                <a:gd name="connsiteX2" fmla="*/ 1 w 359569"/>
                <a:gd name="connsiteY2" fmla="*/ 172643 h 445295"/>
                <a:gd name="connsiteX3" fmla="*/ 0 w 359569"/>
                <a:gd name="connsiteY3" fmla="*/ 172642 h 445295"/>
                <a:gd name="connsiteX4" fmla="*/ 55260 w 359569"/>
                <a:gd name="connsiteY4" fmla="*/ 48117 h 445295"/>
                <a:gd name="connsiteX5" fmla="*/ 179785 w 359569"/>
                <a:gd name="connsiteY5" fmla="*/ 0 h 445295"/>
                <a:gd name="connsiteX6" fmla="*/ 304310 w 359569"/>
                <a:gd name="connsiteY6" fmla="*/ 48118 h 445295"/>
                <a:gd name="connsiteX7" fmla="*/ 359569 w 359569"/>
                <a:gd name="connsiteY7" fmla="*/ 172643 h 445295"/>
                <a:gd name="connsiteX8" fmla="*/ 304310 w 359569"/>
                <a:gd name="connsiteY8" fmla="*/ 297168 h 445295"/>
                <a:gd name="connsiteX9" fmla="*/ 114300 w 359569"/>
                <a:gd name="connsiteY9" fmla="*/ 445295 h 445295"/>
                <a:gd name="connsiteX10" fmla="*/ 142637 w 359569"/>
                <a:gd name="connsiteY10" fmla="*/ 346238 h 44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9569" h="445295">
                  <a:moveTo>
                    <a:pt x="85725" y="319089"/>
                  </a:moveTo>
                  <a:lnTo>
                    <a:pt x="55260" y="297168"/>
                  </a:lnTo>
                  <a:cubicBezTo>
                    <a:pt x="19956" y="264613"/>
                    <a:pt x="1" y="219644"/>
                    <a:pt x="1" y="172643"/>
                  </a:cubicBezTo>
                  <a:lnTo>
                    <a:pt x="0" y="172642"/>
                  </a:lnTo>
                  <a:cubicBezTo>
                    <a:pt x="0" y="125641"/>
                    <a:pt x="19956" y="80672"/>
                    <a:pt x="55260" y="48117"/>
                  </a:cubicBezTo>
                  <a:cubicBezTo>
                    <a:pt x="88743" y="17242"/>
                    <a:pt x="133364" y="0"/>
                    <a:pt x="179785" y="0"/>
                  </a:cubicBezTo>
                  <a:cubicBezTo>
                    <a:pt x="226206" y="0"/>
                    <a:pt x="270827" y="17242"/>
                    <a:pt x="304310" y="48118"/>
                  </a:cubicBezTo>
                  <a:cubicBezTo>
                    <a:pt x="339614" y="80673"/>
                    <a:pt x="359569" y="125642"/>
                    <a:pt x="359569" y="172643"/>
                  </a:cubicBezTo>
                  <a:cubicBezTo>
                    <a:pt x="359569" y="219644"/>
                    <a:pt x="334869" y="270379"/>
                    <a:pt x="304310" y="297168"/>
                  </a:cubicBezTo>
                  <a:cubicBezTo>
                    <a:pt x="265813" y="352135"/>
                    <a:pt x="138865" y="425211"/>
                    <a:pt x="114300" y="445295"/>
                  </a:cubicBezTo>
                  <a:lnTo>
                    <a:pt x="142637" y="346238"/>
                  </a:lnTo>
                </a:path>
              </a:pathLst>
            </a:custGeom>
            <a:ln>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defRPr/>
              </a:pPr>
              <a:endParaRPr lang="en-US" sz="1600" b="1" kern="0" dirty="0">
                <a:latin typeface="Arial"/>
                <a:cs typeface="Arial" charset="0"/>
              </a:endParaRPr>
            </a:p>
          </p:txBody>
        </p:sp>
      </p:grpSp>
    </p:spTree>
    <p:extLst>
      <p:ext uri="{BB962C8B-B14F-4D97-AF65-F5344CB8AC3E}">
        <p14:creationId xmlns:p14="http://schemas.microsoft.com/office/powerpoint/2010/main" val="25124366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9005551" cy="943071"/>
          </a:xfrm>
        </p:spPr>
        <p:txBody>
          <a:bodyPr/>
          <a:lstStyle/>
          <a:p>
            <a:r>
              <a:rPr lang="en-US" smtClean="0"/>
              <a:t>Capgemini </a:t>
            </a:r>
            <a:r>
              <a:rPr lang="en-US" dirty="0"/>
              <a:t>Mobile Testing Capability Overview </a:t>
            </a:r>
            <a:endParaRPr lang="en-GB" dirty="0"/>
          </a:p>
        </p:txBody>
      </p:sp>
      <p:grpSp>
        <p:nvGrpSpPr>
          <p:cNvPr id="58" name="Group 57"/>
          <p:cNvGrpSpPr/>
          <p:nvPr/>
        </p:nvGrpSpPr>
        <p:grpSpPr>
          <a:xfrm>
            <a:off x="1189346" y="1289951"/>
            <a:ext cx="9819739" cy="5013923"/>
            <a:chOff x="935346" y="1175651"/>
            <a:chExt cx="9819739" cy="5013923"/>
          </a:xfrm>
        </p:grpSpPr>
        <p:grpSp>
          <p:nvGrpSpPr>
            <p:cNvPr id="6" name="Group 5"/>
            <p:cNvGrpSpPr/>
            <p:nvPr/>
          </p:nvGrpSpPr>
          <p:grpSpPr>
            <a:xfrm>
              <a:off x="935348" y="1175652"/>
              <a:ext cx="1981981" cy="1317171"/>
              <a:chOff x="298532" y="1255191"/>
              <a:chExt cx="8535251" cy="1690490"/>
            </a:xfrm>
          </p:grpSpPr>
          <p:sp>
            <p:nvSpPr>
              <p:cNvPr id="7" name="Right Brace 6"/>
              <p:cNvSpPr/>
              <p:nvPr/>
            </p:nvSpPr>
            <p:spPr>
              <a:xfrm>
                <a:off x="7916502" y="1518742"/>
                <a:ext cx="917281" cy="1163386"/>
              </a:xfrm>
              <a:prstGeom prst="rightBrace">
                <a:avLst>
                  <a:gd name="adj1" fmla="val 33390"/>
                  <a:gd name="adj2" fmla="val 50000"/>
                </a:avLst>
              </a:prstGeom>
              <a:solidFill>
                <a:schemeClr val="bg1">
                  <a:lumMod val="65000"/>
                </a:schemeClr>
              </a:solidFill>
              <a:ln w="6350" cap="flat" cmpd="sng" algn="ctr">
                <a:noFill/>
                <a:prstDash val="solid"/>
                <a:round/>
                <a:headEnd type="none" w="med" len="med"/>
                <a:tailEnd type="none" w="med" len="med"/>
              </a:ln>
              <a:effectLst/>
            </p:spPr>
            <p:txBody>
              <a:bodyPr rtlCol="0" anchor="ctr"/>
              <a:lstStyle/>
              <a:p>
                <a:pPr algn="ctr"/>
                <a:endParaRPr lang="en-GB" dirty="0">
                  <a:latin typeface="Calibri" pitchFamily="34" charset="0"/>
                  <a:sym typeface="Calibri"/>
                </a:endParaRPr>
              </a:p>
            </p:txBody>
          </p:sp>
          <p:sp>
            <p:nvSpPr>
              <p:cNvPr id="8" name="Rounded Rectangle 7"/>
              <p:cNvSpPr/>
              <p:nvPr/>
            </p:nvSpPr>
            <p:spPr bwMode="auto">
              <a:xfrm>
                <a:off x="298532" y="1255191"/>
                <a:ext cx="7668187" cy="1690490"/>
              </a:xfrm>
              <a:prstGeom prst="roundRect">
                <a:avLst>
                  <a:gd name="adj" fmla="val 10882"/>
                </a:avLst>
              </a:prstGeom>
              <a:solidFill>
                <a:schemeClr val="accent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defTabSz="914296" eaLnBrk="0" fontAlgn="base" hangingPunct="0">
                  <a:spcBef>
                    <a:spcPct val="0"/>
                  </a:spcBef>
                  <a:spcAft>
                    <a:spcPct val="0"/>
                  </a:spcAft>
                </a:pPr>
                <a:r>
                  <a:rPr lang="en-GB" sz="1600" b="1" dirty="0">
                    <a:solidFill>
                      <a:prstClr val="white"/>
                    </a:solidFill>
                    <a:latin typeface="Calibri" pitchFamily="34" charset="0"/>
                    <a:cs typeface="Arial" charset="0"/>
                    <a:sym typeface="Calibri"/>
                  </a:rPr>
                  <a:t>Solutions </a:t>
                </a:r>
                <a:br>
                  <a:rPr lang="en-GB" sz="1600" b="1" dirty="0">
                    <a:solidFill>
                      <a:prstClr val="white"/>
                    </a:solidFill>
                    <a:latin typeface="Calibri" pitchFamily="34" charset="0"/>
                    <a:cs typeface="Arial" charset="0"/>
                    <a:sym typeface="Calibri"/>
                  </a:rPr>
                </a:br>
                <a:r>
                  <a:rPr lang="en-GB" sz="1600" b="1" dirty="0">
                    <a:solidFill>
                      <a:prstClr val="white"/>
                    </a:solidFill>
                    <a:latin typeface="Calibri" pitchFamily="34" charset="0"/>
                    <a:cs typeface="Arial" charset="0"/>
                    <a:sym typeface="Calibri"/>
                  </a:rPr>
                  <a:t>Offered </a:t>
                </a:r>
              </a:p>
            </p:txBody>
          </p:sp>
        </p:grpSp>
        <p:sp>
          <p:nvSpPr>
            <p:cNvPr id="9" name="TextBox 8"/>
            <p:cNvSpPr txBox="1"/>
            <p:nvPr/>
          </p:nvSpPr>
          <p:spPr>
            <a:xfrm>
              <a:off x="2965599" y="1175651"/>
              <a:ext cx="7789485" cy="1477328"/>
            </a:xfrm>
            <a:prstGeom prst="rect">
              <a:avLst/>
            </a:prstGeom>
            <a:solidFill>
              <a:schemeClr val="bg2"/>
            </a:solidFill>
          </p:spPr>
          <p:txBody>
            <a:bodyPr wrap="square" lIns="91440" rIns="0" rtlCol="0">
              <a:spAutoFit/>
            </a:bodyPr>
            <a:lstStyle/>
            <a:p>
              <a:r>
                <a:rPr lang="en-US" sz="900" dirty="0">
                  <a:solidFill>
                    <a:schemeClr val="tx2">
                      <a:lumMod val="50000"/>
                    </a:schemeClr>
                  </a:solidFill>
                  <a:ea typeface="Segoe UI" pitchFamily="34" charset="0"/>
                  <a:cs typeface="Segoe UI" pitchFamily="34" charset="0"/>
                </a:rPr>
                <a:t>End-to-end Mobile Testing services catalogue spanning leading Mobility platforms and Mobile App types (Native, Web &amp; Hybrid)</a:t>
              </a:r>
            </a:p>
            <a:p>
              <a:pPr marL="174625" lvl="1" indent="-174625">
                <a:buClr>
                  <a:schemeClr val="tx1"/>
                </a:buClr>
                <a:buFont typeface="+mj-lt"/>
                <a:buAutoNum type="arabicPeriod"/>
                <a:tabLst>
                  <a:tab pos="1490663" algn="l"/>
                </a:tabLst>
              </a:pPr>
              <a:r>
                <a:rPr lang="en-US" sz="900" dirty="0">
                  <a:solidFill>
                    <a:schemeClr val="tx2">
                      <a:lumMod val="50000"/>
                    </a:schemeClr>
                  </a:solidFill>
                  <a:ea typeface="Segoe UI" pitchFamily="34" charset="0"/>
                  <a:cs typeface="Segoe UI" pitchFamily="34" charset="0"/>
                </a:rPr>
                <a:t>Functional Testing:	Performed by skilled mobility testers to ensure mobile robust end-user experience</a:t>
              </a:r>
            </a:p>
            <a:p>
              <a:pPr marL="174625" lvl="1" indent="-174625">
                <a:buClr>
                  <a:schemeClr val="tx1"/>
                </a:buClr>
                <a:buFont typeface="+mj-lt"/>
                <a:buAutoNum type="arabicPeriod"/>
                <a:tabLst>
                  <a:tab pos="1490663" algn="l"/>
                </a:tabLst>
              </a:pPr>
              <a:r>
                <a:rPr lang="en-US" sz="900" dirty="0">
                  <a:solidFill>
                    <a:schemeClr val="tx2">
                      <a:lumMod val="50000"/>
                    </a:schemeClr>
                  </a:solidFill>
                  <a:ea typeface="Segoe UI" pitchFamily="34" charset="0"/>
                  <a:cs typeface="Segoe UI" pitchFamily="34" charset="0"/>
                </a:rPr>
                <a:t>Compatibility Testing:	To ensure excellent coverage across the fragmented Mobility landscape</a:t>
              </a:r>
            </a:p>
            <a:p>
              <a:pPr marL="174625" lvl="1" indent="-174625">
                <a:buClr>
                  <a:schemeClr val="tx1"/>
                </a:buClr>
                <a:buFont typeface="+mj-lt"/>
                <a:buAutoNum type="arabicPeriod"/>
                <a:tabLst>
                  <a:tab pos="1490663" algn="l"/>
                </a:tabLst>
              </a:pPr>
              <a:r>
                <a:rPr lang="en-US" sz="900" dirty="0">
                  <a:solidFill>
                    <a:schemeClr val="tx2">
                      <a:lumMod val="50000"/>
                    </a:schemeClr>
                  </a:solidFill>
                  <a:ea typeface="Segoe UI" pitchFamily="34" charset="0"/>
                  <a:cs typeface="Segoe UI" pitchFamily="34" charset="0"/>
                </a:rPr>
                <a:t>Usability Testing: 	User experience and UI</a:t>
              </a:r>
            </a:p>
            <a:p>
              <a:pPr marL="174625" lvl="1" indent="-174625">
                <a:buClr>
                  <a:schemeClr val="tx1"/>
                </a:buClr>
                <a:buFont typeface="+mj-lt"/>
                <a:buAutoNum type="arabicPeriod"/>
                <a:tabLst>
                  <a:tab pos="1490663" algn="l"/>
                </a:tabLst>
              </a:pPr>
              <a:r>
                <a:rPr lang="en-US" sz="900" dirty="0">
                  <a:solidFill>
                    <a:schemeClr val="tx2">
                      <a:lumMod val="50000"/>
                    </a:schemeClr>
                  </a:solidFill>
                  <a:ea typeface="Segoe UI" pitchFamily="34" charset="0"/>
                  <a:cs typeface="Segoe UI" pitchFamily="34" charset="0"/>
                </a:rPr>
                <a:t>Compliance Testing:	Compliance Testing on HIG Guidelines and W3C compliance </a:t>
              </a:r>
            </a:p>
            <a:p>
              <a:pPr marL="174625" lvl="1" indent="-174625">
                <a:buClr>
                  <a:schemeClr val="tx1"/>
                </a:buClr>
                <a:buFont typeface="+mj-lt"/>
                <a:buAutoNum type="arabicPeriod"/>
              </a:pPr>
              <a:r>
                <a:rPr lang="en-US" sz="900" dirty="0">
                  <a:solidFill>
                    <a:schemeClr val="tx2">
                      <a:lumMod val="50000"/>
                    </a:schemeClr>
                  </a:solidFill>
                  <a:ea typeface="Segoe UI" pitchFamily="34" charset="0"/>
                  <a:cs typeface="Segoe UI" pitchFamily="34" charset="0"/>
                </a:rPr>
                <a:t>Device/Network Testing:  Testing the Application on device and Network specific conditions </a:t>
              </a:r>
            </a:p>
            <a:p>
              <a:pPr marL="174625" lvl="1" indent="-174625">
                <a:buClr>
                  <a:schemeClr val="tx1"/>
                </a:buClr>
                <a:buFont typeface="+mj-lt"/>
                <a:buAutoNum type="arabicPeriod"/>
                <a:tabLst>
                  <a:tab pos="1490663" algn="l"/>
                </a:tabLst>
              </a:pPr>
              <a:r>
                <a:rPr lang="en-US" sz="900" dirty="0">
                  <a:solidFill>
                    <a:schemeClr val="tx2">
                      <a:lumMod val="50000"/>
                    </a:schemeClr>
                  </a:solidFill>
                  <a:ea typeface="Segoe UI" pitchFamily="34" charset="0"/>
                  <a:cs typeface="Segoe UI" pitchFamily="34" charset="0"/>
                </a:rPr>
                <a:t>Test Automation:	Key solution for short time-to-market situations and to enable excellent coverage across devices.</a:t>
              </a:r>
            </a:p>
            <a:p>
              <a:pPr marL="174625" lvl="1" indent="-174625">
                <a:buClr>
                  <a:schemeClr val="tx1"/>
                </a:buClr>
                <a:buFont typeface="+mj-lt"/>
                <a:buAutoNum type="arabicPeriod"/>
                <a:tabLst>
                  <a:tab pos="1490663" algn="l"/>
                </a:tabLst>
              </a:pPr>
              <a:r>
                <a:rPr lang="en-US" sz="900" dirty="0">
                  <a:solidFill>
                    <a:schemeClr val="tx2">
                      <a:lumMod val="50000"/>
                    </a:schemeClr>
                  </a:solidFill>
                  <a:ea typeface="Segoe UI" pitchFamily="34" charset="0"/>
                  <a:cs typeface="Segoe UI" pitchFamily="34" charset="0"/>
                </a:rPr>
                <a:t>Performance Testing: 	Meet challenging end user expectations for app performance across n/w types</a:t>
              </a:r>
            </a:p>
            <a:p>
              <a:pPr marL="174625" lvl="1" indent="-174625">
                <a:buClr>
                  <a:schemeClr val="tx1"/>
                </a:buClr>
                <a:buFont typeface="+mj-lt"/>
                <a:buAutoNum type="arabicPeriod"/>
                <a:tabLst>
                  <a:tab pos="1490663" algn="l"/>
                </a:tabLst>
              </a:pPr>
              <a:r>
                <a:rPr lang="en-US" sz="900" dirty="0">
                  <a:solidFill>
                    <a:schemeClr val="tx2">
                      <a:lumMod val="50000"/>
                    </a:schemeClr>
                  </a:solidFill>
                  <a:ea typeface="Segoe UI" pitchFamily="34" charset="0"/>
                  <a:cs typeface="Segoe UI" pitchFamily="34" charset="0"/>
                </a:rPr>
                <a:t>Security Testing:	For mobile apps, free from vulnerabilities and protected against exploits.</a:t>
              </a:r>
            </a:p>
            <a:p>
              <a:pPr marL="174625" lvl="1" indent="-174625">
                <a:buClr>
                  <a:schemeClr val="tx1"/>
                </a:buClr>
                <a:buFont typeface="+mj-lt"/>
                <a:buAutoNum type="arabicPeriod"/>
                <a:tabLst>
                  <a:tab pos="1196975" algn="l"/>
                  <a:tab pos="1490663" algn="l"/>
                </a:tabLst>
              </a:pPr>
              <a:r>
                <a:rPr lang="en-US" sz="900" dirty="0">
                  <a:solidFill>
                    <a:schemeClr val="tx2">
                      <a:lumMod val="50000"/>
                    </a:schemeClr>
                  </a:solidFill>
                  <a:ea typeface="Segoe UI" pitchFamily="34" charset="0"/>
                  <a:cs typeface="Segoe UI" pitchFamily="34" charset="0"/>
                </a:rPr>
                <a:t>Localization testing:		Multi language testing</a:t>
              </a:r>
            </a:p>
          </p:txBody>
        </p:sp>
        <p:grpSp>
          <p:nvGrpSpPr>
            <p:cNvPr id="10" name="Group 9"/>
            <p:cNvGrpSpPr/>
            <p:nvPr/>
          </p:nvGrpSpPr>
          <p:grpSpPr>
            <a:xfrm>
              <a:off x="935346" y="2923469"/>
              <a:ext cx="6298211" cy="603496"/>
              <a:chOff x="298532" y="1486560"/>
              <a:chExt cx="9308936" cy="774542"/>
            </a:xfrm>
          </p:grpSpPr>
          <p:sp>
            <p:nvSpPr>
              <p:cNvPr id="11" name="Right Brace 10"/>
              <p:cNvSpPr/>
              <p:nvPr/>
            </p:nvSpPr>
            <p:spPr>
              <a:xfrm rot="5400000">
                <a:off x="4816313" y="-650616"/>
                <a:ext cx="273374" cy="5550062"/>
              </a:xfrm>
              <a:prstGeom prst="rightBrace">
                <a:avLst>
                  <a:gd name="adj1" fmla="val 33390"/>
                  <a:gd name="adj2" fmla="val 50000"/>
                </a:avLst>
              </a:prstGeom>
              <a:solidFill>
                <a:schemeClr val="bg1">
                  <a:lumMod val="65000"/>
                </a:schemeClr>
              </a:solidFill>
              <a:ln w="6350" cap="flat" cmpd="sng" algn="ctr">
                <a:noFill/>
                <a:prstDash val="solid"/>
                <a:round/>
                <a:headEnd type="none" w="med" len="med"/>
                <a:tailEnd type="none" w="med" len="med"/>
              </a:ln>
              <a:effectLst/>
            </p:spPr>
            <p:txBody>
              <a:bodyPr rtlCol="0" anchor="ctr"/>
              <a:lstStyle/>
              <a:p>
                <a:pPr algn="ctr"/>
                <a:endParaRPr lang="en-GB" dirty="0">
                  <a:latin typeface="Calibri" pitchFamily="34" charset="0"/>
                  <a:sym typeface="Calibri"/>
                </a:endParaRPr>
              </a:p>
            </p:txBody>
          </p:sp>
          <p:sp>
            <p:nvSpPr>
              <p:cNvPr id="12" name="Rounded Rectangle 11"/>
              <p:cNvSpPr/>
              <p:nvPr/>
            </p:nvSpPr>
            <p:spPr bwMode="auto">
              <a:xfrm>
                <a:off x="298532" y="1486560"/>
                <a:ext cx="9308936" cy="542842"/>
              </a:xfrm>
              <a:prstGeom prst="roundRect">
                <a:avLst/>
              </a:prstGeom>
              <a:solidFill>
                <a:schemeClr val="accent1"/>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296" eaLnBrk="0" fontAlgn="base" hangingPunct="0">
                  <a:spcBef>
                    <a:spcPct val="0"/>
                  </a:spcBef>
                  <a:spcAft>
                    <a:spcPct val="0"/>
                  </a:spcAft>
                </a:pPr>
                <a:r>
                  <a:rPr lang="en-GB" sz="1600" b="1" dirty="0">
                    <a:solidFill>
                      <a:prstClr val="white"/>
                    </a:solidFill>
                    <a:latin typeface="Calibri" pitchFamily="34" charset="0"/>
                    <a:cs typeface="Arial" charset="0"/>
                    <a:sym typeface="Calibri"/>
                  </a:rPr>
                  <a:t>Infrastructure &amp; Tools </a:t>
                </a:r>
              </a:p>
            </p:txBody>
          </p:sp>
        </p:grpSp>
        <p:grpSp>
          <p:nvGrpSpPr>
            <p:cNvPr id="13" name="Group 12"/>
            <p:cNvGrpSpPr/>
            <p:nvPr/>
          </p:nvGrpSpPr>
          <p:grpSpPr>
            <a:xfrm>
              <a:off x="7693123" y="2923469"/>
              <a:ext cx="3061962" cy="603496"/>
              <a:chOff x="298532" y="1486560"/>
              <a:chExt cx="9308936" cy="774542"/>
            </a:xfrm>
          </p:grpSpPr>
          <p:sp>
            <p:nvSpPr>
              <p:cNvPr id="14" name="Right Brace 13"/>
              <p:cNvSpPr/>
              <p:nvPr/>
            </p:nvSpPr>
            <p:spPr>
              <a:xfrm rot="5400000">
                <a:off x="4816313" y="-650616"/>
                <a:ext cx="273374" cy="5550062"/>
              </a:xfrm>
              <a:prstGeom prst="rightBrace">
                <a:avLst>
                  <a:gd name="adj1" fmla="val 33390"/>
                  <a:gd name="adj2" fmla="val 50000"/>
                </a:avLst>
              </a:prstGeom>
              <a:solidFill>
                <a:schemeClr val="bg1">
                  <a:lumMod val="65000"/>
                </a:schemeClr>
              </a:solidFill>
              <a:ln w="6350" cap="flat" cmpd="sng" algn="ctr">
                <a:noFill/>
                <a:prstDash val="solid"/>
                <a:round/>
                <a:headEnd type="none" w="med" len="med"/>
                <a:tailEnd type="none" w="med" len="med"/>
              </a:ln>
              <a:effectLst/>
            </p:spPr>
            <p:txBody>
              <a:bodyPr rIns="274320" rtlCol="0" anchor="ctr"/>
              <a:lstStyle/>
              <a:p>
                <a:pPr algn="ctr"/>
                <a:endParaRPr lang="en-GB" dirty="0">
                  <a:latin typeface="Calibri" pitchFamily="34" charset="0"/>
                  <a:sym typeface="Calibri"/>
                </a:endParaRPr>
              </a:p>
            </p:txBody>
          </p:sp>
          <p:sp>
            <p:nvSpPr>
              <p:cNvPr id="15" name="Rounded Rectangle 14"/>
              <p:cNvSpPr/>
              <p:nvPr/>
            </p:nvSpPr>
            <p:spPr bwMode="auto">
              <a:xfrm>
                <a:off x="298532" y="1486560"/>
                <a:ext cx="9308936" cy="542842"/>
              </a:xfrm>
              <a:prstGeom prst="roundRect">
                <a:avLst/>
              </a:prstGeom>
              <a:solidFill>
                <a:schemeClr val="accent1"/>
              </a:solidFill>
              <a:ln w="6350" cap="flat" cmpd="sng" algn="ctr">
                <a:noFill/>
                <a:prstDash val="solid"/>
                <a:round/>
                <a:headEnd type="none" w="med" len="med"/>
                <a:tailEnd type="none" w="med" len="med"/>
              </a:ln>
              <a:effectLst/>
            </p:spPr>
            <p:txBody>
              <a:bodyPr vert="horz" wrap="square" lIns="0" tIns="0" rIns="274320" bIns="0" numCol="1" rtlCol="0" anchor="ctr" anchorCtr="0" compatLnSpc="1">
                <a:prstTxWarp prst="textNoShape">
                  <a:avLst/>
                </a:prstTxWarp>
              </a:bodyPr>
              <a:lstStyle/>
              <a:p>
                <a:pPr algn="ctr" defTabSz="914296" eaLnBrk="0" fontAlgn="base" hangingPunct="0">
                  <a:spcBef>
                    <a:spcPct val="0"/>
                  </a:spcBef>
                  <a:spcAft>
                    <a:spcPct val="0"/>
                  </a:spcAft>
                </a:pPr>
                <a:r>
                  <a:rPr lang="en-GB" sz="1600" b="1" dirty="0">
                    <a:solidFill>
                      <a:prstClr val="white"/>
                    </a:solidFill>
                    <a:latin typeface="Calibri" pitchFamily="34" charset="0"/>
                    <a:cs typeface="Arial" charset="0"/>
                    <a:sym typeface="Calibri"/>
                  </a:rPr>
                  <a:t>Skills &amp; Accelerators</a:t>
                </a:r>
              </a:p>
            </p:txBody>
          </p:sp>
        </p:grpSp>
        <p:sp>
          <p:nvSpPr>
            <p:cNvPr id="17" name="TextBox 16"/>
            <p:cNvSpPr txBox="1"/>
            <p:nvPr/>
          </p:nvSpPr>
          <p:spPr>
            <a:xfrm>
              <a:off x="7693123" y="3494309"/>
              <a:ext cx="3051077" cy="2447699"/>
            </a:xfrm>
            <a:prstGeom prst="rect">
              <a:avLst/>
            </a:prstGeom>
            <a:solidFill>
              <a:schemeClr val="bg1">
                <a:lumMod val="95000"/>
              </a:schemeClr>
            </a:solidFill>
          </p:spPr>
          <p:txBody>
            <a:bodyPr wrap="square" lIns="91440" rIns="0" rtlCol="0">
              <a:noAutofit/>
            </a:bodyPr>
            <a:lstStyle/>
            <a:p>
              <a:pPr marL="171450" indent="-171450">
                <a:buClr>
                  <a:schemeClr val="accent1"/>
                </a:buClr>
                <a:buFont typeface="Wingdings" panose="05000000000000000000" pitchFamily="2" charset="2"/>
                <a:buChar char="§"/>
              </a:pPr>
              <a:r>
                <a:rPr lang="en-US" sz="1100" dirty="0">
                  <a:solidFill>
                    <a:schemeClr val="tx2">
                      <a:lumMod val="50000"/>
                    </a:schemeClr>
                  </a:solidFill>
                  <a:ea typeface="Segoe UI" pitchFamily="34" charset="0"/>
                  <a:cs typeface="Segoe UI" pitchFamily="34" charset="0"/>
                </a:rPr>
                <a:t>350+ Mobile Testing experts across </a:t>
              </a:r>
              <a:br>
                <a:rPr lang="en-US" sz="1100" dirty="0">
                  <a:solidFill>
                    <a:schemeClr val="tx2">
                      <a:lumMod val="50000"/>
                    </a:schemeClr>
                  </a:solidFill>
                  <a:ea typeface="Segoe UI" pitchFamily="34" charset="0"/>
                  <a:cs typeface="Segoe UI" pitchFamily="34" charset="0"/>
                </a:rPr>
              </a:br>
              <a:r>
                <a:rPr lang="en-US" sz="1100" dirty="0">
                  <a:solidFill>
                    <a:schemeClr val="tx2">
                      <a:lumMod val="50000"/>
                    </a:schemeClr>
                  </a:solidFill>
                  <a:ea typeface="Segoe UI" pitchFamily="34" charset="0"/>
                  <a:cs typeface="Segoe UI" pitchFamily="34" charset="0"/>
                </a:rPr>
                <a:t>the globe</a:t>
              </a:r>
            </a:p>
            <a:p>
              <a:pPr marL="171450" indent="-171450">
                <a:buClr>
                  <a:schemeClr val="accent1"/>
                </a:buClr>
                <a:buFont typeface="Wingdings" panose="05000000000000000000" pitchFamily="2" charset="2"/>
                <a:buChar char="§"/>
              </a:pPr>
              <a:r>
                <a:rPr lang="en-US" sz="1100" dirty="0">
                  <a:solidFill>
                    <a:schemeClr val="tx2">
                      <a:lumMod val="50000"/>
                    </a:schemeClr>
                  </a:solidFill>
                  <a:ea typeface="Segoe UI" pitchFamily="34" charset="0"/>
                  <a:cs typeface="Segoe UI" pitchFamily="34" charset="0"/>
                </a:rPr>
                <a:t>200+ Mobile Testing experts across RightShore centers in India</a:t>
              </a:r>
            </a:p>
            <a:p>
              <a:pPr marL="171450" indent="-171450">
                <a:buClr>
                  <a:schemeClr val="accent1"/>
                </a:buClr>
                <a:buFont typeface="Wingdings" panose="05000000000000000000" pitchFamily="2" charset="2"/>
                <a:buChar char="§"/>
              </a:pPr>
              <a:r>
                <a:rPr lang="en-US" sz="1100" dirty="0">
                  <a:solidFill>
                    <a:schemeClr val="tx2">
                      <a:lumMod val="50000"/>
                    </a:schemeClr>
                  </a:solidFill>
                  <a:ea typeface="Segoe UI" pitchFamily="34" charset="0"/>
                  <a:cs typeface="Segoe UI" pitchFamily="34" charset="0"/>
                </a:rPr>
                <a:t>Centralized  Mobile CoE  supporting Delivery to Sales </a:t>
              </a:r>
            </a:p>
            <a:p>
              <a:pPr marL="171450" indent="-171450">
                <a:buClr>
                  <a:schemeClr val="accent1"/>
                </a:buClr>
                <a:buFont typeface="Wingdings" panose="05000000000000000000" pitchFamily="2" charset="2"/>
                <a:buChar char="§"/>
              </a:pPr>
              <a:r>
                <a:rPr lang="en-US" sz="1100" b="1" dirty="0">
                  <a:solidFill>
                    <a:schemeClr val="tx2">
                      <a:lumMod val="50000"/>
                    </a:schemeClr>
                  </a:solidFill>
                  <a:ea typeface="Segoe UI" pitchFamily="34" charset="0"/>
                  <a:cs typeface="Segoe UI" pitchFamily="34" charset="0"/>
                </a:rPr>
                <a:t>Assets </a:t>
              </a:r>
            </a:p>
            <a:p>
              <a:pPr marL="347663" indent="-171450">
                <a:buClr>
                  <a:schemeClr val="accent1"/>
                </a:buClr>
                <a:buFont typeface="Calibri" panose="020F0502020204030204" pitchFamily="34" charset="0"/>
                <a:buChar char="–"/>
              </a:pPr>
              <a:r>
                <a:rPr lang="en-US" sz="1100" dirty="0">
                  <a:solidFill>
                    <a:schemeClr val="tx2">
                      <a:lumMod val="50000"/>
                    </a:schemeClr>
                  </a:solidFill>
                  <a:ea typeface="Segoe UI" pitchFamily="34" charset="0"/>
                  <a:cs typeface="Segoe UI" pitchFamily="34" charset="0"/>
                </a:rPr>
                <a:t>Non Functional, Device Specific Test Suite</a:t>
              </a:r>
            </a:p>
            <a:p>
              <a:pPr marL="347663" indent="-171450">
                <a:buClr>
                  <a:schemeClr val="accent1"/>
                </a:buClr>
                <a:buFont typeface="Calibri" panose="020F0502020204030204" pitchFamily="34" charset="0"/>
                <a:buChar char="–"/>
              </a:pPr>
              <a:r>
                <a:rPr lang="en-US" sz="1100" dirty="0">
                  <a:solidFill>
                    <a:schemeClr val="tx2">
                      <a:lumMod val="50000"/>
                    </a:schemeClr>
                  </a:solidFill>
                  <a:ea typeface="Segoe UI" pitchFamily="34" charset="0"/>
                  <a:cs typeface="Segoe UI" pitchFamily="34" charset="0"/>
                </a:rPr>
                <a:t>cMAF automation framework</a:t>
              </a:r>
            </a:p>
            <a:p>
              <a:pPr marL="171450" indent="-171450">
                <a:buClr>
                  <a:schemeClr val="accent1"/>
                </a:buClr>
                <a:buFont typeface="Wingdings" panose="05000000000000000000" pitchFamily="2" charset="2"/>
                <a:buChar char="§"/>
              </a:pPr>
              <a:endParaRPr lang="en-US" sz="1100" dirty="0">
                <a:solidFill>
                  <a:schemeClr val="tx2">
                    <a:lumMod val="50000"/>
                  </a:schemeClr>
                </a:solidFill>
                <a:ea typeface="Segoe UI" pitchFamily="34" charset="0"/>
                <a:cs typeface="Segoe UI" pitchFamily="34" charset="0"/>
              </a:endParaRPr>
            </a:p>
          </p:txBody>
        </p:sp>
        <p:grpSp>
          <p:nvGrpSpPr>
            <p:cNvPr id="16" name="Group 29"/>
            <p:cNvGrpSpPr/>
            <p:nvPr/>
          </p:nvGrpSpPr>
          <p:grpSpPr>
            <a:xfrm>
              <a:off x="1614037" y="1861450"/>
              <a:ext cx="463317" cy="461993"/>
              <a:chOff x="4138610" y="5727703"/>
              <a:chExt cx="430213" cy="438150"/>
            </a:xfrm>
          </p:grpSpPr>
          <p:sp>
            <p:nvSpPr>
              <p:cNvPr id="18" name="Freeform 1008"/>
              <p:cNvSpPr>
                <a:spLocks/>
              </p:cNvSpPr>
              <p:nvPr/>
            </p:nvSpPr>
            <p:spPr bwMode="auto">
              <a:xfrm>
                <a:off x="4138610" y="5727703"/>
                <a:ext cx="430213" cy="438150"/>
              </a:xfrm>
              <a:custGeom>
                <a:avLst/>
                <a:gdLst>
                  <a:gd name="connsiteX0" fmla="*/ 963 w 10000"/>
                  <a:gd name="connsiteY0" fmla="*/ 10000 h 10557"/>
                  <a:gd name="connsiteX1" fmla="*/ 3037 w 10000"/>
                  <a:gd name="connsiteY1" fmla="*/ 7899 h 10557"/>
                  <a:gd name="connsiteX2" fmla="*/ 3778 w 10000"/>
                  <a:gd name="connsiteY2" fmla="*/ 7899 h 10557"/>
                  <a:gd name="connsiteX3" fmla="*/ 5185 w 10000"/>
                  <a:gd name="connsiteY3" fmla="*/ 6522 h 10557"/>
                  <a:gd name="connsiteX4" fmla="*/ 8667 w 10000"/>
                  <a:gd name="connsiteY4" fmla="*/ 5797 h 10557"/>
                  <a:gd name="connsiteX5" fmla="*/ 8667 w 10000"/>
                  <a:gd name="connsiteY5" fmla="*/ 1232 h 10557"/>
                  <a:gd name="connsiteX6" fmla="*/ 4000 w 10000"/>
                  <a:gd name="connsiteY6" fmla="*/ 1232 h 10557"/>
                  <a:gd name="connsiteX7" fmla="*/ 3407 w 10000"/>
                  <a:gd name="connsiteY7" fmla="*/ 4928 h 10557"/>
                  <a:gd name="connsiteX8" fmla="*/ 2074 w 10000"/>
                  <a:gd name="connsiteY8" fmla="*/ 6159 h 10557"/>
                  <a:gd name="connsiteX9" fmla="*/ 2074 w 10000"/>
                  <a:gd name="connsiteY9" fmla="*/ 7464 h 10557"/>
                  <a:gd name="connsiteX10" fmla="*/ 963 w 10000"/>
                  <a:gd name="connsiteY10" fmla="*/ 7464 h 10557"/>
                  <a:gd name="connsiteX11" fmla="*/ 963 w 10000"/>
                  <a:gd name="connsiteY11" fmla="*/ 8696 h 10557"/>
                  <a:gd name="connsiteX12" fmla="*/ 0 w 10000"/>
                  <a:gd name="connsiteY12" fmla="*/ 8696 h 10557"/>
                  <a:gd name="connsiteX13" fmla="*/ 0 w 10000"/>
                  <a:gd name="connsiteY13" fmla="*/ 10000 h 10557"/>
                  <a:gd name="connsiteX14" fmla="*/ 1519 w 10000"/>
                  <a:gd name="connsiteY14" fmla="*/ 10557 h 10557"/>
                  <a:gd name="connsiteX0" fmla="*/ 963 w 10000"/>
                  <a:gd name="connsiteY0" fmla="*/ 10000 h 10000"/>
                  <a:gd name="connsiteX1" fmla="*/ 3037 w 10000"/>
                  <a:gd name="connsiteY1" fmla="*/ 7899 h 10000"/>
                  <a:gd name="connsiteX2" fmla="*/ 3778 w 10000"/>
                  <a:gd name="connsiteY2" fmla="*/ 7899 h 10000"/>
                  <a:gd name="connsiteX3" fmla="*/ 5185 w 10000"/>
                  <a:gd name="connsiteY3" fmla="*/ 6522 h 10000"/>
                  <a:gd name="connsiteX4" fmla="*/ 8667 w 10000"/>
                  <a:gd name="connsiteY4" fmla="*/ 5797 h 10000"/>
                  <a:gd name="connsiteX5" fmla="*/ 8667 w 10000"/>
                  <a:gd name="connsiteY5" fmla="*/ 1232 h 10000"/>
                  <a:gd name="connsiteX6" fmla="*/ 4000 w 10000"/>
                  <a:gd name="connsiteY6" fmla="*/ 1232 h 10000"/>
                  <a:gd name="connsiteX7" fmla="*/ 3407 w 10000"/>
                  <a:gd name="connsiteY7" fmla="*/ 4928 h 10000"/>
                  <a:gd name="connsiteX8" fmla="*/ 2074 w 10000"/>
                  <a:gd name="connsiteY8" fmla="*/ 6159 h 10000"/>
                  <a:gd name="connsiteX9" fmla="*/ 2074 w 10000"/>
                  <a:gd name="connsiteY9" fmla="*/ 7464 h 10000"/>
                  <a:gd name="connsiteX10" fmla="*/ 963 w 10000"/>
                  <a:gd name="connsiteY10" fmla="*/ 7464 h 10000"/>
                  <a:gd name="connsiteX11" fmla="*/ 963 w 10000"/>
                  <a:gd name="connsiteY11" fmla="*/ 8696 h 10000"/>
                  <a:gd name="connsiteX12" fmla="*/ 0 w 10000"/>
                  <a:gd name="connsiteY12" fmla="*/ 8696 h 10000"/>
                  <a:gd name="connsiteX13" fmla="*/ 0 w 10000"/>
                  <a:gd name="connsiteY13"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0" h="10000">
                    <a:moveTo>
                      <a:pt x="963" y="10000"/>
                    </a:moveTo>
                    <a:lnTo>
                      <a:pt x="3037" y="7899"/>
                    </a:lnTo>
                    <a:lnTo>
                      <a:pt x="3778" y="7899"/>
                    </a:lnTo>
                    <a:lnTo>
                      <a:pt x="5185" y="6522"/>
                    </a:lnTo>
                    <a:cubicBezTo>
                      <a:pt x="6370" y="6957"/>
                      <a:pt x="7778" y="6739"/>
                      <a:pt x="8667" y="5797"/>
                    </a:cubicBezTo>
                    <a:cubicBezTo>
                      <a:pt x="10000" y="4565"/>
                      <a:pt x="10000" y="2536"/>
                      <a:pt x="8667" y="1232"/>
                    </a:cubicBezTo>
                    <a:cubicBezTo>
                      <a:pt x="7407" y="0"/>
                      <a:pt x="5333" y="0"/>
                      <a:pt x="4000" y="1232"/>
                    </a:cubicBezTo>
                    <a:cubicBezTo>
                      <a:pt x="3037" y="2246"/>
                      <a:pt x="2815" y="3696"/>
                      <a:pt x="3407" y="4928"/>
                    </a:cubicBezTo>
                    <a:lnTo>
                      <a:pt x="2074" y="6159"/>
                    </a:lnTo>
                    <a:lnTo>
                      <a:pt x="2074" y="7464"/>
                    </a:lnTo>
                    <a:lnTo>
                      <a:pt x="963" y="7464"/>
                    </a:lnTo>
                    <a:lnTo>
                      <a:pt x="963" y="8696"/>
                    </a:lnTo>
                    <a:lnTo>
                      <a:pt x="0" y="8696"/>
                    </a:lnTo>
                    <a:lnTo>
                      <a:pt x="0" y="10000"/>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009"/>
              <p:cNvSpPr>
                <a:spLocks/>
              </p:cNvSpPr>
              <p:nvPr/>
            </p:nvSpPr>
            <p:spPr bwMode="auto">
              <a:xfrm>
                <a:off x="4370387" y="5797550"/>
                <a:ext cx="123825" cy="123825"/>
              </a:xfrm>
              <a:custGeom>
                <a:avLst/>
                <a:gdLst/>
                <a:ahLst/>
                <a:cxnLst>
                  <a:cxn ang="0">
                    <a:pos x="32" y="32"/>
                  </a:cxn>
                  <a:cxn ang="0">
                    <a:pos x="7" y="32"/>
                  </a:cxn>
                  <a:cxn ang="0">
                    <a:pos x="7" y="7"/>
                  </a:cxn>
                  <a:cxn ang="0">
                    <a:pos x="32" y="7"/>
                  </a:cxn>
                  <a:cxn ang="0">
                    <a:pos x="32" y="32"/>
                  </a:cxn>
                </a:cxnLst>
                <a:rect l="0" t="0" r="r" b="b"/>
                <a:pathLst>
                  <a:path w="39" h="39">
                    <a:moveTo>
                      <a:pt x="32" y="32"/>
                    </a:moveTo>
                    <a:cubicBezTo>
                      <a:pt x="25" y="39"/>
                      <a:pt x="14" y="39"/>
                      <a:pt x="7" y="32"/>
                    </a:cubicBezTo>
                    <a:cubicBezTo>
                      <a:pt x="0" y="25"/>
                      <a:pt x="0" y="14"/>
                      <a:pt x="7" y="7"/>
                    </a:cubicBezTo>
                    <a:cubicBezTo>
                      <a:pt x="14" y="0"/>
                      <a:pt x="25" y="0"/>
                      <a:pt x="32" y="7"/>
                    </a:cubicBezTo>
                    <a:cubicBezTo>
                      <a:pt x="39" y="14"/>
                      <a:pt x="39" y="25"/>
                      <a:pt x="32" y="32"/>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20" name="Groupe 564"/>
            <p:cNvGrpSpPr/>
            <p:nvPr/>
          </p:nvGrpSpPr>
          <p:grpSpPr>
            <a:xfrm>
              <a:off x="1796713" y="2987537"/>
              <a:ext cx="342331" cy="301383"/>
              <a:chOff x="2917826" y="947738"/>
              <a:chExt cx="331788" cy="292101"/>
            </a:xfrm>
          </p:grpSpPr>
          <p:sp>
            <p:nvSpPr>
              <p:cNvPr id="21" name="Freeform 122"/>
              <p:cNvSpPr>
                <a:spLocks/>
              </p:cNvSpPr>
              <p:nvPr/>
            </p:nvSpPr>
            <p:spPr bwMode="auto">
              <a:xfrm>
                <a:off x="2917826" y="947738"/>
                <a:ext cx="293688" cy="290513"/>
              </a:xfrm>
              <a:custGeom>
                <a:avLst/>
                <a:gdLst/>
                <a:ahLst/>
                <a:cxnLst>
                  <a:cxn ang="0">
                    <a:pos x="114" y="70"/>
                  </a:cxn>
                  <a:cxn ang="0">
                    <a:pos x="119" y="68"/>
                  </a:cxn>
                  <a:cxn ang="0">
                    <a:pos x="136" y="76"/>
                  </a:cxn>
                  <a:cxn ang="0">
                    <a:pos x="133" y="57"/>
                  </a:cxn>
                  <a:cxn ang="0">
                    <a:pos x="151" y="51"/>
                  </a:cxn>
                  <a:cxn ang="0">
                    <a:pos x="137" y="39"/>
                  </a:cxn>
                  <a:cxn ang="0">
                    <a:pos x="148" y="23"/>
                  </a:cxn>
                  <a:cxn ang="0">
                    <a:pos x="129" y="22"/>
                  </a:cxn>
                  <a:cxn ang="0">
                    <a:pos x="126" y="3"/>
                  </a:cxn>
                  <a:cxn ang="0">
                    <a:pos x="112" y="15"/>
                  </a:cxn>
                  <a:cxn ang="0">
                    <a:pos x="97" y="2"/>
                  </a:cxn>
                  <a:cxn ang="0">
                    <a:pos x="94" y="21"/>
                  </a:cxn>
                  <a:cxn ang="0">
                    <a:pos x="75" y="20"/>
                  </a:cxn>
                  <a:cxn ang="0">
                    <a:pos x="84" y="36"/>
                  </a:cxn>
                  <a:cxn ang="0">
                    <a:pos x="69" y="48"/>
                  </a:cxn>
                  <a:cxn ang="0">
                    <a:pos x="86" y="55"/>
                  </a:cxn>
                  <a:cxn ang="0">
                    <a:pos x="81" y="73"/>
                  </a:cxn>
                  <a:cxn ang="0">
                    <a:pos x="99" y="75"/>
                  </a:cxn>
                  <a:cxn ang="0">
                    <a:pos x="89" y="91"/>
                  </a:cxn>
                  <a:cxn ang="0">
                    <a:pos x="104" y="102"/>
                  </a:cxn>
                  <a:cxn ang="0">
                    <a:pos x="88" y="110"/>
                  </a:cxn>
                  <a:cxn ang="0">
                    <a:pos x="95" y="127"/>
                  </a:cxn>
                  <a:cxn ang="0">
                    <a:pos x="77" y="126"/>
                  </a:cxn>
                  <a:cxn ang="0">
                    <a:pos x="74" y="145"/>
                  </a:cxn>
                  <a:cxn ang="0">
                    <a:pos x="59" y="135"/>
                  </a:cxn>
                  <a:cxn ang="0">
                    <a:pos x="48" y="150"/>
                  </a:cxn>
                  <a:cxn ang="0">
                    <a:pos x="39" y="133"/>
                  </a:cxn>
                  <a:cxn ang="0">
                    <a:pos x="23" y="140"/>
                  </a:cxn>
                  <a:cxn ang="0">
                    <a:pos x="23" y="122"/>
                  </a:cxn>
                  <a:cxn ang="0">
                    <a:pos x="5" y="120"/>
                  </a:cxn>
                  <a:cxn ang="0">
                    <a:pos x="15" y="104"/>
                  </a:cxn>
                  <a:cxn ang="0">
                    <a:pos x="0" y="93"/>
                  </a:cxn>
                  <a:cxn ang="0">
                    <a:pos x="17" y="85"/>
                  </a:cxn>
                  <a:cxn ang="0">
                    <a:pos x="9" y="68"/>
                  </a:cxn>
                  <a:cxn ang="0">
                    <a:pos x="28" y="69"/>
                  </a:cxn>
                  <a:cxn ang="0">
                    <a:pos x="30" y="51"/>
                  </a:cxn>
                  <a:cxn ang="0">
                    <a:pos x="45" y="60"/>
                  </a:cxn>
                  <a:cxn ang="0">
                    <a:pos x="56" y="46"/>
                  </a:cxn>
                  <a:cxn ang="0">
                    <a:pos x="65" y="62"/>
                  </a:cxn>
                </a:cxnLst>
                <a:rect l="0" t="0" r="r" b="b"/>
                <a:pathLst>
                  <a:path w="151" h="150">
                    <a:moveTo>
                      <a:pt x="109" y="84"/>
                    </a:moveTo>
                    <a:cubicBezTo>
                      <a:pt x="114" y="70"/>
                      <a:pt x="114" y="70"/>
                      <a:pt x="114" y="70"/>
                    </a:cubicBezTo>
                    <a:cubicBezTo>
                      <a:pt x="114" y="69"/>
                      <a:pt x="115" y="69"/>
                      <a:pt x="116" y="69"/>
                    </a:cubicBezTo>
                    <a:cubicBezTo>
                      <a:pt x="117" y="69"/>
                      <a:pt x="118" y="69"/>
                      <a:pt x="119" y="68"/>
                    </a:cubicBezTo>
                    <a:cubicBezTo>
                      <a:pt x="129" y="80"/>
                      <a:pt x="129" y="80"/>
                      <a:pt x="129" y="80"/>
                    </a:cubicBezTo>
                    <a:cubicBezTo>
                      <a:pt x="136" y="76"/>
                      <a:pt x="136" y="76"/>
                      <a:pt x="136" y="76"/>
                    </a:cubicBezTo>
                    <a:cubicBezTo>
                      <a:pt x="130" y="61"/>
                      <a:pt x="130" y="61"/>
                      <a:pt x="130" y="61"/>
                    </a:cubicBezTo>
                    <a:cubicBezTo>
                      <a:pt x="131" y="60"/>
                      <a:pt x="132" y="58"/>
                      <a:pt x="133" y="57"/>
                    </a:cubicBezTo>
                    <a:cubicBezTo>
                      <a:pt x="149" y="59"/>
                      <a:pt x="149" y="59"/>
                      <a:pt x="149" y="59"/>
                    </a:cubicBezTo>
                    <a:cubicBezTo>
                      <a:pt x="151" y="51"/>
                      <a:pt x="151" y="51"/>
                      <a:pt x="151" y="51"/>
                    </a:cubicBezTo>
                    <a:cubicBezTo>
                      <a:pt x="138" y="44"/>
                      <a:pt x="138" y="44"/>
                      <a:pt x="138" y="44"/>
                    </a:cubicBezTo>
                    <a:cubicBezTo>
                      <a:pt x="138" y="42"/>
                      <a:pt x="138" y="40"/>
                      <a:pt x="137" y="39"/>
                    </a:cubicBezTo>
                    <a:cubicBezTo>
                      <a:pt x="151" y="30"/>
                      <a:pt x="151" y="30"/>
                      <a:pt x="151" y="30"/>
                    </a:cubicBezTo>
                    <a:cubicBezTo>
                      <a:pt x="148" y="23"/>
                      <a:pt x="148" y="23"/>
                      <a:pt x="148" y="23"/>
                    </a:cubicBezTo>
                    <a:cubicBezTo>
                      <a:pt x="132" y="26"/>
                      <a:pt x="132" y="26"/>
                      <a:pt x="132" y="26"/>
                    </a:cubicBezTo>
                    <a:cubicBezTo>
                      <a:pt x="131" y="24"/>
                      <a:pt x="130" y="23"/>
                      <a:pt x="129" y="22"/>
                    </a:cubicBezTo>
                    <a:cubicBezTo>
                      <a:pt x="134" y="7"/>
                      <a:pt x="134" y="7"/>
                      <a:pt x="134" y="7"/>
                    </a:cubicBezTo>
                    <a:cubicBezTo>
                      <a:pt x="126" y="3"/>
                      <a:pt x="126" y="3"/>
                      <a:pt x="126" y="3"/>
                    </a:cubicBezTo>
                    <a:cubicBezTo>
                      <a:pt x="117" y="16"/>
                      <a:pt x="117" y="16"/>
                      <a:pt x="117" y="16"/>
                    </a:cubicBezTo>
                    <a:cubicBezTo>
                      <a:pt x="115" y="15"/>
                      <a:pt x="113" y="15"/>
                      <a:pt x="112" y="15"/>
                    </a:cubicBezTo>
                    <a:cubicBezTo>
                      <a:pt x="106" y="0"/>
                      <a:pt x="106" y="0"/>
                      <a:pt x="106" y="0"/>
                    </a:cubicBezTo>
                    <a:cubicBezTo>
                      <a:pt x="97" y="2"/>
                      <a:pt x="97" y="2"/>
                      <a:pt x="97" y="2"/>
                    </a:cubicBezTo>
                    <a:cubicBezTo>
                      <a:pt x="98" y="18"/>
                      <a:pt x="98" y="18"/>
                      <a:pt x="98" y="18"/>
                    </a:cubicBezTo>
                    <a:cubicBezTo>
                      <a:pt x="96" y="19"/>
                      <a:pt x="95" y="19"/>
                      <a:pt x="94" y="21"/>
                    </a:cubicBezTo>
                    <a:cubicBezTo>
                      <a:pt x="80" y="13"/>
                      <a:pt x="80" y="13"/>
                      <a:pt x="80" y="13"/>
                    </a:cubicBezTo>
                    <a:cubicBezTo>
                      <a:pt x="75" y="20"/>
                      <a:pt x="75" y="20"/>
                      <a:pt x="75" y="20"/>
                    </a:cubicBezTo>
                    <a:cubicBezTo>
                      <a:pt x="85" y="31"/>
                      <a:pt x="85" y="31"/>
                      <a:pt x="85" y="31"/>
                    </a:cubicBezTo>
                    <a:cubicBezTo>
                      <a:pt x="84" y="33"/>
                      <a:pt x="84" y="35"/>
                      <a:pt x="84" y="36"/>
                    </a:cubicBezTo>
                    <a:cubicBezTo>
                      <a:pt x="68" y="40"/>
                      <a:pt x="68" y="40"/>
                      <a:pt x="68" y="40"/>
                    </a:cubicBezTo>
                    <a:cubicBezTo>
                      <a:pt x="69" y="48"/>
                      <a:pt x="69" y="48"/>
                      <a:pt x="69" y="48"/>
                    </a:cubicBezTo>
                    <a:cubicBezTo>
                      <a:pt x="84" y="50"/>
                      <a:pt x="84" y="50"/>
                      <a:pt x="84" y="50"/>
                    </a:cubicBezTo>
                    <a:cubicBezTo>
                      <a:pt x="85" y="52"/>
                      <a:pt x="85" y="53"/>
                      <a:pt x="86" y="55"/>
                    </a:cubicBezTo>
                    <a:cubicBezTo>
                      <a:pt x="77" y="68"/>
                      <a:pt x="77" y="68"/>
                      <a:pt x="77" y="68"/>
                    </a:cubicBezTo>
                    <a:cubicBezTo>
                      <a:pt x="81" y="73"/>
                      <a:pt x="81" y="73"/>
                      <a:pt x="81" y="73"/>
                    </a:cubicBezTo>
                    <a:cubicBezTo>
                      <a:pt x="95" y="68"/>
                      <a:pt x="95" y="68"/>
                      <a:pt x="95" y="68"/>
                    </a:cubicBezTo>
                    <a:cubicBezTo>
                      <a:pt x="99" y="75"/>
                      <a:pt x="99" y="75"/>
                      <a:pt x="99" y="75"/>
                    </a:cubicBezTo>
                    <a:cubicBezTo>
                      <a:pt x="88" y="85"/>
                      <a:pt x="88" y="85"/>
                      <a:pt x="88" y="85"/>
                    </a:cubicBezTo>
                    <a:cubicBezTo>
                      <a:pt x="88" y="87"/>
                      <a:pt x="89" y="89"/>
                      <a:pt x="89" y="91"/>
                    </a:cubicBezTo>
                    <a:cubicBezTo>
                      <a:pt x="104" y="93"/>
                      <a:pt x="104" y="93"/>
                      <a:pt x="104" y="93"/>
                    </a:cubicBezTo>
                    <a:cubicBezTo>
                      <a:pt x="104" y="102"/>
                      <a:pt x="104" y="102"/>
                      <a:pt x="104" y="102"/>
                    </a:cubicBezTo>
                    <a:cubicBezTo>
                      <a:pt x="89" y="104"/>
                      <a:pt x="89" y="104"/>
                      <a:pt x="89" y="104"/>
                    </a:cubicBezTo>
                    <a:cubicBezTo>
                      <a:pt x="89" y="106"/>
                      <a:pt x="88" y="108"/>
                      <a:pt x="88" y="110"/>
                    </a:cubicBezTo>
                    <a:cubicBezTo>
                      <a:pt x="99" y="120"/>
                      <a:pt x="99" y="120"/>
                      <a:pt x="99" y="120"/>
                    </a:cubicBezTo>
                    <a:cubicBezTo>
                      <a:pt x="95" y="127"/>
                      <a:pt x="95" y="127"/>
                      <a:pt x="95" y="127"/>
                    </a:cubicBezTo>
                    <a:cubicBezTo>
                      <a:pt x="81" y="122"/>
                      <a:pt x="81" y="122"/>
                      <a:pt x="81" y="122"/>
                    </a:cubicBezTo>
                    <a:cubicBezTo>
                      <a:pt x="80" y="124"/>
                      <a:pt x="78" y="125"/>
                      <a:pt x="77" y="126"/>
                    </a:cubicBezTo>
                    <a:cubicBezTo>
                      <a:pt x="82" y="141"/>
                      <a:pt x="82" y="141"/>
                      <a:pt x="82" y="141"/>
                    </a:cubicBezTo>
                    <a:cubicBezTo>
                      <a:pt x="74" y="145"/>
                      <a:pt x="74" y="145"/>
                      <a:pt x="74" y="145"/>
                    </a:cubicBezTo>
                    <a:cubicBezTo>
                      <a:pt x="65" y="133"/>
                      <a:pt x="65" y="133"/>
                      <a:pt x="65" y="133"/>
                    </a:cubicBezTo>
                    <a:cubicBezTo>
                      <a:pt x="63" y="134"/>
                      <a:pt x="61" y="134"/>
                      <a:pt x="59" y="135"/>
                    </a:cubicBezTo>
                    <a:cubicBezTo>
                      <a:pt x="56" y="150"/>
                      <a:pt x="56" y="150"/>
                      <a:pt x="56" y="150"/>
                    </a:cubicBezTo>
                    <a:cubicBezTo>
                      <a:pt x="48" y="150"/>
                      <a:pt x="48" y="150"/>
                      <a:pt x="48" y="150"/>
                    </a:cubicBezTo>
                    <a:cubicBezTo>
                      <a:pt x="45" y="135"/>
                      <a:pt x="45" y="135"/>
                      <a:pt x="45" y="135"/>
                    </a:cubicBezTo>
                    <a:cubicBezTo>
                      <a:pt x="43" y="134"/>
                      <a:pt x="41" y="134"/>
                      <a:pt x="39" y="133"/>
                    </a:cubicBezTo>
                    <a:cubicBezTo>
                      <a:pt x="30" y="145"/>
                      <a:pt x="30" y="145"/>
                      <a:pt x="30" y="145"/>
                    </a:cubicBezTo>
                    <a:cubicBezTo>
                      <a:pt x="23" y="140"/>
                      <a:pt x="23" y="140"/>
                      <a:pt x="23" y="140"/>
                    </a:cubicBezTo>
                    <a:cubicBezTo>
                      <a:pt x="28" y="126"/>
                      <a:pt x="28" y="126"/>
                      <a:pt x="28" y="126"/>
                    </a:cubicBezTo>
                    <a:cubicBezTo>
                      <a:pt x="26" y="125"/>
                      <a:pt x="25" y="124"/>
                      <a:pt x="23" y="122"/>
                    </a:cubicBezTo>
                    <a:cubicBezTo>
                      <a:pt x="9" y="127"/>
                      <a:pt x="9" y="127"/>
                      <a:pt x="9" y="127"/>
                    </a:cubicBezTo>
                    <a:cubicBezTo>
                      <a:pt x="5" y="120"/>
                      <a:pt x="5" y="120"/>
                      <a:pt x="5" y="120"/>
                    </a:cubicBezTo>
                    <a:cubicBezTo>
                      <a:pt x="17" y="110"/>
                      <a:pt x="17" y="110"/>
                      <a:pt x="17" y="110"/>
                    </a:cubicBezTo>
                    <a:cubicBezTo>
                      <a:pt x="16" y="108"/>
                      <a:pt x="15" y="106"/>
                      <a:pt x="15" y="104"/>
                    </a:cubicBezTo>
                    <a:cubicBezTo>
                      <a:pt x="0" y="102"/>
                      <a:pt x="0" y="102"/>
                      <a:pt x="0" y="102"/>
                    </a:cubicBezTo>
                    <a:cubicBezTo>
                      <a:pt x="0" y="93"/>
                      <a:pt x="0" y="93"/>
                      <a:pt x="0" y="93"/>
                    </a:cubicBezTo>
                    <a:cubicBezTo>
                      <a:pt x="15" y="91"/>
                      <a:pt x="15" y="91"/>
                      <a:pt x="15" y="91"/>
                    </a:cubicBezTo>
                    <a:cubicBezTo>
                      <a:pt x="15" y="89"/>
                      <a:pt x="16" y="87"/>
                      <a:pt x="17" y="85"/>
                    </a:cubicBezTo>
                    <a:cubicBezTo>
                      <a:pt x="5" y="75"/>
                      <a:pt x="5" y="75"/>
                      <a:pt x="5" y="75"/>
                    </a:cubicBezTo>
                    <a:cubicBezTo>
                      <a:pt x="9" y="68"/>
                      <a:pt x="9" y="68"/>
                      <a:pt x="9" y="68"/>
                    </a:cubicBezTo>
                    <a:cubicBezTo>
                      <a:pt x="23" y="73"/>
                      <a:pt x="23" y="73"/>
                      <a:pt x="23" y="73"/>
                    </a:cubicBezTo>
                    <a:cubicBezTo>
                      <a:pt x="25" y="72"/>
                      <a:pt x="26" y="70"/>
                      <a:pt x="28" y="69"/>
                    </a:cubicBezTo>
                    <a:cubicBezTo>
                      <a:pt x="23" y="55"/>
                      <a:pt x="23" y="55"/>
                      <a:pt x="23" y="55"/>
                    </a:cubicBezTo>
                    <a:cubicBezTo>
                      <a:pt x="30" y="51"/>
                      <a:pt x="30" y="51"/>
                      <a:pt x="30" y="51"/>
                    </a:cubicBezTo>
                    <a:cubicBezTo>
                      <a:pt x="39" y="62"/>
                      <a:pt x="39" y="62"/>
                      <a:pt x="39" y="62"/>
                    </a:cubicBezTo>
                    <a:cubicBezTo>
                      <a:pt x="41" y="61"/>
                      <a:pt x="43" y="61"/>
                      <a:pt x="45" y="60"/>
                    </a:cubicBezTo>
                    <a:cubicBezTo>
                      <a:pt x="48" y="46"/>
                      <a:pt x="48" y="46"/>
                      <a:pt x="48" y="46"/>
                    </a:cubicBezTo>
                    <a:cubicBezTo>
                      <a:pt x="56" y="46"/>
                      <a:pt x="56" y="46"/>
                      <a:pt x="56" y="46"/>
                    </a:cubicBezTo>
                    <a:cubicBezTo>
                      <a:pt x="59" y="60"/>
                      <a:pt x="59" y="60"/>
                      <a:pt x="59" y="60"/>
                    </a:cubicBezTo>
                    <a:cubicBezTo>
                      <a:pt x="61" y="61"/>
                      <a:pt x="63" y="61"/>
                      <a:pt x="65" y="62"/>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22" name="Oval 123"/>
              <p:cNvSpPr>
                <a:spLocks noChangeArrowheads="1"/>
              </p:cNvSpPr>
              <p:nvPr/>
            </p:nvSpPr>
            <p:spPr bwMode="auto">
              <a:xfrm>
                <a:off x="2990851" y="1108076"/>
                <a:ext cx="57150" cy="58738"/>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23" name="Oval 124"/>
              <p:cNvSpPr>
                <a:spLocks noChangeArrowheads="1"/>
              </p:cNvSpPr>
              <p:nvPr/>
            </p:nvSpPr>
            <p:spPr bwMode="auto">
              <a:xfrm>
                <a:off x="3105151" y="1003301"/>
                <a:ext cx="53975" cy="52388"/>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24" name="Freeform 125"/>
              <p:cNvSpPr>
                <a:spLocks/>
              </p:cNvSpPr>
              <p:nvPr/>
            </p:nvSpPr>
            <p:spPr bwMode="auto">
              <a:xfrm>
                <a:off x="3121026" y="1111251"/>
                <a:ext cx="128588" cy="128588"/>
              </a:xfrm>
              <a:custGeom>
                <a:avLst/>
                <a:gdLst/>
                <a:ahLst/>
                <a:cxnLst>
                  <a:cxn ang="0">
                    <a:pos x="3" y="1"/>
                  </a:cxn>
                  <a:cxn ang="0">
                    <a:pos x="12" y="8"/>
                  </a:cxn>
                  <a:cxn ang="0">
                    <a:pos x="18" y="0"/>
                  </a:cxn>
                  <a:cxn ang="0">
                    <a:pos x="21" y="0"/>
                  </a:cxn>
                  <a:cxn ang="0">
                    <a:pos x="26" y="9"/>
                  </a:cxn>
                  <a:cxn ang="0">
                    <a:pos x="30" y="9"/>
                  </a:cxn>
                  <a:cxn ang="0">
                    <a:pos x="32" y="0"/>
                  </a:cxn>
                  <a:cxn ang="0">
                    <a:pos x="37" y="0"/>
                  </a:cxn>
                  <a:cxn ang="0">
                    <a:pos x="38" y="9"/>
                  </a:cxn>
                  <a:cxn ang="0">
                    <a:pos x="42" y="10"/>
                  </a:cxn>
                  <a:cxn ang="0">
                    <a:pos x="48" y="3"/>
                  </a:cxn>
                  <a:cxn ang="0">
                    <a:pos x="53" y="6"/>
                  </a:cxn>
                  <a:cxn ang="0">
                    <a:pos x="49" y="15"/>
                  </a:cxn>
                  <a:cxn ang="0">
                    <a:pos x="52" y="18"/>
                  </a:cxn>
                  <a:cxn ang="0">
                    <a:pos x="61" y="15"/>
                  </a:cxn>
                  <a:cxn ang="0">
                    <a:pos x="64" y="19"/>
                  </a:cxn>
                  <a:cxn ang="0">
                    <a:pos x="56" y="25"/>
                  </a:cxn>
                  <a:cxn ang="0">
                    <a:pos x="57" y="29"/>
                  </a:cxn>
                  <a:cxn ang="0">
                    <a:pos x="66" y="31"/>
                  </a:cxn>
                  <a:cxn ang="0">
                    <a:pos x="66" y="36"/>
                  </a:cxn>
                  <a:cxn ang="0">
                    <a:pos x="57" y="38"/>
                  </a:cxn>
                  <a:cxn ang="0">
                    <a:pos x="56" y="41"/>
                  </a:cxn>
                  <a:cxn ang="0">
                    <a:pos x="63" y="48"/>
                  </a:cxn>
                  <a:cxn ang="0">
                    <a:pos x="60" y="52"/>
                  </a:cxn>
                  <a:cxn ang="0">
                    <a:pos x="51" y="49"/>
                  </a:cxn>
                  <a:cxn ang="0">
                    <a:pos x="49" y="51"/>
                  </a:cxn>
                  <a:cxn ang="0">
                    <a:pos x="52" y="60"/>
                  </a:cxn>
                  <a:cxn ang="0">
                    <a:pos x="47" y="63"/>
                  </a:cxn>
                  <a:cxn ang="0">
                    <a:pos x="41" y="56"/>
                  </a:cxn>
                  <a:cxn ang="0">
                    <a:pos x="37" y="56"/>
                  </a:cxn>
                  <a:cxn ang="0">
                    <a:pos x="35" y="66"/>
                  </a:cxn>
                  <a:cxn ang="0">
                    <a:pos x="30" y="66"/>
                  </a:cxn>
                  <a:cxn ang="0">
                    <a:pos x="29" y="56"/>
                  </a:cxn>
                  <a:cxn ang="0">
                    <a:pos x="25" y="55"/>
                  </a:cxn>
                  <a:cxn ang="0">
                    <a:pos x="19" y="62"/>
                  </a:cxn>
                  <a:cxn ang="0">
                    <a:pos x="14" y="60"/>
                  </a:cxn>
                  <a:cxn ang="0">
                    <a:pos x="17" y="51"/>
                  </a:cxn>
                  <a:cxn ang="0">
                    <a:pos x="15" y="48"/>
                  </a:cxn>
                  <a:cxn ang="0">
                    <a:pos x="6" y="51"/>
                  </a:cxn>
                  <a:cxn ang="0">
                    <a:pos x="3" y="46"/>
                  </a:cxn>
                  <a:cxn ang="0">
                    <a:pos x="11" y="40"/>
                  </a:cxn>
                  <a:cxn ang="0">
                    <a:pos x="10" y="37"/>
                  </a:cxn>
                  <a:cxn ang="0">
                    <a:pos x="0" y="35"/>
                  </a:cxn>
                  <a:cxn ang="0">
                    <a:pos x="1" y="29"/>
                  </a:cxn>
                  <a:cxn ang="0">
                    <a:pos x="10" y="28"/>
                  </a:cxn>
                  <a:cxn ang="0">
                    <a:pos x="11" y="24"/>
                  </a:cxn>
                  <a:cxn ang="0">
                    <a:pos x="4" y="18"/>
                  </a:cxn>
                  <a:cxn ang="0">
                    <a:pos x="7" y="13"/>
                  </a:cxn>
                  <a:cxn ang="0">
                    <a:pos x="16" y="17"/>
                  </a:cxn>
                  <a:cxn ang="0">
                    <a:pos x="18" y="14"/>
                  </a:cxn>
                </a:cxnLst>
                <a:rect l="0" t="0" r="r" b="b"/>
                <a:pathLst>
                  <a:path w="66" h="66">
                    <a:moveTo>
                      <a:pt x="3" y="1"/>
                    </a:moveTo>
                    <a:cubicBezTo>
                      <a:pt x="12" y="8"/>
                      <a:pt x="12" y="8"/>
                      <a:pt x="12" y="8"/>
                    </a:cubicBezTo>
                    <a:cubicBezTo>
                      <a:pt x="18" y="0"/>
                      <a:pt x="18" y="0"/>
                      <a:pt x="18" y="0"/>
                    </a:cubicBezTo>
                    <a:cubicBezTo>
                      <a:pt x="19" y="0"/>
                      <a:pt x="20" y="0"/>
                      <a:pt x="21" y="0"/>
                    </a:cubicBezTo>
                    <a:cubicBezTo>
                      <a:pt x="26" y="9"/>
                      <a:pt x="26" y="9"/>
                      <a:pt x="26" y="9"/>
                    </a:cubicBezTo>
                    <a:cubicBezTo>
                      <a:pt x="30" y="9"/>
                      <a:pt x="30" y="9"/>
                      <a:pt x="30" y="9"/>
                    </a:cubicBezTo>
                    <a:cubicBezTo>
                      <a:pt x="32" y="0"/>
                      <a:pt x="32" y="0"/>
                      <a:pt x="32" y="0"/>
                    </a:cubicBezTo>
                    <a:cubicBezTo>
                      <a:pt x="37" y="0"/>
                      <a:pt x="37" y="0"/>
                      <a:pt x="37" y="0"/>
                    </a:cubicBezTo>
                    <a:cubicBezTo>
                      <a:pt x="38" y="9"/>
                      <a:pt x="38" y="9"/>
                      <a:pt x="38" y="9"/>
                    </a:cubicBezTo>
                    <a:cubicBezTo>
                      <a:pt x="40" y="10"/>
                      <a:pt x="41" y="10"/>
                      <a:pt x="42" y="10"/>
                    </a:cubicBezTo>
                    <a:cubicBezTo>
                      <a:pt x="48" y="3"/>
                      <a:pt x="48" y="3"/>
                      <a:pt x="48" y="3"/>
                    </a:cubicBezTo>
                    <a:cubicBezTo>
                      <a:pt x="53" y="6"/>
                      <a:pt x="53" y="6"/>
                      <a:pt x="53" y="6"/>
                    </a:cubicBezTo>
                    <a:cubicBezTo>
                      <a:pt x="49" y="15"/>
                      <a:pt x="49" y="15"/>
                      <a:pt x="49" y="15"/>
                    </a:cubicBezTo>
                    <a:cubicBezTo>
                      <a:pt x="50" y="16"/>
                      <a:pt x="51" y="17"/>
                      <a:pt x="52" y="18"/>
                    </a:cubicBezTo>
                    <a:cubicBezTo>
                      <a:pt x="61" y="15"/>
                      <a:pt x="61" y="15"/>
                      <a:pt x="61" y="15"/>
                    </a:cubicBezTo>
                    <a:cubicBezTo>
                      <a:pt x="64" y="19"/>
                      <a:pt x="64" y="19"/>
                      <a:pt x="64" y="19"/>
                    </a:cubicBezTo>
                    <a:cubicBezTo>
                      <a:pt x="56" y="25"/>
                      <a:pt x="56" y="25"/>
                      <a:pt x="56" y="25"/>
                    </a:cubicBezTo>
                    <a:cubicBezTo>
                      <a:pt x="57" y="27"/>
                      <a:pt x="57" y="28"/>
                      <a:pt x="57" y="29"/>
                    </a:cubicBezTo>
                    <a:cubicBezTo>
                      <a:pt x="66" y="31"/>
                      <a:pt x="66" y="31"/>
                      <a:pt x="66" y="31"/>
                    </a:cubicBezTo>
                    <a:cubicBezTo>
                      <a:pt x="66" y="36"/>
                      <a:pt x="66" y="36"/>
                      <a:pt x="66" y="36"/>
                    </a:cubicBezTo>
                    <a:cubicBezTo>
                      <a:pt x="57" y="38"/>
                      <a:pt x="57" y="38"/>
                      <a:pt x="57" y="38"/>
                    </a:cubicBezTo>
                    <a:cubicBezTo>
                      <a:pt x="57" y="39"/>
                      <a:pt x="56" y="40"/>
                      <a:pt x="56" y="41"/>
                    </a:cubicBezTo>
                    <a:cubicBezTo>
                      <a:pt x="63" y="48"/>
                      <a:pt x="63" y="48"/>
                      <a:pt x="63" y="48"/>
                    </a:cubicBezTo>
                    <a:cubicBezTo>
                      <a:pt x="60" y="52"/>
                      <a:pt x="60" y="52"/>
                      <a:pt x="60" y="52"/>
                    </a:cubicBezTo>
                    <a:cubicBezTo>
                      <a:pt x="51" y="49"/>
                      <a:pt x="51" y="49"/>
                      <a:pt x="51" y="49"/>
                    </a:cubicBezTo>
                    <a:cubicBezTo>
                      <a:pt x="50" y="50"/>
                      <a:pt x="49" y="51"/>
                      <a:pt x="49" y="51"/>
                    </a:cubicBezTo>
                    <a:cubicBezTo>
                      <a:pt x="52" y="60"/>
                      <a:pt x="52" y="60"/>
                      <a:pt x="52" y="60"/>
                    </a:cubicBezTo>
                    <a:cubicBezTo>
                      <a:pt x="47" y="63"/>
                      <a:pt x="47" y="63"/>
                      <a:pt x="47" y="63"/>
                    </a:cubicBezTo>
                    <a:cubicBezTo>
                      <a:pt x="41" y="56"/>
                      <a:pt x="41" y="56"/>
                      <a:pt x="41" y="56"/>
                    </a:cubicBezTo>
                    <a:cubicBezTo>
                      <a:pt x="40" y="56"/>
                      <a:pt x="38" y="56"/>
                      <a:pt x="37" y="56"/>
                    </a:cubicBezTo>
                    <a:cubicBezTo>
                      <a:pt x="35" y="66"/>
                      <a:pt x="35" y="66"/>
                      <a:pt x="35" y="66"/>
                    </a:cubicBezTo>
                    <a:cubicBezTo>
                      <a:pt x="30" y="66"/>
                      <a:pt x="30" y="66"/>
                      <a:pt x="30" y="66"/>
                    </a:cubicBezTo>
                    <a:cubicBezTo>
                      <a:pt x="29" y="56"/>
                      <a:pt x="29" y="56"/>
                      <a:pt x="29" y="56"/>
                    </a:cubicBezTo>
                    <a:cubicBezTo>
                      <a:pt x="27" y="56"/>
                      <a:pt x="26" y="56"/>
                      <a:pt x="25" y="55"/>
                    </a:cubicBezTo>
                    <a:cubicBezTo>
                      <a:pt x="19" y="62"/>
                      <a:pt x="19" y="62"/>
                      <a:pt x="19" y="62"/>
                    </a:cubicBezTo>
                    <a:cubicBezTo>
                      <a:pt x="14" y="60"/>
                      <a:pt x="14" y="60"/>
                      <a:pt x="14" y="60"/>
                    </a:cubicBezTo>
                    <a:cubicBezTo>
                      <a:pt x="17" y="51"/>
                      <a:pt x="17" y="51"/>
                      <a:pt x="17" y="51"/>
                    </a:cubicBezTo>
                    <a:cubicBezTo>
                      <a:pt x="16" y="50"/>
                      <a:pt x="16" y="49"/>
                      <a:pt x="15" y="48"/>
                    </a:cubicBezTo>
                    <a:cubicBezTo>
                      <a:pt x="6" y="51"/>
                      <a:pt x="6" y="51"/>
                      <a:pt x="6" y="51"/>
                    </a:cubicBezTo>
                    <a:cubicBezTo>
                      <a:pt x="3" y="46"/>
                      <a:pt x="3" y="46"/>
                      <a:pt x="3" y="46"/>
                    </a:cubicBezTo>
                    <a:cubicBezTo>
                      <a:pt x="11" y="40"/>
                      <a:pt x="11" y="40"/>
                      <a:pt x="11" y="40"/>
                    </a:cubicBezTo>
                    <a:cubicBezTo>
                      <a:pt x="10" y="39"/>
                      <a:pt x="10" y="38"/>
                      <a:pt x="10" y="37"/>
                    </a:cubicBezTo>
                    <a:cubicBezTo>
                      <a:pt x="0" y="35"/>
                      <a:pt x="0" y="35"/>
                      <a:pt x="0" y="35"/>
                    </a:cubicBezTo>
                    <a:cubicBezTo>
                      <a:pt x="1" y="29"/>
                      <a:pt x="1" y="29"/>
                      <a:pt x="1" y="29"/>
                    </a:cubicBezTo>
                    <a:cubicBezTo>
                      <a:pt x="10" y="28"/>
                      <a:pt x="10" y="28"/>
                      <a:pt x="10" y="28"/>
                    </a:cubicBezTo>
                    <a:cubicBezTo>
                      <a:pt x="10" y="27"/>
                      <a:pt x="11" y="25"/>
                      <a:pt x="11" y="24"/>
                    </a:cubicBezTo>
                    <a:cubicBezTo>
                      <a:pt x="4" y="18"/>
                      <a:pt x="4" y="18"/>
                      <a:pt x="4" y="18"/>
                    </a:cubicBezTo>
                    <a:cubicBezTo>
                      <a:pt x="7" y="13"/>
                      <a:pt x="7" y="13"/>
                      <a:pt x="7" y="13"/>
                    </a:cubicBezTo>
                    <a:cubicBezTo>
                      <a:pt x="16" y="17"/>
                      <a:pt x="16" y="17"/>
                      <a:pt x="16" y="17"/>
                    </a:cubicBezTo>
                    <a:cubicBezTo>
                      <a:pt x="16" y="16"/>
                      <a:pt x="17" y="15"/>
                      <a:pt x="18" y="14"/>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sp>
            <p:nvSpPr>
              <p:cNvPr id="25" name="Freeform 126"/>
              <p:cNvSpPr>
                <a:spLocks/>
              </p:cNvSpPr>
              <p:nvPr/>
            </p:nvSpPr>
            <p:spPr bwMode="auto">
              <a:xfrm>
                <a:off x="3167064" y="1154113"/>
                <a:ext cx="39688" cy="42863"/>
              </a:xfrm>
              <a:custGeom>
                <a:avLst/>
                <a:gdLst/>
                <a:ahLst/>
                <a:cxnLst>
                  <a:cxn ang="0">
                    <a:pos x="16" y="3"/>
                  </a:cxn>
                  <a:cxn ang="0">
                    <a:pos x="18" y="16"/>
                  </a:cxn>
                  <a:cxn ang="0">
                    <a:pos x="5" y="19"/>
                  </a:cxn>
                  <a:cxn ang="0">
                    <a:pos x="3" y="6"/>
                  </a:cxn>
                  <a:cxn ang="0">
                    <a:pos x="16" y="3"/>
                  </a:cxn>
                </a:cxnLst>
                <a:rect l="0" t="0" r="r" b="b"/>
                <a:pathLst>
                  <a:path w="21" h="22">
                    <a:moveTo>
                      <a:pt x="16" y="3"/>
                    </a:moveTo>
                    <a:cubicBezTo>
                      <a:pt x="20" y="6"/>
                      <a:pt x="21" y="12"/>
                      <a:pt x="18" y="16"/>
                    </a:cubicBezTo>
                    <a:cubicBezTo>
                      <a:pt x="15" y="21"/>
                      <a:pt x="9" y="22"/>
                      <a:pt x="5" y="19"/>
                    </a:cubicBezTo>
                    <a:cubicBezTo>
                      <a:pt x="1" y="16"/>
                      <a:pt x="0" y="10"/>
                      <a:pt x="3" y="6"/>
                    </a:cubicBezTo>
                    <a:cubicBezTo>
                      <a:pt x="5" y="1"/>
                      <a:pt x="11" y="0"/>
                      <a:pt x="16" y="3"/>
                    </a:cubicBez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Arial" pitchFamily="34" charset="0"/>
                  <a:cs typeface="Arial" pitchFamily="34" charset="0"/>
                </a:endParaRPr>
              </a:p>
            </p:txBody>
          </p:sp>
        </p:grpSp>
        <p:grpSp>
          <p:nvGrpSpPr>
            <p:cNvPr id="26" name="Groupe 381"/>
            <p:cNvGrpSpPr/>
            <p:nvPr/>
          </p:nvGrpSpPr>
          <p:grpSpPr>
            <a:xfrm>
              <a:off x="10243003" y="2970987"/>
              <a:ext cx="451456" cy="289960"/>
              <a:chOff x="2444750" y="3516313"/>
              <a:chExt cx="390525" cy="250825"/>
            </a:xfrm>
          </p:grpSpPr>
          <p:sp>
            <p:nvSpPr>
              <p:cNvPr id="27" name="Freeform 465"/>
              <p:cNvSpPr>
                <a:spLocks/>
              </p:cNvSpPr>
              <p:nvPr/>
            </p:nvSpPr>
            <p:spPr bwMode="auto">
              <a:xfrm>
                <a:off x="2468563" y="3536950"/>
                <a:ext cx="347663" cy="230188"/>
              </a:xfrm>
              <a:custGeom>
                <a:avLst/>
                <a:gdLst/>
                <a:ahLst/>
                <a:cxnLst>
                  <a:cxn ang="0">
                    <a:pos x="110" y="88"/>
                  </a:cxn>
                  <a:cxn ang="0">
                    <a:pos x="77" y="66"/>
                  </a:cxn>
                  <a:cxn ang="0">
                    <a:pos x="65" y="69"/>
                  </a:cxn>
                  <a:cxn ang="0">
                    <a:pos x="41" y="40"/>
                  </a:cxn>
                  <a:cxn ang="0">
                    <a:pos x="55" y="74"/>
                  </a:cxn>
                  <a:cxn ang="0">
                    <a:pos x="48" y="82"/>
                  </a:cxn>
                  <a:cxn ang="0">
                    <a:pos x="41" y="102"/>
                  </a:cxn>
                  <a:cxn ang="0">
                    <a:pos x="6" y="102"/>
                  </a:cxn>
                  <a:cxn ang="0">
                    <a:pos x="6" y="49"/>
                  </a:cxn>
                  <a:cxn ang="0">
                    <a:pos x="41" y="9"/>
                  </a:cxn>
                  <a:cxn ang="0">
                    <a:pos x="77" y="0"/>
                  </a:cxn>
                  <a:cxn ang="0">
                    <a:pos x="113" y="9"/>
                  </a:cxn>
                  <a:cxn ang="0">
                    <a:pos x="148" y="49"/>
                  </a:cxn>
                  <a:cxn ang="0">
                    <a:pos x="148" y="102"/>
                  </a:cxn>
                  <a:cxn ang="0">
                    <a:pos x="60" y="102"/>
                  </a:cxn>
                  <a:cxn ang="0">
                    <a:pos x="60" y="89"/>
                  </a:cxn>
                  <a:cxn ang="0">
                    <a:pos x="97" y="89"/>
                  </a:cxn>
                  <a:cxn ang="0">
                    <a:pos x="97" y="94"/>
                  </a:cxn>
                </a:cxnLst>
                <a:rect l="0" t="0" r="r" b="b"/>
                <a:pathLst>
                  <a:path w="154" h="102">
                    <a:moveTo>
                      <a:pt x="110" y="88"/>
                    </a:moveTo>
                    <a:cubicBezTo>
                      <a:pt x="106" y="78"/>
                      <a:pt x="91" y="66"/>
                      <a:pt x="77" y="66"/>
                    </a:cubicBezTo>
                    <a:cubicBezTo>
                      <a:pt x="72" y="67"/>
                      <a:pt x="70" y="67"/>
                      <a:pt x="65" y="69"/>
                    </a:cubicBezTo>
                    <a:cubicBezTo>
                      <a:pt x="56" y="59"/>
                      <a:pt x="49" y="50"/>
                      <a:pt x="41" y="40"/>
                    </a:cubicBezTo>
                    <a:cubicBezTo>
                      <a:pt x="47" y="55"/>
                      <a:pt x="53" y="67"/>
                      <a:pt x="55" y="74"/>
                    </a:cubicBezTo>
                    <a:cubicBezTo>
                      <a:pt x="52" y="78"/>
                      <a:pt x="50" y="78"/>
                      <a:pt x="48" y="82"/>
                    </a:cubicBezTo>
                    <a:cubicBezTo>
                      <a:pt x="46" y="85"/>
                      <a:pt x="42" y="93"/>
                      <a:pt x="41" y="102"/>
                    </a:cubicBezTo>
                    <a:cubicBezTo>
                      <a:pt x="6" y="102"/>
                      <a:pt x="6" y="102"/>
                      <a:pt x="6" y="102"/>
                    </a:cubicBezTo>
                    <a:cubicBezTo>
                      <a:pt x="1" y="84"/>
                      <a:pt x="0" y="66"/>
                      <a:pt x="6" y="49"/>
                    </a:cubicBezTo>
                    <a:cubicBezTo>
                      <a:pt x="13" y="33"/>
                      <a:pt x="25" y="18"/>
                      <a:pt x="41" y="9"/>
                    </a:cubicBezTo>
                    <a:cubicBezTo>
                      <a:pt x="53" y="3"/>
                      <a:pt x="63" y="0"/>
                      <a:pt x="77" y="0"/>
                    </a:cubicBezTo>
                    <a:cubicBezTo>
                      <a:pt x="90" y="0"/>
                      <a:pt x="104" y="4"/>
                      <a:pt x="113" y="9"/>
                    </a:cubicBezTo>
                    <a:cubicBezTo>
                      <a:pt x="121" y="14"/>
                      <a:pt x="140" y="28"/>
                      <a:pt x="148" y="49"/>
                    </a:cubicBezTo>
                    <a:cubicBezTo>
                      <a:pt x="154" y="66"/>
                      <a:pt x="153" y="86"/>
                      <a:pt x="148" y="102"/>
                    </a:cubicBezTo>
                    <a:cubicBezTo>
                      <a:pt x="60" y="102"/>
                      <a:pt x="60" y="102"/>
                      <a:pt x="60" y="102"/>
                    </a:cubicBezTo>
                    <a:cubicBezTo>
                      <a:pt x="60" y="89"/>
                      <a:pt x="60" y="89"/>
                      <a:pt x="60" y="89"/>
                    </a:cubicBezTo>
                    <a:cubicBezTo>
                      <a:pt x="97" y="89"/>
                      <a:pt x="97" y="89"/>
                      <a:pt x="97" y="89"/>
                    </a:cubicBezTo>
                    <a:cubicBezTo>
                      <a:pt x="97" y="94"/>
                      <a:pt x="97" y="94"/>
                      <a:pt x="97" y="94"/>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8" name="Freeform 466"/>
              <p:cNvSpPr>
                <a:spLocks/>
              </p:cNvSpPr>
              <p:nvPr/>
            </p:nvSpPr>
            <p:spPr bwMode="auto">
              <a:xfrm>
                <a:off x="2517775" y="3552825"/>
                <a:ext cx="268288" cy="146050"/>
              </a:xfrm>
              <a:custGeom>
                <a:avLst/>
                <a:gdLst/>
                <a:ahLst/>
                <a:cxnLst>
                  <a:cxn ang="0">
                    <a:pos x="10" y="28"/>
                  </a:cxn>
                  <a:cxn ang="0">
                    <a:pos x="0" y="41"/>
                  </a:cxn>
                  <a:cxn ang="0">
                    <a:pos x="18" y="14"/>
                  </a:cxn>
                  <a:cxn ang="0">
                    <a:pos x="72" y="6"/>
                  </a:cxn>
                  <a:cxn ang="0">
                    <a:pos x="114" y="50"/>
                  </a:cxn>
                  <a:cxn ang="0">
                    <a:pos x="119" y="50"/>
                  </a:cxn>
                  <a:cxn ang="0">
                    <a:pos x="105" y="65"/>
                  </a:cxn>
                  <a:cxn ang="0">
                    <a:pos x="86" y="52"/>
                  </a:cxn>
                  <a:cxn ang="0">
                    <a:pos x="91" y="51"/>
                  </a:cxn>
                  <a:cxn ang="0">
                    <a:pos x="76" y="25"/>
                  </a:cxn>
                  <a:cxn ang="0">
                    <a:pos x="44" y="13"/>
                  </a:cxn>
                  <a:cxn ang="0">
                    <a:pos x="15" y="24"/>
                  </a:cxn>
                </a:cxnLst>
                <a:rect l="0" t="0" r="r" b="b"/>
                <a:pathLst>
                  <a:path w="119" h="65">
                    <a:moveTo>
                      <a:pt x="10" y="28"/>
                    </a:moveTo>
                    <a:cubicBezTo>
                      <a:pt x="0" y="41"/>
                      <a:pt x="0" y="41"/>
                      <a:pt x="0" y="41"/>
                    </a:cubicBezTo>
                    <a:cubicBezTo>
                      <a:pt x="5" y="27"/>
                      <a:pt x="9" y="21"/>
                      <a:pt x="18" y="14"/>
                    </a:cubicBezTo>
                    <a:cubicBezTo>
                      <a:pt x="32" y="3"/>
                      <a:pt x="57" y="0"/>
                      <a:pt x="72" y="6"/>
                    </a:cubicBezTo>
                    <a:cubicBezTo>
                      <a:pt x="87" y="11"/>
                      <a:pt x="107" y="22"/>
                      <a:pt x="114" y="50"/>
                    </a:cubicBezTo>
                    <a:cubicBezTo>
                      <a:pt x="116" y="50"/>
                      <a:pt x="117" y="50"/>
                      <a:pt x="119" y="50"/>
                    </a:cubicBezTo>
                    <a:cubicBezTo>
                      <a:pt x="105" y="65"/>
                      <a:pt x="105" y="65"/>
                      <a:pt x="105" y="65"/>
                    </a:cubicBezTo>
                    <a:cubicBezTo>
                      <a:pt x="86" y="52"/>
                      <a:pt x="86" y="52"/>
                      <a:pt x="86" y="52"/>
                    </a:cubicBezTo>
                    <a:cubicBezTo>
                      <a:pt x="91" y="51"/>
                      <a:pt x="91" y="51"/>
                      <a:pt x="91" y="51"/>
                    </a:cubicBezTo>
                    <a:cubicBezTo>
                      <a:pt x="88" y="41"/>
                      <a:pt x="80" y="30"/>
                      <a:pt x="76" y="25"/>
                    </a:cubicBezTo>
                    <a:cubicBezTo>
                      <a:pt x="69" y="19"/>
                      <a:pt x="58" y="13"/>
                      <a:pt x="44" y="13"/>
                    </a:cubicBezTo>
                    <a:cubicBezTo>
                      <a:pt x="34" y="14"/>
                      <a:pt x="24" y="17"/>
                      <a:pt x="15" y="24"/>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9" name="Freeform 467"/>
              <p:cNvSpPr>
                <a:spLocks/>
              </p:cNvSpPr>
              <p:nvPr/>
            </p:nvSpPr>
            <p:spPr bwMode="auto">
              <a:xfrm>
                <a:off x="2444750" y="3516313"/>
                <a:ext cx="390525" cy="250825"/>
              </a:xfrm>
              <a:custGeom>
                <a:avLst/>
                <a:gdLst/>
                <a:ahLst/>
                <a:cxnLst>
                  <a:cxn ang="0">
                    <a:pos x="7" y="111"/>
                  </a:cxn>
                  <a:cxn ang="0">
                    <a:pos x="7" y="53"/>
                  </a:cxn>
                  <a:cxn ang="0">
                    <a:pos x="47" y="10"/>
                  </a:cxn>
                  <a:cxn ang="0">
                    <a:pos x="87" y="0"/>
                  </a:cxn>
                  <a:cxn ang="0">
                    <a:pos x="128" y="10"/>
                  </a:cxn>
                  <a:cxn ang="0">
                    <a:pos x="167" y="53"/>
                  </a:cxn>
                  <a:cxn ang="0">
                    <a:pos x="167" y="111"/>
                  </a:cxn>
                </a:cxnLst>
                <a:rect l="0" t="0" r="r" b="b"/>
                <a:pathLst>
                  <a:path w="174" h="111">
                    <a:moveTo>
                      <a:pt x="7" y="111"/>
                    </a:moveTo>
                    <a:cubicBezTo>
                      <a:pt x="1" y="92"/>
                      <a:pt x="0" y="72"/>
                      <a:pt x="7" y="53"/>
                    </a:cubicBezTo>
                    <a:cubicBezTo>
                      <a:pt x="14" y="36"/>
                      <a:pt x="28" y="20"/>
                      <a:pt x="47" y="10"/>
                    </a:cubicBezTo>
                    <a:cubicBezTo>
                      <a:pt x="60" y="3"/>
                      <a:pt x="71" y="0"/>
                      <a:pt x="87" y="0"/>
                    </a:cubicBezTo>
                    <a:cubicBezTo>
                      <a:pt x="101" y="0"/>
                      <a:pt x="118" y="4"/>
                      <a:pt x="128" y="10"/>
                    </a:cubicBezTo>
                    <a:cubicBezTo>
                      <a:pt x="137" y="15"/>
                      <a:pt x="158" y="30"/>
                      <a:pt x="167" y="53"/>
                    </a:cubicBezTo>
                    <a:cubicBezTo>
                      <a:pt x="174" y="72"/>
                      <a:pt x="173" y="93"/>
                      <a:pt x="167" y="111"/>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cxnSp>
          <p:nvCxnSpPr>
            <p:cNvPr id="4" name="Straight Connector 3"/>
            <p:cNvCxnSpPr/>
            <p:nvPr/>
          </p:nvCxnSpPr>
          <p:spPr>
            <a:xfrm>
              <a:off x="1115787" y="3720015"/>
              <a:ext cx="2677885" cy="0"/>
            </a:xfrm>
            <a:prstGeom prst="line">
              <a:avLst/>
            </a:prstGeom>
            <a:ln w="19050">
              <a:solidFill>
                <a:schemeClr val="tx2"/>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250872" y="3720015"/>
              <a:ext cx="2677885" cy="0"/>
            </a:xfrm>
            <a:prstGeom prst="line">
              <a:avLst/>
            </a:prstGeom>
            <a:ln w="19050">
              <a:solidFill>
                <a:schemeClr val="tx2"/>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31" name="Rounded Rectangle 30"/>
            <p:cNvSpPr/>
            <p:nvPr/>
          </p:nvSpPr>
          <p:spPr bwMode="auto">
            <a:xfrm>
              <a:off x="1876878" y="3494310"/>
              <a:ext cx="1155700" cy="451413"/>
            </a:xfrm>
            <a:prstGeom prst="roundRect">
              <a:avLst/>
            </a:prstGeom>
            <a:solidFill>
              <a:schemeClr val="bg1"/>
            </a:solidFill>
            <a:ln>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200" b="1" dirty="0">
                  <a:solidFill>
                    <a:schemeClr val="tx1"/>
                  </a:solidFill>
                  <a:cs typeface="Arial" charset="0"/>
                </a:rPr>
                <a:t>Mobile Lab</a:t>
              </a:r>
            </a:p>
          </p:txBody>
        </p:sp>
        <p:sp>
          <p:nvSpPr>
            <p:cNvPr id="32" name="Rounded Rectangle 31"/>
            <p:cNvSpPr/>
            <p:nvPr/>
          </p:nvSpPr>
          <p:spPr bwMode="auto">
            <a:xfrm>
              <a:off x="4407430" y="3478373"/>
              <a:ext cx="2344872" cy="504056"/>
            </a:xfrm>
            <a:prstGeom prst="roundRect">
              <a:avLst/>
            </a:prstGeom>
            <a:solidFill>
              <a:schemeClr val="bg1"/>
            </a:solidFill>
            <a:ln>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algn="ctr"/>
              <a:r>
                <a:rPr lang="en-US" sz="1100" b="1" dirty="0">
                  <a:solidFill>
                    <a:schemeClr val="tx1"/>
                  </a:solidFill>
                  <a:ea typeface="Segoe UI" pitchFamily="34" charset="0"/>
                  <a:cs typeface="Segoe UI" pitchFamily="34" charset="0"/>
                </a:rPr>
                <a:t>Alliances and Partnership </a:t>
              </a:r>
            </a:p>
            <a:p>
              <a:pPr algn="ctr"/>
              <a:r>
                <a:rPr lang="en-US" sz="1100" b="1" dirty="0">
                  <a:solidFill>
                    <a:schemeClr val="tx1"/>
                  </a:solidFill>
                  <a:ea typeface="Segoe UI" pitchFamily="34" charset="0"/>
                  <a:cs typeface="Segoe UI" pitchFamily="34" charset="0"/>
                </a:rPr>
                <a:t>with leading </a:t>
              </a:r>
              <a:r>
                <a:rPr lang="en-US" sz="1100" b="1" dirty="0">
                  <a:solidFill>
                    <a:schemeClr val="tx1"/>
                  </a:solidFill>
                  <a:cs typeface="Arial" charset="0"/>
                </a:rPr>
                <a:t>Tool</a:t>
              </a:r>
              <a:r>
                <a:rPr lang="en-US" sz="1100" b="1" dirty="0">
                  <a:solidFill>
                    <a:schemeClr val="tx1"/>
                  </a:solidFill>
                  <a:ea typeface="Segoe UI" pitchFamily="34" charset="0"/>
                  <a:cs typeface="Segoe UI" pitchFamily="34" charset="0"/>
                </a:rPr>
                <a:t> Vendors </a:t>
              </a:r>
            </a:p>
          </p:txBody>
        </p:sp>
        <p:sp>
          <p:nvSpPr>
            <p:cNvPr id="33" name="Cloud 32"/>
            <p:cNvSpPr>
              <a:spLocks noChangeAspect="1"/>
            </p:cNvSpPr>
            <p:nvPr/>
          </p:nvSpPr>
          <p:spPr>
            <a:xfrm>
              <a:off x="1043721" y="5181462"/>
              <a:ext cx="2143054" cy="1008112"/>
            </a:xfrm>
            <a:prstGeom prst="cloud">
              <a:avLst/>
            </a:prstGeom>
            <a:noFill/>
            <a:ln>
              <a:solidFill>
                <a:srgbClr val="0070C0"/>
              </a:solidFill>
              <a:prstDash val="lgDash"/>
            </a:ln>
            <a:effectLst>
              <a:innerShdw blurRad="63500" dist="50800" dir="13500000">
                <a:prstClr val="black">
                  <a:alpha val="50000"/>
                </a:prstClr>
              </a:innerShdw>
            </a:effectLst>
          </p:spPr>
          <p:style>
            <a:lnRef idx="2">
              <a:schemeClr val="dk1"/>
            </a:lnRef>
            <a:fillRef idx="1">
              <a:schemeClr val="lt1"/>
            </a:fillRef>
            <a:effectRef idx="0">
              <a:schemeClr val="dk1"/>
            </a:effectRef>
            <a:fontRef idx="minor">
              <a:schemeClr val="dk1"/>
            </a:fontRef>
          </p:style>
          <p:txBody>
            <a:bodyPr lIns="21022" tIns="10511" rIns="21022" bIns="10511" anchor="ctr"/>
            <a:lstStyle/>
            <a:p>
              <a:pPr algn="ctr">
                <a:defRPr/>
              </a:pPr>
              <a:endParaRPr lang="en-US" sz="500" dirty="0">
                <a:solidFill>
                  <a:schemeClr val="tx2">
                    <a:lumMod val="50000"/>
                  </a:schemeClr>
                </a:solidFill>
                <a:latin typeface="Calibri" pitchFamily="34" charset="0"/>
                <a:cs typeface="Calibri" pitchFamily="34" charset="0"/>
              </a:endParaRPr>
            </a:p>
          </p:txBody>
        </p:sp>
        <p:pic>
          <p:nvPicPr>
            <p:cNvPr id="34" name="Picture 2" descr="http://rajasoftwarelabs.com/asset/tiny/tiny_mce/plugins/imagemanager/files/rb-mobile.jp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207402" y="3925548"/>
              <a:ext cx="960989" cy="838483"/>
            </a:xfrm>
            <a:prstGeom prst="rect">
              <a:avLst/>
            </a:prstGeom>
            <a:noFill/>
          </p:spPr>
        </p:pic>
        <p:sp>
          <p:nvSpPr>
            <p:cNvPr id="35" name="TextBox 34"/>
            <p:cNvSpPr txBox="1"/>
            <p:nvPr/>
          </p:nvSpPr>
          <p:spPr>
            <a:xfrm>
              <a:off x="1207403" y="4645628"/>
              <a:ext cx="833377" cy="584775"/>
            </a:xfrm>
            <a:prstGeom prst="rect">
              <a:avLst/>
            </a:prstGeom>
            <a:noFill/>
          </p:spPr>
          <p:txBody>
            <a:bodyPr wrap="square" lIns="0" rIns="0" rtlCol="0">
              <a:spAutoFit/>
            </a:bodyPr>
            <a:lstStyle/>
            <a:p>
              <a:pPr algn="ctr"/>
              <a:r>
                <a:rPr lang="en-US" sz="800" b="1" dirty="0">
                  <a:solidFill>
                    <a:srgbClr val="000000"/>
                  </a:solidFill>
                  <a:ea typeface="Segoe UI" pitchFamily="34" charset="0"/>
                  <a:cs typeface="Segoe UI" pitchFamily="34" charset="0"/>
                </a:rPr>
                <a:t>100+ Real devices for Android, iOS, Windows </a:t>
              </a:r>
            </a:p>
          </p:txBody>
        </p:sp>
        <p:pic>
          <p:nvPicPr>
            <p:cNvPr id="36" name="Picture 35" descr="Wi-fi.jp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2575553" y="4069561"/>
              <a:ext cx="468690" cy="328930"/>
            </a:xfrm>
            <a:prstGeom prst="rect">
              <a:avLst/>
            </a:prstGeom>
          </p:spPr>
        </p:pic>
        <p:sp>
          <p:nvSpPr>
            <p:cNvPr id="37" name="TextBox 36"/>
            <p:cNvSpPr txBox="1"/>
            <p:nvPr/>
          </p:nvSpPr>
          <p:spPr>
            <a:xfrm>
              <a:off x="2287522" y="4429601"/>
              <a:ext cx="1216129" cy="338554"/>
            </a:xfrm>
            <a:prstGeom prst="rect">
              <a:avLst/>
            </a:prstGeom>
            <a:noFill/>
          </p:spPr>
          <p:txBody>
            <a:bodyPr wrap="square" lIns="0" rIns="0" rtlCol="0">
              <a:spAutoFit/>
            </a:bodyPr>
            <a:lstStyle/>
            <a:p>
              <a:pPr algn="ctr"/>
              <a:r>
                <a:rPr lang="en-US" sz="800" b="1" dirty="0">
                  <a:solidFill>
                    <a:srgbClr val="000000"/>
                  </a:solidFill>
                  <a:ea typeface="Segoe UI" pitchFamily="34" charset="0"/>
                  <a:cs typeface="Segoe UI" pitchFamily="34" charset="0"/>
                </a:rPr>
                <a:t>Wi-Fi and cellular connectivity( 2G / 3G/4G)</a:t>
              </a:r>
            </a:p>
          </p:txBody>
        </p:sp>
        <p:pic>
          <p:nvPicPr>
            <p:cNvPr id="38" name="Picture 2" descr="https://encrypted-tbn1.gstatic.com/images?q=tbn:ANd9GcQ8Nmxevb-jvFQflkM-ioYU3G_s-Nkkdp8xlFLj6WC1OuSvReet"/>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151619" y="3997556"/>
              <a:ext cx="354221" cy="517829"/>
            </a:xfrm>
            <a:prstGeom prst="rect">
              <a:avLst/>
            </a:prstGeom>
            <a:noFill/>
          </p:spPr>
        </p:pic>
        <p:pic>
          <p:nvPicPr>
            <p:cNvPr id="39" name="Picture 19" descr="http://forum.experitest.com/sites/default/files/logo.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551812" y="5721342"/>
              <a:ext cx="652013" cy="252208"/>
            </a:xfrm>
            <a:prstGeom prst="rect">
              <a:avLst/>
            </a:prstGeom>
            <a:noFill/>
          </p:spPr>
        </p:pic>
        <p:pic>
          <p:nvPicPr>
            <p:cNvPr id="40" name="Picture 1"/>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316664" y="5755250"/>
              <a:ext cx="288444" cy="201744"/>
            </a:xfrm>
            <a:prstGeom prst="rect">
              <a:avLst/>
            </a:prstGeom>
            <a:noFill/>
            <a:ln w="9525">
              <a:noFill/>
              <a:miter lim="800000"/>
              <a:headEnd/>
              <a:tailEnd/>
            </a:ln>
          </p:spPr>
        </p:pic>
        <p:pic>
          <p:nvPicPr>
            <p:cNvPr id="41" name="Picture 15" descr="http://venturebeat.files.wordpress.com/2013/03/mobile-labs-inc-logo.png?w=145"/>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591286" y="5365268"/>
              <a:ext cx="550269" cy="296493"/>
            </a:xfrm>
            <a:prstGeom prst="rect">
              <a:avLst/>
            </a:prstGeom>
            <a:noFill/>
          </p:spPr>
        </p:pic>
        <p:pic>
          <p:nvPicPr>
            <p:cNvPr id="42" name="Picture 4" descr="http://t1.gstatic.com/images?q=tbn:ANd9GcSUEJGf9QGgEetAqak_zFzTslSi-BwqT-ZQDrmslb1Y8sBz361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358084" y="4886963"/>
              <a:ext cx="489582" cy="45791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3" name="Picture 42" descr="http://menterpriseboston.com/media/55178/perfecto-mobile-logo.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136322" y="5366654"/>
              <a:ext cx="900112" cy="304800"/>
            </a:xfrm>
            <a:prstGeom prst="rect">
              <a:avLst/>
            </a:prstGeom>
            <a:noFill/>
          </p:spPr>
        </p:pic>
        <p:pic>
          <p:nvPicPr>
            <p:cNvPr id="44" name="Picture 1"/>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666016" y="4147451"/>
              <a:ext cx="343773" cy="249394"/>
            </a:xfrm>
            <a:prstGeom prst="rect">
              <a:avLst/>
            </a:prstGeom>
            <a:noFill/>
            <a:ln w="9525">
              <a:noFill/>
              <a:miter lim="800000"/>
              <a:headEnd/>
              <a:tailEnd/>
            </a:ln>
          </p:spPr>
        </p:pic>
        <p:pic>
          <p:nvPicPr>
            <p:cNvPr id="45" name="Picture 19" descr="http://forum.experitest.com/sites/default/files/logo.pn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675416" y="4147451"/>
              <a:ext cx="706055" cy="273112"/>
            </a:xfrm>
            <a:prstGeom prst="rect">
              <a:avLst/>
            </a:prstGeom>
            <a:noFill/>
          </p:spPr>
        </p:pic>
        <p:pic>
          <p:nvPicPr>
            <p:cNvPr id="46" name="Picture 2" descr="D:\Users\tpalande\Pictures\jamo_logo.jp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592865" y="4604652"/>
              <a:ext cx="1070486" cy="206407"/>
            </a:xfrm>
            <a:prstGeom prst="rect">
              <a:avLst/>
            </a:prstGeom>
            <a:noFill/>
          </p:spPr>
        </p:pic>
        <p:pic>
          <p:nvPicPr>
            <p:cNvPr id="47" name="Picture 1"/>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307940" y="4147451"/>
              <a:ext cx="609603" cy="228600"/>
            </a:xfrm>
            <a:prstGeom prst="rect">
              <a:avLst/>
            </a:prstGeom>
            <a:noFill/>
            <a:ln w="9525">
              <a:noFill/>
              <a:miter lim="800000"/>
              <a:headEnd/>
              <a:tailEnd/>
            </a:ln>
          </p:spPr>
        </p:pic>
        <p:pic>
          <p:nvPicPr>
            <p:cNvPr id="48" name="Picture 21" descr="http://upload.wikimedia.org/wikipedia/en/thumb/a/a6/Logo_NeoLoad_Transparent.png/320px-Logo_NeoLoad_Transparent.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4447605" y="5399308"/>
              <a:ext cx="870855" cy="152400"/>
            </a:xfrm>
            <a:prstGeom prst="rect">
              <a:avLst/>
            </a:prstGeom>
            <a:noFill/>
          </p:spPr>
        </p:pic>
        <p:pic>
          <p:nvPicPr>
            <p:cNvPr id="49" name="Picture 48" descr="LoadRunner.png"/>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6533068" y="4920472"/>
              <a:ext cx="495300" cy="408887"/>
            </a:xfrm>
            <a:prstGeom prst="rect">
              <a:avLst/>
            </a:prstGeom>
          </p:spPr>
        </p:pic>
        <p:pic>
          <p:nvPicPr>
            <p:cNvPr id="50" name="Picture 23" descr="http://jmeter.apache.org/images/logo.jpg"/>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4423322" y="4909316"/>
              <a:ext cx="765442" cy="304800"/>
            </a:xfrm>
            <a:prstGeom prst="rect">
              <a:avLst/>
            </a:prstGeom>
            <a:noFill/>
          </p:spPr>
        </p:pic>
        <p:pic>
          <p:nvPicPr>
            <p:cNvPr id="51" name="Picture 25" descr="http://www.proso.com/wp-content/uploads/2013/05/fortify.jpg"/>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5554779" y="5281158"/>
              <a:ext cx="566245" cy="260857"/>
            </a:xfrm>
            <a:prstGeom prst="rect">
              <a:avLst/>
            </a:prstGeom>
            <a:noFill/>
          </p:spPr>
        </p:pic>
        <p:pic>
          <p:nvPicPr>
            <p:cNvPr id="52" name="Picture 27" descr="http://2.bp.blogspot.com/-WNrhU4DVwNE/UK-G760dJXI/AAAAAAAADuo/HS9WGj92s44/s400/bur1.png"/>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6231955" y="5573750"/>
              <a:ext cx="559816" cy="307900"/>
            </a:xfrm>
            <a:prstGeom prst="rect">
              <a:avLst/>
            </a:prstGeom>
            <a:noFill/>
          </p:spPr>
        </p:pic>
        <p:pic>
          <p:nvPicPr>
            <p:cNvPr id="53" name="Picture 29" descr="http://www.encoreconsulting.com/images/Rational_AppScan.bmp"/>
            <p:cNvPicPr>
              <a:picLocks noChangeAspect="1" noChangeArrowheads="1"/>
            </p:cNvPicPr>
            <p:nvPr/>
          </p:nvPicPr>
          <p:blipFill>
            <a:blip r:embed="rId19" cstate="print"/>
            <a:srcRect/>
            <a:stretch>
              <a:fillRect/>
            </a:stretch>
          </p:blipFill>
          <p:spPr bwMode="auto">
            <a:xfrm>
              <a:off x="4580979" y="5671262"/>
              <a:ext cx="1184530" cy="262209"/>
            </a:xfrm>
            <a:prstGeom prst="rect">
              <a:avLst/>
            </a:prstGeom>
            <a:noFill/>
          </p:spPr>
        </p:pic>
        <p:pic>
          <p:nvPicPr>
            <p:cNvPr id="54" name="Picture 2" descr="https://cdn.evbuc.com/eventlogos/132933309/cucumberlogo.png"/>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5402092" y="4909623"/>
              <a:ext cx="946727" cy="228600"/>
            </a:xfrm>
            <a:prstGeom prst="rect">
              <a:avLst/>
            </a:prstGeom>
            <a:noFill/>
          </p:spPr>
        </p:pic>
        <p:pic>
          <p:nvPicPr>
            <p:cNvPr id="55" name="Picture 4" descr="http://sauceio.com/wp-content/uploads/2015/01/Appium-logo-w-tagline-final-01.png"/>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5837901" y="4506258"/>
              <a:ext cx="1113344" cy="304800"/>
            </a:xfrm>
            <a:prstGeom prst="rect">
              <a:avLst/>
            </a:prstGeom>
            <a:noFill/>
          </p:spPr>
        </p:pic>
        <p:sp>
          <p:nvSpPr>
            <p:cNvPr id="56" name="TextBox 55"/>
            <p:cNvSpPr txBox="1"/>
            <p:nvPr/>
          </p:nvSpPr>
          <p:spPr>
            <a:xfrm>
              <a:off x="3091935" y="5317522"/>
              <a:ext cx="990600" cy="354555"/>
            </a:xfrm>
            <a:prstGeom prst="rect">
              <a:avLst/>
            </a:prstGeom>
            <a:noFill/>
          </p:spPr>
          <p:txBody>
            <a:bodyPr wrap="square" lIns="107287" tIns="53643" rIns="107287" bIns="53643" rtlCol="0">
              <a:spAutoFit/>
            </a:bodyPr>
            <a:lstStyle/>
            <a:p>
              <a:pPr algn="ctr"/>
              <a:r>
                <a:rPr lang="en-US" sz="800" b="1" dirty="0">
                  <a:solidFill>
                    <a:srgbClr val="000000"/>
                  </a:solidFill>
                  <a:ea typeface="Segoe UI" pitchFamily="34" charset="0"/>
                  <a:cs typeface="Segoe UI" pitchFamily="34" charset="0"/>
                </a:rPr>
                <a:t>Emulators / Simulators</a:t>
              </a:r>
            </a:p>
          </p:txBody>
        </p:sp>
      </p:grpSp>
    </p:spTree>
    <p:extLst>
      <p:ext uri="{BB962C8B-B14F-4D97-AF65-F5344CB8AC3E}">
        <p14:creationId xmlns:p14="http://schemas.microsoft.com/office/powerpoint/2010/main" val="3448237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 Mobile Automation Approach </a:t>
            </a:r>
          </a:p>
        </p:txBody>
      </p:sp>
      <p:sp>
        <p:nvSpPr>
          <p:cNvPr id="3" name="Rectangle 2"/>
          <p:cNvSpPr/>
          <p:nvPr/>
        </p:nvSpPr>
        <p:spPr>
          <a:xfrm rot="16200000">
            <a:off x="1202375" y="1649681"/>
            <a:ext cx="1035132" cy="500742"/>
          </a:xfrm>
          <a:prstGeom prst="round2SameRect">
            <a:avLst/>
          </a:prstGeom>
          <a:solidFill>
            <a:schemeClr val="tx1"/>
          </a:solidFill>
          <a:ln>
            <a:noFill/>
          </a:ln>
          <a:effectLst/>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a:spcAft>
                <a:spcPts val="300"/>
              </a:spcAft>
            </a:pPr>
            <a:r>
              <a:rPr lang="en-US" sz="1200" b="1" dirty="0">
                <a:solidFill>
                  <a:schemeClr val="bg1"/>
                </a:solidFill>
                <a:cs typeface="Calibri" pitchFamily="34" charset="0"/>
              </a:rPr>
              <a:t>Coverage </a:t>
            </a:r>
          </a:p>
        </p:txBody>
      </p:sp>
      <p:sp>
        <p:nvSpPr>
          <p:cNvPr id="4" name="Rectangle 3"/>
          <p:cNvSpPr/>
          <p:nvPr/>
        </p:nvSpPr>
        <p:spPr>
          <a:xfrm rot="16200000">
            <a:off x="1101682" y="5314456"/>
            <a:ext cx="1236518" cy="500742"/>
          </a:xfrm>
          <a:prstGeom prst="round2SameRect">
            <a:avLst/>
          </a:prstGeom>
          <a:solidFill>
            <a:schemeClr val="tx1"/>
          </a:solidFill>
          <a:ln>
            <a:noFill/>
          </a:ln>
          <a:effectLst/>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a:spcAft>
                <a:spcPts val="300"/>
              </a:spcAft>
            </a:pPr>
            <a:r>
              <a:rPr lang="en-US" sz="1200" b="1" dirty="0">
                <a:solidFill>
                  <a:schemeClr val="bg1"/>
                </a:solidFill>
                <a:cs typeface="Calibri" pitchFamily="34" charset="0"/>
              </a:rPr>
              <a:t>Key Benefits</a:t>
            </a:r>
          </a:p>
        </p:txBody>
      </p:sp>
      <p:sp>
        <p:nvSpPr>
          <p:cNvPr id="5" name="Rectangle 4"/>
          <p:cNvSpPr/>
          <p:nvPr/>
        </p:nvSpPr>
        <p:spPr>
          <a:xfrm rot="16200000">
            <a:off x="533848" y="3431723"/>
            <a:ext cx="2372188" cy="500742"/>
          </a:xfrm>
          <a:prstGeom prst="round2SameRect">
            <a:avLst/>
          </a:prstGeom>
          <a:solidFill>
            <a:schemeClr val="tx1"/>
          </a:solidFill>
          <a:ln>
            <a:noFill/>
          </a:ln>
          <a:effectLst/>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a:spcAft>
                <a:spcPts val="300"/>
              </a:spcAft>
            </a:pPr>
            <a:r>
              <a:rPr lang="en-US" sz="1200" b="1" dirty="0">
                <a:solidFill>
                  <a:schemeClr val="bg1"/>
                </a:solidFill>
                <a:cs typeface="Calibri" pitchFamily="34" charset="0"/>
              </a:rPr>
              <a:t>Approach</a:t>
            </a:r>
          </a:p>
        </p:txBody>
      </p:sp>
      <p:sp>
        <p:nvSpPr>
          <p:cNvPr id="8" name="Rectangle 7"/>
          <p:cNvSpPr/>
          <p:nvPr/>
        </p:nvSpPr>
        <p:spPr>
          <a:xfrm>
            <a:off x="2049236" y="1382487"/>
            <a:ext cx="8694965" cy="1023257"/>
          </a:xfrm>
          <a:prstGeom prst="rect">
            <a:avLst/>
          </a:prstGeom>
          <a:solidFill>
            <a:schemeClr val="bg1">
              <a:lumMod val="95000"/>
            </a:schemeClr>
          </a:solidFill>
        </p:spPr>
        <p:txBody>
          <a:bodyPr wrap="square">
            <a:noAutofit/>
          </a:bodyPr>
          <a:lstStyle/>
          <a:p>
            <a:pPr marL="114300" lvl="2" indent="-111125">
              <a:spcBef>
                <a:spcPct val="20000"/>
              </a:spcBef>
              <a:buClr>
                <a:schemeClr val="accent5"/>
              </a:buClr>
            </a:pPr>
            <a:r>
              <a:rPr lang="en-US" sz="1200" b="1" dirty="0">
                <a:ea typeface="BatangChe" pitchFamily="49" charset="-127"/>
                <a:cs typeface="Calibri" pitchFamily="34" charset="0"/>
              </a:rPr>
              <a:t>Mobile Automation testing focus on </a:t>
            </a:r>
            <a:endParaRPr lang="en-AU" sz="1200" dirty="0">
              <a:solidFill>
                <a:schemeClr val="tx2">
                  <a:lumMod val="50000"/>
                </a:schemeClr>
              </a:solidFill>
              <a:cs typeface="Calibri" pitchFamily="34" charset="0"/>
            </a:endParaRPr>
          </a:p>
          <a:p>
            <a:pPr marL="174625" lvl="3" indent="-174625">
              <a:buClr>
                <a:schemeClr val="accent1"/>
              </a:buClr>
              <a:buFont typeface="Wingdings" pitchFamily="2" charset="2"/>
              <a:buChar char="§"/>
            </a:pPr>
            <a:r>
              <a:rPr lang="en-AU" sz="1100" dirty="0">
                <a:solidFill>
                  <a:schemeClr val="tx2">
                    <a:lumMod val="50000"/>
                  </a:schemeClr>
                </a:solidFill>
                <a:cs typeface="Calibri" pitchFamily="34" charset="0"/>
              </a:rPr>
              <a:t>To improve Functional  and Regression testing</a:t>
            </a:r>
            <a:endParaRPr lang="en-US" sz="1100" dirty="0">
              <a:solidFill>
                <a:schemeClr val="tx2">
                  <a:lumMod val="50000"/>
                </a:schemeClr>
              </a:solidFill>
              <a:cs typeface="Calibri" pitchFamily="34" charset="0"/>
            </a:endParaRPr>
          </a:p>
          <a:p>
            <a:pPr marL="174625" lvl="3" indent="-174625">
              <a:buClr>
                <a:schemeClr val="accent1"/>
              </a:buClr>
              <a:buFont typeface="Wingdings" pitchFamily="2" charset="2"/>
              <a:buChar char="§"/>
            </a:pPr>
            <a:r>
              <a:rPr lang="en-AU" sz="1100" dirty="0">
                <a:solidFill>
                  <a:schemeClr val="tx2">
                    <a:lumMod val="50000"/>
                  </a:schemeClr>
                </a:solidFill>
                <a:cs typeface="Calibri" pitchFamily="34" charset="0"/>
              </a:rPr>
              <a:t>To provide better coverage on  Multi devices /Platform/ browser</a:t>
            </a:r>
          </a:p>
          <a:p>
            <a:pPr marL="174625" lvl="3" indent="-174625">
              <a:buClr>
                <a:schemeClr val="accent1"/>
              </a:buClr>
              <a:buFont typeface="Wingdings" pitchFamily="2" charset="2"/>
              <a:buChar char="§"/>
            </a:pPr>
            <a:r>
              <a:rPr lang="en-AU" sz="1100" dirty="0">
                <a:solidFill>
                  <a:schemeClr val="tx2">
                    <a:lumMod val="50000"/>
                  </a:schemeClr>
                </a:solidFill>
                <a:cs typeface="Calibri" pitchFamily="34" charset="0"/>
              </a:rPr>
              <a:t>To provide better User Interface Testing </a:t>
            </a:r>
          </a:p>
          <a:p>
            <a:pPr marL="174625" lvl="3" indent="-174625">
              <a:buClr>
                <a:schemeClr val="accent1"/>
              </a:buClr>
              <a:buFont typeface="Wingdings" pitchFamily="2" charset="2"/>
              <a:buChar char="§"/>
            </a:pPr>
            <a:r>
              <a:rPr lang="en-AU" sz="1100" dirty="0">
                <a:solidFill>
                  <a:schemeClr val="tx2">
                    <a:lumMod val="50000"/>
                  </a:schemeClr>
                </a:solidFill>
                <a:cs typeface="Calibri" pitchFamily="34" charset="0"/>
              </a:rPr>
              <a:t>To support Agile way of mobile development - Continuous integration and Continuous Testing </a:t>
            </a:r>
          </a:p>
        </p:txBody>
      </p:sp>
      <p:sp>
        <p:nvSpPr>
          <p:cNvPr id="9" name="Rectangle 8"/>
          <p:cNvSpPr/>
          <p:nvPr/>
        </p:nvSpPr>
        <p:spPr bwMode="auto">
          <a:xfrm>
            <a:off x="2049235" y="2496000"/>
            <a:ext cx="2779941" cy="2369914"/>
          </a:xfrm>
          <a:prstGeom prst="rect">
            <a:avLst/>
          </a:prstGeom>
          <a:solidFill>
            <a:schemeClr val="bg1"/>
          </a:solidFill>
          <a:ln w="6350" cap="flat" cmpd="sng" algn="ctr">
            <a:solidFill>
              <a:schemeClr val="tx2">
                <a:lumMod val="75000"/>
                <a:lumOff val="2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GB" sz="1600" dirty="0">
              <a:solidFill>
                <a:schemeClr val="tx2"/>
              </a:solidFill>
              <a:cs typeface="Arial" charset="0"/>
            </a:endParaRPr>
          </a:p>
        </p:txBody>
      </p:sp>
      <p:sp>
        <p:nvSpPr>
          <p:cNvPr id="10" name="Rectangle 9"/>
          <p:cNvSpPr/>
          <p:nvPr/>
        </p:nvSpPr>
        <p:spPr bwMode="auto">
          <a:xfrm>
            <a:off x="7956097" y="2496000"/>
            <a:ext cx="2779941" cy="2369914"/>
          </a:xfrm>
          <a:prstGeom prst="rect">
            <a:avLst/>
          </a:prstGeom>
          <a:solidFill>
            <a:schemeClr val="bg1"/>
          </a:solidFill>
          <a:ln w="6350" cap="flat" cmpd="sng" algn="ctr">
            <a:solidFill>
              <a:schemeClr val="tx2">
                <a:lumMod val="75000"/>
                <a:lumOff val="2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GB" sz="1600" dirty="0">
              <a:solidFill>
                <a:schemeClr val="tx2"/>
              </a:solidFill>
              <a:cs typeface="Arial" charset="0"/>
            </a:endParaRPr>
          </a:p>
        </p:txBody>
      </p:sp>
      <p:pic>
        <p:nvPicPr>
          <p:cNvPr id="12" name="Picture 15" descr="mobile-app-test-auto-diagram.jp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auto">
          <a:xfrm>
            <a:off x="4890734" y="2509059"/>
            <a:ext cx="3003805" cy="2390602"/>
          </a:xfrm>
          <a:prstGeom prst="rect">
            <a:avLst/>
          </a:prstGeom>
          <a:noFill/>
          <a:ln w="9525">
            <a:noFill/>
            <a:miter lim="800000"/>
            <a:headEnd/>
            <a:tailEnd/>
          </a:ln>
          <a:effectLst/>
        </p:spPr>
      </p:pic>
      <p:cxnSp>
        <p:nvCxnSpPr>
          <p:cNvPr id="15" name="Straight Connector 14"/>
          <p:cNvCxnSpPr/>
          <p:nvPr/>
        </p:nvCxnSpPr>
        <p:spPr>
          <a:xfrm>
            <a:off x="2273072" y="2735191"/>
            <a:ext cx="2332264" cy="0"/>
          </a:xfrm>
          <a:prstGeom prst="line">
            <a:avLst/>
          </a:prstGeom>
          <a:ln w="19050">
            <a:solidFill>
              <a:schemeClr val="tx2"/>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14" name="TextBox 17"/>
          <p:cNvSpPr txBox="1">
            <a:spLocks noChangeArrowheads="1"/>
          </p:cNvSpPr>
          <p:nvPr/>
        </p:nvSpPr>
        <p:spPr bwMode="auto">
          <a:xfrm>
            <a:off x="2567668" y="2581303"/>
            <a:ext cx="1743075" cy="261610"/>
          </a:xfrm>
          <a:prstGeom prst="rect">
            <a:avLst/>
          </a:prstGeom>
          <a:solidFill>
            <a:schemeClr val="bg1"/>
          </a:solidFill>
          <a:ln w="9525">
            <a:noFill/>
            <a:miter lim="800000"/>
            <a:headEnd/>
            <a:tailEnd/>
          </a:ln>
        </p:spPr>
        <p:txBody>
          <a:bodyPr wrap="square">
            <a:spAutoFit/>
          </a:bodyPr>
          <a:lstStyle/>
          <a:p>
            <a:pPr algn="ctr"/>
            <a:r>
              <a:rPr lang="en-US" sz="1100" b="1" dirty="0"/>
              <a:t>Open Source Tools </a:t>
            </a:r>
          </a:p>
        </p:txBody>
      </p:sp>
      <p:cxnSp>
        <p:nvCxnSpPr>
          <p:cNvPr id="17" name="Straight Connector 16"/>
          <p:cNvCxnSpPr/>
          <p:nvPr/>
        </p:nvCxnSpPr>
        <p:spPr>
          <a:xfrm>
            <a:off x="8179934" y="2735191"/>
            <a:ext cx="2332264" cy="0"/>
          </a:xfrm>
          <a:prstGeom prst="line">
            <a:avLst/>
          </a:prstGeom>
          <a:ln w="19050">
            <a:solidFill>
              <a:schemeClr val="tx2"/>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13" name="TextBox 16"/>
          <p:cNvSpPr txBox="1">
            <a:spLocks noChangeArrowheads="1"/>
          </p:cNvSpPr>
          <p:nvPr/>
        </p:nvSpPr>
        <p:spPr bwMode="auto">
          <a:xfrm>
            <a:off x="8672605" y="2581303"/>
            <a:ext cx="1346922" cy="261610"/>
          </a:xfrm>
          <a:prstGeom prst="rect">
            <a:avLst/>
          </a:prstGeom>
          <a:solidFill>
            <a:schemeClr val="bg1"/>
          </a:solidFill>
          <a:ln w="9525">
            <a:noFill/>
            <a:miter lim="800000"/>
            <a:headEnd/>
            <a:tailEnd/>
          </a:ln>
        </p:spPr>
        <p:txBody>
          <a:bodyPr wrap="square">
            <a:spAutoFit/>
          </a:bodyPr>
          <a:lstStyle/>
          <a:p>
            <a:pPr algn="ctr"/>
            <a:r>
              <a:rPr lang="en-US" sz="1100" b="1" dirty="0"/>
              <a:t>Licensed Tools</a:t>
            </a:r>
          </a:p>
        </p:txBody>
      </p:sp>
      <p:pic>
        <p:nvPicPr>
          <p:cNvPr id="20" name="Picture 1"/>
          <p:cNvPicPr>
            <a:picLocks noChangeAspect="1" noChangeArrowheads="1"/>
          </p:cNvPicPr>
          <p:nvPr/>
        </p:nvPicPr>
        <p:blipFill>
          <a:blip r:embed="rId3" cstate="print"/>
          <a:srcRect/>
          <a:stretch>
            <a:fillRect/>
          </a:stretch>
        </p:blipFill>
        <p:spPr bwMode="auto">
          <a:xfrm>
            <a:off x="2168525" y="3524250"/>
            <a:ext cx="1320800" cy="495300"/>
          </a:xfrm>
          <a:prstGeom prst="rect">
            <a:avLst/>
          </a:prstGeom>
          <a:noFill/>
          <a:ln w="9525">
            <a:noFill/>
            <a:miter lim="800000"/>
            <a:headEnd/>
            <a:tailEnd/>
          </a:ln>
        </p:spPr>
      </p:pic>
      <p:pic>
        <p:nvPicPr>
          <p:cNvPr id="21" name="Picture 2" descr="https://media.licdn.com/mpr/mpr/jc/p/3/005/0b7/33a/24642f1.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187578" y="2943225"/>
            <a:ext cx="1403349" cy="533400"/>
          </a:xfrm>
          <a:prstGeom prst="rect">
            <a:avLst/>
          </a:prstGeom>
          <a:noFill/>
        </p:spPr>
      </p:pic>
      <p:sp>
        <p:nvSpPr>
          <p:cNvPr id="22" name="Cloud 21"/>
          <p:cNvSpPr>
            <a:spLocks noChangeAspect="1"/>
          </p:cNvSpPr>
          <p:nvPr/>
        </p:nvSpPr>
        <p:spPr>
          <a:xfrm>
            <a:off x="2206625" y="4076702"/>
            <a:ext cx="1320800" cy="660149"/>
          </a:xfrm>
          <a:prstGeom prst="cloud">
            <a:avLst/>
          </a:prstGeom>
          <a:noFill/>
          <a:ln>
            <a:solidFill>
              <a:srgbClr val="0070C0"/>
            </a:solidFill>
            <a:prstDash val="lgDash"/>
          </a:ln>
          <a:effectLst>
            <a:innerShdw blurRad="63500" dist="50800" dir="13500000">
              <a:prstClr val="black">
                <a:alpha val="50000"/>
              </a:prstClr>
            </a:innerShdw>
          </a:effectLst>
        </p:spPr>
        <p:style>
          <a:lnRef idx="2">
            <a:schemeClr val="dk1"/>
          </a:lnRef>
          <a:fillRef idx="1">
            <a:schemeClr val="lt1"/>
          </a:fillRef>
          <a:effectRef idx="0">
            <a:schemeClr val="dk1"/>
          </a:effectRef>
          <a:fontRef idx="minor">
            <a:schemeClr val="dk1"/>
          </a:fontRef>
        </p:style>
        <p:txBody>
          <a:bodyPr lIns="21022" tIns="10511" rIns="21022" bIns="10511" anchor="ctr"/>
          <a:lstStyle/>
          <a:p>
            <a:pPr algn="ctr">
              <a:defRPr/>
            </a:pPr>
            <a:endParaRPr lang="en-US" sz="500" dirty="0">
              <a:solidFill>
                <a:schemeClr val="tx2">
                  <a:lumMod val="50000"/>
                </a:schemeClr>
              </a:solidFill>
              <a:latin typeface="Calibri" pitchFamily="34" charset="0"/>
              <a:cs typeface="Calibri" pitchFamily="34" charset="0"/>
            </a:endParaRPr>
          </a:p>
        </p:txBody>
      </p:sp>
      <p:grpSp>
        <p:nvGrpSpPr>
          <p:cNvPr id="23" name="Group 66"/>
          <p:cNvGrpSpPr>
            <a:grpSpLocks noChangeAspect="1"/>
          </p:cNvGrpSpPr>
          <p:nvPr/>
        </p:nvGrpSpPr>
        <p:grpSpPr bwMode="auto">
          <a:xfrm>
            <a:off x="3825875" y="3714750"/>
            <a:ext cx="401096" cy="533400"/>
            <a:chOff x="4589" y="-74"/>
            <a:chExt cx="1218" cy="1662"/>
          </a:xfrm>
        </p:grpSpPr>
        <p:sp>
          <p:nvSpPr>
            <p:cNvPr id="24" name="Freeform 71"/>
            <p:cNvSpPr>
              <a:spLocks/>
            </p:cNvSpPr>
            <p:nvPr/>
          </p:nvSpPr>
          <p:spPr bwMode="auto">
            <a:xfrm>
              <a:off x="4705" y="-20"/>
              <a:ext cx="990" cy="1454"/>
            </a:xfrm>
            <a:custGeom>
              <a:avLst/>
              <a:gdLst>
                <a:gd name="T0" fmla="*/ 1979 w 1979"/>
                <a:gd name="T1" fmla="*/ 2 h 2583"/>
                <a:gd name="T2" fmla="*/ 1976 w 1979"/>
                <a:gd name="T3" fmla="*/ 2583 h 2583"/>
                <a:gd name="T4" fmla="*/ 0 w 1979"/>
                <a:gd name="T5" fmla="*/ 2581 h 2583"/>
                <a:gd name="T6" fmla="*/ 3 w 1979"/>
                <a:gd name="T7" fmla="*/ 0 h 2583"/>
                <a:gd name="T8" fmla="*/ 1979 w 1979"/>
                <a:gd name="T9" fmla="*/ 2 h 2583"/>
              </a:gdLst>
              <a:ahLst/>
              <a:cxnLst>
                <a:cxn ang="0">
                  <a:pos x="T0" y="T1"/>
                </a:cxn>
                <a:cxn ang="0">
                  <a:pos x="T2" y="T3"/>
                </a:cxn>
                <a:cxn ang="0">
                  <a:pos x="T4" y="T5"/>
                </a:cxn>
                <a:cxn ang="0">
                  <a:pos x="T6" y="T7"/>
                </a:cxn>
                <a:cxn ang="0">
                  <a:pos x="T8" y="T9"/>
                </a:cxn>
              </a:cxnLst>
              <a:rect l="0" t="0" r="r" b="b"/>
              <a:pathLst>
                <a:path w="1979" h="2583">
                  <a:moveTo>
                    <a:pt x="1979" y="2"/>
                  </a:moveTo>
                  <a:lnTo>
                    <a:pt x="1976" y="2583"/>
                  </a:lnTo>
                  <a:lnTo>
                    <a:pt x="0" y="2581"/>
                  </a:lnTo>
                  <a:lnTo>
                    <a:pt x="3" y="0"/>
                  </a:lnTo>
                  <a:lnTo>
                    <a:pt x="1979" y="2"/>
                  </a:lnTo>
                  <a:close/>
                </a:path>
              </a:pathLst>
            </a:custGeom>
            <a:solidFill>
              <a:srgbClr val="B7D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AutoShape 65"/>
            <p:cNvSpPr>
              <a:spLocks noChangeAspect="1" noChangeArrowheads="1" noTextEdit="1"/>
            </p:cNvSpPr>
            <p:nvPr/>
          </p:nvSpPr>
          <p:spPr bwMode="auto">
            <a:xfrm>
              <a:off x="4589" y="-74"/>
              <a:ext cx="1218" cy="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67"/>
            <p:cNvSpPr>
              <a:spLocks noEditPoints="1"/>
            </p:cNvSpPr>
            <p:nvPr/>
          </p:nvSpPr>
          <p:spPr bwMode="auto">
            <a:xfrm>
              <a:off x="4589" y="-74"/>
              <a:ext cx="1218" cy="1662"/>
            </a:xfrm>
            <a:custGeom>
              <a:avLst/>
              <a:gdLst>
                <a:gd name="T0" fmla="*/ 2432 w 2436"/>
                <a:gd name="T1" fmla="*/ 3098 h 3324"/>
                <a:gd name="T2" fmla="*/ 2422 w 2436"/>
                <a:gd name="T3" fmla="*/ 3165 h 3324"/>
                <a:gd name="T4" fmla="*/ 2393 w 2436"/>
                <a:gd name="T5" fmla="*/ 3224 h 3324"/>
                <a:gd name="T6" fmla="*/ 2350 w 2436"/>
                <a:gd name="T7" fmla="*/ 3272 h 3324"/>
                <a:gd name="T8" fmla="*/ 2294 w 2436"/>
                <a:gd name="T9" fmla="*/ 3306 h 3324"/>
                <a:gd name="T10" fmla="*/ 2229 w 2436"/>
                <a:gd name="T11" fmla="*/ 3323 h 3324"/>
                <a:gd name="T12" fmla="*/ 225 w 2436"/>
                <a:gd name="T13" fmla="*/ 3321 h 3324"/>
                <a:gd name="T14" fmla="*/ 158 w 2436"/>
                <a:gd name="T15" fmla="*/ 3311 h 3324"/>
                <a:gd name="T16" fmla="*/ 99 w 2436"/>
                <a:gd name="T17" fmla="*/ 3282 h 3324"/>
                <a:gd name="T18" fmla="*/ 51 w 2436"/>
                <a:gd name="T19" fmla="*/ 3239 h 3324"/>
                <a:gd name="T20" fmla="*/ 18 w 2436"/>
                <a:gd name="T21" fmla="*/ 3183 h 3324"/>
                <a:gd name="T22" fmla="*/ 1 w 2436"/>
                <a:gd name="T23" fmla="*/ 3118 h 3324"/>
                <a:gd name="T24" fmla="*/ 3 w 2436"/>
                <a:gd name="T25" fmla="*/ 225 h 3324"/>
                <a:gd name="T26" fmla="*/ 13 w 2436"/>
                <a:gd name="T27" fmla="*/ 157 h 3324"/>
                <a:gd name="T28" fmla="*/ 42 w 2436"/>
                <a:gd name="T29" fmla="*/ 99 h 3324"/>
                <a:gd name="T30" fmla="*/ 86 w 2436"/>
                <a:gd name="T31" fmla="*/ 51 h 3324"/>
                <a:gd name="T32" fmla="*/ 141 w 2436"/>
                <a:gd name="T33" fmla="*/ 18 h 3324"/>
                <a:gd name="T34" fmla="*/ 206 w 2436"/>
                <a:gd name="T35" fmla="*/ 1 h 3324"/>
                <a:gd name="T36" fmla="*/ 2210 w 2436"/>
                <a:gd name="T37" fmla="*/ 2 h 3324"/>
                <a:gd name="T38" fmla="*/ 2277 w 2436"/>
                <a:gd name="T39" fmla="*/ 12 h 3324"/>
                <a:gd name="T40" fmla="*/ 2337 w 2436"/>
                <a:gd name="T41" fmla="*/ 41 h 3324"/>
                <a:gd name="T42" fmla="*/ 2384 w 2436"/>
                <a:gd name="T43" fmla="*/ 84 h 3324"/>
                <a:gd name="T44" fmla="*/ 2418 w 2436"/>
                <a:gd name="T45" fmla="*/ 140 h 3324"/>
                <a:gd name="T46" fmla="*/ 2435 w 2436"/>
                <a:gd name="T47" fmla="*/ 205 h 3324"/>
                <a:gd name="T48" fmla="*/ 2208 w 2436"/>
                <a:gd name="T49" fmla="*/ 273 h 3324"/>
                <a:gd name="T50" fmla="*/ 2205 w 2436"/>
                <a:gd name="T51" fmla="*/ 2854 h 3324"/>
                <a:gd name="T52" fmla="*/ 1311 w 2436"/>
                <a:gd name="T53" fmla="*/ 3077 h 3324"/>
                <a:gd name="T54" fmla="*/ 1301 w 2436"/>
                <a:gd name="T55" fmla="*/ 3039 h 3324"/>
                <a:gd name="T56" fmla="*/ 1281 w 2436"/>
                <a:gd name="T57" fmla="*/ 3006 h 3324"/>
                <a:gd name="T58" fmla="*/ 1252 w 2436"/>
                <a:gd name="T59" fmla="*/ 2980 h 3324"/>
                <a:gd name="T60" fmla="*/ 1217 w 2436"/>
                <a:gd name="T61" fmla="*/ 2963 h 3324"/>
                <a:gd name="T62" fmla="*/ 1177 w 2436"/>
                <a:gd name="T63" fmla="*/ 2957 h 3324"/>
                <a:gd name="T64" fmla="*/ 1150 w 2436"/>
                <a:gd name="T65" fmla="*/ 2959 h 3324"/>
                <a:gd name="T66" fmla="*/ 1113 w 2436"/>
                <a:gd name="T67" fmla="*/ 2973 h 3324"/>
                <a:gd name="T68" fmla="*/ 1082 w 2436"/>
                <a:gd name="T69" fmla="*/ 2996 h 3324"/>
                <a:gd name="T70" fmla="*/ 1059 w 2436"/>
                <a:gd name="T71" fmla="*/ 3027 h 3324"/>
                <a:gd name="T72" fmla="*/ 1046 w 2436"/>
                <a:gd name="T73" fmla="*/ 3064 h 3324"/>
                <a:gd name="T74" fmla="*/ 1043 w 2436"/>
                <a:gd name="T75" fmla="*/ 3091 h 3324"/>
                <a:gd name="T76" fmla="*/ 1049 w 2436"/>
                <a:gd name="T77" fmla="*/ 3130 h 3324"/>
                <a:gd name="T78" fmla="*/ 1066 w 2436"/>
                <a:gd name="T79" fmla="*/ 3165 h 3324"/>
                <a:gd name="T80" fmla="*/ 1091 w 2436"/>
                <a:gd name="T81" fmla="*/ 3194 h 3324"/>
                <a:gd name="T82" fmla="*/ 1124 w 2436"/>
                <a:gd name="T83" fmla="*/ 3214 h 3324"/>
                <a:gd name="T84" fmla="*/ 1163 w 2436"/>
                <a:gd name="T85" fmla="*/ 3224 h 3324"/>
                <a:gd name="T86" fmla="*/ 1190 w 2436"/>
                <a:gd name="T87" fmla="*/ 3224 h 3324"/>
                <a:gd name="T88" fmla="*/ 1229 w 2436"/>
                <a:gd name="T89" fmla="*/ 3214 h 3324"/>
                <a:gd name="T90" fmla="*/ 1262 w 2436"/>
                <a:gd name="T91" fmla="*/ 3194 h 3324"/>
                <a:gd name="T92" fmla="*/ 1289 w 2436"/>
                <a:gd name="T93" fmla="*/ 3165 h 3324"/>
                <a:gd name="T94" fmla="*/ 1305 w 2436"/>
                <a:gd name="T95" fmla="*/ 3131 h 3324"/>
                <a:gd name="T96" fmla="*/ 1311 w 2436"/>
                <a:gd name="T97" fmla="*/ 3091 h 3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6" h="3324">
                  <a:moveTo>
                    <a:pt x="2436" y="228"/>
                  </a:moveTo>
                  <a:lnTo>
                    <a:pt x="2432" y="3098"/>
                  </a:lnTo>
                  <a:lnTo>
                    <a:pt x="2432" y="3098"/>
                  </a:lnTo>
                  <a:lnTo>
                    <a:pt x="2430" y="3121"/>
                  </a:lnTo>
                  <a:lnTo>
                    <a:pt x="2427" y="3143"/>
                  </a:lnTo>
                  <a:lnTo>
                    <a:pt x="2422" y="3165"/>
                  </a:lnTo>
                  <a:lnTo>
                    <a:pt x="2414" y="3186"/>
                  </a:lnTo>
                  <a:lnTo>
                    <a:pt x="2405" y="3206"/>
                  </a:lnTo>
                  <a:lnTo>
                    <a:pt x="2393" y="3224"/>
                  </a:lnTo>
                  <a:lnTo>
                    <a:pt x="2380" y="3241"/>
                  </a:lnTo>
                  <a:lnTo>
                    <a:pt x="2365" y="3258"/>
                  </a:lnTo>
                  <a:lnTo>
                    <a:pt x="2350" y="3272"/>
                  </a:lnTo>
                  <a:lnTo>
                    <a:pt x="2332" y="3285"/>
                  </a:lnTo>
                  <a:lnTo>
                    <a:pt x="2314" y="3296"/>
                  </a:lnTo>
                  <a:lnTo>
                    <a:pt x="2294" y="3306"/>
                  </a:lnTo>
                  <a:lnTo>
                    <a:pt x="2273" y="3313"/>
                  </a:lnTo>
                  <a:lnTo>
                    <a:pt x="2252" y="3318"/>
                  </a:lnTo>
                  <a:lnTo>
                    <a:pt x="2229" y="3323"/>
                  </a:lnTo>
                  <a:lnTo>
                    <a:pt x="2206" y="3324"/>
                  </a:lnTo>
                  <a:lnTo>
                    <a:pt x="225" y="3321"/>
                  </a:lnTo>
                  <a:lnTo>
                    <a:pt x="225" y="3321"/>
                  </a:lnTo>
                  <a:lnTo>
                    <a:pt x="202" y="3320"/>
                  </a:lnTo>
                  <a:lnTo>
                    <a:pt x="180" y="3316"/>
                  </a:lnTo>
                  <a:lnTo>
                    <a:pt x="158" y="3311"/>
                  </a:lnTo>
                  <a:lnTo>
                    <a:pt x="138" y="3303"/>
                  </a:lnTo>
                  <a:lnTo>
                    <a:pt x="118" y="3294"/>
                  </a:lnTo>
                  <a:lnTo>
                    <a:pt x="99" y="3282"/>
                  </a:lnTo>
                  <a:lnTo>
                    <a:pt x="82" y="3269"/>
                  </a:lnTo>
                  <a:lnTo>
                    <a:pt x="66" y="3255"/>
                  </a:lnTo>
                  <a:lnTo>
                    <a:pt x="51" y="3239"/>
                  </a:lnTo>
                  <a:lnTo>
                    <a:pt x="39" y="3222"/>
                  </a:lnTo>
                  <a:lnTo>
                    <a:pt x="26" y="3203"/>
                  </a:lnTo>
                  <a:lnTo>
                    <a:pt x="18" y="3183"/>
                  </a:lnTo>
                  <a:lnTo>
                    <a:pt x="10" y="3162"/>
                  </a:lnTo>
                  <a:lnTo>
                    <a:pt x="4" y="3141"/>
                  </a:lnTo>
                  <a:lnTo>
                    <a:pt x="1" y="3118"/>
                  </a:lnTo>
                  <a:lnTo>
                    <a:pt x="0" y="3095"/>
                  </a:lnTo>
                  <a:lnTo>
                    <a:pt x="3" y="225"/>
                  </a:lnTo>
                  <a:lnTo>
                    <a:pt x="3" y="225"/>
                  </a:lnTo>
                  <a:lnTo>
                    <a:pt x="4" y="202"/>
                  </a:lnTo>
                  <a:lnTo>
                    <a:pt x="8" y="180"/>
                  </a:lnTo>
                  <a:lnTo>
                    <a:pt x="13" y="157"/>
                  </a:lnTo>
                  <a:lnTo>
                    <a:pt x="21" y="137"/>
                  </a:lnTo>
                  <a:lnTo>
                    <a:pt x="31" y="118"/>
                  </a:lnTo>
                  <a:lnTo>
                    <a:pt x="42" y="99"/>
                  </a:lnTo>
                  <a:lnTo>
                    <a:pt x="55" y="82"/>
                  </a:lnTo>
                  <a:lnTo>
                    <a:pt x="69" y="65"/>
                  </a:lnTo>
                  <a:lnTo>
                    <a:pt x="86" y="51"/>
                  </a:lnTo>
                  <a:lnTo>
                    <a:pt x="103" y="37"/>
                  </a:lnTo>
                  <a:lnTo>
                    <a:pt x="121" y="26"/>
                  </a:lnTo>
                  <a:lnTo>
                    <a:pt x="141" y="18"/>
                  </a:lnTo>
                  <a:lnTo>
                    <a:pt x="162" y="10"/>
                  </a:lnTo>
                  <a:lnTo>
                    <a:pt x="184" y="4"/>
                  </a:lnTo>
                  <a:lnTo>
                    <a:pt x="206" y="1"/>
                  </a:lnTo>
                  <a:lnTo>
                    <a:pt x="229" y="0"/>
                  </a:lnTo>
                  <a:lnTo>
                    <a:pt x="2210" y="2"/>
                  </a:lnTo>
                  <a:lnTo>
                    <a:pt x="2210" y="2"/>
                  </a:lnTo>
                  <a:lnTo>
                    <a:pt x="2233" y="3"/>
                  </a:lnTo>
                  <a:lnTo>
                    <a:pt x="2255" y="7"/>
                  </a:lnTo>
                  <a:lnTo>
                    <a:pt x="2277" y="12"/>
                  </a:lnTo>
                  <a:lnTo>
                    <a:pt x="2298" y="20"/>
                  </a:lnTo>
                  <a:lnTo>
                    <a:pt x="2318" y="30"/>
                  </a:lnTo>
                  <a:lnTo>
                    <a:pt x="2337" y="41"/>
                  </a:lnTo>
                  <a:lnTo>
                    <a:pt x="2353" y="54"/>
                  </a:lnTo>
                  <a:lnTo>
                    <a:pt x="2370" y="68"/>
                  </a:lnTo>
                  <a:lnTo>
                    <a:pt x="2384" y="84"/>
                  </a:lnTo>
                  <a:lnTo>
                    <a:pt x="2397" y="101"/>
                  </a:lnTo>
                  <a:lnTo>
                    <a:pt x="2408" y="120"/>
                  </a:lnTo>
                  <a:lnTo>
                    <a:pt x="2418" y="140"/>
                  </a:lnTo>
                  <a:lnTo>
                    <a:pt x="2425" y="161"/>
                  </a:lnTo>
                  <a:lnTo>
                    <a:pt x="2430" y="183"/>
                  </a:lnTo>
                  <a:lnTo>
                    <a:pt x="2435" y="205"/>
                  </a:lnTo>
                  <a:lnTo>
                    <a:pt x="2436" y="228"/>
                  </a:lnTo>
                  <a:close/>
                  <a:moveTo>
                    <a:pt x="2205" y="2854"/>
                  </a:moveTo>
                  <a:lnTo>
                    <a:pt x="2208" y="273"/>
                  </a:lnTo>
                  <a:lnTo>
                    <a:pt x="231" y="271"/>
                  </a:lnTo>
                  <a:lnTo>
                    <a:pt x="228" y="2852"/>
                  </a:lnTo>
                  <a:lnTo>
                    <a:pt x="2205" y="2854"/>
                  </a:lnTo>
                  <a:close/>
                  <a:moveTo>
                    <a:pt x="1311" y="3091"/>
                  </a:moveTo>
                  <a:lnTo>
                    <a:pt x="1311" y="3091"/>
                  </a:lnTo>
                  <a:lnTo>
                    <a:pt x="1311" y="3077"/>
                  </a:lnTo>
                  <a:lnTo>
                    <a:pt x="1308" y="3064"/>
                  </a:lnTo>
                  <a:lnTo>
                    <a:pt x="1305" y="3051"/>
                  </a:lnTo>
                  <a:lnTo>
                    <a:pt x="1301" y="3039"/>
                  </a:lnTo>
                  <a:lnTo>
                    <a:pt x="1295" y="3027"/>
                  </a:lnTo>
                  <a:lnTo>
                    <a:pt x="1289" y="3016"/>
                  </a:lnTo>
                  <a:lnTo>
                    <a:pt x="1281" y="3006"/>
                  </a:lnTo>
                  <a:lnTo>
                    <a:pt x="1272" y="2996"/>
                  </a:lnTo>
                  <a:lnTo>
                    <a:pt x="1262" y="2988"/>
                  </a:lnTo>
                  <a:lnTo>
                    <a:pt x="1252" y="2980"/>
                  </a:lnTo>
                  <a:lnTo>
                    <a:pt x="1241" y="2973"/>
                  </a:lnTo>
                  <a:lnTo>
                    <a:pt x="1229" y="2967"/>
                  </a:lnTo>
                  <a:lnTo>
                    <a:pt x="1217" y="2963"/>
                  </a:lnTo>
                  <a:lnTo>
                    <a:pt x="1204" y="2959"/>
                  </a:lnTo>
                  <a:lnTo>
                    <a:pt x="1190" y="2957"/>
                  </a:lnTo>
                  <a:lnTo>
                    <a:pt x="1177" y="2957"/>
                  </a:lnTo>
                  <a:lnTo>
                    <a:pt x="1177" y="2957"/>
                  </a:lnTo>
                  <a:lnTo>
                    <a:pt x="1164" y="2957"/>
                  </a:lnTo>
                  <a:lnTo>
                    <a:pt x="1150" y="2959"/>
                  </a:lnTo>
                  <a:lnTo>
                    <a:pt x="1138" y="2963"/>
                  </a:lnTo>
                  <a:lnTo>
                    <a:pt x="1125" y="2967"/>
                  </a:lnTo>
                  <a:lnTo>
                    <a:pt x="1113" y="2973"/>
                  </a:lnTo>
                  <a:lnTo>
                    <a:pt x="1102" y="2979"/>
                  </a:lnTo>
                  <a:lnTo>
                    <a:pt x="1092" y="2987"/>
                  </a:lnTo>
                  <a:lnTo>
                    <a:pt x="1082" y="2996"/>
                  </a:lnTo>
                  <a:lnTo>
                    <a:pt x="1074" y="3006"/>
                  </a:lnTo>
                  <a:lnTo>
                    <a:pt x="1066" y="3016"/>
                  </a:lnTo>
                  <a:lnTo>
                    <a:pt x="1059" y="3027"/>
                  </a:lnTo>
                  <a:lnTo>
                    <a:pt x="1054" y="3039"/>
                  </a:lnTo>
                  <a:lnTo>
                    <a:pt x="1049" y="3051"/>
                  </a:lnTo>
                  <a:lnTo>
                    <a:pt x="1046" y="3064"/>
                  </a:lnTo>
                  <a:lnTo>
                    <a:pt x="1044" y="3077"/>
                  </a:lnTo>
                  <a:lnTo>
                    <a:pt x="1043" y="3091"/>
                  </a:lnTo>
                  <a:lnTo>
                    <a:pt x="1043" y="3091"/>
                  </a:lnTo>
                  <a:lnTo>
                    <a:pt x="1044" y="3105"/>
                  </a:lnTo>
                  <a:lnTo>
                    <a:pt x="1046" y="3118"/>
                  </a:lnTo>
                  <a:lnTo>
                    <a:pt x="1049" y="3130"/>
                  </a:lnTo>
                  <a:lnTo>
                    <a:pt x="1054" y="3142"/>
                  </a:lnTo>
                  <a:lnTo>
                    <a:pt x="1059" y="3154"/>
                  </a:lnTo>
                  <a:lnTo>
                    <a:pt x="1066" y="3165"/>
                  </a:lnTo>
                  <a:lnTo>
                    <a:pt x="1074" y="3175"/>
                  </a:lnTo>
                  <a:lnTo>
                    <a:pt x="1082" y="3185"/>
                  </a:lnTo>
                  <a:lnTo>
                    <a:pt x="1091" y="3194"/>
                  </a:lnTo>
                  <a:lnTo>
                    <a:pt x="1102" y="3202"/>
                  </a:lnTo>
                  <a:lnTo>
                    <a:pt x="1113" y="3208"/>
                  </a:lnTo>
                  <a:lnTo>
                    <a:pt x="1124" y="3214"/>
                  </a:lnTo>
                  <a:lnTo>
                    <a:pt x="1138" y="3218"/>
                  </a:lnTo>
                  <a:lnTo>
                    <a:pt x="1150" y="3222"/>
                  </a:lnTo>
                  <a:lnTo>
                    <a:pt x="1163" y="3224"/>
                  </a:lnTo>
                  <a:lnTo>
                    <a:pt x="1177" y="3225"/>
                  </a:lnTo>
                  <a:lnTo>
                    <a:pt x="1177" y="3225"/>
                  </a:lnTo>
                  <a:lnTo>
                    <a:pt x="1190" y="3224"/>
                  </a:lnTo>
                  <a:lnTo>
                    <a:pt x="1204" y="3222"/>
                  </a:lnTo>
                  <a:lnTo>
                    <a:pt x="1217" y="3218"/>
                  </a:lnTo>
                  <a:lnTo>
                    <a:pt x="1229" y="3214"/>
                  </a:lnTo>
                  <a:lnTo>
                    <a:pt x="1241" y="3208"/>
                  </a:lnTo>
                  <a:lnTo>
                    <a:pt x="1252" y="3202"/>
                  </a:lnTo>
                  <a:lnTo>
                    <a:pt x="1262" y="3194"/>
                  </a:lnTo>
                  <a:lnTo>
                    <a:pt x="1272" y="3185"/>
                  </a:lnTo>
                  <a:lnTo>
                    <a:pt x="1281" y="3176"/>
                  </a:lnTo>
                  <a:lnTo>
                    <a:pt x="1289" y="3165"/>
                  </a:lnTo>
                  <a:lnTo>
                    <a:pt x="1295" y="3154"/>
                  </a:lnTo>
                  <a:lnTo>
                    <a:pt x="1301" y="3143"/>
                  </a:lnTo>
                  <a:lnTo>
                    <a:pt x="1305" y="3131"/>
                  </a:lnTo>
                  <a:lnTo>
                    <a:pt x="1308" y="3118"/>
                  </a:lnTo>
                  <a:lnTo>
                    <a:pt x="1311" y="3105"/>
                  </a:lnTo>
                  <a:lnTo>
                    <a:pt x="1311" y="3091"/>
                  </a:lnTo>
                  <a:close/>
                </a:path>
              </a:pathLst>
            </a:custGeom>
            <a:solidFill>
              <a:srgbClr val="4B4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68"/>
            <p:cNvSpPr>
              <a:spLocks/>
            </p:cNvSpPr>
            <p:nvPr/>
          </p:nvSpPr>
          <p:spPr bwMode="auto">
            <a:xfrm>
              <a:off x="4589" y="-74"/>
              <a:ext cx="1218" cy="1662"/>
            </a:xfrm>
            <a:custGeom>
              <a:avLst/>
              <a:gdLst>
                <a:gd name="T0" fmla="*/ 2432 w 2436"/>
                <a:gd name="T1" fmla="*/ 3098 h 3324"/>
                <a:gd name="T2" fmla="*/ 2430 w 2436"/>
                <a:gd name="T3" fmla="*/ 3121 h 3324"/>
                <a:gd name="T4" fmla="*/ 2422 w 2436"/>
                <a:gd name="T5" fmla="*/ 3165 h 3324"/>
                <a:gd name="T6" fmla="*/ 2405 w 2436"/>
                <a:gd name="T7" fmla="*/ 3206 h 3324"/>
                <a:gd name="T8" fmla="*/ 2380 w 2436"/>
                <a:gd name="T9" fmla="*/ 3241 h 3324"/>
                <a:gd name="T10" fmla="*/ 2350 w 2436"/>
                <a:gd name="T11" fmla="*/ 3272 h 3324"/>
                <a:gd name="T12" fmla="*/ 2314 w 2436"/>
                <a:gd name="T13" fmla="*/ 3296 h 3324"/>
                <a:gd name="T14" fmla="*/ 2273 w 2436"/>
                <a:gd name="T15" fmla="*/ 3313 h 3324"/>
                <a:gd name="T16" fmla="*/ 2229 w 2436"/>
                <a:gd name="T17" fmla="*/ 3323 h 3324"/>
                <a:gd name="T18" fmla="*/ 225 w 2436"/>
                <a:gd name="T19" fmla="*/ 3321 h 3324"/>
                <a:gd name="T20" fmla="*/ 202 w 2436"/>
                <a:gd name="T21" fmla="*/ 3320 h 3324"/>
                <a:gd name="T22" fmla="*/ 158 w 2436"/>
                <a:gd name="T23" fmla="*/ 3311 h 3324"/>
                <a:gd name="T24" fmla="*/ 118 w 2436"/>
                <a:gd name="T25" fmla="*/ 3294 h 3324"/>
                <a:gd name="T26" fmla="*/ 82 w 2436"/>
                <a:gd name="T27" fmla="*/ 3269 h 3324"/>
                <a:gd name="T28" fmla="*/ 51 w 2436"/>
                <a:gd name="T29" fmla="*/ 3239 h 3324"/>
                <a:gd name="T30" fmla="*/ 26 w 2436"/>
                <a:gd name="T31" fmla="*/ 3203 h 3324"/>
                <a:gd name="T32" fmla="*/ 10 w 2436"/>
                <a:gd name="T33" fmla="*/ 3162 h 3324"/>
                <a:gd name="T34" fmla="*/ 1 w 2436"/>
                <a:gd name="T35" fmla="*/ 3118 h 3324"/>
                <a:gd name="T36" fmla="*/ 3 w 2436"/>
                <a:gd name="T37" fmla="*/ 225 h 3324"/>
                <a:gd name="T38" fmla="*/ 4 w 2436"/>
                <a:gd name="T39" fmla="*/ 202 h 3324"/>
                <a:gd name="T40" fmla="*/ 13 w 2436"/>
                <a:gd name="T41" fmla="*/ 157 h 3324"/>
                <a:gd name="T42" fmla="*/ 31 w 2436"/>
                <a:gd name="T43" fmla="*/ 118 h 3324"/>
                <a:gd name="T44" fmla="*/ 55 w 2436"/>
                <a:gd name="T45" fmla="*/ 82 h 3324"/>
                <a:gd name="T46" fmla="*/ 86 w 2436"/>
                <a:gd name="T47" fmla="*/ 51 h 3324"/>
                <a:gd name="T48" fmla="*/ 121 w 2436"/>
                <a:gd name="T49" fmla="*/ 26 h 3324"/>
                <a:gd name="T50" fmla="*/ 162 w 2436"/>
                <a:gd name="T51" fmla="*/ 10 h 3324"/>
                <a:gd name="T52" fmla="*/ 206 w 2436"/>
                <a:gd name="T53" fmla="*/ 1 h 3324"/>
                <a:gd name="T54" fmla="*/ 2210 w 2436"/>
                <a:gd name="T55" fmla="*/ 2 h 3324"/>
                <a:gd name="T56" fmla="*/ 2233 w 2436"/>
                <a:gd name="T57" fmla="*/ 3 h 3324"/>
                <a:gd name="T58" fmla="*/ 2277 w 2436"/>
                <a:gd name="T59" fmla="*/ 12 h 3324"/>
                <a:gd name="T60" fmla="*/ 2318 w 2436"/>
                <a:gd name="T61" fmla="*/ 30 h 3324"/>
                <a:gd name="T62" fmla="*/ 2353 w 2436"/>
                <a:gd name="T63" fmla="*/ 54 h 3324"/>
                <a:gd name="T64" fmla="*/ 2384 w 2436"/>
                <a:gd name="T65" fmla="*/ 84 h 3324"/>
                <a:gd name="T66" fmla="*/ 2408 w 2436"/>
                <a:gd name="T67" fmla="*/ 120 h 3324"/>
                <a:gd name="T68" fmla="*/ 2425 w 2436"/>
                <a:gd name="T69" fmla="*/ 161 h 3324"/>
                <a:gd name="T70" fmla="*/ 2435 w 2436"/>
                <a:gd name="T71" fmla="*/ 205 h 3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36" h="3324">
                  <a:moveTo>
                    <a:pt x="2436" y="228"/>
                  </a:moveTo>
                  <a:lnTo>
                    <a:pt x="2432" y="3098"/>
                  </a:lnTo>
                  <a:lnTo>
                    <a:pt x="2432" y="3098"/>
                  </a:lnTo>
                  <a:lnTo>
                    <a:pt x="2430" y="3121"/>
                  </a:lnTo>
                  <a:lnTo>
                    <a:pt x="2427" y="3143"/>
                  </a:lnTo>
                  <a:lnTo>
                    <a:pt x="2422" y="3165"/>
                  </a:lnTo>
                  <a:lnTo>
                    <a:pt x="2414" y="3186"/>
                  </a:lnTo>
                  <a:lnTo>
                    <a:pt x="2405" y="3206"/>
                  </a:lnTo>
                  <a:lnTo>
                    <a:pt x="2393" y="3224"/>
                  </a:lnTo>
                  <a:lnTo>
                    <a:pt x="2380" y="3241"/>
                  </a:lnTo>
                  <a:lnTo>
                    <a:pt x="2365" y="3258"/>
                  </a:lnTo>
                  <a:lnTo>
                    <a:pt x="2350" y="3272"/>
                  </a:lnTo>
                  <a:lnTo>
                    <a:pt x="2332" y="3285"/>
                  </a:lnTo>
                  <a:lnTo>
                    <a:pt x="2314" y="3296"/>
                  </a:lnTo>
                  <a:lnTo>
                    <a:pt x="2294" y="3306"/>
                  </a:lnTo>
                  <a:lnTo>
                    <a:pt x="2273" y="3313"/>
                  </a:lnTo>
                  <a:lnTo>
                    <a:pt x="2252" y="3318"/>
                  </a:lnTo>
                  <a:lnTo>
                    <a:pt x="2229" y="3323"/>
                  </a:lnTo>
                  <a:lnTo>
                    <a:pt x="2206" y="3324"/>
                  </a:lnTo>
                  <a:lnTo>
                    <a:pt x="225" y="3321"/>
                  </a:lnTo>
                  <a:lnTo>
                    <a:pt x="225" y="3321"/>
                  </a:lnTo>
                  <a:lnTo>
                    <a:pt x="202" y="3320"/>
                  </a:lnTo>
                  <a:lnTo>
                    <a:pt x="180" y="3316"/>
                  </a:lnTo>
                  <a:lnTo>
                    <a:pt x="158" y="3311"/>
                  </a:lnTo>
                  <a:lnTo>
                    <a:pt x="138" y="3303"/>
                  </a:lnTo>
                  <a:lnTo>
                    <a:pt x="118" y="3294"/>
                  </a:lnTo>
                  <a:lnTo>
                    <a:pt x="99" y="3282"/>
                  </a:lnTo>
                  <a:lnTo>
                    <a:pt x="82" y="3269"/>
                  </a:lnTo>
                  <a:lnTo>
                    <a:pt x="66" y="3255"/>
                  </a:lnTo>
                  <a:lnTo>
                    <a:pt x="51" y="3239"/>
                  </a:lnTo>
                  <a:lnTo>
                    <a:pt x="39" y="3222"/>
                  </a:lnTo>
                  <a:lnTo>
                    <a:pt x="26" y="3203"/>
                  </a:lnTo>
                  <a:lnTo>
                    <a:pt x="18" y="3183"/>
                  </a:lnTo>
                  <a:lnTo>
                    <a:pt x="10" y="3162"/>
                  </a:lnTo>
                  <a:lnTo>
                    <a:pt x="4" y="3141"/>
                  </a:lnTo>
                  <a:lnTo>
                    <a:pt x="1" y="3118"/>
                  </a:lnTo>
                  <a:lnTo>
                    <a:pt x="0" y="3095"/>
                  </a:lnTo>
                  <a:lnTo>
                    <a:pt x="3" y="225"/>
                  </a:lnTo>
                  <a:lnTo>
                    <a:pt x="3" y="225"/>
                  </a:lnTo>
                  <a:lnTo>
                    <a:pt x="4" y="202"/>
                  </a:lnTo>
                  <a:lnTo>
                    <a:pt x="8" y="180"/>
                  </a:lnTo>
                  <a:lnTo>
                    <a:pt x="13" y="157"/>
                  </a:lnTo>
                  <a:lnTo>
                    <a:pt x="21" y="137"/>
                  </a:lnTo>
                  <a:lnTo>
                    <a:pt x="31" y="118"/>
                  </a:lnTo>
                  <a:lnTo>
                    <a:pt x="42" y="99"/>
                  </a:lnTo>
                  <a:lnTo>
                    <a:pt x="55" y="82"/>
                  </a:lnTo>
                  <a:lnTo>
                    <a:pt x="69" y="65"/>
                  </a:lnTo>
                  <a:lnTo>
                    <a:pt x="86" y="51"/>
                  </a:lnTo>
                  <a:lnTo>
                    <a:pt x="103" y="37"/>
                  </a:lnTo>
                  <a:lnTo>
                    <a:pt x="121" y="26"/>
                  </a:lnTo>
                  <a:lnTo>
                    <a:pt x="141" y="18"/>
                  </a:lnTo>
                  <a:lnTo>
                    <a:pt x="162" y="10"/>
                  </a:lnTo>
                  <a:lnTo>
                    <a:pt x="184" y="4"/>
                  </a:lnTo>
                  <a:lnTo>
                    <a:pt x="206" y="1"/>
                  </a:lnTo>
                  <a:lnTo>
                    <a:pt x="229" y="0"/>
                  </a:lnTo>
                  <a:lnTo>
                    <a:pt x="2210" y="2"/>
                  </a:lnTo>
                  <a:lnTo>
                    <a:pt x="2210" y="2"/>
                  </a:lnTo>
                  <a:lnTo>
                    <a:pt x="2233" y="3"/>
                  </a:lnTo>
                  <a:lnTo>
                    <a:pt x="2255" y="7"/>
                  </a:lnTo>
                  <a:lnTo>
                    <a:pt x="2277" y="12"/>
                  </a:lnTo>
                  <a:lnTo>
                    <a:pt x="2298" y="20"/>
                  </a:lnTo>
                  <a:lnTo>
                    <a:pt x="2318" y="30"/>
                  </a:lnTo>
                  <a:lnTo>
                    <a:pt x="2337" y="41"/>
                  </a:lnTo>
                  <a:lnTo>
                    <a:pt x="2353" y="54"/>
                  </a:lnTo>
                  <a:lnTo>
                    <a:pt x="2370" y="68"/>
                  </a:lnTo>
                  <a:lnTo>
                    <a:pt x="2384" y="84"/>
                  </a:lnTo>
                  <a:lnTo>
                    <a:pt x="2397" y="101"/>
                  </a:lnTo>
                  <a:lnTo>
                    <a:pt x="2408" y="120"/>
                  </a:lnTo>
                  <a:lnTo>
                    <a:pt x="2418" y="140"/>
                  </a:lnTo>
                  <a:lnTo>
                    <a:pt x="2425" y="161"/>
                  </a:lnTo>
                  <a:lnTo>
                    <a:pt x="2430" y="183"/>
                  </a:lnTo>
                  <a:lnTo>
                    <a:pt x="2435" y="205"/>
                  </a:lnTo>
                  <a:lnTo>
                    <a:pt x="2436" y="2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69"/>
            <p:cNvSpPr>
              <a:spLocks/>
            </p:cNvSpPr>
            <p:nvPr/>
          </p:nvSpPr>
          <p:spPr bwMode="auto">
            <a:xfrm>
              <a:off x="4703" y="61"/>
              <a:ext cx="990" cy="1292"/>
            </a:xfrm>
            <a:custGeom>
              <a:avLst/>
              <a:gdLst>
                <a:gd name="T0" fmla="*/ 1977 w 1980"/>
                <a:gd name="T1" fmla="*/ 2583 h 2583"/>
                <a:gd name="T2" fmla="*/ 1980 w 1980"/>
                <a:gd name="T3" fmla="*/ 2 h 2583"/>
                <a:gd name="T4" fmla="*/ 3 w 1980"/>
                <a:gd name="T5" fmla="*/ 0 h 2583"/>
                <a:gd name="T6" fmla="*/ 0 w 1980"/>
                <a:gd name="T7" fmla="*/ 2581 h 2583"/>
                <a:gd name="T8" fmla="*/ 1977 w 1980"/>
                <a:gd name="T9" fmla="*/ 2583 h 2583"/>
              </a:gdLst>
              <a:ahLst/>
              <a:cxnLst>
                <a:cxn ang="0">
                  <a:pos x="T0" y="T1"/>
                </a:cxn>
                <a:cxn ang="0">
                  <a:pos x="T2" y="T3"/>
                </a:cxn>
                <a:cxn ang="0">
                  <a:pos x="T4" y="T5"/>
                </a:cxn>
                <a:cxn ang="0">
                  <a:pos x="T6" y="T7"/>
                </a:cxn>
                <a:cxn ang="0">
                  <a:pos x="T8" y="T9"/>
                </a:cxn>
              </a:cxnLst>
              <a:rect l="0" t="0" r="r" b="b"/>
              <a:pathLst>
                <a:path w="1980" h="2583">
                  <a:moveTo>
                    <a:pt x="1977" y="2583"/>
                  </a:moveTo>
                  <a:lnTo>
                    <a:pt x="1980" y="2"/>
                  </a:lnTo>
                  <a:lnTo>
                    <a:pt x="3" y="0"/>
                  </a:lnTo>
                  <a:lnTo>
                    <a:pt x="0" y="2581"/>
                  </a:lnTo>
                  <a:lnTo>
                    <a:pt x="1977" y="25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70"/>
            <p:cNvSpPr>
              <a:spLocks/>
            </p:cNvSpPr>
            <p:nvPr/>
          </p:nvSpPr>
          <p:spPr bwMode="auto">
            <a:xfrm>
              <a:off x="5110" y="1405"/>
              <a:ext cx="134" cy="133"/>
            </a:xfrm>
            <a:custGeom>
              <a:avLst/>
              <a:gdLst>
                <a:gd name="T0" fmla="*/ 268 w 268"/>
                <a:gd name="T1" fmla="*/ 134 h 268"/>
                <a:gd name="T2" fmla="*/ 265 w 268"/>
                <a:gd name="T3" fmla="*/ 107 h 268"/>
                <a:gd name="T4" fmla="*/ 258 w 268"/>
                <a:gd name="T5" fmla="*/ 82 h 268"/>
                <a:gd name="T6" fmla="*/ 246 w 268"/>
                <a:gd name="T7" fmla="*/ 59 h 268"/>
                <a:gd name="T8" fmla="*/ 229 w 268"/>
                <a:gd name="T9" fmla="*/ 39 h 268"/>
                <a:gd name="T10" fmla="*/ 209 w 268"/>
                <a:gd name="T11" fmla="*/ 23 h 268"/>
                <a:gd name="T12" fmla="*/ 186 w 268"/>
                <a:gd name="T13" fmla="*/ 10 h 268"/>
                <a:gd name="T14" fmla="*/ 161 w 268"/>
                <a:gd name="T15" fmla="*/ 2 h 268"/>
                <a:gd name="T16" fmla="*/ 134 w 268"/>
                <a:gd name="T17" fmla="*/ 0 h 268"/>
                <a:gd name="T18" fmla="*/ 121 w 268"/>
                <a:gd name="T19" fmla="*/ 0 h 268"/>
                <a:gd name="T20" fmla="*/ 95 w 268"/>
                <a:gd name="T21" fmla="*/ 6 h 268"/>
                <a:gd name="T22" fmla="*/ 70 w 268"/>
                <a:gd name="T23" fmla="*/ 16 h 268"/>
                <a:gd name="T24" fmla="*/ 49 w 268"/>
                <a:gd name="T25" fmla="*/ 30 h 268"/>
                <a:gd name="T26" fmla="*/ 31 w 268"/>
                <a:gd name="T27" fmla="*/ 49 h 268"/>
                <a:gd name="T28" fmla="*/ 16 w 268"/>
                <a:gd name="T29" fmla="*/ 70 h 268"/>
                <a:gd name="T30" fmla="*/ 6 w 268"/>
                <a:gd name="T31" fmla="*/ 94 h 268"/>
                <a:gd name="T32" fmla="*/ 1 w 268"/>
                <a:gd name="T33" fmla="*/ 120 h 268"/>
                <a:gd name="T34" fmla="*/ 0 w 268"/>
                <a:gd name="T35" fmla="*/ 134 h 268"/>
                <a:gd name="T36" fmla="*/ 3 w 268"/>
                <a:gd name="T37" fmla="*/ 161 h 268"/>
                <a:gd name="T38" fmla="*/ 11 w 268"/>
                <a:gd name="T39" fmla="*/ 185 h 268"/>
                <a:gd name="T40" fmla="*/ 23 w 268"/>
                <a:gd name="T41" fmla="*/ 208 h 268"/>
                <a:gd name="T42" fmla="*/ 39 w 268"/>
                <a:gd name="T43" fmla="*/ 228 h 268"/>
                <a:gd name="T44" fmla="*/ 59 w 268"/>
                <a:gd name="T45" fmla="*/ 245 h 268"/>
                <a:gd name="T46" fmla="*/ 81 w 268"/>
                <a:gd name="T47" fmla="*/ 257 h 268"/>
                <a:gd name="T48" fmla="*/ 107 w 268"/>
                <a:gd name="T49" fmla="*/ 265 h 268"/>
                <a:gd name="T50" fmla="*/ 134 w 268"/>
                <a:gd name="T51" fmla="*/ 268 h 268"/>
                <a:gd name="T52" fmla="*/ 147 w 268"/>
                <a:gd name="T53" fmla="*/ 267 h 268"/>
                <a:gd name="T54" fmla="*/ 174 w 268"/>
                <a:gd name="T55" fmla="*/ 261 h 268"/>
                <a:gd name="T56" fmla="*/ 198 w 268"/>
                <a:gd name="T57" fmla="*/ 251 h 268"/>
                <a:gd name="T58" fmla="*/ 219 w 268"/>
                <a:gd name="T59" fmla="*/ 237 h 268"/>
                <a:gd name="T60" fmla="*/ 238 w 268"/>
                <a:gd name="T61" fmla="*/ 219 h 268"/>
                <a:gd name="T62" fmla="*/ 252 w 268"/>
                <a:gd name="T63" fmla="*/ 197 h 268"/>
                <a:gd name="T64" fmla="*/ 262 w 268"/>
                <a:gd name="T65" fmla="*/ 174 h 268"/>
                <a:gd name="T66" fmla="*/ 268 w 268"/>
                <a:gd name="T67" fmla="*/ 14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8" h="268">
                  <a:moveTo>
                    <a:pt x="268" y="134"/>
                  </a:moveTo>
                  <a:lnTo>
                    <a:pt x="268" y="134"/>
                  </a:lnTo>
                  <a:lnTo>
                    <a:pt x="268" y="120"/>
                  </a:lnTo>
                  <a:lnTo>
                    <a:pt x="265" y="107"/>
                  </a:lnTo>
                  <a:lnTo>
                    <a:pt x="262" y="94"/>
                  </a:lnTo>
                  <a:lnTo>
                    <a:pt x="258" y="82"/>
                  </a:lnTo>
                  <a:lnTo>
                    <a:pt x="252" y="70"/>
                  </a:lnTo>
                  <a:lnTo>
                    <a:pt x="246" y="59"/>
                  </a:lnTo>
                  <a:lnTo>
                    <a:pt x="238" y="49"/>
                  </a:lnTo>
                  <a:lnTo>
                    <a:pt x="229" y="39"/>
                  </a:lnTo>
                  <a:lnTo>
                    <a:pt x="219" y="31"/>
                  </a:lnTo>
                  <a:lnTo>
                    <a:pt x="209" y="23"/>
                  </a:lnTo>
                  <a:lnTo>
                    <a:pt x="198" y="16"/>
                  </a:lnTo>
                  <a:lnTo>
                    <a:pt x="186" y="10"/>
                  </a:lnTo>
                  <a:lnTo>
                    <a:pt x="174" y="6"/>
                  </a:lnTo>
                  <a:lnTo>
                    <a:pt x="161" y="2"/>
                  </a:lnTo>
                  <a:lnTo>
                    <a:pt x="147" y="0"/>
                  </a:lnTo>
                  <a:lnTo>
                    <a:pt x="134" y="0"/>
                  </a:lnTo>
                  <a:lnTo>
                    <a:pt x="134" y="0"/>
                  </a:lnTo>
                  <a:lnTo>
                    <a:pt x="121" y="0"/>
                  </a:lnTo>
                  <a:lnTo>
                    <a:pt x="107" y="2"/>
                  </a:lnTo>
                  <a:lnTo>
                    <a:pt x="95" y="6"/>
                  </a:lnTo>
                  <a:lnTo>
                    <a:pt x="82" y="10"/>
                  </a:lnTo>
                  <a:lnTo>
                    <a:pt x="70" y="16"/>
                  </a:lnTo>
                  <a:lnTo>
                    <a:pt x="59" y="22"/>
                  </a:lnTo>
                  <a:lnTo>
                    <a:pt x="49" y="30"/>
                  </a:lnTo>
                  <a:lnTo>
                    <a:pt x="39" y="39"/>
                  </a:lnTo>
                  <a:lnTo>
                    <a:pt x="31" y="49"/>
                  </a:lnTo>
                  <a:lnTo>
                    <a:pt x="23" y="59"/>
                  </a:lnTo>
                  <a:lnTo>
                    <a:pt x="16" y="70"/>
                  </a:lnTo>
                  <a:lnTo>
                    <a:pt x="11" y="82"/>
                  </a:lnTo>
                  <a:lnTo>
                    <a:pt x="6" y="94"/>
                  </a:lnTo>
                  <a:lnTo>
                    <a:pt x="3" y="107"/>
                  </a:lnTo>
                  <a:lnTo>
                    <a:pt x="1" y="120"/>
                  </a:lnTo>
                  <a:lnTo>
                    <a:pt x="0" y="134"/>
                  </a:lnTo>
                  <a:lnTo>
                    <a:pt x="0" y="134"/>
                  </a:lnTo>
                  <a:lnTo>
                    <a:pt x="1" y="148"/>
                  </a:lnTo>
                  <a:lnTo>
                    <a:pt x="3" y="161"/>
                  </a:lnTo>
                  <a:lnTo>
                    <a:pt x="6" y="173"/>
                  </a:lnTo>
                  <a:lnTo>
                    <a:pt x="11" y="185"/>
                  </a:lnTo>
                  <a:lnTo>
                    <a:pt x="16" y="197"/>
                  </a:lnTo>
                  <a:lnTo>
                    <a:pt x="23" y="208"/>
                  </a:lnTo>
                  <a:lnTo>
                    <a:pt x="31" y="218"/>
                  </a:lnTo>
                  <a:lnTo>
                    <a:pt x="39" y="228"/>
                  </a:lnTo>
                  <a:lnTo>
                    <a:pt x="48" y="237"/>
                  </a:lnTo>
                  <a:lnTo>
                    <a:pt x="59" y="245"/>
                  </a:lnTo>
                  <a:lnTo>
                    <a:pt x="70" y="251"/>
                  </a:lnTo>
                  <a:lnTo>
                    <a:pt x="81" y="257"/>
                  </a:lnTo>
                  <a:lnTo>
                    <a:pt x="95" y="261"/>
                  </a:lnTo>
                  <a:lnTo>
                    <a:pt x="107" y="265"/>
                  </a:lnTo>
                  <a:lnTo>
                    <a:pt x="120" y="267"/>
                  </a:lnTo>
                  <a:lnTo>
                    <a:pt x="134" y="268"/>
                  </a:lnTo>
                  <a:lnTo>
                    <a:pt x="134" y="268"/>
                  </a:lnTo>
                  <a:lnTo>
                    <a:pt x="147" y="267"/>
                  </a:lnTo>
                  <a:lnTo>
                    <a:pt x="161" y="265"/>
                  </a:lnTo>
                  <a:lnTo>
                    <a:pt x="174" y="261"/>
                  </a:lnTo>
                  <a:lnTo>
                    <a:pt x="186" y="257"/>
                  </a:lnTo>
                  <a:lnTo>
                    <a:pt x="198" y="251"/>
                  </a:lnTo>
                  <a:lnTo>
                    <a:pt x="209" y="245"/>
                  </a:lnTo>
                  <a:lnTo>
                    <a:pt x="219" y="237"/>
                  </a:lnTo>
                  <a:lnTo>
                    <a:pt x="229" y="228"/>
                  </a:lnTo>
                  <a:lnTo>
                    <a:pt x="238" y="219"/>
                  </a:lnTo>
                  <a:lnTo>
                    <a:pt x="246" y="208"/>
                  </a:lnTo>
                  <a:lnTo>
                    <a:pt x="252" y="197"/>
                  </a:lnTo>
                  <a:lnTo>
                    <a:pt x="258" y="186"/>
                  </a:lnTo>
                  <a:lnTo>
                    <a:pt x="262" y="174"/>
                  </a:lnTo>
                  <a:lnTo>
                    <a:pt x="265" y="161"/>
                  </a:lnTo>
                  <a:lnTo>
                    <a:pt x="268" y="148"/>
                  </a:lnTo>
                  <a:lnTo>
                    <a:pt x="268" y="1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2"/>
            <p:cNvSpPr>
              <a:spLocks/>
            </p:cNvSpPr>
            <p:nvPr/>
          </p:nvSpPr>
          <p:spPr bwMode="auto">
            <a:xfrm>
              <a:off x="5108" y="1405"/>
              <a:ext cx="134" cy="133"/>
            </a:xfrm>
            <a:custGeom>
              <a:avLst/>
              <a:gdLst>
                <a:gd name="T0" fmla="*/ 134 w 268"/>
                <a:gd name="T1" fmla="*/ 0 h 268"/>
                <a:gd name="T2" fmla="*/ 161 w 268"/>
                <a:gd name="T3" fmla="*/ 2 h 268"/>
                <a:gd name="T4" fmla="*/ 186 w 268"/>
                <a:gd name="T5" fmla="*/ 10 h 268"/>
                <a:gd name="T6" fmla="*/ 209 w 268"/>
                <a:gd name="T7" fmla="*/ 23 h 268"/>
                <a:gd name="T8" fmla="*/ 229 w 268"/>
                <a:gd name="T9" fmla="*/ 39 h 268"/>
                <a:gd name="T10" fmla="*/ 246 w 268"/>
                <a:gd name="T11" fmla="*/ 59 h 268"/>
                <a:gd name="T12" fmla="*/ 258 w 268"/>
                <a:gd name="T13" fmla="*/ 82 h 268"/>
                <a:gd name="T14" fmla="*/ 266 w 268"/>
                <a:gd name="T15" fmla="*/ 107 h 268"/>
                <a:gd name="T16" fmla="*/ 268 w 268"/>
                <a:gd name="T17" fmla="*/ 134 h 268"/>
                <a:gd name="T18" fmla="*/ 268 w 268"/>
                <a:gd name="T19" fmla="*/ 148 h 268"/>
                <a:gd name="T20" fmla="*/ 262 w 268"/>
                <a:gd name="T21" fmla="*/ 174 h 268"/>
                <a:gd name="T22" fmla="*/ 252 w 268"/>
                <a:gd name="T23" fmla="*/ 197 h 268"/>
                <a:gd name="T24" fmla="*/ 238 w 268"/>
                <a:gd name="T25" fmla="*/ 219 h 268"/>
                <a:gd name="T26" fmla="*/ 219 w 268"/>
                <a:gd name="T27" fmla="*/ 237 h 268"/>
                <a:gd name="T28" fmla="*/ 198 w 268"/>
                <a:gd name="T29" fmla="*/ 251 h 268"/>
                <a:gd name="T30" fmla="*/ 174 w 268"/>
                <a:gd name="T31" fmla="*/ 261 h 268"/>
                <a:gd name="T32" fmla="*/ 148 w 268"/>
                <a:gd name="T33" fmla="*/ 267 h 268"/>
                <a:gd name="T34" fmla="*/ 134 w 268"/>
                <a:gd name="T35" fmla="*/ 268 h 268"/>
                <a:gd name="T36" fmla="*/ 107 w 268"/>
                <a:gd name="T37" fmla="*/ 265 h 268"/>
                <a:gd name="T38" fmla="*/ 82 w 268"/>
                <a:gd name="T39" fmla="*/ 257 h 268"/>
                <a:gd name="T40" fmla="*/ 59 w 268"/>
                <a:gd name="T41" fmla="*/ 245 h 268"/>
                <a:gd name="T42" fmla="*/ 40 w 268"/>
                <a:gd name="T43" fmla="*/ 228 h 268"/>
                <a:gd name="T44" fmla="*/ 23 w 268"/>
                <a:gd name="T45" fmla="*/ 208 h 268"/>
                <a:gd name="T46" fmla="*/ 11 w 268"/>
                <a:gd name="T47" fmla="*/ 185 h 268"/>
                <a:gd name="T48" fmla="*/ 3 w 268"/>
                <a:gd name="T49" fmla="*/ 161 h 268"/>
                <a:gd name="T50" fmla="*/ 0 w 268"/>
                <a:gd name="T51" fmla="*/ 134 h 268"/>
                <a:gd name="T52" fmla="*/ 1 w 268"/>
                <a:gd name="T53" fmla="*/ 120 h 268"/>
                <a:gd name="T54" fmla="*/ 7 w 268"/>
                <a:gd name="T55" fmla="*/ 94 h 268"/>
                <a:gd name="T56" fmla="*/ 17 w 268"/>
                <a:gd name="T57" fmla="*/ 70 h 268"/>
                <a:gd name="T58" fmla="*/ 31 w 268"/>
                <a:gd name="T59" fmla="*/ 49 h 268"/>
                <a:gd name="T60" fmla="*/ 50 w 268"/>
                <a:gd name="T61" fmla="*/ 30 h 268"/>
                <a:gd name="T62" fmla="*/ 71 w 268"/>
                <a:gd name="T63" fmla="*/ 16 h 268"/>
                <a:gd name="T64" fmla="*/ 95 w 268"/>
                <a:gd name="T65" fmla="*/ 6 h 268"/>
                <a:gd name="T66" fmla="*/ 121 w 268"/>
                <a:gd name="T67"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8" h="268">
                  <a:moveTo>
                    <a:pt x="134" y="0"/>
                  </a:moveTo>
                  <a:lnTo>
                    <a:pt x="134" y="0"/>
                  </a:lnTo>
                  <a:lnTo>
                    <a:pt x="148" y="0"/>
                  </a:lnTo>
                  <a:lnTo>
                    <a:pt x="161" y="2"/>
                  </a:lnTo>
                  <a:lnTo>
                    <a:pt x="174" y="6"/>
                  </a:lnTo>
                  <a:lnTo>
                    <a:pt x="186" y="10"/>
                  </a:lnTo>
                  <a:lnTo>
                    <a:pt x="198" y="16"/>
                  </a:lnTo>
                  <a:lnTo>
                    <a:pt x="209" y="23"/>
                  </a:lnTo>
                  <a:lnTo>
                    <a:pt x="219" y="31"/>
                  </a:lnTo>
                  <a:lnTo>
                    <a:pt x="229" y="39"/>
                  </a:lnTo>
                  <a:lnTo>
                    <a:pt x="238" y="49"/>
                  </a:lnTo>
                  <a:lnTo>
                    <a:pt x="246" y="59"/>
                  </a:lnTo>
                  <a:lnTo>
                    <a:pt x="252" y="70"/>
                  </a:lnTo>
                  <a:lnTo>
                    <a:pt x="258" y="82"/>
                  </a:lnTo>
                  <a:lnTo>
                    <a:pt x="262" y="94"/>
                  </a:lnTo>
                  <a:lnTo>
                    <a:pt x="266" y="107"/>
                  </a:lnTo>
                  <a:lnTo>
                    <a:pt x="268" y="120"/>
                  </a:lnTo>
                  <a:lnTo>
                    <a:pt x="268" y="134"/>
                  </a:lnTo>
                  <a:lnTo>
                    <a:pt x="268" y="134"/>
                  </a:lnTo>
                  <a:lnTo>
                    <a:pt x="268" y="148"/>
                  </a:lnTo>
                  <a:lnTo>
                    <a:pt x="266" y="161"/>
                  </a:lnTo>
                  <a:lnTo>
                    <a:pt x="262" y="174"/>
                  </a:lnTo>
                  <a:lnTo>
                    <a:pt x="258" y="186"/>
                  </a:lnTo>
                  <a:lnTo>
                    <a:pt x="252" y="197"/>
                  </a:lnTo>
                  <a:lnTo>
                    <a:pt x="246" y="208"/>
                  </a:lnTo>
                  <a:lnTo>
                    <a:pt x="238" y="219"/>
                  </a:lnTo>
                  <a:lnTo>
                    <a:pt x="229" y="228"/>
                  </a:lnTo>
                  <a:lnTo>
                    <a:pt x="219" y="237"/>
                  </a:lnTo>
                  <a:lnTo>
                    <a:pt x="209" y="245"/>
                  </a:lnTo>
                  <a:lnTo>
                    <a:pt x="198" y="251"/>
                  </a:lnTo>
                  <a:lnTo>
                    <a:pt x="186" y="257"/>
                  </a:lnTo>
                  <a:lnTo>
                    <a:pt x="174" y="261"/>
                  </a:lnTo>
                  <a:lnTo>
                    <a:pt x="161" y="265"/>
                  </a:lnTo>
                  <a:lnTo>
                    <a:pt x="148" y="267"/>
                  </a:lnTo>
                  <a:lnTo>
                    <a:pt x="134" y="268"/>
                  </a:lnTo>
                  <a:lnTo>
                    <a:pt x="134" y="268"/>
                  </a:lnTo>
                  <a:lnTo>
                    <a:pt x="120" y="267"/>
                  </a:lnTo>
                  <a:lnTo>
                    <a:pt x="107" y="265"/>
                  </a:lnTo>
                  <a:lnTo>
                    <a:pt x="95" y="261"/>
                  </a:lnTo>
                  <a:lnTo>
                    <a:pt x="82" y="257"/>
                  </a:lnTo>
                  <a:lnTo>
                    <a:pt x="71" y="251"/>
                  </a:lnTo>
                  <a:lnTo>
                    <a:pt x="59" y="245"/>
                  </a:lnTo>
                  <a:lnTo>
                    <a:pt x="48" y="237"/>
                  </a:lnTo>
                  <a:lnTo>
                    <a:pt x="40" y="228"/>
                  </a:lnTo>
                  <a:lnTo>
                    <a:pt x="31" y="218"/>
                  </a:lnTo>
                  <a:lnTo>
                    <a:pt x="23" y="208"/>
                  </a:lnTo>
                  <a:lnTo>
                    <a:pt x="17" y="197"/>
                  </a:lnTo>
                  <a:lnTo>
                    <a:pt x="11" y="185"/>
                  </a:lnTo>
                  <a:lnTo>
                    <a:pt x="7" y="173"/>
                  </a:lnTo>
                  <a:lnTo>
                    <a:pt x="3" y="161"/>
                  </a:lnTo>
                  <a:lnTo>
                    <a:pt x="1" y="148"/>
                  </a:lnTo>
                  <a:lnTo>
                    <a:pt x="0" y="134"/>
                  </a:lnTo>
                  <a:lnTo>
                    <a:pt x="0" y="134"/>
                  </a:lnTo>
                  <a:lnTo>
                    <a:pt x="1" y="120"/>
                  </a:lnTo>
                  <a:lnTo>
                    <a:pt x="3" y="107"/>
                  </a:lnTo>
                  <a:lnTo>
                    <a:pt x="7" y="94"/>
                  </a:lnTo>
                  <a:lnTo>
                    <a:pt x="11" y="82"/>
                  </a:lnTo>
                  <a:lnTo>
                    <a:pt x="17" y="70"/>
                  </a:lnTo>
                  <a:lnTo>
                    <a:pt x="23" y="59"/>
                  </a:lnTo>
                  <a:lnTo>
                    <a:pt x="31" y="49"/>
                  </a:lnTo>
                  <a:lnTo>
                    <a:pt x="40" y="39"/>
                  </a:lnTo>
                  <a:lnTo>
                    <a:pt x="50" y="30"/>
                  </a:lnTo>
                  <a:lnTo>
                    <a:pt x="59" y="22"/>
                  </a:lnTo>
                  <a:lnTo>
                    <a:pt x="71" y="16"/>
                  </a:lnTo>
                  <a:lnTo>
                    <a:pt x="83" y="10"/>
                  </a:lnTo>
                  <a:lnTo>
                    <a:pt x="95" y="6"/>
                  </a:lnTo>
                  <a:lnTo>
                    <a:pt x="108" y="2"/>
                  </a:lnTo>
                  <a:lnTo>
                    <a:pt x="121" y="0"/>
                  </a:lnTo>
                  <a:lnTo>
                    <a:pt x="134" y="0"/>
                  </a:lnTo>
                  <a:close/>
                </a:path>
              </a:pathLst>
            </a:custGeom>
            <a:solidFill>
              <a:srgbClr val="B3B4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73"/>
            <p:cNvSpPr>
              <a:spLocks/>
            </p:cNvSpPr>
            <p:nvPr/>
          </p:nvSpPr>
          <p:spPr bwMode="auto">
            <a:xfrm>
              <a:off x="5068" y="1405"/>
              <a:ext cx="134" cy="133"/>
            </a:xfrm>
            <a:custGeom>
              <a:avLst/>
              <a:gdLst>
                <a:gd name="T0" fmla="*/ 134 w 268"/>
                <a:gd name="T1" fmla="*/ 0 h 268"/>
                <a:gd name="T2" fmla="*/ 161 w 268"/>
                <a:gd name="T3" fmla="*/ 2 h 268"/>
                <a:gd name="T4" fmla="*/ 186 w 268"/>
                <a:gd name="T5" fmla="*/ 10 h 268"/>
                <a:gd name="T6" fmla="*/ 209 w 268"/>
                <a:gd name="T7" fmla="*/ 23 h 268"/>
                <a:gd name="T8" fmla="*/ 229 w 268"/>
                <a:gd name="T9" fmla="*/ 39 h 268"/>
                <a:gd name="T10" fmla="*/ 246 w 268"/>
                <a:gd name="T11" fmla="*/ 59 h 268"/>
                <a:gd name="T12" fmla="*/ 258 w 268"/>
                <a:gd name="T13" fmla="*/ 82 h 268"/>
                <a:gd name="T14" fmla="*/ 266 w 268"/>
                <a:gd name="T15" fmla="*/ 107 h 268"/>
                <a:gd name="T16" fmla="*/ 268 w 268"/>
                <a:gd name="T17" fmla="*/ 134 h 268"/>
                <a:gd name="T18" fmla="*/ 268 w 268"/>
                <a:gd name="T19" fmla="*/ 148 h 268"/>
                <a:gd name="T20" fmla="*/ 262 w 268"/>
                <a:gd name="T21" fmla="*/ 174 h 268"/>
                <a:gd name="T22" fmla="*/ 252 w 268"/>
                <a:gd name="T23" fmla="*/ 197 h 268"/>
                <a:gd name="T24" fmla="*/ 238 w 268"/>
                <a:gd name="T25" fmla="*/ 219 h 268"/>
                <a:gd name="T26" fmla="*/ 219 w 268"/>
                <a:gd name="T27" fmla="*/ 237 h 268"/>
                <a:gd name="T28" fmla="*/ 198 w 268"/>
                <a:gd name="T29" fmla="*/ 251 h 268"/>
                <a:gd name="T30" fmla="*/ 174 w 268"/>
                <a:gd name="T31" fmla="*/ 261 h 268"/>
                <a:gd name="T32" fmla="*/ 148 w 268"/>
                <a:gd name="T33" fmla="*/ 267 h 268"/>
                <a:gd name="T34" fmla="*/ 134 w 268"/>
                <a:gd name="T35" fmla="*/ 268 h 268"/>
                <a:gd name="T36" fmla="*/ 107 w 268"/>
                <a:gd name="T37" fmla="*/ 265 h 268"/>
                <a:gd name="T38" fmla="*/ 82 w 268"/>
                <a:gd name="T39" fmla="*/ 257 h 268"/>
                <a:gd name="T40" fmla="*/ 59 w 268"/>
                <a:gd name="T41" fmla="*/ 245 h 268"/>
                <a:gd name="T42" fmla="*/ 40 w 268"/>
                <a:gd name="T43" fmla="*/ 228 h 268"/>
                <a:gd name="T44" fmla="*/ 23 w 268"/>
                <a:gd name="T45" fmla="*/ 208 h 268"/>
                <a:gd name="T46" fmla="*/ 11 w 268"/>
                <a:gd name="T47" fmla="*/ 185 h 268"/>
                <a:gd name="T48" fmla="*/ 3 w 268"/>
                <a:gd name="T49" fmla="*/ 161 h 268"/>
                <a:gd name="T50" fmla="*/ 0 w 268"/>
                <a:gd name="T51" fmla="*/ 134 h 268"/>
                <a:gd name="T52" fmla="*/ 1 w 268"/>
                <a:gd name="T53" fmla="*/ 120 h 268"/>
                <a:gd name="T54" fmla="*/ 7 w 268"/>
                <a:gd name="T55" fmla="*/ 94 h 268"/>
                <a:gd name="T56" fmla="*/ 17 w 268"/>
                <a:gd name="T57" fmla="*/ 70 h 268"/>
                <a:gd name="T58" fmla="*/ 31 w 268"/>
                <a:gd name="T59" fmla="*/ 49 h 268"/>
                <a:gd name="T60" fmla="*/ 50 w 268"/>
                <a:gd name="T61" fmla="*/ 30 h 268"/>
                <a:gd name="T62" fmla="*/ 71 w 268"/>
                <a:gd name="T63" fmla="*/ 16 h 268"/>
                <a:gd name="T64" fmla="*/ 95 w 268"/>
                <a:gd name="T65" fmla="*/ 6 h 268"/>
                <a:gd name="T66" fmla="*/ 121 w 268"/>
                <a:gd name="T67"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8" h="268">
                  <a:moveTo>
                    <a:pt x="134" y="0"/>
                  </a:moveTo>
                  <a:lnTo>
                    <a:pt x="134" y="0"/>
                  </a:lnTo>
                  <a:lnTo>
                    <a:pt x="148" y="0"/>
                  </a:lnTo>
                  <a:lnTo>
                    <a:pt x="161" y="2"/>
                  </a:lnTo>
                  <a:lnTo>
                    <a:pt x="174" y="6"/>
                  </a:lnTo>
                  <a:lnTo>
                    <a:pt x="186" y="10"/>
                  </a:lnTo>
                  <a:lnTo>
                    <a:pt x="198" y="16"/>
                  </a:lnTo>
                  <a:lnTo>
                    <a:pt x="209" y="23"/>
                  </a:lnTo>
                  <a:lnTo>
                    <a:pt x="219" y="31"/>
                  </a:lnTo>
                  <a:lnTo>
                    <a:pt x="229" y="39"/>
                  </a:lnTo>
                  <a:lnTo>
                    <a:pt x="238" y="49"/>
                  </a:lnTo>
                  <a:lnTo>
                    <a:pt x="246" y="59"/>
                  </a:lnTo>
                  <a:lnTo>
                    <a:pt x="252" y="70"/>
                  </a:lnTo>
                  <a:lnTo>
                    <a:pt x="258" y="82"/>
                  </a:lnTo>
                  <a:lnTo>
                    <a:pt x="262" y="94"/>
                  </a:lnTo>
                  <a:lnTo>
                    <a:pt x="266" y="107"/>
                  </a:lnTo>
                  <a:lnTo>
                    <a:pt x="268" y="120"/>
                  </a:lnTo>
                  <a:lnTo>
                    <a:pt x="268" y="134"/>
                  </a:lnTo>
                  <a:lnTo>
                    <a:pt x="268" y="134"/>
                  </a:lnTo>
                  <a:lnTo>
                    <a:pt x="268" y="148"/>
                  </a:lnTo>
                  <a:lnTo>
                    <a:pt x="266" y="161"/>
                  </a:lnTo>
                  <a:lnTo>
                    <a:pt x="262" y="174"/>
                  </a:lnTo>
                  <a:lnTo>
                    <a:pt x="258" y="186"/>
                  </a:lnTo>
                  <a:lnTo>
                    <a:pt x="252" y="197"/>
                  </a:lnTo>
                  <a:lnTo>
                    <a:pt x="246" y="208"/>
                  </a:lnTo>
                  <a:lnTo>
                    <a:pt x="238" y="219"/>
                  </a:lnTo>
                  <a:lnTo>
                    <a:pt x="229" y="228"/>
                  </a:lnTo>
                  <a:lnTo>
                    <a:pt x="219" y="237"/>
                  </a:lnTo>
                  <a:lnTo>
                    <a:pt x="209" y="245"/>
                  </a:lnTo>
                  <a:lnTo>
                    <a:pt x="198" y="251"/>
                  </a:lnTo>
                  <a:lnTo>
                    <a:pt x="186" y="257"/>
                  </a:lnTo>
                  <a:lnTo>
                    <a:pt x="174" y="261"/>
                  </a:lnTo>
                  <a:lnTo>
                    <a:pt x="161" y="265"/>
                  </a:lnTo>
                  <a:lnTo>
                    <a:pt x="148" y="267"/>
                  </a:lnTo>
                  <a:lnTo>
                    <a:pt x="134" y="268"/>
                  </a:lnTo>
                  <a:lnTo>
                    <a:pt x="134" y="268"/>
                  </a:lnTo>
                  <a:lnTo>
                    <a:pt x="120" y="267"/>
                  </a:lnTo>
                  <a:lnTo>
                    <a:pt x="107" y="265"/>
                  </a:lnTo>
                  <a:lnTo>
                    <a:pt x="95" y="261"/>
                  </a:lnTo>
                  <a:lnTo>
                    <a:pt x="82" y="257"/>
                  </a:lnTo>
                  <a:lnTo>
                    <a:pt x="71" y="251"/>
                  </a:lnTo>
                  <a:lnTo>
                    <a:pt x="59" y="245"/>
                  </a:lnTo>
                  <a:lnTo>
                    <a:pt x="48" y="237"/>
                  </a:lnTo>
                  <a:lnTo>
                    <a:pt x="40" y="228"/>
                  </a:lnTo>
                  <a:lnTo>
                    <a:pt x="31" y="218"/>
                  </a:lnTo>
                  <a:lnTo>
                    <a:pt x="23" y="208"/>
                  </a:lnTo>
                  <a:lnTo>
                    <a:pt x="17" y="197"/>
                  </a:lnTo>
                  <a:lnTo>
                    <a:pt x="11" y="185"/>
                  </a:lnTo>
                  <a:lnTo>
                    <a:pt x="7" y="173"/>
                  </a:lnTo>
                  <a:lnTo>
                    <a:pt x="3" y="161"/>
                  </a:lnTo>
                  <a:lnTo>
                    <a:pt x="1" y="148"/>
                  </a:lnTo>
                  <a:lnTo>
                    <a:pt x="0" y="134"/>
                  </a:lnTo>
                  <a:lnTo>
                    <a:pt x="0" y="134"/>
                  </a:lnTo>
                  <a:lnTo>
                    <a:pt x="1" y="120"/>
                  </a:lnTo>
                  <a:lnTo>
                    <a:pt x="3" y="107"/>
                  </a:lnTo>
                  <a:lnTo>
                    <a:pt x="7" y="94"/>
                  </a:lnTo>
                  <a:lnTo>
                    <a:pt x="11" y="82"/>
                  </a:lnTo>
                  <a:lnTo>
                    <a:pt x="17" y="70"/>
                  </a:lnTo>
                  <a:lnTo>
                    <a:pt x="23" y="59"/>
                  </a:lnTo>
                  <a:lnTo>
                    <a:pt x="31" y="49"/>
                  </a:lnTo>
                  <a:lnTo>
                    <a:pt x="40" y="39"/>
                  </a:lnTo>
                  <a:lnTo>
                    <a:pt x="50" y="30"/>
                  </a:lnTo>
                  <a:lnTo>
                    <a:pt x="59" y="22"/>
                  </a:lnTo>
                  <a:lnTo>
                    <a:pt x="71" y="16"/>
                  </a:lnTo>
                  <a:lnTo>
                    <a:pt x="83" y="10"/>
                  </a:lnTo>
                  <a:lnTo>
                    <a:pt x="95" y="6"/>
                  </a:lnTo>
                  <a:lnTo>
                    <a:pt x="108" y="2"/>
                  </a:lnTo>
                  <a:lnTo>
                    <a:pt x="121" y="0"/>
                  </a:lnTo>
                  <a:lnTo>
                    <a:pt x="1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 name="Group 29"/>
          <p:cNvGrpSpPr>
            <a:grpSpLocks noChangeAspect="1"/>
          </p:cNvGrpSpPr>
          <p:nvPr/>
        </p:nvGrpSpPr>
        <p:grpSpPr bwMode="auto">
          <a:xfrm>
            <a:off x="4238625" y="3790950"/>
            <a:ext cx="274061" cy="533400"/>
            <a:chOff x="2818" y="-169"/>
            <a:chExt cx="818" cy="1661"/>
          </a:xfrm>
        </p:grpSpPr>
        <p:sp>
          <p:nvSpPr>
            <p:cNvPr id="33" name="Freeform 30"/>
            <p:cNvSpPr>
              <a:spLocks noEditPoints="1"/>
            </p:cNvSpPr>
            <p:nvPr/>
          </p:nvSpPr>
          <p:spPr bwMode="auto">
            <a:xfrm>
              <a:off x="2818" y="-169"/>
              <a:ext cx="818" cy="1661"/>
            </a:xfrm>
            <a:custGeom>
              <a:avLst/>
              <a:gdLst>
                <a:gd name="T0" fmla="*/ 1635 w 1635"/>
                <a:gd name="T1" fmla="*/ 3065 h 3322"/>
                <a:gd name="T2" fmla="*/ 1624 w 1635"/>
                <a:gd name="T3" fmla="*/ 3140 h 3322"/>
                <a:gd name="T4" fmla="*/ 1594 w 1635"/>
                <a:gd name="T5" fmla="*/ 3206 h 3322"/>
                <a:gd name="T6" fmla="*/ 1546 w 1635"/>
                <a:gd name="T7" fmla="*/ 3259 h 3322"/>
                <a:gd name="T8" fmla="*/ 1486 w 1635"/>
                <a:gd name="T9" fmla="*/ 3297 h 3322"/>
                <a:gd name="T10" fmla="*/ 1417 w 1635"/>
                <a:gd name="T11" fmla="*/ 3315 h 3322"/>
                <a:gd name="T12" fmla="*/ 257 w 1635"/>
                <a:gd name="T13" fmla="*/ 3322 h 3322"/>
                <a:gd name="T14" fmla="*/ 184 w 1635"/>
                <a:gd name="T15" fmla="*/ 3311 h 3322"/>
                <a:gd name="T16" fmla="*/ 120 w 1635"/>
                <a:gd name="T17" fmla="*/ 3279 h 3322"/>
                <a:gd name="T18" fmla="*/ 68 w 1635"/>
                <a:gd name="T19" fmla="*/ 3231 h 3322"/>
                <a:gd name="T20" fmla="*/ 31 w 1635"/>
                <a:gd name="T21" fmla="*/ 3169 h 3322"/>
                <a:gd name="T22" fmla="*/ 13 w 1635"/>
                <a:gd name="T23" fmla="*/ 3097 h 3322"/>
                <a:gd name="T24" fmla="*/ 0 w 1635"/>
                <a:gd name="T25" fmla="*/ 257 h 3322"/>
                <a:gd name="T26" fmla="*/ 11 w 1635"/>
                <a:gd name="T27" fmla="*/ 182 h 3322"/>
                <a:gd name="T28" fmla="*/ 42 w 1635"/>
                <a:gd name="T29" fmla="*/ 116 h 3322"/>
                <a:gd name="T30" fmla="*/ 89 w 1635"/>
                <a:gd name="T31" fmla="*/ 62 h 3322"/>
                <a:gd name="T32" fmla="*/ 149 w 1635"/>
                <a:gd name="T33" fmla="*/ 24 h 3322"/>
                <a:gd name="T34" fmla="*/ 218 w 1635"/>
                <a:gd name="T35" fmla="*/ 5 h 3322"/>
                <a:gd name="T36" fmla="*/ 1379 w 1635"/>
                <a:gd name="T37" fmla="*/ 0 h 3322"/>
                <a:gd name="T38" fmla="*/ 1451 w 1635"/>
                <a:gd name="T39" fmla="*/ 11 h 3322"/>
                <a:gd name="T40" fmla="*/ 1516 w 1635"/>
                <a:gd name="T41" fmla="*/ 43 h 3322"/>
                <a:gd name="T42" fmla="*/ 1567 w 1635"/>
                <a:gd name="T43" fmla="*/ 91 h 3322"/>
                <a:gd name="T44" fmla="*/ 1605 w 1635"/>
                <a:gd name="T45" fmla="*/ 152 h 3322"/>
                <a:gd name="T46" fmla="*/ 1622 w 1635"/>
                <a:gd name="T47" fmla="*/ 225 h 3322"/>
                <a:gd name="T48" fmla="*/ 1553 w 1635"/>
                <a:gd name="T49" fmla="*/ 3041 h 3322"/>
                <a:gd name="T50" fmla="*/ 93 w 1635"/>
                <a:gd name="T51" fmla="*/ 3072 h 3322"/>
                <a:gd name="T52" fmla="*/ 101 w 1635"/>
                <a:gd name="T53" fmla="*/ 3121 h 3322"/>
                <a:gd name="T54" fmla="*/ 122 w 1635"/>
                <a:gd name="T55" fmla="*/ 3164 h 3322"/>
                <a:gd name="T56" fmla="*/ 154 w 1635"/>
                <a:gd name="T57" fmla="*/ 3199 h 3322"/>
                <a:gd name="T58" fmla="*/ 193 w 1635"/>
                <a:gd name="T59" fmla="*/ 3224 h 3322"/>
                <a:gd name="T60" fmla="*/ 239 w 1635"/>
                <a:gd name="T61" fmla="*/ 3236 h 3322"/>
                <a:gd name="T62" fmla="*/ 1392 w 1635"/>
                <a:gd name="T63" fmla="*/ 3233 h 3322"/>
                <a:gd name="T64" fmla="*/ 1440 w 1635"/>
                <a:gd name="T65" fmla="*/ 3225 h 3322"/>
                <a:gd name="T66" fmla="*/ 1482 w 1635"/>
                <a:gd name="T67" fmla="*/ 3205 h 3322"/>
                <a:gd name="T68" fmla="*/ 1516 w 1635"/>
                <a:gd name="T69" fmla="*/ 3172 h 3322"/>
                <a:gd name="T70" fmla="*/ 1540 w 1635"/>
                <a:gd name="T71" fmla="*/ 3130 h 3322"/>
                <a:gd name="T72" fmla="*/ 1552 w 1635"/>
                <a:gd name="T73" fmla="*/ 3083 h 3322"/>
                <a:gd name="T74" fmla="*/ 1542 w 1635"/>
                <a:gd name="T75" fmla="*/ 317 h 3322"/>
                <a:gd name="T76" fmla="*/ 1553 w 1635"/>
                <a:gd name="T77" fmla="*/ 3001 h 3322"/>
                <a:gd name="T78" fmla="*/ 1542 w 1635"/>
                <a:gd name="T79" fmla="*/ 250 h 3322"/>
                <a:gd name="T80" fmla="*/ 1534 w 1635"/>
                <a:gd name="T81" fmla="*/ 201 h 3322"/>
                <a:gd name="T82" fmla="*/ 1514 w 1635"/>
                <a:gd name="T83" fmla="*/ 158 h 3322"/>
                <a:gd name="T84" fmla="*/ 1483 w 1635"/>
                <a:gd name="T85" fmla="*/ 122 h 3322"/>
                <a:gd name="T86" fmla="*/ 1442 w 1635"/>
                <a:gd name="T87" fmla="*/ 98 h 3322"/>
                <a:gd name="T88" fmla="*/ 1396 w 1635"/>
                <a:gd name="T89" fmla="*/ 86 h 3322"/>
                <a:gd name="T90" fmla="*/ 1149 w 1635"/>
                <a:gd name="T91" fmla="*/ 86 h 3322"/>
                <a:gd name="T92" fmla="*/ 1123 w 1635"/>
                <a:gd name="T93" fmla="*/ 103 h 3322"/>
                <a:gd name="T94" fmla="*/ 1096 w 1635"/>
                <a:gd name="T95" fmla="*/ 110 h 3322"/>
                <a:gd name="T96" fmla="*/ 1074 w 1635"/>
                <a:gd name="T97" fmla="*/ 110 h 3322"/>
                <a:gd name="T98" fmla="*/ 1046 w 1635"/>
                <a:gd name="T99" fmla="*/ 104 h 3322"/>
                <a:gd name="T100" fmla="*/ 1024 w 1635"/>
                <a:gd name="T101" fmla="*/ 91 h 3322"/>
                <a:gd name="T102" fmla="*/ 243 w 1635"/>
                <a:gd name="T103" fmla="*/ 89 h 3322"/>
                <a:gd name="T104" fmla="*/ 195 w 1635"/>
                <a:gd name="T105" fmla="*/ 96 h 3322"/>
                <a:gd name="T106" fmla="*/ 154 w 1635"/>
                <a:gd name="T107" fmla="*/ 117 h 3322"/>
                <a:gd name="T108" fmla="*/ 120 w 1635"/>
                <a:gd name="T109" fmla="*/ 150 h 3322"/>
                <a:gd name="T110" fmla="*/ 95 w 1635"/>
                <a:gd name="T111" fmla="*/ 191 h 3322"/>
                <a:gd name="T112" fmla="*/ 83 w 1635"/>
                <a:gd name="T113" fmla="*/ 239 h 3322"/>
                <a:gd name="T114" fmla="*/ 1542 w 1635"/>
                <a:gd name="T115" fmla="*/ 277 h 3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35" h="3322">
                  <a:moveTo>
                    <a:pt x="1624" y="250"/>
                  </a:moveTo>
                  <a:lnTo>
                    <a:pt x="1635" y="3065"/>
                  </a:lnTo>
                  <a:lnTo>
                    <a:pt x="1635" y="3065"/>
                  </a:lnTo>
                  <a:lnTo>
                    <a:pt x="1633" y="3090"/>
                  </a:lnTo>
                  <a:lnTo>
                    <a:pt x="1630" y="3116"/>
                  </a:lnTo>
                  <a:lnTo>
                    <a:pt x="1624" y="3140"/>
                  </a:lnTo>
                  <a:lnTo>
                    <a:pt x="1616" y="3163"/>
                  </a:lnTo>
                  <a:lnTo>
                    <a:pt x="1606" y="3185"/>
                  </a:lnTo>
                  <a:lnTo>
                    <a:pt x="1594" y="3206"/>
                  </a:lnTo>
                  <a:lnTo>
                    <a:pt x="1579" y="3225"/>
                  </a:lnTo>
                  <a:lnTo>
                    <a:pt x="1564" y="3243"/>
                  </a:lnTo>
                  <a:lnTo>
                    <a:pt x="1546" y="3259"/>
                  </a:lnTo>
                  <a:lnTo>
                    <a:pt x="1528" y="3274"/>
                  </a:lnTo>
                  <a:lnTo>
                    <a:pt x="1508" y="3287"/>
                  </a:lnTo>
                  <a:lnTo>
                    <a:pt x="1486" y="3297"/>
                  </a:lnTo>
                  <a:lnTo>
                    <a:pt x="1464" y="3305"/>
                  </a:lnTo>
                  <a:lnTo>
                    <a:pt x="1441" y="3312"/>
                  </a:lnTo>
                  <a:lnTo>
                    <a:pt x="1417" y="3315"/>
                  </a:lnTo>
                  <a:lnTo>
                    <a:pt x="1392" y="3317"/>
                  </a:lnTo>
                  <a:lnTo>
                    <a:pt x="257" y="3322"/>
                  </a:lnTo>
                  <a:lnTo>
                    <a:pt x="257" y="3322"/>
                  </a:lnTo>
                  <a:lnTo>
                    <a:pt x="231" y="3321"/>
                  </a:lnTo>
                  <a:lnTo>
                    <a:pt x="207" y="3316"/>
                  </a:lnTo>
                  <a:lnTo>
                    <a:pt x="184" y="3311"/>
                  </a:lnTo>
                  <a:lnTo>
                    <a:pt x="161" y="3302"/>
                  </a:lnTo>
                  <a:lnTo>
                    <a:pt x="140" y="3292"/>
                  </a:lnTo>
                  <a:lnTo>
                    <a:pt x="120" y="3279"/>
                  </a:lnTo>
                  <a:lnTo>
                    <a:pt x="101" y="3265"/>
                  </a:lnTo>
                  <a:lnTo>
                    <a:pt x="83" y="3248"/>
                  </a:lnTo>
                  <a:lnTo>
                    <a:pt x="68" y="3231"/>
                  </a:lnTo>
                  <a:lnTo>
                    <a:pt x="54" y="3212"/>
                  </a:lnTo>
                  <a:lnTo>
                    <a:pt x="42" y="3191"/>
                  </a:lnTo>
                  <a:lnTo>
                    <a:pt x="31" y="3169"/>
                  </a:lnTo>
                  <a:lnTo>
                    <a:pt x="23" y="3146"/>
                  </a:lnTo>
                  <a:lnTo>
                    <a:pt x="16" y="3122"/>
                  </a:lnTo>
                  <a:lnTo>
                    <a:pt x="13" y="3097"/>
                  </a:lnTo>
                  <a:lnTo>
                    <a:pt x="11" y="3072"/>
                  </a:lnTo>
                  <a:lnTo>
                    <a:pt x="0" y="257"/>
                  </a:lnTo>
                  <a:lnTo>
                    <a:pt x="0" y="257"/>
                  </a:lnTo>
                  <a:lnTo>
                    <a:pt x="2" y="230"/>
                  </a:lnTo>
                  <a:lnTo>
                    <a:pt x="5" y="206"/>
                  </a:lnTo>
                  <a:lnTo>
                    <a:pt x="11" y="182"/>
                  </a:lnTo>
                  <a:lnTo>
                    <a:pt x="20" y="159"/>
                  </a:lnTo>
                  <a:lnTo>
                    <a:pt x="30" y="137"/>
                  </a:lnTo>
                  <a:lnTo>
                    <a:pt x="42" y="116"/>
                  </a:lnTo>
                  <a:lnTo>
                    <a:pt x="56" y="96"/>
                  </a:lnTo>
                  <a:lnTo>
                    <a:pt x="71" y="79"/>
                  </a:lnTo>
                  <a:lnTo>
                    <a:pt x="89" y="62"/>
                  </a:lnTo>
                  <a:lnTo>
                    <a:pt x="107" y="48"/>
                  </a:lnTo>
                  <a:lnTo>
                    <a:pt x="127" y="35"/>
                  </a:lnTo>
                  <a:lnTo>
                    <a:pt x="149" y="24"/>
                  </a:lnTo>
                  <a:lnTo>
                    <a:pt x="171" y="16"/>
                  </a:lnTo>
                  <a:lnTo>
                    <a:pt x="194" y="10"/>
                  </a:lnTo>
                  <a:lnTo>
                    <a:pt x="218" y="5"/>
                  </a:lnTo>
                  <a:lnTo>
                    <a:pt x="243" y="4"/>
                  </a:lnTo>
                  <a:lnTo>
                    <a:pt x="1379" y="0"/>
                  </a:lnTo>
                  <a:lnTo>
                    <a:pt x="1379" y="0"/>
                  </a:lnTo>
                  <a:lnTo>
                    <a:pt x="1404" y="1"/>
                  </a:lnTo>
                  <a:lnTo>
                    <a:pt x="1428" y="4"/>
                  </a:lnTo>
                  <a:lnTo>
                    <a:pt x="1451" y="11"/>
                  </a:lnTo>
                  <a:lnTo>
                    <a:pt x="1474" y="20"/>
                  </a:lnTo>
                  <a:lnTo>
                    <a:pt x="1495" y="30"/>
                  </a:lnTo>
                  <a:lnTo>
                    <a:pt x="1516" y="43"/>
                  </a:lnTo>
                  <a:lnTo>
                    <a:pt x="1534" y="57"/>
                  </a:lnTo>
                  <a:lnTo>
                    <a:pt x="1552" y="72"/>
                  </a:lnTo>
                  <a:lnTo>
                    <a:pt x="1567" y="91"/>
                  </a:lnTo>
                  <a:lnTo>
                    <a:pt x="1582" y="110"/>
                  </a:lnTo>
                  <a:lnTo>
                    <a:pt x="1594" y="130"/>
                  </a:lnTo>
                  <a:lnTo>
                    <a:pt x="1605" y="152"/>
                  </a:lnTo>
                  <a:lnTo>
                    <a:pt x="1612" y="175"/>
                  </a:lnTo>
                  <a:lnTo>
                    <a:pt x="1619" y="200"/>
                  </a:lnTo>
                  <a:lnTo>
                    <a:pt x="1622" y="225"/>
                  </a:lnTo>
                  <a:lnTo>
                    <a:pt x="1624" y="250"/>
                  </a:lnTo>
                  <a:close/>
                  <a:moveTo>
                    <a:pt x="1553" y="3065"/>
                  </a:moveTo>
                  <a:lnTo>
                    <a:pt x="1553" y="3041"/>
                  </a:lnTo>
                  <a:lnTo>
                    <a:pt x="93" y="3047"/>
                  </a:lnTo>
                  <a:lnTo>
                    <a:pt x="93" y="3072"/>
                  </a:lnTo>
                  <a:lnTo>
                    <a:pt x="93" y="3072"/>
                  </a:lnTo>
                  <a:lnTo>
                    <a:pt x="94" y="3088"/>
                  </a:lnTo>
                  <a:lnTo>
                    <a:pt x="98" y="3105"/>
                  </a:lnTo>
                  <a:lnTo>
                    <a:pt x="101" y="3121"/>
                  </a:lnTo>
                  <a:lnTo>
                    <a:pt x="106" y="3137"/>
                  </a:lnTo>
                  <a:lnTo>
                    <a:pt x="114" y="3151"/>
                  </a:lnTo>
                  <a:lnTo>
                    <a:pt x="122" y="3164"/>
                  </a:lnTo>
                  <a:lnTo>
                    <a:pt x="132" y="3177"/>
                  </a:lnTo>
                  <a:lnTo>
                    <a:pt x="141" y="3189"/>
                  </a:lnTo>
                  <a:lnTo>
                    <a:pt x="154" y="3199"/>
                  </a:lnTo>
                  <a:lnTo>
                    <a:pt x="166" y="3209"/>
                  </a:lnTo>
                  <a:lnTo>
                    <a:pt x="179" y="3218"/>
                  </a:lnTo>
                  <a:lnTo>
                    <a:pt x="193" y="3224"/>
                  </a:lnTo>
                  <a:lnTo>
                    <a:pt x="208" y="3230"/>
                  </a:lnTo>
                  <a:lnTo>
                    <a:pt x="224" y="3234"/>
                  </a:lnTo>
                  <a:lnTo>
                    <a:pt x="239" y="3236"/>
                  </a:lnTo>
                  <a:lnTo>
                    <a:pt x="256" y="3237"/>
                  </a:lnTo>
                  <a:lnTo>
                    <a:pt x="1392" y="3233"/>
                  </a:lnTo>
                  <a:lnTo>
                    <a:pt x="1392" y="3233"/>
                  </a:lnTo>
                  <a:lnTo>
                    <a:pt x="1408" y="3232"/>
                  </a:lnTo>
                  <a:lnTo>
                    <a:pt x="1425" y="3230"/>
                  </a:lnTo>
                  <a:lnTo>
                    <a:pt x="1440" y="3225"/>
                  </a:lnTo>
                  <a:lnTo>
                    <a:pt x="1454" y="3220"/>
                  </a:lnTo>
                  <a:lnTo>
                    <a:pt x="1469" y="3212"/>
                  </a:lnTo>
                  <a:lnTo>
                    <a:pt x="1482" y="3205"/>
                  </a:lnTo>
                  <a:lnTo>
                    <a:pt x="1494" y="3195"/>
                  </a:lnTo>
                  <a:lnTo>
                    <a:pt x="1506" y="3184"/>
                  </a:lnTo>
                  <a:lnTo>
                    <a:pt x="1516" y="3172"/>
                  </a:lnTo>
                  <a:lnTo>
                    <a:pt x="1526" y="3158"/>
                  </a:lnTo>
                  <a:lnTo>
                    <a:pt x="1533" y="3145"/>
                  </a:lnTo>
                  <a:lnTo>
                    <a:pt x="1540" y="3130"/>
                  </a:lnTo>
                  <a:lnTo>
                    <a:pt x="1545" y="3115"/>
                  </a:lnTo>
                  <a:lnTo>
                    <a:pt x="1550" y="3099"/>
                  </a:lnTo>
                  <a:lnTo>
                    <a:pt x="1552" y="3083"/>
                  </a:lnTo>
                  <a:lnTo>
                    <a:pt x="1553" y="3065"/>
                  </a:lnTo>
                  <a:close/>
                  <a:moveTo>
                    <a:pt x="1553" y="3001"/>
                  </a:moveTo>
                  <a:lnTo>
                    <a:pt x="1542" y="317"/>
                  </a:lnTo>
                  <a:lnTo>
                    <a:pt x="83" y="323"/>
                  </a:lnTo>
                  <a:lnTo>
                    <a:pt x="93" y="3006"/>
                  </a:lnTo>
                  <a:lnTo>
                    <a:pt x="1553" y="3001"/>
                  </a:lnTo>
                  <a:close/>
                  <a:moveTo>
                    <a:pt x="1542" y="277"/>
                  </a:moveTo>
                  <a:lnTo>
                    <a:pt x="1542" y="250"/>
                  </a:lnTo>
                  <a:lnTo>
                    <a:pt x="1542" y="250"/>
                  </a:lnTo>
                  <a:lnTo>
                    <a:pt x="1541" y="234"/>
                  </a:lnTo>
                  <a:lnTo>
                    <a:pt x="1539" y="217"/>
                  </a:lnTo>
                  <a:lnTo>
                    <a:pt x="1534" y="201"/>
                  </a:lnTo>
                  <a:lnTo>
                    <a:pt x="1529" y="185"/>
                  </a:lnTo>
                  <a:lnTo>
                    <a:pt x="1522" y="171"/>
                  </a:lnTo>
                  <a:lnTo>
                    <a:pt x="1514" y="158"/>
                  </a:lnTo>
                  <a:lnTo>
                    <a:pt x="1505" y="145"/>
                  </a:lnTo>
                  <a:lnTo>
                    <a:pt x="1494" y="133"/>
                  </a:lnTo>
                  <a:lnTo>
                    <a:pt x="1483" y="122"/>
                  </a:lnTo>
                  <a:lnTo>
                    <a:pt x="1470" y="113"/>
                  </a:lnTo>
                  <a:lnTo>
                    <a:pt x="1457" y="104"/>
                  </a:lnTo>
                  <a:lnTo>
                    <a:pt x="1442" y="98"/>
                  </a:lnTo>
                  <a:lnTo>
                    <a:pt x="1428" y="92"/>
                  </a:lnTo>
                  <a:lnTo>
                    <a:pt x="1412" y="88"/>
                  </a:lnTo>
                  <a:lnTo>
                    <a:pt x="1396" y="86"/>
                  </a:lnTo>
                  <a:lnTo>
                    <a:pt x="1380" y="84"/>
                  </a:lnTo>
                  <a:lnTo>
                    <a:pt x="1149" y="86"/>
                  </a:lnTo>
                  <a:lnTo>
                    <a:pt x="1149" y="86"/>
                  </a:lnTo>
                  <a:lnTo>
                    <a:pt x="1142" y="93"/>
                  </a:lnTo>
                  <a:lnTo>
                    <a:pt x="1132" y="99"/>
                  </a:lnTo>
                  <a:lnTo>
                    <a:pt x="1123" y="103"/>
                  </a:lnTo>
                  <a:lnTo>
                    <a:pt x="1113" y="106"/>
                  </a:lnTo>
                  <a:lnTo>
                    <a:pt x="1104" y="109"/>
                  </a:lnTo>
                  <a:lnTo>
                    <a:pt x="1096" y="110"/>
                  </a:lnTo>
                  <a:lnTo>
                    <a:pt x="1084" y="110"/>
                  </a:lnTo>
                  <a:lnTo>
                    <a:pt x="1084" y="110"/>
                  </a:lnTo>
                  <a:lnTo>
                    <a:pt x="1074" y="110"/>
                  </a:lnTo>
                  <a:lnTo>
                    <a:pt x="1064" y="109"/>
                  </a:lnTo>
                  <a:lnTo>
                    <a:pt x="1054" y="106"/>
                  </a:lnTo>
                  <a:lnTo>
                    <a:pt x="1046" y="104"/>
                  </a:lnTo>
                  <a:lnTo>
                    <a:pt x="1038" y="100"/>
                  </a:lnTo>
                  <a:lnTo>
                    <a:pt x="1031" y="96"/>
                  </a:lnTo>
                  <a:lnTo>
                    <a:pt x="1024" y="91"/>
                  </a:lnTo>
                  <a:lnTo>
                    <a:pt x="1019" y="86"/>
                  </a:lnTo>
                  <a:lnTo>
                    <a:pt x="243" y="89"/>
                  </a:lnTo>
                  <a:lnTo>
                    <a:pt x="243" y="89"/>
                  </a:lnTo>
                  <a:lnTo>
                    <a:pt x="227" y="90"/>
                  </a:lnTo>
                  <a:lnTo>
                    <a:pt x="212" y="92"/>
                  </a:lnTo>
                  <a:lnTo>
                    <a:pt x="195" y="96"/>
                  </a:lnTo>
                  <a:lnTo>
                    <a:pt x="181" y="102"/>
                  </a:lnTo>
                  <a:lnTo>
                    <a:pt x="167" y="110"/>
                  </a:lnTo>
                  <a:lnTo>
                    <a:pt x="154" y="117"/>
                  </a:lnTo>
                  <a:lnTo>
                    <a:pt x="141" y="127"/>
                  </a:lnTo>
                  <a:lnTo>
                    <a:pt x="129" y="138"/>
                  </a:lnTo>
                  <a:lnTo>
                    <a:pt x="120" y="150"/>
                  </a:lnTo>
                  <a:lnTo>
                    <a:pt x="110" y="163"/>
                  </a:lnTo>
                  <a:lnTo>
                    <a:pt x="102" y="177"/>
                  </a:lnTo>
                  <a:lnTo>
                    <a:pt x="95" y="191"/>
                  </a:lnTo>
                  <a:lnTo>
                    <a:pt x="90" y="206"/>
                  </a:lnTo>
                  <a:lnTo>
                    <a:pt x="86" y="223"/>
                  </a:lnTo>
                  <a:lnTo>
                    <a:pt x="83" y="239"/>
                  </a:lnTo>
                  <a:lnTo>
                    <a:pt x="82" y="255"/>
                  </a:lnTo>
                  <a:lnTo>
                    <a:pt x="83" y="283"/>
                  </a:lnTo>
                  <a:lnTo>
                    <a:pt x="1542" y="277"/>
                  </a:lnTo>
                  <a:close/>
                </a:path>
              </a:pathLst>
            </a:custGeom>
            <a:solidFill>
              <a:srgbClr val="4B4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31"/>
            <p:cNvSpPr>
              <a:spLocks/>
            </p:cNvSpPr>
            <p:nvPr/>
          </p:nvSpPr>
          <p:spPr bwMode="auto">
            <a:xfrm>
              <a:off x="2818" y="-169"/>
              <a:ext cx="818" cy="1661"/>
            </a:xfrm>
            <a:custGeom>
              <a:avLst/>
              <a:gdLst>
                <a:gd name="T0" fmla="*/ 1635 w 1635"/>
                <a:gd name="T1" fmla="*/ 3065 h 3322"/>
                <a:gd name="T2" fmla="*/ 1633 w 1635"/>
                <a:gd name="T3" fmla="*/ 3090 h 3322"/>
                <a:gd name="T4" fmla="*/ 1624 w 1635"/>
                <a:gd name="T5" fmla="*/ 3140 h 3322"/>
                <a:gd name="T6" fmla="*/ 1606 w 1635"/>
                <a:gd name="T7" fmla="*/ 3185 h 3322"/>
                <a:gd name="T8" fmla="*/ 1579 w 1635"/>
                <a:gd name="T9" fmla="*/ 3225 h 3322"/>
                <a:gd name="T10" fmla="*/ 1546 w 1635"/>
                <a:gd name="T11" fmla="*/ 3259 h 3322"/>
                <a:gd name="T12" fmla="*/ 1508 w 1635"/>
                <a:gd name="T13" fmla="*/ 3287 h 3322"/>
                <a:gd name="T14" fmla="*/ 1464 w 1635"/>
                <a:gd name="T15" fmla="*/ 3305 h 3322"/>
                <a:gd name="T16" fmla="*/ 1417 w 1635"/>
                <a:gd name="T17" fmla="*/ 3315 h 3322"/>
                <a:gd name="T18" fmla="*/ 257 w 1635"/>
                <a:gd name="T19" fmla="*/ 3322 h 3322"/>
                <a:gd name="T20" fmla="*/ 231 w 1635"/>
                <a:gd name="T21" fmla="*/ 3321 h 3322"/>
                <a:gd name="T22" fmla="*/ 184 w 1635"/>
                <a:gd name="T23" fmla="*/ 3311 h 3322"/>
                <a:gd name="T24" fmla="*/ 140 w 1635"/>
                <a:gd name="T25" fmla="*/ 3292 h 3322"/>
                <a:gd name="T26" fmla="*/ 101 w 1635"/>
                <a:gd name="T27" fmla="*/ 3265 h 3322"/>
                <a:gd name="T28" fmla="*/ 68 w 1635"/>
                <a:gd name="T29" fmla="*/ 3231 h 3322"/>
                <a:gd name="T30" fmla="*/ 42 w 1635"/>
                <a:gd name="T31" fmla="*/ 3191 h 3322"/>
                <a:gd name="T32" fmla="*/ 23 w 1635"/>
                <a:gd name="T33" fmla="*/ 3146 h 3322"/>
                <a:gd name="T34" fmla="*/ 13 w 1635"/>
                <a:gd name="T35" fmla="*/ 3097 h 3322"/>
                <a:gd name="T36" fmla="*/ 0 w 1635"/>
                <a:gd name="T37" fmla="*/ 257 h 3322"/>
                <a:gd name="T38" fmla="*/ 2 w 1635"/>
                <a:gd name="T39" fmla="*/ 230 h 3322"/>
                <a:gd name="T40" fmla="*/ 11 w 1635"/>
                <a:gd name="T41" fmla="*/ 182 h 3322"/>
                <a:gd name="T42" fmla="*/ 30 w 1635"/>
                <a:gd name="T43" fmla="*/ 137 h 3322"/>
                <a:gd name="T44" fmla="*/ 56 w 1635"/>
                <a:gd name="T45" fmla="*/ 96 h 3322"/>
                <a:gd name="T46" fmla="*/ 89 w 1635"/>
                <a:gd name="T47" fmla="*/ 62 h 3322"/>
                <a:gd name="T48" fmla="*/ 127 w 1635"/>
                <a:gd name="T49" fmla="*/ 35 h 3322"/>
                <a:gd name="T50" fmla="*/ 171 w 1635"/>
                <a:gd name="T51" fmla="*/ 16 h 3322"/>
                <a:gd name="T52" fmla="*/ 218 w 1635"/>
                <a:gd name="T53" fmla="*/ 5 h 3322"/>
                <a:gd name="T54" fmla="*/ 1379 w 1635"/>
                <a:gd name="T55" fmla="*/ 0 h 3322"/>
                <a:gd name="T56" fmla="*/ 1404 w 1635"/>
                <a:gd name="T57" fmla="*/ 1 h 3322"/>
                <a:gd name="T58" fmla="*/ 1451 w 1635"/>
                <a:gd name="T59" fmla="*/ 11 h 3322"/>
                <a:gd name="T60" fmla="*/ 1495 w 1635"/>
                <a:gd name="T61" fmla="*/ 30 h 3322"/>
                <a:gd name="T62" fmla="*/ 1534 w 1635"/>
                <a:gd name="T63" fmla="*/ 57 h 3322"/>
                <a:gd name="T64" fmla="*/ 1567 w 1635"/>
                <a:gd name="T65" fmla="*/ 91 h 3322"/>
                <a:gd name="T66" fmla="*/ 1594 w 1635"/>
                <a:gd name="T67" fmla="*/ 130 h 3322"/>
                <a:gd name="T68" fmla="*/ 1612 w 1635"/>
                <a:gd name="T69" fmla="*/ 175 h 3322"/>
                <a:gd name="T70" fmla="*/ 1622 w 1635"/>
                <a:gd name="T71" fmla="*/ 225 h 3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35" h="3322">
                  <a:moveTo>
                    <a:pt x="1624" y="250"/>
                  </a:moveTo>
                  <a:lnTo>
                    <a:pt x="1635" y="3065"/>
                  </a:lnTo>
                  <a:lnTo>
                    <a:pt x="1635" y="3065"/>
                  </a:lnTo>
                  <a:lnTo>
                    <a:pt x="1633" y="3090"/>
                  </a:lnTo>
                  <a:lnTo>
                    <a:pt x="1630" y="3116"/>
                  </a:lnTo>
                  <a:lnTo>
                    <a:pt x="1624" y="3140"/>
                  </a:lnTo>
                  <a:lnTo>
                    <a:pt x="1616" y="3163"/>
                  </a:lnTo>
                  <a:lnTo>
                    <a:pt x="1606" y="3185"/>
                  </a:lnTo>
                  <a:lnTo>
                    <a:pt x="1594" y="3206"/>
                  </a:lnTo>
                  <a:lnTo>
                    <a:pt x="1579" y="3225"/>
                  </a:lnTo>
                  <a:lnTo>
                    <a:pt x="1564" y="3243"/>
                  </a:lnTo>
                  <a:lnTo>
                    <a:pt x="1546" y="3259"/>
                  </a:lnTo>
                  <a:lnTo>
                    <a:pt x="1528" y="3274"/>
                  </a:lnTo>
                  <a:lnTo>
                    <a:pt x="1508" y="3287"/>
                  </a:lnTo>
                  <a:lnTo>
                    <a:pt x="1486" y="3297"/>
                  </a:lnTo>
                  <a:lnTo>
                    <a:pt x="1464" y="3305"/>
                  </a:lnTo>
                  <a:lnTo>
                    <a:pt x="1441" y="3312"/>
                  </a:lnTo>
                  <a:lnTo>
                    <a:pt x="1417" y="3315"/>
                  </a:lnTo>
                  <a:lnTo>
                    <a:pt x="1392" y="3317"/>
                  </a:lnTo>
                  <a:lnTo>
                    <a:pt x="257" y="3322"/>
                  </a:lnTo>
                  <a:lnTo>
                    <a:pt x="257" y="3322"/>
                  </a:lnTo>
                  <a:lnTo>
                    <a:pt x="231" y="3321"/>
                  </a:lnTo>
                  <a:lnTo>
                    <a:pt x="207" y="3316"/>
                  </a:lnTo>
                  <a:lnTo>
                    <a:pt x="184" y="3311"/>
                  </a:lnTo>
                  <a:lnTo>
                    <a:pt x="161" y="3302"/>
                  </a:lnTo>
                  <a:lnTo>
                    <a:pt x="140" y="3292"/>
                  </a:lnTo>
                  <a:lnTo>
                    <a:pt x="120" y="3279"/>
                  </a:lnTo>
                  <a:lnTo>
                    <a:pt x="101" y="3265"/>
                  </a:lnTo>
                  <a:lnTo>
                    <a:pt x="83" y="3248"/>
                  </a:lnTo>
                  <a:lnTo>
                    <a:pt x="68" y="3231"/>
                  </a:lnTo>
                  <a:lnTo>
                    <a:pt x="54" y="3212"/>
                  </a:lnTo>
                  <a:lnTo>
                    <a:pt x="42" y="3191"/>
                  </a:lnTo>
                  <a:lnTo>
                    <a:pt x="31" y="3169"/>
                  </a:lnTo>
                  <a:lnTo>
                    <a:pt x="23" y="3146"/>
                  </a:lnTo>
                  <a:lnTo>
                    <a:pt x="16" y="3122"/>
                  </a:lnTo>
                  <a:lnTo>
                    <a:pt x="13" y="3097"/>
                  </a:lnTo>
                  <a:lnTo>
                    <a:pt x="11" y="3072"/>
                  </a:lnTo>
                  <a:lnTo>
                    <a:pt x="0" y="257"/>
                  </a:lnTo>
                  <a:lnTo>
                    <a:pt x="0" y="257"/>
                  </a:lnTo>
                  <a:lnTo>
                    <a:pt x="2" y="230"/>
                  </a:lnTo>
                  <a:lnTo>
                    <a:pt x="5" y="206"/>
                  </a:lnTo>
                  <a:lnTo>
                    <a:pt x="11" y="182"/>
                  </a:lnTo>
                  <a:lnTo>
                    <a:pt x="20" y="159"/>
                  </a:lnTo>
                  <a:lnTo>
                    <a:pt x="30" y="137"/>
                  </a:lnTo>
                  <a:lnTo>
                    <a:pt x="42" y="116"/>
                  </a:lnTo>
                  <a:lnTo>
                    <a:pt x="56" y="96"/>
                  </a:lnTo>
                  <a:lnTo>
                    <a:pt x="71" y="79"/>
                  </a:lnTo>
                  <a:lnTo>
                    <a:pt x="89" y="62"/>
                  </a:lnTo>
                  <a:lnTo>
                    <a:pt x="107" y="48"/>
                  </a:lnTo>
                  <a:lnTo>
                    <a:pt x="127" y="35"/>
                  </a:lnTo>
                  <a:lnTo>
                    <a:pt x="149" y="24"/>
                  </a:lnTo>
                  <a:lnTo>
                    <a:pt x="171" y="16"/>
                  </a:lnTo>
                  <a:lnTo>
                    <a:pt x="194" y="10"/>
                  </a:lnTo>
                  <a:lnTo>
                    <a:pt x="218" y="5"/>
                  </a:lnTo>
                  <a:lnTo>
                    <a:pt x="243" y="4"/>
                  </a:lnTo>
                  <a:lnTo>
                    <a:pt x="1379" y="0"/>
                  </a:lnTo>
                  <a:lnTo>
                    <a:pt x="1379" y="0"/>
                  </a:lnTo>
                  <a:lnTo>
                    <a:pt x="1404" y="1"/>
                  </a:lnTo>
                  <a:lnTo>
                    <a:pt x="1428" y="4"/>
                  </a:lnTo>
                  <a:lnTo>
                    <a:pt x="1451" y="11"/>
                  </a:lnTo>
                  <a:lnTo>
                    <a:pt x="1474" y="20"/>
                  </a:lnTo>
                  <a:lnTo>
                    <a:pt x="1495" y="30"/>
                  </a:lnTo>
                  <a:lnTo>
                    <a:pt x="1516" y="43"/>
                  </a:lnTo>
                  <a:lnTo>
                    <a:pt x="1534" y="57"/>
                  </a:lnTo>
                  <a:lnTo>
                    <a:pt x="1552" y="72"/>
                  </a:lnTo>
                  <a:lnTo>
                    <a:pt x="1567" y="91"/>
                  </a:lnTo>
                  <a:lnTo>
                    <a:pt x="1582" y="110"/>
                  </a:lnTo>
                  <a:lnTo>
                    <a:pt x="1594" y="130"/>
                  </a:lnTo>
                  <a:lnTo>
                    <a:pt x="1605" y="152"/>
                  </a:lnTo>
                  <a:lnTo>
                    <a:pt x="1612" y="175"/>
                  </a:lnTo>
                  <a:lnTo>
                    <a:pt x="1619" y="200"/>
                  </a:lnTo>
                  <a:lnTo>
                    <a:pt x="1622" y="225"/>
                  </a:lnTo>
                  <a:lnTo>
                    <a:pt x="1624" y="2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32"/>
            <p:cNvSpPr>
              <a:spLocks/>
            </p:cNvSpPr>
            <p:nvPr/>
          </p:nvSpPr>
          <p:spPr bwMode="auto">
            <a:xfrm>
              <a:off x="2865" y="1352"/>
              <a:ext cx="730" cy="98"/>
            </a:xfrm>
            <a:custGeom>
              <a:avLst/>
              <a:gdLst>
                <a:gd name="T0" fmla="*/ 1460 w 1460"/>
                <a:gd name="T1" fmla="*/ 24 h 196"/>
                <a:gd name="T2" fmla="*/ 1460 w 1460"/>
                <a:gd name="T3" fmla="*/ 0 h 196"/>
                <a:gd name="T4" fmla="*/ 0 w 1460"/>
                <a:gd name="T5" fmla="*/ 6 h 196"/>
                <a:gd name="T6" fmla="*/ 0 w 1460"/>
                <a:gd name="T7" fmla="*/ 31 h 196"/>
                <a:gd name="T8" fmla="*/ 0 w 1460"/>
                <a:gd name="T9" fmla="*/ 31 h 196"/>
                <a:gd name="T10" fmla="*/ 1 w 1460"/>
                <a:gd name="T11" fmla="*/ 47 h 196"/>
                <a:gd name="T12" fmla="*/ 5 w 1460"/>
                <a:gd name="T13" fmla="*/ 64 h 196"/>
                <a:gd name="T14" fmla="*/ 8 w 1460"/>
                <a:gd name="T15" fmla="*/ 80 h 196"/>
                <a:gd name="T16" fmla="*/ 13 w 1460"/>
                <a:gd name="T17" fmla="*/ 96 h 196"/>
                <a:gd name="T18" fmla="*/ 21 w 1460"/>
                <a:gd name="T19" fmla="*/ 110 h 196"/>
                <a:gd name="T20" fmla="*/ 29 w 1460"/>
                <a:gd name="T21" fmla="*/ 123 h 196"/>
                <a:gd name="T22" fmla="*/ 39 w 1460"/>
                <a:gd name="T23" fmla="*/ 136 h 196"/>
                <a:gd name="T24" fmla="*/ 48 w 1460"/>
                <a:gd name="T25" fmla="*/ 148 h 196"/>
                <a:gd name="T26" fmla="*/ 61 w 1460"/>
                <a:gd name="T27" fmla="*/ 158 h 196"/>
                <a:gd name="T28" fmla="*/ 73 w 1460"/>
                <a:gd name="T29" fmla="*/ 168 h 196"/>
                <a:gd name="T30" fmla="*/ 86 w 1460"/>
                <a:gd name="T31" fmla="*/ 177 h 196"/>
                <a:gd name="T32" fmla="*/ 100 w 1460"/>
                <a:gd name="T33" fmla="*/ 183 h 196"/>
                <a:gd name="T34" fmla="*/ 115 w 1460"/>
                <a:gd name="T35" fmla="*/ 189 h 196"/>
                <a:gd name="T36" fmla="*/ 131 w 1460"/>
                <a:gd name="T37" fmla="*/ 193 h 196"/>
                <a:gd name="T38" fmla="*/ 146 w 1460"/>
                <a:gd name="T39" fmla="*/ 195 h 196"/>
                <a:gd name="T40" fmla="*/ 163 w 1460"/>
                <a:gd name="T41" fmla="*/ 196 h 196"/>
                <a:gd name="T42" fmla="*/ 1299 w 1460"/>
                <a:gd name="T43" fmla="*/ 192 h 196"/>
                <a:gd name="T44" fmla="*/ 1299 w 1460"/>
                <a:gd name="T45" fmla="*/ 192 h 196"/>
                <a:gd name="T46" fmla="*/ 1315 w 1460"/>
                <a:gd name="T47" fmla="*/ 191 h 196"/>
                <a:gd name="T48" fmla="*/ 1332 w 1460"/>
                <a:gd name="T49" fmla="*/ 189 h 196"/>
                <a:gd name="T50" fmla="*/ 1347 w 1460"/>
                <a:gd name="T51" fmla="*/ 184 h 196"/>
                <a:gd name="T52" fmla="*/ 1361 w 1460"/>
                <a:gd name="T53" fmla="*/ 179 h 196"/>
                <a:gd name="T54" fmla="*/ 1376 w 1460"/>
                <a:gd name="T55" fmla="*/ 171 h 196"/>
                <a:gd name="T56" fmla="*/ 1389 w 1460"/>
                <a:gd name="T57" fmla="*/ 164 h 196"/>
                <a:gd name="T58" fmla="*/ 1401 w 1460"/>
                <a:gd name="T59" fmla="*/ 154 h 196"/>
                <a:gd name="T60" fmla="*/ 1413 w 1460"/>
                <a:gd name="T61" fmla="*/ 143 h 196"/>
                <a:gd name="T62" fmla="*/ 1423 w 1460"/>
                <a:gd name="T63" fmla="*/ 131 h 196"/>
                <a:gd name="T64" fmla="*/ 1433 w 1460"/>
                <a:gd name="T65" fmla="*/ 117 h 196"/>
                <a:gd name="T66" fmla="*/ 1440 w 1460"/>
                <a:gd name="T67" fmla="*/ 104 h 196"/>
                <a:gd name="T68" fmla="*/ 1447 w 1460"/>
                <a:gd name="T69" fmla="*/ 89 h 196"/>
                <a:gd name="T70" fmla="*/ 1452 w 1460"/>
                <a:gd name="T71" fmla="*/ 74 h 196"/>
                <a:gd name="T72" fmla="*/ 1457 w 1460"/>
                <a:gd name="T73" fmla="*/ 58 h 196"/>
                <a:gd name="T74" fmla="*/ 1459 w 1460"/>
                <a:gd name="T75" fmla="*/ 42 h 196"/>
                <a:gd name="T76" fmla="*/ 1460 w 1460"/>
                <a:gd name="T77" fmla="*/ 2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60" h="196">
                  <a:moveTo>
                    <a:pt x="1460" y="24"/>
                  </a:moveTo>
                  <a:lnTo>
                    <a:pt x="1460" y="0"/>
                  </a:lnTo>
                  <a:lnTo>
                    <a:pt x="0" y="6"/>
                  </a:lnTo>
                  <a:lnTo>
                    <a:pt x="0" y="31"/>
                  </a:lnTo>
                  <a:lnTo>
                    <a:pt x="0" y="31"/>
                  </a:lnTo>
                  <a:lnTo>
                    <a:pt x="1" y="47"/>
                  </a:lnTo>
                  <a:lnTo>
                    <a:pt x="5" y="64"/>
                  </a:lnTo>
                  <a:lnTo>
                    <a:pt x="8" y="80"/>
                  </a:lnTo>
                  <a:lnTo>
                    <a:pt x="13" y="96"/>
                  </a:lnTo>
                  <a:lnTo>
                    <a:pt x="21" y="110"/>
                  </a:lnTo>
                  <a:lnTo>
                    <a:pt x="29" y="123"/>
                  </a:lnTo>
                  <a:lnTo>
                    <a:pt x="39" y="136"/>
                  </a:lnTo>
                  <a:lnTo>
                    <a:pt x="48" y="148"/>
                  </a:lnTo>
                  <a:lnTo>
                    <a:pt x="61" y="158"/>
                  </a:lnTo>
                  <a:lnTo>
                    <a:pt x="73" y="168"/>
                  </a:lnTo>
                  <a:lnTo>
                    <a:pt x="86" y="177"/>
                  </a:lnTo>
                  <a:lnTo>
                    <a:pt x="100" y="183"/>
                  </a:lnTo>
                  <a:lnTo>
                    <a:pt x="115" y="189"/>
                  </a:lnTo>
                  <a:lnTo>
                    <a:pt x="131" y="193"/>
                  </a:lnTo>
                  <a:lnTo>
                    <a:pt x="146" y="195"/>
                  </a:lnTo>
                  <a:lnTo>
                    <a:pt x="163" y="196"/>
                  </a:lnTo>
                  <a:lnTo>
                    <a:pt x="1299" y="192"/>
                  </a:lnTo>
                  <a:lnTo>
                    <a:pt x="1299" y="192"/>
                  </a:lnTo>
                  <a:lnTo>
                    <a:pt x="1315" y="191"/>
                  </a:lnTo>
                  <a:lnTo>
                    <a:pt x="1332" y="189"/>
                  </a:lnTo>
                  <a:lnTo>
                    <a:pt x="1347" y="184"/>
                  </a:lnTo>
                  <a:lnTo>
                    <a:pt x="1361" y="179"/>
                  </a:lnTo>
                  <a:lnTo>
                    <a:pt x="1376" y="171"/>
                  </a:lnTo>
                  <a:lnTo>
                    <a:pt x="1389" y="164"/>
                  </a:lnTo>
                  <a:lnTo>
                    <a:pt x="1401" y="154"/>
                  </a:lnTo>
                  <a:lnTo>
                    <a:pt x="1413" y="143"/>
                  </a:lnTo>
                  <a:lnTo>
                    <a:pt x="1423" y="131"/>
                  </a:lnTo>
                  <a:lnTo>
                    <a:pt x="1433" y="117"/>
                  </a:lnTo>
                  <a:lnTo>
                    <a:pt x="1440" y="104"/>
                  </a:lnTo>
                  <a:lnTo>
                    <a:pt x="1447" y="89"/>
                  </a:lnTo>
                  <a:lnTo>
                    <a:pt x="1452" y="74"/>
                  </a:lnTo>
                  <a:lnTo>
                    <a:pt x="1457" y="58"/>
                  </a:lnTo>
                  <a:lnTo>
                    <a:pt x="1459" y="42"/>
                  </a:lnTo>
                  <a:lnTo>
                    <a:pt x="1460"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33"/>
            <p:cNvSpPr>
              <a:spLocks/>
            </p:cNvSpPr>
            <p:nvPr/>
          </p:nvSpPr>
          <p:spPr bwMode="auto">
            <a:xfrm>
              <a:off x="2860" y="-11"/>
              <a:ext cx="735" cy="1345"/>
            </a:xfrm>
            <a:custGeom>
              <a:avLst/>
              <a:gdLst>
                <a:gd name="T0" fmla="*/ 1470 w 1470"/>
                <a:gd name="T1" fmla="*/ 2684 h 2689"/>
                <a:gd name="T2" fmla="*/ 1459 w 1470"/>
                <a:gd name="T3" fmla="*/ 0 h 2689"/>
                <a:gd name="T4" fmla="*/ 0 w 1470"/>
                <a:gd name="T5" fmla="*/ 6 h 2689"/>
                <a:gd name="T6" fmla="*/ 10 w 1470"/>
                <a:gd name="T7" fmla="*/ 2689 h 2689"/>
                <a:gd name="T8" fmla="*/ 1470 w 1470"/>
                <a:gd name="T9" fmla="*/ 2684 h 2689"/>
              </a:gdLst>
              <a:ahLst/>
              <a:cxnLst>
                <a:cxn ang="0">
                  <a:pos x="T0" y="T1"/>
                </a:cxn>
                <a:cxn ang="0">
                  <a:pos x="T2" y="T3"/>
                </a:cxn>
                <a:cxn ang="0">
                  <a:pos x="T4" y="T5"/>
                </a:cxn>
                <a:cxn ang="0">
                  <a:pos x="T6" y="T7"/>
                </a:cxn>
                <a:cxn ang="0">
                  <a:pos x="T8" y="T9"/>
                </a:cxn>
              </a:cxnLst>
              <a:rect l="0" t="0" r="r" b="b"/>
              <a:pathLst>
                <a:path w="1470" h="2689">
                  <a:moveTo>
                    <a:pt x="1470" y="2684"/>
                  </a:moveTo>
                  <a:lnTo>
                    <a:pt x="1459" y="0"/>
                  </a:lnTo>
                  <a:lnTo>
                    <a:pt x="0" y="6"/>
                  </a:lnTo>
                  <a:lnTo>
                    <a:pt x="10" y="2689"/>
                  </a:lnTo>
                  <a:lnTo>
                    <a:pt x="1470" y="26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34"/>
            <p:cNvSpPr>
              <a:spLocks/>
            </p:cNvSpPr>
            <p:nvPr/>
          </p:nvSpPr>
          <p:spPr bwMode="auto">
            <a:xfrm>
              <a:off x="2859" y="-127"/>
              <a:ext cx="730" cy="99"/>
            </a:xfrm>
            <a:custGeom>
              <a:avLst/>
              <a:gdLst>
                <a:gd name="T0" fmla="*/ 1460 w 1460"/>
                <a:gd name="T1" fmla="*/ 193 h 199"/>
                <a:gd name="T2" fmla="*/ 1460 w 1460"/>
                <a:gd name="T3" fmla="*/ 166 h 199"/>
                <a:gd name="T4" fmla="*/ 1460 w 1460"/>
                <a:gd name="T5" fmla="*/ 166 h 199"/>
                <a:gd name="T6" fmla="*/ 1459 w 1460"/>
                <a:gd name="T7" fmla="*/ 150 h 199"/>
                <a:gd name="T8" fmla="*/ 1457 w 1460"/>
                <a:gd name="T9" fmla="*/ 133 h 199"/>
                <a:gd name="T10" fmla="*/ 1452 w 1460"/>
                <a:gd name="T11" fmla="*/ 117 h 199"/>
                <a:gd name="T12" fmla="*/ 1447 w 1460"/>
                <a:gd name="T13" fmla="*/ 101 h 199"/>
                <a:gd name="T14" fmla="*/ 1440 w 1460"/>
                <a:gd name="T15" fmla="*/ 87 h 199"/>
                <a:gd name="T16" fmla="*/ 1432 w 1460"/>
                <a:gd name="T17" fmla="*/ 74 h 199"/>
                <a:gd name="T18" fmla="*/ 1423 w 1460"/>
                <a:gd name="T19" fmla="*/ 61 h 199"/>
                <a:gd name="T20" fmla="*/ 1412 w 1460"/>
                <a:gd name="T21" fmla="*/ 49 h 199"/>
                <a:gd name="T22" fmla="*/ 1401 w 1460"/>
                <a:gd name="T23" fmla="*/ 38 h 199"/>
                <a:gd name="T24" fmla="*/ 1388 w 1460"/>
                <a:gd name="T25" fmla="*/ 29 h 199"/>
                <a:gd name="T26" fmla="*/ 1375 w 1460"/>
                <a:gd name="T27" fmla="*/ 20 h 199"/>
                <a:gd name="T28" fmla="*/ 1360 w 1460"/>
                <a:gd name="T29" fmla="*/ 14 h 199"/>
                <a:gd name="T30" fmla="*/ 1346 w 1460"/>
                <a:gd name="T31" fmla="*/ 8 h 199"/>
                <a:gd name="T32" fmla="*/ 1330 w 1460"/>
                <a:gd name="T33" fmla="*/ 4 h 199"/>
                <a:gd name="T34" fmla="*/ 1314 w 1460"/>
                <a:gd name="T35" fmla="*/ 2 h 199"/>
                <a:gd name="T36" fmla="*/ 1298 w 1460"/>
                <a:gd name="T37" fmla="*/ 0 h 199"/>
                <a:gd name="T38" fmla="*/ 1067 w 1460"/>
                <a:gd name="T39" fmla="*/ 2 h 199"/>
                <a:gd name="T40" fmla="*/ 1067 w 1460"/>
                <a:gd name="T41" fmla="*/ 2 h 199"/>
                <a:gd name="T42" fmla="*/ 1060 w 1460"/>
                <a:gd name="T43" fmla="*/ 9 h 199"/>
                <a:gd name="T44" fmla="*/ 1050 w 1460"/>
                <a:gd name="T45" fmla="*/ 15 h 199"/>
                <a:gd name="T46" fmla="*/ 1041 w 1460"/>
                <a:gd name="T47" fmla="*/ 19 h 199"/>
                <a:gd name="T48" fmla="*/ 1031 w 1460"/>
                <a:gd name="T49" fmla="*/ 22 h 199"/>
                <a:gd name="T50" fmla="*/ 1022 w 1460"/>
                <a:gd name="T51" fmla="*/ 25 h 199"/>
                <a:gd name="T52" fmla="*/ 1014 w 1460"/>
                <a:gd name="T53" fmla="*/ 26 h 199"/>
                <a:gd name="T54" fmla="*/ 1002 w 1460"/>
                <a:gd name="T55" fmla="*/ 26 h 199"/>
                <a:gd name="T56" fmla="*/ 1002 w 1460"/>
                <a:gd name="T57" fmla="*/ 26 h 199"/>
                <a:gd name="T58" fmla="*/ 992 w 1460"/>
                <a:gd name="T59" fmla="*/ 26 h 199"/>
                <a:gd name="T60" fmla="*/ 982 w 1460"/>
                <a:gd name="T61" fmla="*/ 25 h 199"/>
                <a:gd name="T62" fmla="*/ 972 w 1460"/>
                <a:gd name="T63" fmla="*/ 22 h 199"/>
                <a:gd name="T64" fmla="*/ 964 w 1460"/>
                <a:gd name="T65" fmla="*/ 20 h 199"/>
                <a:gd name="T66" fmla="*/ 956 w 1460"/>
                <a:gd name="T67" fmla="*/ 16 h 199"/>
                <a:gd name="T68" fmla="*/ 949 w 1460"/>
                <a:gd name="T69" fmla="*/ 12 h 199"/>
                <a:gd name="T70" fmla="*/ 942 w 1460"/>
                <a:gd name="T71" fmla="*/ 7 h 199"/>
                <a:gd name="T72" fmla="*/ 937 w 1460"/>
                <a:gd name="T73" fmla="*/ 2 h 199"/>
                <a:gd name="T74" fmla="*/ 161 w 1460"/>
                <a:gd name="T75" fmla="*/ 5 h 199"/>
                <a:gd name="T76" fmla="*/ 161 w 1460"/>
                <a:gd name="T77" fmla="*/ 5 h 199"/>
                <a:gd name="T78" fmla="*/ 145 w 1460"/>
                <a:gd name="T79" fmla="*/ 6 h 199"/>
                <a:gd name="T80" fmla="*/ 130 w 1460"/>
                <a:gd name="T81" fmla="*/ 8 h 199"/>
                <a:gd name="T82" fmla="*/ 113 w 1460"/>
                <a:gd name="T83" fmla="*/ 12 h 199"/>
                <a:gd name="T84" fmla="*/ 99 w 1460"/>
                <a:gd name="T85" fmla="*/ 18 h 199"/>
                <a:gd name="T86" fmla="*/ 85 w 1460"/>
                <a:gd name="T87" fmla="*/ 26 h 199"/>
                <a:gd name="T88" fmla="*/ 72 w 1460"/>
                <a:gd name="T89" fmla="*/ 33 h 199"/>
                <a:gd name="T90" fmla="*/ 59 w 1460"/>
                <a:gd name="T91" fmla="*/ 43 h 199"/>
                <a:gd name="T92" fmla="*/ 47 w 1460"/>
                <a:gd name="T93" fmla="*/ 54 h 199"/>
                <a:gd name="T94" fmla="*/ 38 w 1460"/>
                <a:gd name="T95" fmla="*/ 66 h 199"/>
                <a:gd name="T96" fmla="*/ 28 w 1460"/>
                <a:gd name="T97" fmla="*/ 79 h 199"/>
                <a:gd name="T98" fmla="*/ 20 w 1460"/>
                <a:gd name="T99" fmla="*/ 93 h 199"/>
                <a:gd name="T100" fmla="*/ 13 w 1460"/>
                <a:gd name="T101" fmla="*/ 107 h 199"/>
                <a:gd name="T102" fmla="*/ 8 w 1460"/>
                <a:gd name="T103" fmla="*/ 122 h 199"/>
                <a:gd name="T104" fmla="*/ 4 w 1460"/>
                <a:gd name="T105" fmla="*/ 139 h 199"/>
                <a:gd name="T106" fmla="*/ 1 w 1460"/>
                <a:gd name="T107" fmla="*/ 155 h 199"/>
                <a:gd name="T108" fmla="*/ 0 w 1460"/>
                <a:gd name="T109" fmla="*/ 171 h 199"/>
                <a:gd name="T110" fmla="*/ 1 w 1460"/>
                <a:gd name="T111" fmla="*/ 199 h 199"/>
                <a:gd name="T112" fmla="*/ 1460 w 1460"/>
                <a:gd name="T113" fmla="*/ 19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60" h="199">
                  <a:moveTo>
                    <a:pt x="1460" y="193"/>
                  </a:moveTo>
                  <a:lnTo>
                    <a:pt x="1460" y="166"/>
                  </a:lnTo>
                  <a:lnTo>
                    <a:pt x="1460" y="166"/>
                  </a:lnTo>
                  <a:lnTo>
                    <a:pt x="1459" y="150"/>
                  </a:lnTo>
                  <a:lnTo>
                    <a:pt x="1457" y="133"/>
                  </a:lnTo>
                  <a:lnTo>
                    <a:pt x="1452" y="117"/>
                  </a:lnTo>
                  <a:lnTo>
                    <a:pt x="1447" y="101"/>
                  </a:lnTo>
                  <a:lnTo>
                    <a:pt x="1440" y="87"/>
                  </a:lnTo>
                  <a:lnTo>
                    <a:pt x="1432" y="74"/>
                  </a:lnTo>
                  <a:lnTo>
                    <a:pt x="1423" y="61"/>
                  </a:lnTo>
                  <a:lnTo>
                    <a:pt x="1412" y="49"/>
                  </a:lnTo>
                  <a:lnTo>
                    <a:pt x="1401" y="38"/>
                  </a:lnTo>
                  <a:lnTo>
                    <a:pt x="1388" y="29"/>
                  </a:lnTo>
                  <a:lnTo>
                    <a:pt x="1375" y="20"/>
                  </a:lnTo>
                  <a:lnTo>
                    <a:pt x="1360" y="14"/>
                  </a:lnTo>
                  <a:lnTo>
                    <a:pt x="1346" y="8"/>
                  </a:lnTo>
                  <a:lnTo>
                    <a:pt x="1330" y="4"/>
                  </a:lnTo>
                  <a:lnTo>
                    <a:pt x="1314" y="2"/>
                  </a:lnTo>
                  <a:lnTo>
                    <a:pt x="1298" y="0"/>
                  </a:lnTo>
                  <a:lnTo>
                    <a:pt x="1067" y="2"/>
                  </a:lnTo>
                  <a:lnTo>
                    <a:pt x="1067" y="2"/>
                  </a:lnTo>
                  <a:lnTo>
                    <a:pt x="1060" y="9"/>
                  </a:lnTo>
                  <a:lnTo>
                    <a:pt x="1050" y="15"/>
                  </a:lnTo>
                  <a:lnTo>
                    <a:pt x="1041" y="19"/>
                  </a:lnTo>
                  <a:lnTo>
                    <a:pt x="1031" y="22"/>
                  </a:lnTo>
                  <a:lnTo>
                    <a:pt x="1022" y="25"/>
                  </a:lnTo>
                  <a:lnTo>
                    <a:pt x="1014" y="26"/>
                  </a:lnTo>
                  <a:lnTo>
                    <a:pt x="1002" y="26"/>
                  </a:lnTo>
                  <a:lnTo>
                    <a:pt x="1002" y="26"/>
                  </a:lnTo>
                  <a:lnTo>
                    <a:pt x="992" y="26"/>
                  </a:lnTo>
                  <a:lnTo>
                    <a:pt x="982" y="25"/>
                  </a:lnTo>
                  <a:lnTo>
                    <a:pt x="972" y="22"/>
                  </a:lnTo>
                  <a:lnTo>
                    <a:pt x="964" y="20"/>
                  </a:lnTo>
                  <a:lnTo>
                    <a:pt x="956" y="16"/>
                  </a:lnTo>
                  <a:lnTo>
                    <a:pt x="949" y="12"/>
                  </a:lnTo>
                  <a:lnTo>
                    <a:pt x="942" y="7"/>
                  </a:lnTo>
                  <a:lnTo>
                    <a:pt x="937" y="2"/>
                  </a:lnTo>
                  <a:lnTo>
                    <a:pt x="161" y="5"/>
                  </a:lnTo>
                  <a:lnTo>
                    <a:pt x="161" y="5"/>
                  </a:lnTo>
                  <a:lnTo>
                    <a:pt x="145" y="6"/>
                  </a:lnTo>
                  <a:lnTo>
                    <a:pt x="130" y="8"/>
                  </a:lnTo>
                  <a:lnTo>
                    <a:pt x="113" y="12"/>
                  </a:lnTo>
                  <a:lnTo>
                    <a:pt x="99" y="18"/>
                  </a:lnTo>
                  <a:lnTo>
                    <a:pt x="85" y="26"/>
                  </a:lnTo>
                  <a:lnTo>
                    <a:pt x="72" y="33"/>
                  </a:lnTo>
                  <a:lnTo>
                    <a:pt x="59" y="43"/>
                  </a:lnTo>
                  <a:lnTo>
                    <a:pt x="47" y="54"/>
                  </a:lnTo>
                  <a:lnTo>
                    <a:pt x="38" y="66"/>
                  </a:lnTo>
                  <a:lnTo>
                    <a:pt x="28" y="79"/>
                  </a:lnTo>
                  <a:lnTo>
                    <a:pt x="20" y="93"/>
                  </a:lnTo>
                  <a:lnTo>
                    <a:pt x="13" y="107"/>
                  </a:lnTo>
                  <a:lnTo>
                    <a:pt x="8" y="122"/>
                  </a:lnTo>
                  <a:lnTo>
                    <a:pt x="4" y="139"/>
                  </a:lnTo>
                  <a:lnTo>
                    <a:pt x="1" y="155"/>
                  </a:lnTo>
                  <a:lnTo>
                    <a:pt x="0" y="171"/>
                  </a:lnTo>
                  <a:lnTo>
                    <a:pt x="1" y="199"/>
                  </a:lnTo>
                  <a:lnTo>
                    <a:pt x="1460" y="19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35"/>
            <p:cNvSpPr>
              <a:spLocks/>
            </p:cNvSpPr>
            <p:nvPr/>
          </p:nvSpPr>
          <p:spPr bwMode="auto">
            <a:xfrm>
              <a:off x="2865" y="1352"/>
              <a:ext cx="730" cy="98"/>
            </a:xfrm>
            <a:custGeom>
              <a:avLst/>
              <a:gdLst>
                <a:gd name="T0" fmla="*/ 1460 w 1460"/>
                <a:gd name="T1" fmla="*/ 0 h 196"/>
                <a:gd name="T2" fmla="*/ 1460 w 1460"/>
                <a:gd name="T3" fmla="*/ 24 h 196"/>
                <a:gd name="T4" fmla="*/ 1460 w 1460"/>
                <a:gd name="T5" fmla="*/ 24 h 196"/>
                <a:gd name="T6" fmla="*/ 1459 w 1460"/>
                <a:gd name="T7" fmla="*/ 42 h 196"/>
                <a:gd name="T8" fmla="*/ 1457 w 1460"/>
                <a:gd name="T9" fmla="*/ 58 h 196"/>
                <a:gd name="T10" fmla="*/ 1452 w 1460"/>
                <a:gd name="T11" fmla="*/ 74 h 196"/>
                <a:gd name="T12" fmla="*/ 1447 w 1460"/>
                <a:gd name="T13" fmla="*/ 89 h 196"/>
                <a:gd name="T14" fmla="*/ 1440 w 1460"/>
                <a:gd name="T15" fmla="*/ 104 h 196"/>
                <a:gd name="T16" fmla="*/ 1433 w 1460"/>
                <a:gd name="T17" fmla="*/ 117 h 196"/>
                <a:gd name="T18" fmla="*/ 1423 w 1460"/>
                <a:gd name="T19" fmla="*/ 131 h 196"/>
                <a:gd name="T20" fmla="*/ 1413 w 1460"/>
                <a:gd name="T21" fmla="*/ 143 h 196"/>
                <a:gd name="T22" fmla="*/ 1401 w 1460"/>
                <a:gd name="T23" fmla="*/ 154 h 196"/>
                <a:gd name="T24" fmla="*/ 1389 w 1460"/>
                <a:gd name="T25" fmla="*/ 164 h 196"/>
                <a:gd name="T26" fmla="*/ 1376 w 1460"/>
                <a:gd name="T27" fmla="*/ 171 h 196"/>
                <a:gd name="T28" fmla="*/ 1361 w 1460"/>
                <a:gd name="T29" fmla="*/ 179 h 196"/>
                <a:gd name="T30" fmla="*/ 1347 w 1460"/>
                <a:gd name="T31" fmla="*/ 184 h 196"/>
                <a:gd name="T32" fmla="*/ 1332 w 1460"/>
                <a:gd name="T33" fmla="*/ 189 h 196"/>
                <a:gd name="T34" fmla="*/ 1315 w 1460"/>
                <a:gd name="T35" fmla="*/ 191 h 196"/>
                <a:gd name="T36" fmla="*/ 1299 w 1460"/>
                <a:gd name="T37" fmla="*/ 192 h 196"/>
                <a:gd name="T38" fmla="*/ 163 w 1460"/>
                <a:gd name="T39" fmla="*/ 196 h 196"/>
                <a:gd name="T40" fmla="*/ 163 w 1460"/>
                <a:gd name="T41" fmla="*/ 196 h 196"/>
                <a:gd name="T42" fmla="*/ 146 w 1460"/>
                <a:gd name="T43" fmla="*/ 195 h 196"/>
                <a:gd name="T44" fmla="*/ 131 w 1460"/>
                <a:gd name="T45" fmla="*/ 193 h 196"/>
                <a:gd name="T46" fmla="*/ 115 w 1460"/>
                <a:gd name="T47" fmla="*/ 189 h 196"/>
                <a:gd name="T48" fmla="*/ 100 w 1460"/>
                <a:gd name="T49" fmla="*/ 183 h 196"/>
                <a:gd name="T50" fmla="*/ 86 w 1460"/>
                <a:gd name="T51" fmla="*/ 177 h 196"/>
                <a:gd name="T52" fmla="*/ 73 w 1460"/>
                <a:gd name="T53" fmla="*/ 168 h 196"/>
                <a:gd name="T54" fmla="*/ 61 w 1460"/>
                <a:gd name="T55" fmla="*/ 158 h 196"/>
                <a:gd name="T56" fmla="*/ 48 w 1460"/>
                <a:gd name="T57" fmla="*/ 148 h 196"/>
                <a:gd name="T58" fmla="*/ 39 w 1460"/>
                <a:gd name="T59" fmla="*/ 136 h 196"/>
                <a:gd name="T60" fmla="*/ 29 w 1460"/>
                <a:gd name="T61" fmla="*/ 123 h 196"/>
                <a:gd name="T62" fmla="*/ 21 w 1460"/>
                <a:gd name="T63" fmla="*/ 110 h 196"/>
                <a:gd name="T64" fmla="*/ 13 w 1460"/>
                <a:gd name="T65" fmla="*/ 96 h 196"/>
                <a:gd name="T66" fmla="*/ 8 w 1460"/>
                <a:gd name="T67" fmla="*/ 80 h 196"/>
                <a:gd name="T68" fmla="*/ 5 w 1460"/>
                <a:gd name="T69" fmla="*/ 64 h 196"/>
                <a:gd name="T70" fmla="*/ 1 w 1460"/>
                <a:gd name="T71" fmla="*/ 47 h 196"/>
                <a:gd name="T72" fmla="*/ 0 w 1460"/>
                <a:gd name="T73" fmla="*/ 31 h 196"/>
                <a:gd name="T74" fmla="*/ 0 w 1460"/>
                <a:gd name="T75" fmla="*/ 6 h 196"/>
                <a:gd name="T76" fmla="*/ 1460 w 1460"/>
                <a:gd name="T77"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60" h="196">
                  <a:moveTo>
                    <a:pt x="1460" y="0"/>
                  </a:moveTo>
                  <a:lnTo>
                    <a:pt x="1460" y="24"/>
                  </a:lnTo>
                  <a:lnTo>
                    <a:pt x="1460" y="24"/>
                  </a:lnTo>
                  <a:lnTo>
                    <a:pt x="1459" y="42"/>
                  </a:lnTo>
                  <a:lnTo>
                    <a:pt x="1457" y="58"/>
                  </a:lnTo>
                  <a:lnTo>
                    <a:pt x="1452" y="74"/>
                  </a:lnTo>
                  <a:lnTo>
                    <a:pt x="1447" y="89"/>
                  </a:lnTo>
                  <a:lnTo>
                    <a:pt x="1440" y="104"/>
                  </a:lnTo>
                  <a:lnTo>
                    <a:pt x="1433" y="117"/>
                  </a:lnTo>
                  <a:lnTo>
                    <a:pt x="1423" y="131"/>
                  </a:lnTo>
                  <a:lnTo>
                    <a:pt x="1413" y="143"/>
                  </a:lnTo>
                  <a:lnTo>
                    <a:pt x="1401" y="154"/>
                  </a:lnTo>
                  <a:lnTo>
                    <a:pt x="1389" y="164"/>
                  </a:lnTo>
                  <a:lnTo>
                    <a:pt x="1376" y="171"/>
                  </a:lnTo>
                  <a:lnTo>
                    <a:pt x="1361" y="179"/>
                  </a:lnTo>
                  <a:lnTo>
                    <a:pt x="1347" y="184"/>
                  </a:lnTo>
                  <a:lnTo>
                    <a:pt x="1332" y="189"/>
                  </a:lnTo>
                  <a:lnTo>
                    <a:pt x="1315" y="191"/>
                  </a:lnTo>
                  <a:lnTo>
                    <a:pt x="1299" y="192"/>
                  </a:lnTo>
                  <a:lnTo>
                    <a:pt x="163" y="196"/>
                  </a:lnTo>
                  <a:lnTo>
                    <a:pt x="163" y="196"/>
                  </a:lnTo>
                  <a:lnTo>
                    <a:pt x="146" y="195"/>
                  </a:lnTo>
                  <a:lnTo>
                    <a:pt x="131" y="193"/>
                  </a:lnTo>
                  <a:lnTo>
                    <a:pt x="115" y="189"/>
                  </a:lnTo>
                  <a:lnTo>
                    <a:pt x="100" y="183"/>
                  </a:lnTo>
                  <a:lnTo>
                    <a:pt x="86" y="177"/>
                  </a:lnTo>
                  <a:lnTo>
                    <a:pt x="73" y="168"/>
                  </a:lnTo>
                  <a:lnTo>
                    <a:pt x="61" y="158"/>
                  </a:lnTo>
                  <a:lnTo>
                    <a:pt x="48" y="148"/>
                  </a:lnTo>
                  <a:lnTo>
                    <a:pt x="39" y="136"/>
                  </a:lnTo>
                  <a:lnTo>
                    <a:pt x="29" y="123"/>
                  </a:lnTo>
                  <a:lnTo>
                    <a:pt x="21" y="110"/>
                  </a:lnTo>
                  <a:lnTo>
                    <a:pt x="13" y="96"/>
                  </a:lnTo>
                  <a:lnTo>
                    <a:pt x="8" y="80"/>
                  </a:lnTo>
                  <a:lnTo>
                    <a:pt x="5" y="64"/>
                  </a:lnTo>
                  <a:lnTo>
                    <a:pt x="1" y="47"/>
                  </a:lnTo>
                  <a:lnTo>
                    <a:pt x="0" y="31"/>
                  </a:lnTo>
                  <a:lnTo>
                    <a:pt x="0" y="6"/>
                  </a:lnTo>
                  <a:lnTo>
                    <a:pt x="1460" y="0"/>
                  </a:lnTo>
                  <a:close/>
                </a:path>
              </a:pathLst>
            </a:custGeom>
            <a:solidFill>
              <a:srgbClr val="B3B4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36"/>
            <p:cNvSpPr>
              <a:spLocks noEditPoints="1"/>
            </p:cNvSpPr>
            <p:nvPr/>
          </p:nvSpPr>
          <p:spPr bwMode="auto">
            <a:xfrm>
              <a:off x="2860" y="-11"/>
              <a:ext cx="734" cy="1345"/>
            </a:xfrm>
            <a:custGeom>
              <a:avLst/>
              <a:gdLst>
                <a:gd name="T0" fmla="*/ 1459 w 1469"/>
                <a:gd name="T1" fmla="*/ 0 h 2689"/>
                <a:gd name="T2" fmla="*/ 1469 w 1469"/>
                <a:gd name="T3" fmla="*/ 2684 h 2689"/>
                <a:gd name="T4" fmla="*/ 10 w 1469"/>
                <a:gd name="T5" fmla="*/ 2689 h 2689"/>
                <a:gd name="T6" fmla="*/ 0 w 1469"/>
                <a:gd name="T7" fmla="*/ 6 h 2689"/>
                <a:gd name="T8" fmla="*/ 1459 w 1469"/>
                <a:gd name="T9" fmla="*/ 0 h 2689"/>
                <a:gd name="T10" fmla="*/ 1436 w 1469"/>
                <a:gd name="T11" fmla="*/ 2483 h 2689"/>
                <a:gd name="T12" fmla="*/ 1427 w 1469"/>
                <a:gd name="T13" fmla="*/ 71 h 2689"/>
                <a:gd name="T14" fmla="*/ 1427 w 1469"/>
                <a:gd name="T15" fmla="*/ 71 h 2689"/>
                <a:gd name="T16" fmla="*/ 1426 w 1469"/>
                <a:gd name="T17" fmla="*/ 66 h 2689"/>
                <a:gd name="T18" fmla="*/ 1425 w 1469"/>
                <a:gd name="T19" fmla="*/ 61 h 2689"/>
                <a:gd name="T20" fmla="*/ 1423 w 1469"/>
                <a:gd name="T21" fmla="*/ 56 h 2689"/>
                <a:gd name="T22" fmla="*/ 1420 w 1469"/>
                <a:gd name="T23" fmla="*/ 52 h 2689"/>
                <a:gd name="T24" fmla="*/ 1415 w 1469"/>
                <a:gd name="T25" fmla="*/ 49 h 2689"/>
                <a:gd name="T26" fmla="*/ 1411 w 1469"/>
                <a:gd name="T27" fmla="*/ 47 h 2689"/>
                <a:gd name="T28" fmla="*/ 1405 w 1469"/>
                <a:gd name="T29" fmla="*/ 45 h 2689"/>
                <a:gd name="T30" fmla="*/ 1401 w 1469"/>
                <a:gd name="T31" fmla="*/ 45 h 2689"/>
                <a:gd name="T32" fmla="*/ 57 w 1469"/>
                <a:gd name="T33" fmla="*/ 49 h 2689"/>
                <a:gd name="T34" fmla="*/ 57 w 1469"/>
                <a:gd name="T35" fmla="*/ 49 h 2689"/>
                <a:gd name="T36" fmla="*/ 52 w 1469"/>
                <a:gd name="T37" fmla="*/ 50 h 2689"/>
                <a:gd name="T38" fmla="*/ 46 w 1469"/>
                <a:gd name="T39" fmla="*/ 51 h 2689"/>
                <a:gd name="T40" fmla="*/ 42 w 1469"/>
                <a:gd name="T41" fmla="*/ 55 h 2689"/>
                <a:gd name="T42" fmla="*/ 39 w 1469"/>
                <a:gd name="T43" fmla="*/ 58 h 2689"/>
                <a:gd name="T44" fmla="*/ 35 w 1469"/>
                <a:gd name="T45" fmla="*/ 61 h 2689"/>
                <a:gd name="T46" fmla="*/ 33 w 1469"/>
                <a:gd name="T47" fmla="*/ 67 h 2689"/>
                <a:gd name="T48" fmla="*/ 31 w 1469"/>
                <a:gd name="T49" fmla="*/ 71 h 2689"/>
                <a:gd name="T50" fmla="*/ 31 w 1469"/>
                <a:gd name="T51" fmla="*/ 77 h 2689"/>
                <a:gd name="T52" fmla="*/ 40 w 1469"/>
                <a:gd name="T53" fmla="*/ 2488 h 2689"/>
                <a:gd name="T54" fmla="*/ 40 w 1469"/>
                <a:gd name="T55" fmla="*/ 2488 h 2689"/>
                <a:gd name="T56" fmla="*/ 41 w 1469"/>
                <a:gd name="T57" fmla="*/ 2494 h 2689"/>
                <a:gd name="T58" fmla="*/ 42 w 1469"/>
                <a:gd name="T59" fmla="*/ 2499 h 2689"/>
                <a:gd name="T60" fmla="*/ 45 w 1469"/>
                <a:gd name="T61" fmla="*/ 2504 h 2689"/>
                <a:gd name="T62" fmla="*/ 47 w 1469"/>
                <a:gd name="T63" fmla="*/ 2507 h 2689"/>
                <a:gd name="T64" fmla="*/ 52 w 1469"/>
                <a:gd name="T65" fmla="*/ 2510 h 2689"/>
                <a:gd name="T66" fmla="*/ 56 w 1469"/>
                <a:gd name="T67" fmla="*/ 2514 h 2689"/>
                <a:gd name="T68" fmla="*/ 62 w 1469"/>
                <a:gd name="T69" fmla="*/ 2515 h 2689"/>
                <a:gd name="T70" fmla="*/ 67 w 1469"/>
                <a:gd name="T71" fmla="*/ 2516 h 2689"/>
                <a:gd name="T72" fmla="*/ 1410 w 1469"/>
                <a:gd name="T73" fmla="*/ 2510 h 2689"/>
                <a:gd name="T74" fmla="*/ 1410 w 1469"/>
                <a:gd name="T75" fmla="*/ 2510 h 2689"/>
                <a:gd name="T76" fmla="*/ 1415 w 1469"/>
                <a:gd name="T77" fmla="*/ 2509 h 2689"/>
                <a:gd name="T78" fmla="*/ 1421 w 1469"/>
                <a:gd name="T79" fmla="*/ 2508 h 2689"/>
                <a:gd name="T80" fmla="*/ 1425 w 1469"/>
                <a:gd name="T81" fmla="*/ 2506 h 2689"/>
                <a:gd name="T82" fmla="*/ 1428 w 1469"/>
                <a:gd name="T83" fmla="*/ 2503 h 2689"/>
                <a:gd name="T84" fmla="*/ 1432 w 1469"/>
                <a:gd name="T85" fmla="*/ 2498 h 2689"/>
                <a:gd name="T86" fmla="*/ 1434 w 1469"/>
                <a:gd name="T87" fmla="*/ 2494 h 2689"/>
                <a:gd name="T88" fmla="*/ 1436 w 1469"/>
                <a:gd name="T89" fmla="*/ 2488 h 2689"/>
                <a:gd name="T90" fmla="*/ 1436 w 1469"/>
                <a:gd name="T91" fmla="*/ 2483 h 2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69" h="2689">
                  <a:moveTo>
                    <a:pt x="1459" y="0"/>
                  </a:moveTo>
                  <a:lnTo>
                    <a:pt x="1469" y="2684"/>
                  </a:lnTo>
                  <a:lnTo>
                    <a:pt x="10" y="2689"/>
                  </a:lnTo>
                  <a:lnTo>
                    <a:pt x="0" y="6"/>
                  </a:lnTo>
                  <a:lnTo>
                    <a:pt x="1459" y="0"/>
                  </a:lnTo>
                  <a:close/>
                  <a:moveTo>
                    <a:pt x="1436" y="2483"/>
                  </a:moveTo>
                  <a:lnTo>
                    <a:pt x="1427" y="71"/>
                  </a:lnTo>
                  <a:lnTo>
                    <a:pt x="1427" y="71"/>
                  </a:lnTo>
                  <a:lnTo>
                    <a:pt x="1426" y="66"/>
                  </a:lnTo>
                  <a:lnTo>
                    <a:pt x="1425" y="61"/>
                  </a:lnTo>
                  <a:lnTo>
                    <a:pt x="1423" y="56"/>
                  </a:lnTo>
                  <a:lnTo>
                    <a:pt x="1420" y="52"/>
                  </a:lnTo>
                  <a:lnTo>
                    <a:pt x="1415" y="49"/>
                  </a:lnTo>
                  <a:lnTo>
                    <a:pt x="1411" y="47"/>
                  </a:lnTo>
                  <a:lnTo>
                    <a:pt x="1405" y="45"/>
                  </a:lnTo>
                  <a:lnTo>
                    <a:pt x="1401" y="45"/>
                  </a:lnTo>
                  <a:lnTo>
                    <a:pt x="57" y="49"/>
                  </a:lnTo>
                  <a:lnTo>
                    <a:pt x="57" y="49"/>
                  </a:lnTo>
                  <a:lnTo>
                    <a:pt x="52" y="50"/>
                  </a:lnTo>
                  <a:lnTo>
                    <a:pt x="46" y="51"/>
                  </a:lnTo>
                  <a:lnTo>
                    <a:pt x="42" y="55"/>
                  </a:lnTo>
                  <a:lnTo>
                    <a:pt x="39" y="58"/>
                  </a:lnTo>
                  <a:lnTo>
                    <a:pt x="35" y="61"/>
                  </a:lnTo>
                  <a:lnTo>
                    <a:pt x="33" y="67"/>
                  </a:lnTo>
                  <a:lnTo>
                    <a:pt x="31" y="71"/>
                  </a:lnTo>
                  <a:lnTo>
                    <a:pt x="31" y="77"/>
                  </a:lnTo>
                  <a:lnTo>
                    <a:pt x="40" y="2488"/>
                  </a:lnTo>
                  <a:lnTo>
                    <a:pt x="40" y="2488"/>
                  </a:lnTo>
                  <a:lnTo>
                    <a:pt x="41" y="2494"/>
                  </a:lnTo>
                  <a:lnTo>
                    <a:pt x="42" y="2499"/>
                  </a:lnTo>
                  <a:lnTo>
                    <a:pt x="45" y="2504"/>
                  </a:lnTo>
                  <a:lnTo>
                    <a:pt x="47" y="2507"/>
                  </a:lnTo>
                  <a:lnTo>
                    <a:pt x="52" y="2510"/>
                  </a:lnTo>
                  <a:lnTo>
                    <a:pt x="56" y="2514"/>
                  </a:lnTo>
                  <a:lnTo>
                    <a:pt x="62" y="2515"/>
                  </a:lnTo>
                  <a:lnTo>
                    <a:pt x="67" y="2516"/>
                  </a:lnTo>
                  <a:lnTo>
                    <a:pt x="1410" y="2510"/>
                  </a:lnTo>
                  <a:lnTo>
                    <a:pt x="1410" y="2510"/>
                  </a:lnTo>
                  <a:lnTo>
                    <a:pt x="1415" y="2509"/>
                  </a:lnTo>
                  <a:lnTo>
                    <a:pt x="1421" y="2508"/>
                  </a:lnTo>
                  <a:lnTo>
                    <a:pt x="1425" y="2506"/>
                  </a:lnTo>
                  <a:lnTo>
                    <a:pt x="1428" y="2503"/>
                  </a:lnTo>
                  <a:lnTo>
                    <a:pt x="1432" y="2498"/>
                  </a:lnTo>
                  <a:lnTo>
                    <a:pt x="1434" y="2494"/>
                  </a:lnTo>
                  <a:lnTo>
                    <a:pt x="1436" y="2488"/>
                  </a:lnTo>
                  <a:lnTo>
                    <a:pt x="1436" y="2483"/>
                  </a:lnTo>
                  <a:close/>
                </a:path>
              </a:pathLst>
            </a:custGeom>
            <a:solidFill>
              <a:srgbClr val="4B4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37"/>
            <p:cNvSpPr>
              <a:spLocks/>
            </p:cNvSpPr>
            <p:nvPr/>
          </p:nvSpPr>
          <p:spPr bwMode="auto">
            <a:xfrm>
              <a:off x="2860" y="-11"/>
              <a:ext cx="734" cy="1345"/>
            </a:xfrm>
            <a:custGeom>
              <a:avLst/>
              <a:gdLst>
                <a:gd name="T0" fmla="*/ 1459 w 1469"/>
                <a:gd name="T1" fmla="*/ 0 h 2689"/>
                <a:gd name="T2" fmla="*/ 1469 w 1469"/>
                <a:gd name="T3" fmla="*/ 2684 h 2689"/>
                <a:gd name="T4" fmla="*/ 10 w 1469"/>
                <a:gd name="T5" fmla="*/ 2689 h 2689"/>
                <a:gd name="T6" fmla="*/ 0 w 1469"/>
                <a:gd name="T7" fmla="*/ 6 h 2689"/>
                <a:gd name="T8" fmla="*/ 1459 w 1469"/>
                <a:gd name="T9" fmla="*/ 0 h 2689"/>
              </a:gdLst>
              <a:ahLst/>
              <a:cxnLst>
                <a:cxn ang="0">
                  <a:pos x="T0" y="T1"/>
                </a:cxn>
                <a:cxn ang="0">
                  <a:pos x="T2" y="T3"/>
                </a:cxn>
                <a:cxn ang="0">
                  <a:pos x="T4" y="T5"/>
                </a:cxn>
                <a:cxn ang="0">
                  <a:pos x="T6" y="T7"/>
                </a:cxn>
                <a:cxn ang="0">
                  <a:pos x="T8" y="T9"/>
                </a:cxn>
              </a:cxnLst>
              <a:rect l="0" t="0" r="r" b="b"/>
              <a:pathLst>
                <a:path w="1469" h="2689">
                  <a:moveTo>
                    <a:pt x="1459" y="0"/>
                  </a:moveTo>
                  <a:lnTo>
                    <a:pt x="1469" y="2684"/>
                  </a:lnTo>
                  <a:lnTo>
                    <a:pt x="10" y="2689"/>
                  </a:lnTo>
                  <a:lnTo>
                    <a:pt x="0" y="6"/>
                  </a:lnTo>
                  <a:lnTo>
                    <a:pt x="14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38"/>
            <p:cNvSpPr>
              <a:spLocks/>
            </p:cNvSpPr>
            <p:nvPr/>
          </p:nvSpPr>
          <p:spPr bwMode="auto">
            <a:xfrm>
              <a:off x="2875" y="12"/>
              <a:ext cx="703" cy="1235"/>
            </a:xfrm>
            <a:custGeom>
              <a:avLst/>
              <a:gdLst>
                <a:gd name="T0" fmla="*/ 1405 w 1405"/>
                <a:gd name="T1" fmla="*/ 2438 h 2471"/>
                <a:gd name="T2" fmla="*/ 1396 w 1405"/>
                <a:gd name="T3" fmla="*/ 26 h 2471"/>
                <a:gd name="T4" fmla="*/ 1396 w 1405"/>
                <a:gd name="T5" fmla="*/ 26 h 2471"/>
                <a:gd name="T6" fmla="*/ 1395 w 1405"/>
                <a:gd name="T7" fmla="*/ 21 h 2471"/>
                <a:gd name="T8" fmla="*/ 1394 w 1405"/>
                <a:gd name="T9" fmla="*/ 16 h 2471"/>
                <a:gd name="T10" fmla="*/ 1392 w 1405"/>
                <a:gd name="T11" fmla="*/ 11 h 2471"/>
                <a:gd name="T12" fmla="*/ 1389 w 1405"/>
                <a:gd name="T13" fmla="*/ 7 h 2471"/>
                <a:gd name="T14" fmla="*/ 1384 w 1405"/>
                <a:gd name="T15" fmla="*/ 4 h 2471"/>
                <a:gd name="T16" fmla="*/ 1380 w 1405"/>
                <a:gd name="T17" fmla="*/ 2 h 2471"/>
                <a:gd name="T18" fmla="*/ 1374 w 1405"/>
                <a:gd name="T19" fmla="*/ 0 h 2471"/>
                <a:gd name="T20" fmla="*/ 1370 w 1405"/>
                <a:gd name="T21" fmla="*/ 0 h 2471"/>
                <a:gd name="T22" fmla="*/ 26 w 1405"/>
                <a:gd name="T23" fmla="*/ 4 h 2471"/>
                <a:gd name="T24" fmla="*/ 26 w 1405"/>
                <a:gd name="T25" fmla="*/ 4 h 2471"/>
                <a:gd name="T26" fmla="*/ 21 w 1405"/>
                <a:gd name="T27" fmla="*/ 5 h 2471"/>
                <a:gd name="T28" fmla="*/ 15 w 1405"/>
                <a:gd name="T29" fmla="*/ 6 h 2471"/>
                <a:gd name="T30" fmla="*/ 11 w 1405"/>
                <a:gd name="T31" fmla="*/ 10 h 2471"/>
                <a:gd name="T32" fmla="*/ 8 w 1405"/>
                <a:gd name="T33" fmla="*/ 13 h 2471"/>
                <a:gd name="T34" fmla="*/ 4 w 1405"/>
                <a:gd name="T35" fmla="*/ 16 h 2471"/>
                <a:gd name="T36" fmla="*/ 2 w 1405"/>
                <a:gd name="T37" fmla="*/ 22 h 2471"/>
                <a:gd name="T38" fmla="*/ 0 w 1405"/>
                <a:gd name="T39" fmla="*/ 26 h 2471"/>
                <a:gd name="T40" fmla="*/ 0 w 1405"/>
                <a:gd name="T41" fmla="*/ 32 h 2471"/>
                <a:gd name="T42" fmla="*/ 9 w 1405"/>
                <a:gd name="T43" fmla="*/ 2443 h 2471"/>
                <a:gd name="T44" fmla="*/ 9 w 1405"/>
                <a:gd name="T45" fmla="*/ 2443 h 2471"/>
                <a:gd name="T46" fmla="*/ 10 w 1405"/>
                <a:gd name="T47" fmla="*/ 2449 h 2471"/>
                <a:gd name="T48" fmla="*/ 11 w 1405"/>
                <a:gd name="T49" fmla="*/ 2454 h 2471"/>
                <a:gd name="T50" fmla="*/ 14 w 1405"/>
                <a:gd name="T51" fmla="*/ 2459 h 2471"/>
                <a:gd name="T52" fmla="*/ 16 w 1405"/>
                <a:gd name="T53" fmla="*/ 2462 h 2471"/>
                <a:gd name="T54" fmla="*/ 21 w 1405"/>
                <a:gd name="T55" fmla="*/ 2465 h 2471"/>
                <a:gd name="T56" fmla="*/ 25 w 1405"/>
                <a:gd name="T57" fmla="*/ 2469 h 2471"/>
                <a:gd name="T58" fmla="*/ 31 w 1405"/>
                <a:gd name="T59" fmla="*/ 2470 h 2471"/>
                <a:gd name="T60" fmla="*/ 36 w 1405"/>
                <a:gd name="T61" fmla="*/ 2471 h 2471"/>
                <a:gd name="T62" fmla="*/ 1379 w 1405"/>
                <a:gd name="T63" fmla="*/ 2465 h 2471"/>
                <a:gd name="T64" fmla="*/ 1379 w 1405"/>
                <a:gd name="T65" fmla="*/ 2465 h 2471"/>
                <a:gd name="T66" fmla="*/ 1384 w 1405"/>
                <a:gd name="T67" fmla="*/ 2464 h 2471"/>
                <a:gd name="T68" fmla="*/ 1390 w 1405"/>
                <a:gd name="T69" fmla="*/ 2463 h 2471"/>
                <a:gd name="T70" fmla="*/ 1394 w 1405"/>
                <a:gd name="T71" fmla="*/ 2461 h 2471"/>
                <a:gd name="T72" fmla="*/ 1397 w 1405"/>
                <a:gd name="T73" fmla="*/ 2458 h 2471"/>
                <a:gd name="T74" fmla="*/ 1401 w 1405"/>
                <a:gd name="T75" fmla="*/ 2453 h 2471"/>
                <a:gd name="T76" fmla="*/ 1403 w 1405"/>
                <a:gd name="T77" fmla="*/ 2449 h 2471"/>
                <a:gd name="T78" fmla="*/ 1405 w 1405"/>
                <a:gd name="T79" fmla="*/ 2443 h 2471"/>
                <a:gd name="T80" fmla="*/ 1405 w 1405"/>
                <a:gd name="T81" fmla="*/ 2438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05" h="2471">
                  <a:moveTo>
                    <a:pt x="1405" y="2438"/>
                  </a:moveTo>
                  <a:lnTo>
                    <a:pt x="1396" y="26"/>
                  </a:lnTo>
                  <a:lnTo>
                    <a:pt x="1396" y="26"/>
                  </a:lnTo>
                  <a:lnTo>
                    <a:pt x="1395" y="21"/>
                  </a:lnTo>
                  <a:lnTo>
                    <a:pt x="1394" y="16"/>
                  </a:lnTo>
                  <a:lnTo>
                    <a:pt x="1392" y="11"/>
                  </a:lnTo>
                  <a:lnTo>
                    <a:pt x="1389" y="7"/>
                  </a:lnTo>
                  <a:lnTo>
                    <a:pt x="1384" y="4"/>
                  </a:lnTo>
                  <a:lnTo>
                    <a:pt x="1380" y="2"/>
                  </a:lnTo>
                  <a:lnTo>
                    <a:pt x="1374" y="0"/>
                  </a:lnTo>
                  <a:lnTo>
                    <a:pt x="1370" y="0"/>
                  </a:lnTo>
                  <a:lnTo>
                    <a:pt x="26" y="4"/>
                  </a:lnTo>
                  <a:lnTo>
                    <a:pt x="26" y="4"/>
                  </a:lnTo>
                  <a:lnTo>
                    <a:pt x="21" y="5"/>
                  </a:lnTo>
                  <a:lnTo>
                    <a:pt x="15" y="6"/>
                  </a:lnTo>
                  <a:lnTo>
                    <a:pt x="11" y="10"/>
                  </a:lnTo>
                  <a:lnTo>
                    <a:pt x="8" y="13"/>
                  </a:lnTo>
                  <a:lnTo>
                    <a:pt x="4" y="16"/>
                  </a:lnTo>
                  <a:lnTo>
                    <a:pt x="2" y="22"/>
                  </a:lnTo>
                  <a:lnTo>
                    <a:pt x="0" y="26"/>
                  </a:lnTo>
                  <a:lnTo>
                    <a:pt x="0" y="32"/>
                  </a:lnTo>
                  <a:lnTo>
                    <a:pt x="9" y="2443"/>
                  </a:lnTo>
                  <a:lnTo>
                    <a:pt x="9" y="2443"/>
                  </a:lnTo>
                  <a:lnTo>
                    <a:pt x="10" y="2449"/>
                  </a:lnTo>
                  <a:lnTo>
                    <a:pt x="11" y="2454"/>
                  </a:lnTo>
                  <a:lnTo>
                    <a:pt x="14" y="2459"/>
                  </a:lnTo>
                  <a:lnTo>
                    <a:pt x="16" y="2462"/>
                  </a:lnTo>
                  <a:lnTo>
                    <a:pt x="21" y="2465"/>
                  </a:lnTo>
                  <a:lnTo>
                    <a:pt x="25" y="2469"/>
                  </a:lnTo>
                  <a:lnTo>
                    <a:pt x="31" y="2470"/>
                  </a:lnTo>
                  <a:lnTo>
                    <a:pt x="36" y="2471"/>
                  </a:lnTo>
                  <a:lnTo>
                    <a:pt x="1379" y="2465"/>
                  </a:lnTo>
                  <a:lnTo>
                    <a:pt x="1379" y="2465"/>
                  </a:lnTo>
                  <a:lnTo>
                    <a:pt x="1384" y="2464"/>
                  </a:lnTo>
                  <a:lnTo>
                    <a:pt x="1390" y="2463"/>
                  </a:lnTo>
                  <a:lnTo>
                    <a:pt x="1394" y="2461"/>
                  </a:lnTo>
                  <a:lnTo>
                    <a:pt x="1397" y="2458"/>
                  </a:lnTo>
                  <a:lnTo>
                    <a:pt x="1401" y="2453"/>
                  </a:lnTo>
                  <a:lnTo>
                    <a:pt x="1403" y="2449"/>
                  </a:lnTo>
                  <a:lnTo>
                    <a:pt x="1405" y="2443"/>
                  </a:lnTo>
                  <a:lnTo>
                    <a:pt x="1405" y="24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39"/>
            <p:cNvSpPr>
              <a:spLocks noEditPoints="1"/>
            </p:cNvSpPr>
            <p:nvPr/>
          </p:nvSpPr>
          <p:spPr bwMode="auto">
            <a:xfrm>
              <a:off x="2859" y="-127"/>
              <a:ext cx="730" cy="99"/>
            </a:xfrm>
            <a:custGeom>
              <a:avLst/>
              <a:gdLst>
                <a:gd name="T0" fmla="*/ 1 w 1460"/>
                <a:gd name="T1" fmla="*/ 199 h 199"/>
                <a:gd name="T2" fmla="*/ 1 w 1460"/>
                <a:gd name="T3" fmla="*/ 155 h 199"/>
                <a:gd name="T4" fmla="*/ 13 w 1460"/>
                <a:gd name="T5" fmla="*/ 107 h 199"/>
                <a:gd name="T6" fmla="*/ 38 w 1460"/>
                <a:gd name="T7" fmla="*/ 66 h 199"/>
                <a:gd name="T8" fmla="*/ 72 w 1460"/>
                <a:gd name="T9" fmla="*/ 33 h 199"/>
                <a:gd name="T10" fmla="*/ 113 w 1460"/>
                <a:gd name="T11" fmla="*/ 12 h 199"/>
                <a:gd name="T12" fmla="*/ 161 w 1460"/>
                <a:gd name="T13" fmla="*/ 5 h 199"/>
                <a:gd name="T14" fmla="*/ 942 w 1460"/>
                <a:gd name="T15" fmla="*/ 7 h 199"/>
                <a:gd name="T16" fmla="*/ 964 w 1460"/>
                <a:gd name="T17" fmla="*/ 20 h 199"/>
                <a:gd name="T18" fmla="*/ 992 w 1460"/>
                <a:gd name="T19" fmla="*/ 26 h 199"/>
                <a:gd name="T20" fmla="*/ 1014 w 1460"/>
                <a:gd name="T21" fmla="*/ 26 h 199"/>
                <a:gd name="T22" fmla="*/ 1041 w 1460"/>
                <a:gd name="T23" fmla="*/ 19 h 199"/>
                <a:gd name="T24" fmla="*/ 1067 w 1460"/>
                <a:gd name="T25" fmla="*/ 2 h 199"/>
                <a:gd name="T26" fmla="*/ 1314 w 1460"/>
                <a:gd name="T27" fmla="*/ 2 h 199"/>
                <a:gd name="T28" fmla="*/ 1360 w 1460"/>
                <a:gd name="T29" fmla="*/ 14 h 199"/>
                <a:gd name="T30" fmla="*/ 1401 w 1460"/>
                <a:gd name="T31" fmla="*/ 38 h 199"/>
                <a:gd name="T32" fmla="*/ 1432 w 1460"/>
                <a:gd name="T33" fmla="*/ 74 h 199"/>
                <a:gd name="T34" fmla="*/ 1452 w 1460"/>
                <a:gd name="T35" fmla="*/ 117 h 199"/>
                <a:gd name="T36" fmla="*/ 1460 w 1460"/>
                <a:gd name="T37" fmla="*/ 166 h 199"/>
                <a:gd name="T38" fmla="*/ 1341 w 1460"/>
                <a:gd name="T39" fmla="*/ 117 h 199"/>
                <a:gd name="T40" fmla="*/ 1326 w 1460"/>
                <a:gd name="T41" fmla="*/ 90 h 199"/>
                <a:gd name="T42" fmla="*/ 1300 w 1460"/>
                <a:gd name="T43" fmla="*/ 75 h 199"/>
                <a:gd name="T44" fmla="*/ 1279 w 1460"/>
                <a:gd name="T45" fmla="*/ 76 h 199"/>
                <a:gd name="T46" fmla="*/ 1253 w 1460"/>
                <a:gd name="T47" fmla="*/ 90 h 199"/>
                <a:gd name="T48" fmla="*/ 1239 w 1460"/>
                <a:gd name="T49" fmla="*/ 118 h 199"/>
                <a:gd name="T50" fmla="*/ 1239 w 1460"/>
                <a:gd name="T51" fmla="*/ 139 h 199"/>
                <a:gd name="T52" fmla="*/ 1253 w 1460"/>
                <a:gd name="T53" fmla="*/ 166 h 199"/>
                <a:gd name="T54" fmla="*/ 1279 w 1460"/>
                <a:gd name="T55" fmla="*/ 180 h 199"/>
                <a:gd name="T56" fmla="*/ 1300 w 1460"/>
                <a:gd name="T57" fmla="*/ 180 h 199"/>
                <a:gd name="T58" fmla="*/ 1326 w 1460"/>
                <a:gd name="T59" fmla="*/ 165 h 199"/>
                <a:gd name="T60" fmla="*/ 1341 w 1460"/>
                <a:gd name="T61" fmla="*/ 139 h 199"/>
                <a:gd name="T62" fmla="*/ 249 w 1460"/>
                <a:gd name="T63" fmla="*/ 146 h 199"/>
                <a:gd name="T64" fmla="*/ 246 w 1460"/>
                <a:gd name="T65" fmla="*/ 134 h 199"/>
                <a:gd name="T66" fmla="*/ 236 w 1460"/>
                <a:gd name="T67" fmla="*/ 125 h 199"/>
                <a:gd name="T68" fmla="*/ 228 w 1460"/>
                <a:gd name="T69" fmla="*/ 124 h 199"/>
                <a:gd name="T70" fmla="*/ 216 w 1460"/>
                <a:gd name="T71" fmla="*/ 128 h 199"/>
                <a:gd name="T72" fmla="*/ 209 w 1460"/>
                <a:gd name="T73" fmla="*/ 137 h 199"/>
                <a:gd name="T74" fmla="*/ 206 w 1460"/>
                <a:gd name="T75" fmla="*/ 146 h 199"/>
                <a:gd name="T76" fmla="*/ 211 w 1460"/>
                <a:gd name="T77" fmla="*/ 158 h 199"/>
                <a:gd name="T78" fmla="*/ 220 w 1460"/>
                <a:gd name="T79" fmla="*/ 167 h 199"/>
                <a:gd name="T80" fmla="*/ 228 w 1460"/>
                <a:gd name="T81" fmla="*/ 168 h 199"/>
                <a:gd name="T82" fmla="*/ 240 w 1460"/>
                <a:gd name="T83" fmla="*/ 165 h 199"/>
                <a:gd name="T84" fmla="*/ 248 w 1460"/>
                <a:gd name="T85" fmla="*/ 155 h 199"/>
                <a:gd name="T86" fmla="*/ 187 w 1460"/>
                <a:gd name="T87" fmla="*/ 146 h 199"/>
                <a:gd name="T88" fmla="*/ 186 w 1460"/>
                <a:gd name="T89" fmla="*/ 137 h 199"/>
                <a:gd name="T90" fmla="*/ 178 w 1460"/>
                <a:gd name="T91" fmla="*/ 128 h 199"/>
                <a:gd name="T92" fmla="*/ 166 w 1460"/>
                <a:gd name="T93" fmla="*/ 124 h 199"/>
                <a:gd name="T94" fmla="*/ 157 w 1460"/>
                <a:gd name="T95" fmla="*/ 126 h 199"/>
                <a:gd name="T96" fmla="*/ 147 w 1460"/>
                <a:gd name="T97" fmla="*/ 134 h 199"/>
                <a:gd name="T98" fmla="*/ 144 w 1460"/>
                <a:gd name="T99" fmla="*/ 146 h 199"/>
                <a:gd name="T100" fmla="*/ 146 w 1460"/>
                <a:gd name="T101" fmla="*/ 155 h 199"/>
                <a:gd name="T102" fmla="*/ 154 w 1460"/>
                <a:gd name="T103" fmla="*/ 165 h 199"/>
                <a:gd name="T104" fmla="*/ 166 w 1460"/>
                <a:gd name="T105" fmla="*/ 168 h 199"/>
                <a:gd name="T106" fmla="*/ 175 w 1460"/>
                <a:gd name="T107" fmla="*/ 167 h 199"/>
                <a:gd name="T108" fmla="*/ 183 w 1460"/>
                <a:gd name="T109" fmla="*/ 158 h 199"/>
                <a:gd name="T110" fmla="*/ 187 w 1460"/>
                <a:gd name="T111" fmla="*/ 14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60" h="199">
                  <a:moveTo>
                    <a:pt x="1460" y="166"/>
                  </a:moveTo>
                  <a:lnTo>
                    <a:pt x="1460" y="193"/>
                  </a:lnTo>
                  <a:lnTo>
                    <a:pt x="1" y="199"/>
                  </a:lnTo>
                  <a:lnTo>
                    <a:pt x="0" y="171"/>
                  </a:lnTo>
                  <a:lnTo>
                    <a:pt x="0" y="171"/>
                  </a:lnTo>
                  <a:lnTo>
                    <a:pt x="1" y="155"/>
                  </a:lnTo>
                  <a:lnTo>
                    <a:pt x="4" y="139"/>
                  </a:lnTo>
                  <a:lnTo>
                    <a:pt x="8" y="122"/>
                  </a:lnTo>
                  <a:lnTo>
                    <a:pt x="13" y="107"/>
                  </a:lnTo>
                  <a:lnTo>
                    <a:pt x="20" y="93"/>
                  </a:lnTo>
                  <a:lnTo>
                    <a:pt x="28" y="79"/>
                  </a:lnTo>
                  <a:lnTo>
                    <a:pt x="38" y="66"/>
                  </a:lnTo>
                  <a:lnTo>
                    <a:pt x="47" y="54"/>
                  </a:lnTo>
                  <a:lnTo>
                    <a:pt x="59" y="43"/>
                  </a:lnTo>
                  <a:lnTo>
                    <a:pt x="72" y="33"/>
                  </a:lnTo>
                  <a:lnTo>
                    <a:pt x="85" y="26"/>
                  </a:lnTo>
                  <a:lnTo>
                    <a:pt x="99" y="18"/>
                  </a:lnTo>
                  <a:lnTo>
                    <a:pt x="113" y="12"/>
                  </a:lnTo>
                  <a:lnTo>
                    <a:pt x="130" y="8"/>
                  </a:lnTo>
                  <a:lnTo>
                    <a:pt x="145" y="6"/>
                  </a:lnTo>
                  <a:lnTo>
                    <a:pt x="161" y="5"/>
                  </a:lnTo>
                  <a:lnTo>
                    <a:pt x="937" y="2"/>
                  </a:lnTo>
                  <a:lnTo>
                    <a:pt x="937" y="2"/>
                  </a:lnTo>
                  <a:lnTo>
                    <a:pt x="942" y="7"/>
                  </a:lnTo>
                  <a:lnTo>
                    <a:pt x="949" y="12"/>
                  </a:lnTo>
                  <a:lnTo>
                    <a:pt x="956" y="16"/>
                  </a:lnTo>
                  <a:lnTo>
                    <a:pt x="964" y="20"/>
                  </a:lnTo>
                  <a:lnTo>
                    <a:pt x="972" y="22"/>
                  </a:lnTo>
                  <a:lnTo>
                    <a:pt x="982" y="25"/>
                  </a:lnTo>
                  <a:lnTo>
                    <a:pt x="992" y="26"/>
                  </a:lnTo>
                  <a:lnTo>
                    <a:pt x="1002" y="26"/>
                  </a:lnTo>
                  <a:lnTo>
                    <a:pt x="1002" y="26"/>
                  </a:lnTo>
                  <a:lnTo>
                    <a:pt x="1014" y="26"/>
                  </a:lnTo>
                  <a:lnTo>
                    <a:pt x="1022" y="25"/>
                  </a:lnTo>
                  <a:lnTo>
                    <a:pt x="1031" y="22"/>
                  </a:lnTo>
                  <a:lnTo>
                    <a:pt x="1041" y="19"/>
                  </a:lnTo>
                  <a:lnTo>
                    <a:pt x="1050" y="15"/>
                  </a:lnTo>
                  <a:lnTo>
                    <a:pt x="1060" y="9"/>
                  </a:lnTo>
                  <a:lnTo>
                    <a:pt x="1067" y="2"/>
                  </a:lnTo>
                  <a:lnTo>
                    <a:pt x="1298" y="0"/>
                  </a:lnTo>
                  <a:lnTo>
                    <a:pt x="1298" y="0"/>
                  </a:lnTo>
                  <a:lnTo>
                    <a:pt x="1314" y="2"/>
                  </a:lnTo>
                  <a:lnTo>
                    <a:pt x="1330" y="4"/>
                  </a:lnTo>
                  <a:lnTo>
                    <a:pt x="1346" y="8"/>
                  </a:lnTo>
                  <a:lnTo>
                    <a:pt x="1360" y="14"/>
                  </a:lnTo>
                  <a:lnTo>
                    <a:pt x="1375" y="20"/>
                  </a:lnTo>
                  <a:lnTo>
                    <a:pt x="1388" y="29"/>
                  </a:lnTo>
                  <a:lnTo>
                    <a:pt x="1401" y="38"/>
                  </a:lnTo>
                  <a:lnTo>
                    <a:pt x="1412" y="49"/>
                  </a:lnTo>
                  <a:lnTo>
                    <a:pt x="1423" y="61"/>
                  </a:lnTo>
                  <a:lnTo>
                    <a:pt x="1432" y="74"/>
                  </a:lnTo>
                  <a:lnTo>
                    <a:pt x="1440" y="87"/>
                  </a:lnTo>
                  <a:lnTo>
                    <a:pt x="1447" y="101"/>
                  </a:lnTo>
                  <a:lnTo>
                    <a:pt x="1452" y="117"/>
                  </a:lnTo>
                  <a:lnTo>
                    <a:pt x="1457" y="133"/>
                  </a:lnTo>
                  <a:lnTo>
                    <a:pt x="1459" y="150"/>
                  </a:lnTo>
                  <a:lnTo>
                    <a:pt x="1460" y="166"/>
                  </a:lnTo>
                  <a:close/>
                  <a:moveTo>
                    <a:pt x="1342" y="128"/>
                  </a:moveTo>
                  <a:lnTo>
                    <a:pt x="1342" y="128"/>
                  </a:lnTo>
                  <a:lnTo>
                    <a:pt x="1341" y="117"/>
                  </a:lnTo>
                  <a:lnTo>
                    <a:pt x="1337" y="107"/>
                  </a:lnTo>
                  <a:lnTo>
                    <a:pt x="1332" y="98"/>
                  </a:lnTo>
                  <a:lnTo>
                    <a:pt x="1326" y="90"/>
                  </a:lnTo>
                  <a:lnTo>
                    <a:pt x="1319" y="84"/>
                  </a:lnTo>
                  <a:lnTo>
                    <a:pt x="1310" y="78"/>
                  </a:lnTo>
                  <a:lnTo>
                    <a:pt x="1300" y="75"/>
                  </a:lnTo>
                  <a:lnTo>
                    <a:pt x="1289" y="75"/>
                  </a:lnTo>
                  <a:lnTo>
                    <a:pt x="1289" y="75"/>
                  </a:lnTo>
                  <a:lnTo>
                    <a:pt x="1279" y="76"/>
                  </a:lnTo>
                  <a:lnTo>
                    <a:pt x="1269" y="78"/>
                  </a:lnTo>
                  <a:lnTo>
                    <a:pt x="1260" y="84"/>
                  </a:lnTo>
                  <a:lnTo>
                    <a:pt x="1253" y="90"/>
                  </a:lnTo>
                  <a:lnTo>
                    <a:pt x="1246" y="98"/>
                  </a:lnTo>
                  <a:lnTo>
                    <a:pt x="1242" y="107"/>
                  </a:lnTo>
                  <a:lnTo>
                    <a:pt x="1239" y="118"/>
                  </a:lnTo>
                  <a:lnTo>
                    <a:pt x="1237" y="128"/>
                  </a:lnTo>
                  <a:lnTo>
                    <a:pt x="1237" y="128"/>
                  </a:lnTo>
                  <a:lnTo>
                    <a:pt x="1239" y="139"/>
                  </a:lnTo>
                  <a:lnTo>
                    <a:pt x="1242" y="148"/>
                  </a:lnTo>
                  <a:lnTo>
                    <a:pt x="1246" y="157"/>
                  </a:lnTo>
                  <a:lnTo>
                    <a:pt x="1253" y="166"/>
                  </a:lnTo>
                  <a:lnTo>
                    <a:pt x="1260" y="171"/>
                  </a:lnTo>
                  <a:lnTo>
                    <a:pt x="1269" y="177"/>
                  </a:lnTo>
                  <a:lnTo>
                    <a:pt x="1279" y="180"/>
                  </a:lnTo>
                  <a:lnTo>
                    <a:pt x="1290" y="181"/>
                  </a:lnTo>
                  <a:lnTo>
                    <a:pt x="1290" y="181"/>
                  </a:lnTo>
                  <a:lnTo>
                    <a:pt x="1300" y="180"/>
                  </a:lnTo>
                  <a:lnTo>
                    <a:pt x="1310" y="177"/>
                  </a:lnTo>
                  <a:lnTo>
                    <a:pt x="1319" y="171"/>
                  </a:lnTo>
                  <a:lnTo>
                    <a:pt x="1326" y="165"/>
                  </a:lnTo>
                  <a:lnTo>
                    <a:pt x="1333" y="157"/>
                  </a:lnTo>
                  <a:lnTo>
                    <a:pt x="1337" y="148"/>
                  </a:lnTo>
                  <a:lnTo>
                    <a:pt x="1341" y="139"/>
                  </a:lnTo>
                  <a:lnTo>
                    <a:pt x="1342" y="128"/>
                  </a:lnTo>
                  <a:close/>
                  <a:moveTo>
                    <a:pt x="249" y="146"/>
                  </a:moveTo>
                  <a:lnTo>
                    <a:pt x="249" y="146"/>
                  </a:lnTo>
                  <a:lnTo>
                    <a:pt x="249" y="142"/>
                  </a:lnTo>
                  <a:lnTo>
                    <a:pt x="248" y="137"/>
                  </a:lnTo>
                  <a:lnTo>
                    <a:pt x="246" y="134"/>
                  </a:lnTo>
                  <a:lnTo>
                    <a:pt x="244" y="131"/>
                  </a:lnTo>
                  <a:lnTo>
                    <a:pt x="240" y="128"/>
                  </a:lnTo>
                  <a:lnTo>
                    <a:pt x="236" y="125"/>
                  </a:lnTo>
                  <a:lnTo>
                    <a:pt x="233" y="124"/>
                  </a:lnTo>
                  <a:lnTo>
                    <a:pt x="228" y="124"/>
                  </a:lnTo>
                  <a:lnTo>
                    <a:pt x="228" y="124"/>
                  </a:lnTo>
                  <a:lnTo>
                    <a:pt x="224" y="124"/>
                  </a:lnTo>
                  <a:lnTo>
                    <a:pt x="220" y="125"/>
                  </a:lnTo>
                  <a:lnTo>
                    <a:pt x="216" y="128"/>
                  </a:lnTo>
                  <a:lnTo>
                    <a:pt x="213" y="131"/>
                  </a:lnTo>
                  <a:lnTo>
                    <a:pt x="211" y="134"/>
                  </a:lnTo>
                  <a:lnTo>
                    <a:pt x="209" y="137"/>
                  </a:lnTo>
                  <a:lnTo>
                    <a:pt x="208" y="142"/>
                  </a:lnTo>
                  <a:lnTo>
                    <a:pt x="206" y="146"/>
                  </a:lnTo>
                  <a:lnTo>
                    <a:pt x="206" y="146"/>
                  </a:lnTo>
                  <a:lnTo>
                    <a:pt x="208" y="151"/>
                  </a:lnTo>
                  <a:lnTo>
                    <a:pt x="209" y="155"/>
                  </a:lnTo>
                  <a:lnTo>
                    <a:pt x="211" y="158"/>
                  </a:lnTo>
                  <a:lnTo>
                    <a:pt x="213" y="162"/>
                  </a:lnTo>
                  <a:lnTo>
                    <a:pt x="216" y="165"/>
                  </a:lnTo>
                  <a:lnTo>
                    <a:pt x="220" y="167"/>
                  </a:lnTo>
                  <a:lnTo>
                    <a:pt x="224" y="168"/>
                  </a:lnTo>
                  <a:lnTo>
                    <a:pt x="228" y="168"/>
                  </a:lnTo>
                  <a:lnTo>
                    <a:pt x="228" y="168"/>
                  </a:lnTo>
                  <a:lnTo>
                    <a:pt x="233" y="168"/>
                  </a:lnTo>
                  <a:lnTo>
                    <a:pt x="237" y="167"/>
                  </a:lnTo>
                  <a:lnTo>
                    <a:pt x="240" y="165"/>
                  </a:lnTo>
                  <a:lnTo>
                    <a:pt x="244" y="162"/>
                  </a:lnTo>
                  <a:lnTo>
                    <a:pt x="246" y="158"/>
                  </a:lnTo>
                  <a:lnTo>
                    <a:pt x="248" y="155"/>
                  </a:lnTo>
                  <a:lnTo>
                    <a:pt x="249" y="151"/>
                  </a:lnTo>
                  <a:lnTo>
                    <a:pt x="249" y="146"/>
                  </a:lnTo>
                  <a:close/>
                  <a:moveTo>
                    <a:pt x="187" y="146"/>
                  </a:moveTo>
                  <a:lnTo>
                    <a:pt x="187" y="146"/>
                  </a:lnTo>
                  <a:lnTo>
                    <a:pt x="187" y="142"/>
                  </a:lnTo>
                  <a:lnTo>
                    <a:pt x="186" y="137"/>
                  </a:lnTo>
                  <a:lnTo>
                    <a:pt x="183" y="134"/>
                  </a:lnTo>
                  <a:lnTo>
                    <a:pt x="181" y="131"/>
                  </a:lnTo>
                  <a:lnTo>
                    <a:pt x="178" y="128"/>
                  </a:lnTo>
                  <a:lnTo>
                    <a:pt x="174" y="126"/>
                  </a:lnTo>
                  <a:lnTo>
                    <a:pt x="170" y="124"/>
                  </a:lnTo>
                  <a:lnTo>
                    <a:pt x="166" y="124"/>
                  </a:lnTo>
                  <a:lnTo>
                    <a:pt x="166" y="124"/>
                  </a:lnTo>
                  <a:lnTo>
                    <a:pt x="161" y="124"/>
                  </a:lnTo>
                  <a:lnTo>
                    <a:pt x="157" y="126"/>
                  </a:lnTo>
                  <a:lnTo>
                    <a:pt x="154" y="128"/>
                  </a:lnTo>
                  <a:lnTo>
                    <a:pt x="150" y="131"/>
                  </a:lnTo>
                  <a:lnTo>
                    <a:pt x="147" y="134"/>
                  </a:lnTo>
                  <a:lnTo>
                    <a:pt x="146" y="137"/>
                  </a:lnTo>
                  <a:lnTo>
                    <a:pt x="144" y="142"/>
                  </a:lnTo>
                  <a:lnTo>
                    <a:pt x="144" y="146"/>
                  </a:lnTo>
                  <a:lnTo>
                    <a:pt x="144" y="146"/>
                  </a:lnTo>
                  <a:lnTo>
                    <a:pt x="145" y="151"/>
                  </a:lnTo>
                  <a:lnTo>
                    <a:pt x="146" y="155"/>
                  </a:lnTo>
                  <a:lnTo>
                    <a:pt x="148" y="158"/>
                  </a:lnTo>
                  <a:lnTo>
                    <a:pt x="150" y="162"/>
                  </a:lnTo>
                  <a:lnTo>
                    <a:pt x="154" y="165"/>
                  </a:lnTo>
                  <a:lnTo>
                    <a:pt x="157" y="167"/>
                  </a:lnTo>
                  <a:lnTo>
                    <a:pt x="161" y="168"/>
                  </a:lnTo>
                  <a:lnTo>
                    <a:pt x="166" y="168"/>
                  </a:lnTo>
                  <a:lnTo>
                    <a:pt x="166" y="168"/>
                  </a:lnTo>
                  <a:lnTo>
                    <a:pt x="170" y="168"/>
                  </a:lnTo>
                  <a:lnTo>
                    <a:pt x="175" y="167"/>
                  </a:lnTo>
                  <a:lnTo>
                    <a:pt x="178" y="165"/>
                  </a:lnTo>
                  <a:lnTo>
                    <a:pt x="181" y="162"/>
                  </a:lnTo>
                  <a:lnTo>
                    <a:pt x="183" y="158"/>
                  </a:lnTo>
                  <a:lnTo>
                    <a:pt x="186" y="155"/>
                  </a:lnTo>
                  <a:lnTo>
                    <a:pt x="187" y="151"/>
                  </a:lnTo>
                  <a:lnTo>
                    <a:pt x="187" y="146"/>
                  </a:lnTo>
                  <a:close/>
                </a:path>
              </a:pathLst>
            </a:custGeom>
            <a:solidFill>
              <a:srgbClr val="4B4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40"/>
            <p:cNvSpPr>
              <a:spLocks/>
            </p:cNvSpPr>
            <p:nvPr/>
          </p:nvSpPr>
          <p:spPr bwMode="auto">
            <a:xfrm>
              <a:off x="2859" y="-127"/>
              <a:ext cx="730" cy="99"/>
            </a:xfrm>
            <a:custGeom>
              <a:avLst/>
              <a:gdLst>
                <a:gd name="T0" fmla="*/ 1460 w 1460"/>
                <a:gd name="T1" fmla="*/ 166 h 199"/>
                <a:gd name="T2" fmla="*/ 1460 w 1460"/>
                <a:gd name="T3" fmla="*/ 193 h 199"/>
                <a:gd name="T4" fmla="*/ 1 w 1460"/>
                <a:gd name="T5" fmla="*/ 199 h 199"/>
                <a:gd name="T6" fmla="*/ 0 w 1460"/>
                <a:gd name="T7" fmla="*/ 171 h 199"/>
                <a:gd name="T8" fmla="*/ 0 w 1460"/>
                <a:gd name="T9" fmla="*/ 171 h 199"/>
                <a:gd name="T10" fmla="*/ 1 w 1460"/>
                <a:gd name="T11" fmla="*/ 155 h 199"/>
                <a:gd name="T12" fmla="*/ 4 w 1460"/>
                <a:gd name="T13" fmla="*/ 139 h 199"/>
                <a:gd name="T14" fmla="*/ 8 w 1460"/>
                <a:gd name="T15" fmla="*/ 122 h 199"/>
                <a:gd name="T16" fmla="*/ 13 w 1460"/>
                <a:gd name="T17" fmla="*/ 107 h 199"/>
                <a:gd name="T18" fmla="*/ 20 w 1460"/>
                <a:gd name="T19" fmla="*/ 93 h 199"/>
                <a:gd name="T20" fmla="*/ 28 w 1460"/>
                <a:gd name="T21" fmla="*/ 79 h 199"/>
                <a:gd name="T22" fmla="*/ 38 w 1460"/>
                <a:gd name="T23" fmla="*/ 66 h 199"/>
                <a:gd name="T24" fmla="*/ 47 w 1460"/>
                <a:gd name="T25" fmla="*/ 54 h 199"/>
                <a:gd name="T26" fmla="*/ 59 w 1460"/>
                <a:gd name="T27" fmla="*/ 43 h 199"/>
                <a:gd name="T28" fmla="*/ 72 w 1460"/>
                <a:gd name="T29" fmla="*/ 33 h 199"/>
                <a:gd name="T30" fmla="*/ 85 w 1460"/>
                <a:gd name="T31" fmla="*/ 26 h 199"/>
                <a:gd name="T32" fmla="*/ 99 w 1460"/>
                <a:gd name="T33" fmla="*/ 18 h 199"/>
                <a:gd name="T34" fmla="*/ 113 w 1460"/>
                <a:gd name="T35" fmla="*/ 12 h 199"/>
                <a:gd name="T36" fmla="*/ 130 w 1460"/>
                <a:gd name="T37" fmla="*/ 8 h 199"/>
                <a:gd name="T38" fmla="*/ 145 w 1460"/>
                <a:gd name="T39" fmla="*/ 6 h 199"/>
                <a:gd name="T40" fmla="*/ 161 w 1460"/>
                <a:gd name="T41" fmla="*/ 5 h 199"/>
                <a:gd name="T42" fmla="*/ 937 w 1460"/>
                <a:gd name="T43" fmla="*/ 2 h 199"/>
                <a:gd name="T44" fmla="*/ 937 w 1460"/>
                <a:gd name="T45" fmla="*/ 2 h 199"/>
                <a:gd name="T46" fmla="*/ 942 w 1460"/>
                <a:gd name="T47" fmla="*/ 7 h 199"/>
                <a:gd name="T48" fmla="*/ 949 w 1460"/>
                <a:gd name="T49" fmla="*/ 12 h 199"/>
                <a:gd name="T50" fmla="*/ 956 w 1460"/>
                <a:gd name="T51" fmla="*/ 16 h 199"/>
                <a:gd name="T52" fmla="*/ 964 w 1460"/>
                <a:gd name="T53" fmla="*/ 20 h 199"/>
                <a:gd name="T54" fmla="*/ 972 w 1460"/>
                <a:gd name="T55" fmla="*/ 22 h 199"/>
                <a:gd name="T56" fmla="*/ 982 w 1460"/>
                <a:gd name="T57" fmla="*/ 25 h 199"/>
                <a:gd name="T58" fmla="*/ 992 w 1460"/>
                <a:gd name="T59" fmla="*/ 26 h 199"/>
                <a:gd name="T60" fmla="*/ 1002 w 1460"/>
                <a:gd name="T61" fmla="*/ 26 h 199"/>
                <a:gd name="T62" fmla="*/ 1002 w 1460"/>
                <a:gd name="T63" fmla="*/ 26 h 199"/>
                <a:gd name="T64" fmla="*/ 1014 w 1460"/>
                <a:gd name="T65" fmla="*/ 26 h 199"/>
                <a:gd name="T66" fmla="*/ 1022 w 1460"/>
                <a:gd name="T67" fmla="*/ 25 h 199"/>
                <a:gd name="T68" fmla="*/ 1031 w 1460"/>
                <a:gd name="T69" fmla="*/ 22 h 199"/>
                <a:gd name="T70" fmla="*/ 1041 w 1460"/>
                <a:gd name="T71" fmla="*/ 19 h 199"/>
                <a:gd name="T72" fmla="*/ 1050 w 1460"/>
                <a:gd name="T73" fmla="*/ 15 h 199"/>
                <a:gd name="T74" fmla="*/ 1060 w 1460"/>
                <a:gd name="T75" fmla="*/ 9 h 199"/>
                <a:gd name="T76" fmla="*/ 1067 w 1460"/>
                <a:gd name="T77" fmla="*/ 2 h 199"/>
                <a:gd name="T78" fmla="*/ 1298 w 1460"/>
                <a:gd name="T79" fmla="*/ 0 h 199"/>
                <a:gd name="T80" fmla="*/ 1298 w 1460"/>
                <a:gd name="T81" fmla="*/ 0 h 199"/>
                <a:gd name="T82" fmla="*/ 1314 w 1460"/>
                <a:gd name="T83" fmla="*/ 2 h 199"/>
                <a:gd name="T84" fmla="*/ 1330 w 1460"/>
                <a:gd name="T85" fmla="*/ 4 h 199"/>
                <a:gd name="T86" fmla="*/ 1346 w 1460"/>
                <a:gd name="T87" fmla="*/ 8 h 199"/>
                <a:gd name="T88" fmla="*/ 1360 w 1460"/>
                <a:gd name="T89" fmla="*/ 14 h 199"/>
                <a:gd name="T90" fmla="*/ 1375 w 1460"/>
                <a:gd name="T91" fmla="*/ 20 h 199"/>
                <a:gd name="T92" fmla="*/ 1388 w 1460"/>
                <a:gd name="T93" fmla="*/ 29 h 199"/>
                <a:gd name="T94" fmla="*/ 1401 w 1460"/>
                <a:gd name="T95" fmla="*/ 38 h 199"/>
                <a:gd name="T96" fmla="*/ 1412 w 1460"/>
                <a:gd name="T97" fmla="*/ 49 h 199"/>
                <a:gd name="T98" fmla="*/ 1423 w 1460"/>
                <a:gd name="T99" fmla="*/ 61 h 199"/>
                <a:gd name="T100" fmla="*/ 1432 w 1460"/>
                <a:gd name="T101" fmla="*/ 74 h 199"/>
                <a:gd name="T102" fmla="*/ 1440 w 1460"/>
                <a:gd name="T103" fmla="*/ 87 h 199"/>
                <a:gd name="T104" fmla="*/ 1447 w 1460"/>
                <a:gd name="T105" fmla="*/ 101 h 199"/>
                <a:gd name="T106" fmla="*/ 1452 w 1460"/>
                <a:gd name="T107" fmla="*/ 117 h 199"/>
                <a:gd name="T108" fmla="*/ 1457 w 1460"/>
                <a:gd name="T109" fmla="*/ 133 h 199"/>
                <a:gd name="T110" fmla="*/ 1459 w 1460"/>
                <a:gd name="T111" fmla="*/ 150 h 199"/>
                <a:gd name="T112" fmla="*/ 1460 w 1460"/>
                <a:gd name="T113" fmla="*/ 16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60" h="199">
                  <a:moveTo>
                    <a:pt x="1460" y="166"/>
                  </a:moveTo>
                  <a:lnTo>
                    <a:pt x="1460" y="193"/>
                  </a:lnTo>
                  <a:lnTo>
                    <a:pt x="1" y="199"/>
                  </a:lnTo>
                  <a:lnTo>
                    <a:pt x="0" y="171"/>
                  </a:lnTo>
                  <a:lnTo>
                    <a:pt x="0" y="171"/>
                  </a:lnTo>
                  <a:lnTo>
                    <a:pt x="1" y="155"/>
                  </a:lnTo>
                  <a:lnTo>
                    <a:pt x="4" y="139"/>
                  </a:lnTo>
                  <a:lnTo>
                    <a:pt x="8" y="122"/>
                  </a:lnTo>
                  <a:lnTo>
                    <a:pt x="13" y="107"/>
                  </a:lnTo>
                  <a:lnTo>
                    <a:pt x="20" y="93"/>
                  </a:lnTo>
                  <a:lnTo>
                    <a:pt x="28" y="79"/>
                  </a:lnTo>
                  <a:lnTo>
                    <a:pt x="38" y="66"/>
                  </a:lnTo>
                  <a:lnTo>
                    <a:pt x="47" y="54"/>
                  </a:lnTo>
                  <a:lnTo>
                    <a:pt x="59" y="43"/>
                  </a:lnTo>
                  <a:lnTo>
                    <a:pt x="72" y="33"/>
                  </a:lnTo>
                  <a:lnTo>
                    <a:pt x="85" y="26"/>
                  </a:lnTo>
                  <a:lnTo>
                    <a:pt x="99" y="18"/>
                  </a:lnTo>
                  <a:lnTo>
                    <a:pt x="113" y="12"/>
                  </a:lnTo>
                  <a:lnTo>
                    <a:pt x="130" y="8"/>
                  </a:lnTo>
                  <a:lnTo>
                    <a:pt x="145" y="6"/>
                  </a:lnTo>
                  <a:lnTo>
                    <a:pt x="161" y="5"/>
                  </a:lnTo>
                  <a:lnTo>
                    <a:pt x="937" y="2"/>
                  </a:lnTo>
                  <a:lnTo>
                    <a:pt x="937" y="2"/>
                  </a:lnTo>
                  <a:lnTo>
                    <a:pt x="942" y="7"/>
                  </a:lnTo>
                  <a:lnTo>
                    <a:pt x="949" y="12"/>
                  </a:lnTo>
                  <a:lnTo>
                    <a:pt x="956" y="16"/>
                  </a:lnTo>
                  <a:lnTo>
                    <a:pt x="964" y="20"/>
                  </a:lnTo>
                  <a:lnTo>
                    <a:pt x="972" y="22"/>
                  </a:lnTo>
                  <a:lnTo>
                    <a:pt x="982" y="25"/>
                  </a:lnTo>
                  <a:lnTo>
                    <a:pt x="992" y="26"/>
                  </a:lnTo>
                  <a:lnTo>
                    <a:pt x="1002" y="26"/>
                  </a:lnTo>
                  <a:lnTo>
                    <a:pt x="1002" y="26"/>
                  </a:lnTo>
                  <a:lnTo>
                    <a:pt x="1014" y="26"/>
                  </a:lnTo>
                  <a:lnTo>
                    <a:pt x="1022" y="25"/>
                  </a:lnTo>
                  <a:lnTo>
                    <a:pt x="1031" y="22"/>
                  </a:lnTo>
                  <a:lnTo>
                    <a:pt x="1041" y="19"/>
                  </a:lnTo>
                  <a:lnTo>
                    <a:pt x="1050" y="15"/>
                  </a:lnTo>
                  <a:lnTo>
                    <a:pt x="1060" y="9"/>
                  </a:lnTo>
                  <a:lnTo>
                    <a:pt x="1067" y="2"/>
                  </a:lnTo>
                  <a:lnTo>
                    <a:pt x="1298" y="0"/>
                  </a:lnTo>
                  <a:lnTo>
                    <a:pt x="1298" y="0"/>
                  </a:lnTo>
                  <a:lnTo>
                    <a:pt x="1314" y="2"/>
                  </a:lnTo>
                  <a:lnTo>
                    <a:pt x="1330" y="4"/>
                  </a:lnTo>
                  <a:lnTo>
                    <a:pt x="1346" y="8"/>
                  </a:lnTo>
                  <a:lnTo>
                    <a:pt x="1360" y="14"/>
                  </a:lnTo>
                  <a:lnTo>
                    <a:pt x="1375" y="20"/>
                  </a:lnTo>
                  <a:lnTo>
                    <a:pt x="1388" y="29"/>
                  </a:lnTo>
                  <a:lnTo>
                    <a:pt x="1401" y="38"/>
                  </a:lnTo>
                  <a:lnTo>
                    <a:pt x="1412" y="49"/>
                  </a:lnTo>
                  <a:lnTo>
                    <a:pt x="1423" y="61"/>
                  </a:lnTo>
                  <a:lnTo>
                    <a:pt x="1432" y="74"/>
                  </a:lnTo>
                  <a:lnTo>
                    <a:pt x="1440" y="87"/>
                  </a:lnTo>
                  <a:lnTo>
                    <a:pt x="1447" y="101"/>
                  </a:lnTo>
                  <a:lnTo>
                    <a:pt x="1452" y="117"/>
                  </a:lnTo>
                  <a:lnTo>
                    <a:pt x="1457" y="133"/>
                  </a:lnTo>
                  <a:lnTo>
                    <a:pt x="1459" y="150"/>
                  </a:lnTo>
                  <a:lnTo>
                    <a:pt x="1460" y="16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41"/>
            <p:cNvSpPr>
              <a:spLocks/>
            </p:cNvSpPr>
            <p:nvPr/>
          </p:nvSpPr>
          <p:spPr bwMode="auto">
            <a:xfrm>
              <a:off x="3478" y="-90"/>
              <a:ext cx="52" cy="54"/>
            </a:xfrm>
            <a:custGeom>
              <a:avLst/>
              <a:gdLst>
                <a:gd name="T0" fmla="*/ 105 w 105"/>
                <a:gd name="T1" fmla="*/ 53 h 106"/>
                <a:gd name="T2" fmla="*/ 105 w 105"/>
                <a:gd name="T3" fmla="*/ 53 h 106"/>
                <a:gd name="T4" fmla="*/ 104 w 105"/>
                <a:gd name="T5" fmla="*/ 42 h 106"/>
                <a:gd name="T6" fmla="*/ 100 w 105"/>
                <a:gd name="T7" fmla="*/ 32 h 106"/>
                <a:gd name="T8" fmla="*/ 95 w 105"/>
                <a:gd name="T9" fmla="*/ 23 h 106"/>
                <a:gd name="T10" fmla="*/ 89 w 105"/>
                <a:gd name="T11" fmla="*/ 15 h 106"/>
                <a:gd name="T12" fmla="*/ 82 w 105"/>
                <a:gd name="T13" fmla="*/ 9 h 106"/>
                <a:gd name="T14" fmla="*/ 73 w 105"/>
                <a:gd name="T15" fmla="*/ 3 h 106"/>
                <a:gd name="T16" fmla="*/ 63 w 105"/>
                <a:gd name="T17" fmla="*/ 0 h 106"/>
                <a:gd name="T18" fmla="*/ 52 w 105"/>
                <a:gd name="T19" fmla="*/ 0 h 106"/>
                <a:gd name="T20" fmla="*/ 52 w 105"/>
                <a:gd name="T21" fmla="*/ 0 h 106"/>
                <a:gd name="T22" fmla="*/ 42 w 105"/>
                <a:gd name="T23" fmla="*/ 1 h 106"/>
                <a:gd name="T24" fmla="*/ 32 w 105"/>
                <a:gd name="T25" fmla="*/ 3 h 106"/>
                <a:gd name="T26" fmla="*/ 23 w 105"/>
                <a:gd name="T27" fmla="*/ 9 h 106"/>
                <a:gd name="T28" fmla="*/ 16 w 105"/>
                <a:gd name="T29" fmla="*/ 15 h 106"/>
                <a:gd name="T30" fmla="*/ 9 w 105"/>
                <a:gd name="T31" fmla="*/ 23 h 106"/>
                <a:gd name="T32" fmla="*/ 5 w 105"/>
                <a:gd name="T33" fmla="*/ 32 h 106"/>
                <a:gd name="T34" fmla="*/ 2 w 105"/>
                <a:gd name="T35" fmla="*/ 43 h 106"/>
                <a:gd name="T36" fmla="*/ 0 w 105"/>
                <a:gd name="T37" fmla="*/ 53 h 106"/>
                <a:gd name="T38" fmla="*/ 0 w 105"/>
                <a:gd name="T39" fmla="*/ 53 h 106"/>
                <a:gd name="T40" fmla="*/ 2 w 105"/>
                <a:gd name="T41" fmla="*/ 64 h 106"/>
                <a:gd name="T42" fmla="*/ 5 w 105"/>
                <a:gd name="T43" fmla="*/ 73 h 106"/>
                <a:gd name="T44" fmla="*/ 9 w 105"/>
                <a:gd name="T45" fmla="*/ 82 h 106"/>
                <a:gd name="T46" fmla="*/ 16 w 105"/>
                <a:gd name="T47" fmla="*/ 91 h 106"/>
                <a:gd name="T48" fmla="*/ 23 w 105"/>
                <a:gd name="T49" fmla="*/ 96 h 106"/>
                <a:gd name="T50" fmla="*/ 32 w 105"/>
                <a:gd name="T51" fmla="*/ 102 h 106"/>
                <a:gd name="T52" fmla="*/ 42 w 105"/>
                <a:gd name="T53" fmla="*/ 105 h 106"/>
                <a:gd name="T54" fmla="*/ 53 w 105"/>
                <a:gd name="T55" fmla="*/ 106 h 106"/>
                <a:gd name="T56" fmla="*/ 53 w 105"/>
                <a:gd name="T57" fmla="*/ 106 h 106"/>
                <a:gd name="T58" fmla="*/ 63 w 105"/>
                <a:gd name="T59" fmla="*/ 105 h 106"/>
                <a:gd name="T60" fmla="*/ 73 w 105"/>
                <a:gd name="T61" fmla="*/ 102 h 106"/>
                <a:gd name="T62" fmla="*/ 82 w 105"/>
                <a:gd name="T63" fmla="*/ 96 h 106"/>
                <a:gd name="T64" fmla="*/ 89 w 105"/>
                <a:gd name="T65" fmla="*/ 90 h 106"/>
                <a:gd name="T66" fmla="*/ 96 w 105"/>
                <a:gd name="T67" fmla="*/ 82 h 106"/>
                <a:gd name="T68" fmla="*/ 100 w 105"/>
                <a:gd name="T69" fmla="*/ 73 h 106"/>
                <a:gd name="T70" fmla="*/ 104 w 105"/>
                <a:gd name="T71" fmla="*/ 64 h 106"/>
                <a:gd name="T72" fmla="*/ 105 w 105"/>
                <a:gd name="T73"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5" h="106">
                  <a:moveTo>
                    <a:pt x="105" y="53"/>
                  </a:moveTo>
                  <a:lnTo>
                    <a:pt x="105" y="53"/>
                  </a:lnTo>
                  <a:lnTo>
                    <a:pt x="104" y="42"/>
                  </a:lnTo>
                  <a:lnTo>
                    <a:pt x="100" y="32"/>
                  </a:lnTo>
                  <a:lnTo>
                    <a:pt x="95" y="23"/>
                  </a:lnTo>
                  <a:lnTo>
                    <a:pt x="89" y="15"/>
                  </a:lnTo>
                  <a:lnTo>
                    <a:pt x="82" y="9"/>
                  </a:lnTo>
                  <a:lnTo>
                    <a:pt x="73" y="3"/>
                  </a:lnTo>
                  <a:lnTo>
                    <a:pt x="63" y="0"/>
                  </a:lnTo>
                  <a:lnTo>
                    <a:pt x="52" y="0"/>
                  </a:lnTo>
                  <a:lnTo>
                    <a:pt x="52" y="0"/>
                  </a:lnTo>
                  <a:lnTo>
                    <a:pt x="42" y="1"/>
                  </a:lnTo>
                  <a:lnTo>
                    <a:pt x="32" y="3"/>
                  </a:lnTo>
                  <a:lnTo>
                    <a:pt x="23" y="9"/>
                  </a:lnTo>
                  <a:lnTo>
                    <a:pt x="16" y="15"/>
                  </a:lnTo>
                  <a:lnTo>
                    <a:pt x="9" y="23"/>
                  </a:lnTo>
                  <a:lnTo>
                    <a:pt x="5" y="32"/>
                  </a:lnTo>
                  <a:lnTo>
                    <a:pt x="2" y="43"/>
                  </a:lnTo>
                  <a:lnTo>
                    <a:pt x="0" y="53"/>
                  </a:lnTo>
                  <a:lnTo>
                    <a:pt x="0" y="53"/>
                  </a:lnTo>
                  <a:lnTo>
                    <a:pt x="2" y="64"/>
                  </a:lnTo>
                  <a:lnTo>
                    <a:pt x="5" y="73"/>
                  </a:lnTo>
                  <a:lnTo>
                    <a:pt x="9" y="82"/>
                  </a:lnTo>
                  <a:lnTo>
                    <a:pt x="16" y="91"/>
                  </a:lnTo>
                  <a:lnTo>
                    <a:pt x="23" y="96"/>
                  </a:lnTo>
                  <a:lnTo>
                    <a:pt x="32" y="102"/>
                  </a:lnTo>
                  <a:lnTo>
                    <a:pt x="42" y="105"/>
                  </a:lnTo>
                  <a:lnTo>
                    <a:pt x="53" y="106"/>
                  </a:lnTo>
                  <a:lnTo>
                    <a:pt x="53" y="106"/>
                  </a:lnTo>
                  <a:lnTo>
                    <a:pt x="63" y="105"/>
                  </a:lnTo>
                  <a:lnTo>
                    <a:pt x="73" y="102"/>
                  </a:lnTo>
                  <a:lnTo>
                    <a:pt x="82" y="96"/>
                  </a:lnTo>
                  <a:lnTo>
                    <a:pt x="89" y="90"/>
                  </a:lnTo>
                  <a:lnTo>
                    <a:pt x="96" y="82"/>
                  </a:lnTo>
                  <a:lnTo>
                    <a:pt x="100" y="73"/>
                  </a:lnTo>
                  <a:lnTo>
                    <a:pt x="104" y="64"/>
                  </a:lnTo>
                  <a:lnTo>
                    <a:pt x="105" y="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42"/>
            <p:cNvSpPr>
              <a:spLocks/>
            </p:cNvSpPr>
            <p:nvPr/>
          </p:nvSpPr>
          <p:spPr bwMode="auto">
            <a:xfrm>
              <a:off x="2962" y="-65"/>
              <a:ext cx="22" cy="22"/>
            </a:xfrm>
            <a:custGeom>
              <a:avLst/>
              <a:gdLst>
                <a:gd name="T0" fmla="*/ 43 w 43"/>
                <a:gd name="T1" fmla="*/ 22 h 44"/>
                <a:gd name="T2" fmla="*/ 43 w 43"/>
                <a:gd name="T3" fmla="*/ 22 h 44"/>
                <a:gd name="T4" fmla="*/ 43 w 43"/>
                <a:gd name="T5" fmla="*/ 18 h 44"/>
                <a:gd name="T6" fmla="*/ 42 w 43"/>
                <a:gd name="T7" fmla="*/ 13 h 44"/>
                <a:gd name="T8" fmla="*/ 40 w 43"/>
                <a:gd name="T9" fmla="*/ 10 h 44"/>
                <a:gd name="T10" fmla="*/ 38 w 43"/>
                <a:gd name="T11" fmla="*/ 7 h 44"/>
                <a:gd name="T12" fmla="*/ 34 w 43"/>
                <a:gd name="T13" fmla="*/ 4 h 44"/>
                <a:gd name="T14" fmla="*/ 30 w 43"/>
                <a:gd name="T15" fmla="*/ 1 h 44"/>
                <a:gd name="T16" fmla="*/ 27 w 43"/>
                <a:gd name="T17" fmla="*/ 0 h 44"/>
                <a:gd name="T18" fmla="*/ 22 w 43"/>
                <a:gd name="T19" fmla="*/ 0 h 44"/>
                <a:gd name="T20" fmla="*/ 22 w 43"/>
                <a:gd name="T21" fmla="*/ 0 h 44"/>
                <a:gd name="T22" fmla="*/ 18 w 43"/>
                <a:gd name="T23" fmla="*/ 0 h 44"/>
                <a:gd name="T24" fmla="*/ 14 w 43"/>
                <a:gd name="T25" fmla="*/ 1 h 44"/>
                <a:gd name="T26" fmla="*/ 10 w 43"/>
                <a:gd name="T27" fmla="*/ 4 h 44"/>
                <a:gd name="T28" fmla="*/ 7 w 43"/>
                <a:gd name="T29" fmla="*/ 7 h 44"/>
                <a:gd name="T30" fmla="*/ 5 w 43"/>
                <a:gd name="T31" fmla="*/ 10 h 44"/>
                <a:gd name="T32" fmla="*/ 3 w 43"/>
                <a:gd name="T33" fmla="*/ 13 h 44"/>
                <a:gd name="T34" fmla="*/ 2 w 43"/>
                <a:gd name="T35" fmla="*/ 18 h 44"/>
                <a:gd name="T36" fmla="*/ 0 w 43"/>
                <a:gd name="T37" fmla="*/ 22 h 44"/>
                <a:gd name="T38" fmla="*/ 0 w 43"/>
                <a:gd name="T39" fmla="*/ 22 h 44"/>
                <a:gd name="T40" fmla="*/ 2 w 43"/>
                <a:gd name="T41" fmla="*/ 27 h 44"/>
                <a:gd name="T42" fmla="*/ 3 w 43"/>
                <a:gd name="T43" fmla="*/ 31 h 44"/>
                <a:gd name="T44" fmla="*/ 5 w 43"/>
                <a:gd name="T45" fmla="*/ 34 h 44"/>
                <a:gd name="T46" fmla="*/ 7 w 43"/>
                <a:gd name="T47" fmla="*/ 38 h 44"/>
                <a:gd name="T48" fmla="*/ 10 w 43"/>
                <a:gd name="T49" fmla="*/ 41 h 44"/>
                <a:gd name="T50" fmla="*/ 14 w 43"/>
                <a:gd name="T51" fmla="*/ 43 h 44"/>
                <a:gd name="T52" fmla="*/ 18 w 43"/>
                <a:gd name="T53" fmla="*/ 44 h 44"/>
                <a:gd name="T54" fmla="*/ 22 w 43"/>
                <a:gd name="T55" fmla="*/ 44 h 44"/>
                <a:gd name="T56" fmla="*/ 22 w 43"/>
                <a:gd name="T57" fmla="*/ 44 h 44"/>
                <a:gd name="T58" fmla="*/ 27 w 43"/>
                <a:gd name="T59" fmla="*/ 44 h 44"/>
                <a:gd name="T60" fmla="*/ 31 w 43"/>
                <a:gd name="T61" fmla="*/ 43 h 44"/>
                <a:gd name="T62" fmla="*/ 34 w 43"/>
                <a:gd name="T63" fmla="*/ 41 h 44"/>
                <a:gd name="T64" fmla="*/ 38 w 43"/>
                <a:gd name="T65" fmla="*/ 38 h 44"/>
                <a:gd name="T66" fmla="*/ 40 w 43"/>
                <a:gd name="T67" fmla="*/ 34 h 44"/>
                <a:gd name="T68" fmla="*/ 42 w 43"/>
                <a:gd name="T69" fmla="*/ 31 h 44"/>
                <a:gd name="T70" fmla="*/ 43 w 43"/>
                <a:gd name="T71" fmla="*/ 27 h 44"/>
                <a:gd name="T72" fmla="*/ 43 w 43"/>
                <a:gd name="T73"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3" h="44">
                  <a:moveTo>
                    <a:pt x="43" y="22"/>
                  </a:moveTo>
                  <a:lnTo>
                    <a:pt x="43" y="22"/>
                  </a:lnTo>
                  <a:lnTo>
                    <a:pt x="43" y="18"/>
                  </a:lnTo>
                  <a:lnTo>
                    <a:pt x="42" y="13"/>
                  </a:lnTo>
                  <a:lnTo>
                    <a:pt x="40" y="10"/>
                  </a:lnTo>
                  <a:lnTo>
                    <a:pt x="38" y="7"/>
                  </a:lnTo>
                  <a:lnTo>
                    <a:pt x="34" y="4"/>
                  </a:lnTo>
                  <a:lnTo>
                    <a:pt x="30" y="1"/>
                  </a:lnTo>
                  <a:lnTo>
                    <a:pt x="27" y="0"/>
                  </a:lnTo>
                  <a:lnTo>
                    <a:pt x="22" y="0"/>
                  </a:lnTo>
                  <a:lnTo>
                    <a:pt x="22" y="0"/>
                  </a:lnTo>
                  <a:lnTo>
                    <a:pt x="18" y="0"/>
                  </a:lnTo>
                  <a:lnTo>
                    <a:pt x="14" y="1"/>
                  </a:lnTo>
                  <a:lnTo>
                    <a:pt x="10" y="4"/>
                  </a:lnTo>
                  <a:lnTo>
                    <a:pt x="7" y="7"/>
                  </a:lnTo>
                  <a:lnTo>
                    <a:pt x="5" y="10"/>
                  </a:lnTo>
                  <a:lnTo>
                    <a:pt x="3" y="13"/>
                  </a:lnTo>
                  <a:lnTo>
                    <a:pt x="2" y="18"/>
                  </a:lnTo>
                  <a:lnTo>
                    <a:pt x="0" y="22"/>
                  </a:lnTo>
                  <a:lnTo>
                    <a:pt x="0" y="22"/>
                  </a:lnTo>
                  <a:lnTo>
                    <a:pt x="2" y="27"/>
                  </a:lnTo>
                  <a:lnTo>
                    <a:pt x="3" y="31"/>
                  </a:lnTo>
                  <a:lnTo>
                    <a:pt x="5" y="34"/>
                  </a:lnTo>
                  <a:lnTo>
                    <a:pt x="7" y="38"/>
                  </a:lnTo>
                  <a:lnTo>
                    <a:pt x="10" y="41"/>
                  </a:lnTo>
                  <a:lnTo>
                    <a:pt x="14" y="43"/>
                  </a:lnTo>
                  <a:lnTo>
                    <a:pt x="18" y="44"/>
                  </a:lnTo>
                  <a:lnTo>
                    <a:pt x="22" y="44"/>
                  </a:lnTo>
                  <a:lnTo>
                    <a:pt x="22" y="44"/>
                  </a:lnTo>
                  <a:lnTo>
                    <a:pt x="27" y="44"/>
                  </a:lnTo>
                  <a:lnTo>
                    <a:pt x="31" y="43"/>
                  </a:lnTo>
                  <a:lnTo>
                    <a:pt x="34" y="41"/>
                  </a:lnTo>
                  <a:lnTo>
                    <a:pt x="38" y="38"/>
                  </a:lnTo>
                  <a:lnTo>
                    <a:pt x="40" y="34"/>
                  </a:lnTo>
                  <a:lnTo>
                    <a:pt x="42" y="31"/>
                  </a:lnTo>
                  <a:lnTo>
                    <a:pt x="43" y="27"/>
                  </a:lnTo>
                  <a:lnTo>
                    <a:pt x="43"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43"/>
            <p:cNvSpPr>
              <a:spLocks/>
            </p:cNvSpPr>
            <p:nvPr/>
          </p:nvSpPr>
          <p:spPr bwMode="auto">
            <a:xfrm>
              <a:off x="2931" y="-65"/>
              <a:ext cx="21" cy="22"/>
            </a:xfrm>
            <a:custGeom>
              <a:avLst/>
              <a:gdLst>
                <a:gd name="T0" fmla="*/ 43 w 43"/>
                <a:gd name="T1" fmla="*/ 22 h 44"/>
                <a:gd name="T2" fmla="*/ 43 w 43"/>
                <a:gd name="T3" fmla="*/ 22 h 44"/>
                <a:gd name="T4" fmla="*/ 43 w 43"/>
                <a:gd name="T5" fmla="*/ 18 h 44"/>
                <a:gd name="T6" fmla="*/ 42 w 43"/>
                <a:gd name="T7" fmla="*/ 13 h 44"/>
                <a:gd name="T8" fmla="*/ 39 w 43"/>
                <a:gd name="T9" fmla="*/ 10 h 44"/>
                <a:gd name="T10" fmla="*/ 37 w 43"/>
                <a:gd name="T11" fmla="*/ 7 h 44"/>
                <a:gd name="T12" fmla="*/ 34 w 43"/>
                <a:gd name="T13" fmla="*/ 4 h 44"/>
                <a:gd name="T14" fmla="*/ 30 w 43"/>
                <a:gd name="T15" fmla="*/ 2 h 44"/>
                <a:gd name="T16" fmla="*/ 26 w 43"/>
                <a:gd name="T17" fmla="*/ 0 h 44"/>
                <a:gd name="T18" fmla="*/ 22 w 43"/>
                <a:gd name="T19" fmla="*/ 0 h 44"/>
                <a:gd name="T20" fmla="*/ 22 w 43"/>
                <a:gd name="T21" fmla="*/ 0 h 44"/>
                <a:gd name="T22" fmla="*/ 17 w 43"/>
                <a:gd name="T23" fmla="*/ 0 h 44"/>
                <a:gd name="T24" fmla="*/ 13 w 43"/>
                <a:gd name="T25" fmla="*/ 2 h 44"/>
                <a:gd name="T26" fmla="*/ 10 w 43"/>
                <a:gd name="T27" fmla="*/ 4 h 44"/>
                <a:gd name="T28" fmla="*/ 6 w 43"/>
                <a:gd name="T29" fmla="*/ 7 h 44"/>
                <a:gd name="T30" fmla="*/ 3 w 43"/>
                <a:gd name="T31" fmla="*/ 10 h 44"/>
                <a:gd name="T32" fmla="*/ 2 w 43"/>
                <a:gd name="T33" fmla="*/ 13 h 44"/>
                <a:gd name="T34" fmla="*/ 0 w 43"/>
                <a:gd name="T35" fmla="*/ 18 h 44"/>
                <a:gd name="T36" fmla="*/ 0 w 43"/>
                <a:gd name="T37" fmla="*/ 22 h 44"/>
                <a:gd name="T38" fmla="*/ 0 w 43"/>
                <a:gd name="T39" fmla="*/ 22 h 44"/>
                <a:gd name="T40" fmla="*/ 1 w 43"/>
                <a:gd name="T41" fmla="*/ 27 h 44"/>
                <a:gd name="T42" fmla="*/ 2 w 43"/>
                <a:gd name="T43" fmla="*/ 31 h 44"/>
                <a:gd name="T44" fmla="*/ 4 w 43"/>
                <a:gd name="T45" fmla="*/ 34 h 44"/>
                <a:gd name="T46" fmla="*/ 6 w 43"/>
                <a:gd name="T47" fmla="*/ 38 h 44"/>
                <a:gd name="T48" fmla="*/ 10 w 43"/>
                <a:gd name="T49" fmla="*/ 41 h 44"/>
                <a:gd name="T50" fmla="*/ 13 w 43"/>
                <a:gd name="T51" fmla="*/ 43 h 44"/>
                <a:gd name="T52" fmla="*/ 17 w 43"/>
                <a:gd name="T53" fmla="*/ 44 h 44"/>
                <a:gd name="T54" fmla="*/ 22 w 43"/>
                <a:gd name="T55" fmla="*/ 44 h 44"/>
                <a:gd name="T56" fmla="*/ 22 w 43"/>
                <a:gd name="T57" fmla="*/ 44 h 44"/>
                <a:gd name="T58" fmla="*/ 26 w 43"/>
                <a:gd name="T59" fmla="*/ 44 h 44"/>
                <a:gd name="T60" fmla="*/ 31 w 43"/>
                <a:gd name="T61" fmla="*/ 43 h 44"/>
                <a:gd name="T62" fmla="*/ 34 w 43"/>
                <a:gd name="T63" fmla="*/ 41 h 44"/>
                <a:gd name="T64" fmla="*/ 37 w 43"/>
                <a:gd name="T65" fmla="*/ 38 h 44"/>
                <a:gd name="T66" fmla="*/ 39 w 43"/>
                <a:gd name="T67" fmla="*/ 34 h 44"/>
                <a:gd name="T68" fmla="*/ 42 w 43"/>
                <a:gd name="T69" fmla="*/ 31 h 44"/>
                <a:gd name="T70" fmla="*/ 43 w 43"/>
                <a:gd name="T71" fmla="*/ 27 h 44"/>
                <a:gd name="T72" fmla="*/ 43 w 43"/>
                <a:gd name="T73"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3" h="44">
                  <a:moveTo>
                    <a:pt x="43" y="22"/>
                  </a:moveTo>
                  <a:lnTo>
                    <a:pt x="43" y="22"/>
                  </a:lnTo>
                  <a:lnTo>
                    <a:pt x="43" y="18"/>
                  </a:lnTo>
                  <a:lnTo>
                    <a:pt x="42" y="13"/>
                  </a:lnTo>
                  <a:lnTo>
                    <a:pt x="39" y="10"/>
                  </a:lnTo>
                  <a:lnTo>
                    <a:pt x="37" y="7"/>
                  </a:lnTo>
                  <a:lnTo>
                    <a:pt x="34" y="4"/>
                  </a:lnTo>
                  <a:lnTo>
                    <a:pt x="30" y="2"/>
                  </a:lnTo>
                  <a:lnTo>
                    <a:pt x="26" y="0"/>
                  </a:lnTo>
                  <a:lnTo>
                    <a:pt x="22" y="0"/>
                  </a:lnTo>
                  <a:lnTo>
                    <a:pt x="22" y="0"/>
                  </a:lnTo>
                  <a:lnTo>
                    <a:pt x="17" y="0"/>
                  </a:lnTo>
                  <a:lnTo>
                    <a:pt x="13" y="2"/>
                  </a:lnTo>
                  <a:lnTo>
                    <a:pt x="10" y="4"/>
                  </a:lnTo>
                  <a:lnTo>
                    <a:pt x="6" y="7"/>
                  </a:lnTo>
                  <a:lnTo>
                    <a:pt x="3" y="10"/>
                  </a:lnTo>
                  <a:lnTo>
                    <a:pt x="2" y="13"/>
                  </a:lnTo>
                  <a:lnTo>
                    <a:pt x="0" y="18"/>
                  </a:lnTo>
                  <a:lnTo>
                    <a:pt x="0" y="22"/>
                  </a:lnTo>
                  <a:lnTo>
                    <a:pt x="0" y="22"/>
                  </a:lnTo>
                  <a:lnTo>
                    <a:pt x="1" y="27"/>
                  </a:lnTo>
                  <a:lnTo>
                    <a:pt x="2" y="31"/>
                  </a:lnTo>
                  <a:lnTo>
                    <a:pt x="4" y="34"/>
                  </a:lnTo>
                  <a:lnTo>
                    <a:pt x="6" y="38"/>
                  </a:lnTo>
                  <a:lnTo>
                    <a:pt x="10" y="41"/>
                  </a:lnTo>
                  <a:lnTo>
                    <a:pt x="13" y="43"/>
                  </a:lnTo>
                  <a:lnTo>
                    <a:pt x="17" y="44"/>
                  </a:lnTo>
                  <a:lnTo>
                    <a:pt x="22" y="44"/>
                  </a:lnTo>
                  <a:lnTo>
                    <a:pt x="22" y="44"/>
                  </a:lnTo>
                  <a:lnTo>
                    <a:pt x="26" y="44"/>
                  </a:lnTo>
                  <a:lnTo>
                    <a:pt x="31" y="43"/>
                  </a:lnTo>
                  <a:lnTo>
                    <a:pt x="34" y="41"/>
                  </a:lnTo>
                  <a:lnTo>
                    <a:pt x="37" y="38"/>
                  </a:lnTo>
                  <a:lnTo>
                    <a:pt x="39" y="34"/>
                  </a:lnTo>
                  <a:lnTo>
                    <a:pt x="42" y="31"/>
                  </a:lnTo>
                  <a:lnTo>
                    <a:pt x="43" y="27"/>
                  </a:lnTo>
                  <a:lnTo>
                    <a:pt x="43"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4"/>
            <p:cNvSpPr>
              <a:spLocks noEditPoints="1"/>
            </p:cNvSpPr>
            <p:nvPr/>
          </p:nvSpPr>
          <p:spPr bwMode="auto">
            <a:xfrm>
              <a:off x="2875" y="12"/>
              <a:ext cx="703" cy="1235"/>
            </a:xfrm>
            <a:custGeom>
              <a:avLst/>
              <a:gdLst>
                <a:gd name="T0" fmla="*/ 1396 w 1405"/>
                <a:gd name="T1" fmla="*/ 26 h 2471"/>
                <a:gd name="T2" fmla="*/ 1405 w 1405"/>
                <a:gd name="T3" fmla="*/ 2438 h 2471"/>
                <a:gd name="T4" fmla="*/ 1405 w 1405"/>
                <a:gd name="T5" fmla="*/ 2438 h 2471"/>
                <a:gd name="T6" fmla="*/ 1405 w 1405"/>
                <a:gd name="T7" fmla="*/ 2443 h 2471"/>
                <a:gd name="T8" fmla="*/ 1403 w 1405"/>
                <a:gd name="T9" fmla="*/ 2449 h 2471"/>
                <a:gd name="T10" fmla="*/ 1401 w 1405"/>
                <a:gd name="T11" fmla="*/ 2453 h 2471"/>
                <a:gd name="T12" fmla="*/ 1397 w 1405"/>
                <a:gd name="T13" fmla="*/ 2458 h 2471"/>
                <a:gd name="T14" fmla="*/ 1394 w 1405"/>
                <a:gd name="T15" fmla="*/ 2461 h 2471"/>
                <a:gd name="T16" fmla="*/ 1390 w 1405"/>
                <a:gd name="T17" fmla="*/ 2463 h 2471"/>
                <a:gd name="T18" fmla="*/ 1384 w 1405"/>
                <a:gd name="T19" fmla="*/ 2464 h 2471"/>
                <a:gd name="T20" fmla="*/ 1379 w 1405"/>
                <a:gd name="T21" fmla="*/ 2465 h 2471"/>
                <a:gd name="T22" fmla="*/ 36 w 1405"/>
                <a:gd name="T23" fmla="*/ 2471 h 2471"/>
                <a:gd name="T24" fmla="*/ 36 w 1405"/>
                <a:gd name="T25" fmla="*/ 2471 h 2471"/>
                <a:gd name="T26" fmla="*/ 31 w 1405"/>
                <a:gd name="T27" fmla="*/ 2470 h 2471"/>
                <a:gd name="T28" fmla="*/ 25 w 1405"/>
                <a:gd name="T29" fmla="*/ 2469 h 2471"/>
                <a:gd name="T30" fmla="*/ 21 w 1405"/>
                <a:gd name="T31" fmla="*/ 2465 h 2471"/>
                <a:gd name="T32" fmla="*/ 16 w 1405"/>
                <a:gd name="T33" fmla="*/ 2462 h 2471"/>
                <a:gd name="T34" fmla="*/ 14 w 1405"/>
                <a:gd name="T35" fmla="*/ 2459 h 2471"/>
                <a:gd name="T36" fmla="*/ 11 w 1405"/>
                <a:gd name="T37" fmla="*/ 2454 h 2471"/>
                <a:gd name="T38" fmla="*/ 10 w 1405"/>
                <a:gd name="T39" fmla="*/ 2449 h 2471"/>
                <a:gd name="T40" fmla="*/ 9 w 1405"/>
                <a:gd name="T41" fmla="*/ 2443 h 2471"/>
                <a:gd name="T42" fmla="*/ 0 w 1405"/>
                <a:gd name="T43" fmla="*/ 32 h 2471"/>
                <a:gd name="T44" fmla="*/ 0 w 1405"/>
                <a:gd name="T45" fmla="*/ 32 h 2471"/>
                <a:gd name="T46" fmla="*/ 0 w 1405"/>
                <a:gd name="T47" fmla="*/ 26 h 2471"/>
                <a:gd name="T48" fmla="*/ 2 w 1405"/>
                <a:gd name="T49" fmla="*/ 22 h 2471"/>
                <a:gd name="T50" fmla="*/ 4 w 1405"/>
                <a:gd name="T51" fmla="*/ 16 h 2471"/>
                <a:gd name="T52" fmla="*/ 8 w 1405"/>
                <a:gd name="T53" fmla="*/ 13 h 2471"/>
                <a:gd name="T54" fmla="*/ 11 w 1405"/>
                <a:gd name="T55" fmla="*/ 10 h 2471"/>
                <a:gd name="T56" fmla="*/ 15 w 1405"/>
                <a:gd name="T57" fmla="*/ 6 h 2471"/>
                <a:gd name="T58" fmla="*/ 21 w 1405"/>
                <a:gd name="T59" fmla="*/ 5 h 2471"/>
                <a:gd name="T60" fmla="*/ 26 w 1405"/>
                <a:gd name="T61" fmla="*/ 4 h 2471"/>
                <a:gd name="T62" fmla="*/ 1370 w 1405"/>
                <a:gd name="T63" fmla="*/ 0 h 2471"/>
                <a:gd name="T64" fmla="*/ 1370 w 1405"/>
                <a:gd name="T65" fmla="*/ 0 h 2471"/>
                <a:gd name="T66" fmla="*/ 1374 w 1405"/>
                <a:gd name="T67" fmla="*/ 0 h 2471"/>
                <a:gd name="T68" fmla="*/ 1380 w 1405"/>
                <a:gd name="T69" fmla="*/ 2 h 2471"/>
                <a:gd name="T70" fmla="*/ 1384 w 1405"/>
                <a:gd name="T71" fmla="*/ 4 h 2471"/>
                <a:gd name="T72" fmla="*/ 1389 w 1405"/>
                <a:gd name="T73" fmla="*/ 7 h 2471"/>
                <a:gd name="T74" fmla="*/ 1392 w 1405"/>
                <a:gd name="T75" fmla="*/ 12 h 2471"/>
                <a:gd name="T76" fmla="*/ 1394 w 1405"/>
                <a:gd name="T77" fmla="*/ 16 h 2471"/>
                <a:gd name="T78" fmla="*/ 1395 w 1405"/>
                <a:gd name="T79" fmla="*/ 21 h 2471"/>
                <a:gd name="T80" fmla="*/ 1396 w 1405"/>
                <a:gd name="T81" fmla="*/ 26 h 2471"/>
                <a:gd name="T82" fmla="*/ 1352 w 1405"/>
                <a:gd name="T83" fmla="*/ 2411 h 2471"/>
                <a:gd name="T84" fmla="*/ 1344 w 1405"/>
                <a:gd name="T85" fmla="*/ 54 h 2471"/>
                <a:gd name="T86" fmla="*/ 53 w 1405"/>
                <a:gd name="T87" fmla="*/ 59 h 2471"/>
                <a:gd name="T88" fmla="*/ 61 w 1405"/>
                <a:gd name="T89" fmla="*/ 2416 h 2471"/>
                <a:gd name="T90" fmla="*/ 1352 w 1405"/>
                <a:gd name="T91" fmla="*/ 2411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05" h="2471">
                  <a:moveTo>
                    <a:pt x="1396" y="26"/>
                  </a:moveTo>
                  <a:lnTo>
                    <a:pt x="1405" y="2438"/>
                  </a:lnTo>
                  <a:lnTo>
                    <a:pt x="1405" y="2438"/>
                  </a:lnTo>
                  <a:lnTo>
                    <a:pt x="1405" y="2443"/>
                  </a:lnTo>
                  <a:lnTo>
                    <a:pt x="1403" y="2449"/>
                  </a:lnTo>
                  <a:lnTo>
                    <a:pt x="1401" y="2453"/>
                  </a:lnTo>
                  <a:lnTo>
                    <a:pt x="1397" y="2458"/>
                  </a:lnTo>
                  <a:lnTo>
                    <a:pt x="1394" y="2461"/>
                  </a:lnTo>
                  <a:lnTo>
                    <a:pt x="1390" y="2463"/>
                  </a:lnTo>
                  <a:lnTo>
                    <a:pt x="1384" y="2464"/>
                  </a:lnTo>
                  <a:lnTo>
                    <a:pt x="1379" y="2465"/>
                  </a:lnTo>
                  <a:lnTo>
                    <a:pt x="36" y="2471"/>
                  </a:lnTo>
                  <a:lnTo>
                    <a:pt x="36" y="2471"/>
                  </a:lnTo>
                  <a:lnTo>
                    <a:pt x="31" y="2470"/>
                  </a:lnTo>
                  <a:lnTo>
                    <a:pt x="25" y="2469"/>
                  </a:lnTo>
                  <a:lnTo>
                    <a:pt x="21" y="2465"/>
                  </a:lnTo>
                  <a:lnTo>
                    <a:pt x="16" y="2462"/>
                  </a:lnTo>
                  <a:lnTo>
                    <a:pt x="14" y="2459"/>
                  </a:lnTo>
                  <a:lnTo>
                    <a:pt x="11" y="2454"/>
                  </a:lnTo>
                  <a:lnTo>
                    <a:pt x="10" y="2449"/>
                  </a:lnTo>
                  <a:lnTo>
                    <a:pt x="9" y="2443"/>
                  </a:lnTo>
                  <a:lnTo>
                    <a:pt x="0" y="32"/>
                  </a:lnTo>
                  <a:lnTo>
                    <a:pt x="0" y="32"/>
                  </a:lnTo>
                  <a:lnTo>
                    <a:pt x="0" y="26"/>
                  </a:lnTo>
                  <a:lnTo>
                    <a:pt x="2" y="22"/>
                  </a:lnTo>
                  <a:lnTo>
                    <a:pt x="4" y="16"/>
                  </a:lnTo>
                  <a:lnTo>
                    <a:pt x="8" y="13"/>
                  </a:lnTo>
                  <a:lnTo>
                    <a:pt x="11" y="10"/>
                  </a:lnTo>
                  <a:lnTo>
                    <a:pt x="15" y="6"/>
                  </a:lnTo>
                  <a:lnTo>
                    <a:pt x="21" y="5"/>
                  </a:lnTo>
                  <a:lnTo>
                    <a:pt x="26" y="4"/>
                  </a:lnTo>
                  <a:lnTo>
                    <a:pt x="1370" y="0"/>
                  </a:lnTo>
                  <a:lnTo>
                    <a:pt x="1370" y="0"/>
                  </a:lnTo>
                  <a:lnTo>
                    <a:pt x="1374" y="0"/>
                  </a:lnTo>
                  <a:lnTo>
                    <a:pt x="1380" y="2"/>
                  </a:lnTo>
                  <a:lnTo>
                    <a:pt x="1384" y="4"/>
                  </a:lnTo>
                  <a:lnTo>
                    <a:pt x="1389" y="7"/>
                  </a:lnTo>
                  <a:lnTo>
                    <a:pt x="1392" y="12"/>
                  </a:lnTo>
                  <a:lnTo>
                    <a:pt x="1394" y="16"/>
                  </a:lnTo>
                  <a:lnTo>
                    <a:pt x="1395" y="21"/>
                  </a:lnTo>
                  <a:lnTo>
                    <a:pt x="1396" y="26"/>
                  </a:lnTo>
                  <a:close/>
                  <a:moveTo>
                    <a:pt x="1352" y="2411"/>
                  </a:moveTo>
                  <a:lnTo>
                    <a:pt x="1344" y="54"/>
                  </a:lnTo>
                  <a:lnTo>
                    <a:pt x="53" y="59"/>
                  </a:lnTo>
                  <a:lnTo>
                    <a:pt x="61" y="2416"/>
                  </a:lnTo>
                  <a:lnTo>
                    <a:pt x="1352" y="2411"/>
                  </a:lnTo>
                  <a:close/>
                </a:path>
              </a:pathLst>
            </a:custGeom>
            <a:solidFill>
              <a:srgbClr val="4B4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45"/>
            <p:cNvSpPr>
              <a:spLocks/>
            </p:cNvSpPr>
            <p:nvPr/>
          </p:nvSpPr>
          <p:spPr bwMode="auto">
            <a:xfrm>
              <a:off x="2875" y="12"/>
              <a:ext cx="703" cy="1235"/>
            </a:xfrm>
            <a:custGeom>
              <a:avLst/>
              <a:gdLst>
                <a:gd name="T0" fmla="*/ 1396 w 1405"/>
                <a:gd name="T1" fmla="*/ 26 h 2471"/>
                <a:gd name="T2" fmla="*/ 1405 w 1405"/>
                <a:gd name="T3" fmla="*/ 2438 h 2471"/>
                <a:gd name="T4" fmla="*/ 1405 w 1405"/>
                <a:gd name="T5" fmla="*/ 2438 h 2471"/>
                <a:gd name="T6" fmla="*/ 1405 w 1405"/>
                <a:gd name="T7" fmla="*/ 2443 h 2471"/>
                <a:gd name="T8" fmla="*/ 1403 w 1405"/>
                <a:gd name="T9" fmla="*/ 2449 h 2471"/>
                <a:gd name="T10" fmla="*/ 1401 w 1405"/>
                <a:gd name="T11" fmla="*/ 2453 h 2471"/>
                <a:gd name="T12" fmla="*/ 1397 w 1405"/>
                <a:gd name="T13" fmla="*/ 2458 h 2471"/>
                <a:gd name="T14" fmla="*/ 1394 w 1405"/>
                <a:gd name="T15" fmla="*/ 2461 h 2471"/>
                <a:gd name="T16" fmla="*/ 1390 w 1405"/>
                <a:gd name="T17" fmla="*/ 2463 h 2471"/>
                <a:gd name="T18" fmla="*/ 1384 w 1405"/>
                <a:gd name="T19" fmla="*/ 2464 h 2471"/>
                <a:gd name="T20" fmla="*/ 1379 w 1405"/>
                <a:gd name="T21" fmla="*/ 2465 h 2471"/>
                <a:gd name="T22" fmla="*/ 36 w 1405"/>
                <a:gd name="T23" fmla="*/ 2471 h 2471"/>
                <a:gd name="T24" fmla="*/ 36 w 1405"/>
                <a:gd name="T25" fmla="*/ 2471 h 2471"/>
                <a:gd name="T26" fmla="*/ 31 w 1405"/>
                <a:gd name="T27" fmla="*/ 2470 h 2471"/>
                <a:gd name="T28" fmla="*/ 25 w 1405"/>
                <a:gd name="T29" fmla="*/ 2469 h 2471"/>
                <a:gd name="T30" fmla="*/ 21 w 1405"/>
                <a:gd name="T31" fmla="*/ 2465 h 2471"/>
                <a:gd name="T32" fmla="*/ 16 w 1405"/>
                <a:gd name="T33" fmla="*/ 2462 h 2471"/>
                <a:gd name="T34" fmla="*/ 14 w 1405"/>
                <a:gd name="T35" fmla="*/ 2459 h 2471"/>
                <a:gd name="T36" fmla="*/ 11 w 1405"/>
                <a:gd name="T37" fmla="*/ 2454 h 2471"/>
                <a:gd name="T38" fmla="*/ 10 w 1405"/>
                <a:gd name="T39" fmla="*/ 2449 h 2471"/>
                <a:gd name="T40" fmla="*/ 9 w 1405"/>
                <a:gd name="T41" fmla="*/ 2443 h 2471"/>
                <a:gd name="T42" fmla="*/ 0 w 1405"/>
                <a:gd name="T43" fmla="*/ 32 h 2471"/>
                <a:gd name="T44" fmla="*/ 0 w 1405"/>
                <a:gd name="T45" fmla="*/ 32 h 2471"/>
                <a:gd name="T46" fmla="*/ 0 w 1405"/>
                <a:gd name="T47" fmla="*/ 26 h 2471"/>
                <a:gd name="T48" fmla="*/ 2 w 1405"/>
                <a:gd name="T49" fmla="*/ 22 h 2471"/>
                <a:gd name="T50" fmla="*/ 4 w 1405"/>
                <a:gd name="T51" fmla="*/ 16 h 2471"/>
                <a:gd name="T52" fmla="*/ 8 w 1405"/>
                <a:gd name="T53" fmla="*/ 13 h 2471"/>
                <a:gd name="T54" fmla="*/ 11 w 1405"/>
                <a:gd name="T55" fmla="*/ 10 h 2471"/>
                <a:gd name="T56" fmla="*/ 15 w 1405"/>
                <a:gd name="T57" fmla="*/ 6 h 2471"/>
                <a:gd name="T58" fmla="*/ 21 w 1405"/>
                <a:gd name="T59" fmla="*/ 5 h 2471"/>
                <a:gd name="T60" fmla="*/ 26 w 1405"/>
                <a:gd name="T61" fmla="*/ 4 h 2471"/>
                <a:gd name="T62" fmla="*/ 1370 w 1405"/>
                <a:gd name="T63" fmla="*/ 0 h 2471"/>
                <a:gd name="T64" fmla="*/ 1370 w 1405"/>
                <a:gd name="T65" fmla="*/ 0 h 2471"/>
                <a:gd name="T66" fmla="*/ 1374 w 1405"/>
                <a:gd name="T67" fmla="*/ 0 h 2471"/>
                <a:gd name="T68" fmla="*/ 1380 w 1405"/>
                <a:gd name="T69" fmla="*/ 2 h 2471"/>
                <a:gd name="T70" fmla="*/ 1384 w 1405"/>
                <a:gd name="T71" fmla="*/ 4 h 2471"/>
                <a:gd name="T72" fmla="*/ 1389 w 1405"/>
                <a:gd name="T73" fmla="*/ 7 h 2471"/>
                <a:gd name="T74" fmla="*/ 1392 w 1405"/>
                <a:gd name="T75" fmla="*/ 12 h 2471"/>
                <a:gd name="T76" fmla="*/ 1394 w 1405"/>
                <a:gd name="T77" fmla="*/ 16 h 2471"/>
                <a:gd name="T78" fmla="*/ 1395 w 1405"/>
                <a:gd name="T79" fmla="*/ 21 h 2471"/>
                <a:gd name="T80" fmla="*/ 1396 w 1405"/>
                <a:gd name="T81" fmla="*/ 26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05" h="2471">
                  <a:moveTo>
                    <a:pt x="1396" y="26"/>
                  </a:moveTo>
                  <a:lnTo>
                    <a:pt x="1405" y="2438"/>
                  </a:lnTo>
                  <a:lnTo>
                    <a:pt x="1405" y="2438"/>
                  </a:lnTo>
                  <a:lnTo>
                    <a:pt x="1405" y="2443"/>
                  </a:lnTo>
                  <a:lnTo>
                    <a:pt x="1403" y="2449"/>
                  </a:lnTo>
                  <a:lnTo>
                    <a:pt x="1401" y="2453"/>
                  </a:lnTo>
                  <a:lnTo>
                    <a:pt x="1397" y="2458"/>
                  </a:lnTo>
                  <a:lnTo>
                    <a:pt x="1394" y="2461"/>
                  </a:lnTo>
                  <a:lnTo>
                    <a:pt x="1390" y="2463"/>
                  </a:lnTo>
                  <a:lnTo>
                    <a:pt x="1384" y="2464"/>
                  </a:lnTo>
                  <a:lnTo>
                    <a:pt x="1379" y="2465"/>
                  </a:lnTo>
                  <a:lnTo>
                    <a:pt x="36" y="2471"/>
                  </a:lnTo>
                  <a:lnTo>
                    <a:pt x="36" y="2471"/>
                  </a:lnTo>
                  <a:lnTo>
                    <a:pt x="31" y="2470"/>
                  </a:lnTo>
                  <a:lnTo>
                    <a:pt x="25" y="2469"/>
                  </a:lnTo>
                  <a:lnTo>
                    <a:pt x="21" y="2465"/>
                  </a:lnTo>
                  <a:lnTo>
                    <a:pt x="16" y="2462"/>
                  </a:lnTo>
                  <a:lnTo>
                    <a:pt x="14" y="2459"/>
                  </a:lnTo>
                  <a:lnTo>
                    <a:pt x="11" y="2454"/>
                  </a:lnTo>
                  <a:lnTo>
                    <a:pt x="10" y="2449"/>
                  </a:lnTo>
                  <a:lnTo>
                    <a:pt x="9" y="2443"/>
                  </a:lnTo>
                  <a:lnTo>
                    <a:pt x="0" y="32"/>
                  </a:lnTo>
                  <a:lnTo>
                    <a:pt x="0" y="32"/>
                  </a:lnTo>
                  <a:lnTo>
                    <a:pt x="0" y="26"/>
                  </a:lnTo>
                  <a:lnTo>
                    <a:pt x="2" y="22"/>
                  </a:lnTo>
                  <a:lnTo>
                    <a:pt x="4" y="16"/>
                  </a:lnTo>
                  <a:lnTo>
                    <a:pt x="8" y="13"/>
                  </a:lnTo>
                  <a:lnTo>
                    <a:pt x="11" y="10"/>
                  </a:lnTo>
                  <a:lnTo>
                    <a:pt x="15" y="6"/>
                  </a:lnTo>
                  <a:lnTo>
                    <a:pt x="21" y="5"/>
                  </a:lnTo>
                  <a:lnTo>
                    <a:pt x="26" y="4"/>
                  </a:lnTo>
                  <a:lnTo>
                    <a:pt x="1370" y="0"/>
                  </a:lnTo>
                  <a:lnTo>
                    <a:pt x="1370" y="0"/>
                  </a:lnTo>
                  <a:lnTo>
                    <a:pt x="1374" y="0"/>
                  </a:lnTo>
                  <a:lnTo>
                    <a:pt x="1380" y="2"/>
                  </a:lnTo>
                  <a:lnTo>
                    <a:pt x="1384" y="4"/>
                  </a:lnTo>
                  <a:lnTo>
                    <a:pt x="1389" y="7"/>
                  </a:lnTo>
                  <a:lnTo>
                    <a:pt x="1392" y="12"/>
                  </a:lnTo>
                  <a:lnTo>
                    <a:pt x="1394" y="16"/>
                  </a:lnTo>
                  <a:lnTo>
                    <a:pt x="1395" y="21"/>
                  </a:lnTo>
                  <a:lnTo>
                    <a:pt x="1396"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46"/>
            <p:cNvSpPr>
              <a:spLocks/>
            </p:cNvSpPr>
            <p:nvPr/>
          </p:nvSpPr>
          <p:spPr bwMode="auto">
            <a:xfrm>
              <a:off x="2901" y="39"/>
              <a:ext cx="650" cy="1181"/>
            </a:xfrm>
            <a:custGeom>
              <a:avLst/>
              <a:gdLst>
                <a:gd name="T0" fmla="*/ 1299 w 1299"/>
                <a:gd name="T1" fmla="*/ 2357 h 2362"/>
                <a:gd name="T2" fmla="*/ 1291 w 1299"/>
                <a:gd name="T3" fmla="*/ 0 h 2362"/>
                <a:gd name="T4" fmla="*/ 0 w 1299"/>
                <a:gd name="T5" fmla="*/ 5 h 2362"/>
                <a:gd name="T6" fmla="*/ 8 w 1299"/>
                <a:gd name="T7" fmla="*/ 2362 h 2362"/>
                <a:gd name="T8" fmla="*/ 1299 w 1299"/>
                <a:gd name="T9" fmla="*/ 2357 h 2362"/>
              </a:gdLst>
              <a:ahLst/>
              <a:cxnLst>
                <a:cxn ang="0">
                  <a:pos x="T0" y="T1"/>
                </a:cxn>
                <a:cxn ang="0">
                  <a:pos x="T2" y="T3"/>
                </a:cxn>
                <a:cxn ang="0">
                  <a:pos x="T4" y="T5"/>
                </a:cxn>
                <a:cxn ang="0">
                  <a:pos x="T6" y="T7"/>
                </a:cxn>
                <a:cxn ang="0">
                  <a:pos x="T8" y="T9"/>
                </a:cxn>
              </a:cxnLst>
              <a:rect l="0" t="0" r="r" b="b"/>
              <a:pathLst>
                <a:path w="1299" h="2362">
                  <a:moveTo>
                    <a:pt x="1299" y="2357"/>
                  </a:moveTo>
                  <a:lnTo>
                    <a:pt x="1291" y="0"/>
                  </a:lnTo>
                  <a:lnTo>
                    <a:pt x="0" y="5"/>
                  </a:lnTo>
                  <a:lnTo>
                    <a:pt x="8" y="2362"/>
                  </a:lnTo>
                  <a:lnTo>
                    <a:pt x="1299" y="23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47"/>
            <p:cNvSpPr>
              <a:spLocks/>
            </p:cNvSpPr>
            <p:nvPr/>
          </p:nvSpPr>
          <p:spPr bwMode="auto">
            <a:xfrm>
              <a:off x="2901" y="39"/>
              <a:ext cx="650" cy="1181"/>
            </a:xfrm>
            <a:custGeom>
              <a:avLst/>
              <a:gdLst>
                <a:gd name="T0" fmla="*/ 1291 w 1299"/>
                <a:gd name="T1" fmla="*/ 0 h 2362"/>
                <a:gd name="T2" fmla="*/ 1299 w 1299"/>
                <a:gd name="T3" fmla="*/ 2357 h 2362"/>
                <a:gd name="T4" fmla="*/ 8 w 1299"/>
                <a:gd name="T5" fmla="*/ 2362 h 2362"/>
                <a:gd name="T6" fmla="*/ 0 w 1299"/>
                <a:gd name="T7" fmla="*/ 5 h 2362"/>
                <a:gd name="T8" fmla="*/ 1291 w 1299"/>
                <a:gd name="T9" fmla="*/ 0 h 2362"/>
              </a:gdLst>
              <a:ahLst/>
              <a:cxnLst>
                <a:cxn ang="0">
                  <a:pos x="T0" y="T1"/>
                </a:cxn>
                <a:cxn ang="0">
                  <a:pos x="T2" y="T3"/>
                </a:cxn>
                <a:cxn ang="0">
                  <a:pos x="T4" y="T5"/>
                </a:cxn>
                <a:cxn ang="0">
                  <a:pos x="T6" y="T7"/>
                </a:cxn>
                <a:cxn ang="0">
                  <a:pos x="T8" y="T9"/>
                </a:cxn>
              </a:cxnLst>
              <a:rect l="0" t="0" r="r" b="b"/>
              <a:pathLst>
                <a:path w="1299" h="2362">
                  <a:moveTo>
                    <a:pt x="1291" y="0"/>
                  </a:moveTo>
                  <a:lnTo>
                    <a:pt x="1299" y="2357"/>
                  </a:lnTo>
                  <a:lnTo>
                    <a:pt x="8" y="2362"/>
                  </a:lnTo>
                  <a:lnTo>
                    <a:pt x="0" y="5"/>
                  </a:lnTo>
                  <a:lnTo>
                    <a:pt x="1291"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48"/>
            <p:cNvSpPr>
              <a:spLocks/>
            </p:cNvSpPr>
            <p:nvPr/>
          </p:nvSpPr>
          <p:spPr bwMode="auto">
            <a:xfrm>
              <a:off x="3478" y="-90"/>
              <a:ext cx="52" cy="54"/>
            </a:xfrm>
            <a:custGeom>
              <a:avLst/>
              <a:gdLst>
                <a:gd name="T0" fmla="*/ 52 w 105"/>
                <a:gd name="T1" fmla="*/ 0 h 106"/>
                <a:gd name="T2" fmla="*/ 52 w 105"/>
                <a:gd name="T3" fmla="*/ 0 h 106"/>
                <a:gd name="T4" fmla="*/ 63 w 105"/>
                <a:gd name="T5" fmla="*/ 0 h 106"/>
                <a:gd name="T6" fmla="*/ 73 w 105"/>
                <a:gd name="T7" fmla="*/ 3 h 106"/>
                <a:gd name="T8" fmla="*/ 82 w 105"/>
                <a:gd name="T9" fmla="*/ 9 h 106"/>
                <a:gd name="T10" fmla="*/ 89 w 105"/>
                <a:gd name="T11" fmla="*/ 15 h 106"/>
                <a:gd name="T12" fmla="*/ 95 w 105"/>
                <a:gd name="T13" fmla="*/ 23 h 106"/>
                <a:gd name="T14" fmla="*/ 100 w 105"/>
                <a:gd name="T15" fmla="*/ 32 h 106"/>
                <a:gd name="T16" fmla="*/ 104 w 105"/>
                <a:gd name="T17" fmla="*/ 42 h 106"/>
                <a:gd name="T18" fmla="*/ 105 w 105"/>
                <a:gd name="T19" fmla="*/ 53 h 106"/>
                <a:gd name="T20" fmla="*/ 105 w 105"/>
                <a:gd name="T21" fmla="*/ 53 h 106"/>
                <a:gd name="T22" fmla="*/ 104 w 105"/>
                <a:gd name="T23" fmla="*/ 64 h 106"/>
                <a:gd name="T24" fmla="*/ 100 w 105"/>
                <a:gd name="T25" fmla="*/ 73 h 106"/>
                <a:gd name="T26" fmla="*/ 96 w 105"/>
                <a:gd name="T27" fmla="*/ 82 h 106"/>
                <a:gd name="T28" fmla="*/ 89 w 105"/>
                <a:gd name="T29" fmla="*/ 90 h 106"/>
                <a:gd name="T30" fmla="*/ 82 w 105"/>
                <a:gd name="T31" fmla="*/ 96 h 106"/>
                <a:gd name="T32" fmla="*/ 73 w 105"/>
                <a:gd name="T33" fmla="*/ 102 h 106"/>
                <a:gd name="T34" fmla="*/ 63 w 105"/>
                <a:gd name="T35" fmla="*/ 105 h 106"/>
                <a:gd name="T36" fmla="*/ 53 w 105"/>
                <a:gd name="T37" fmla="*/ 106 h 106"/>
                <a:gd name="T38" fmla="*/ 53 w 105"/>
                <a:gd name="T39" fmla="*/ 106 h 106"/>
                <a:gd name="T40" fmla="*/ 42 w 105"/>
                <a:gd name="T41" fmla="*/ 105 h 106"/>
                <a:gd name="T42" fmla="*/ 32 w 105"/>
                <a:gd name="T43" fmla="*/ 102 h 106"/>
                <a:gd name="T44" fmla="*/ 23 w 105"/>
                <a:gd name="T45" fmla="*/ 96 h 106"/>
                <a:gd name="T46" fmla="*/ 16 w 105"/>
                <a:gd name="T47" fmla="*/ 91 h 106"/>
                <a:gd name="T48" fmla="*/ 9 w 105"/>
                <a:gd name="T49" fmla="*/ 82 h 106"/>
                <a:gd name="T50" fmla="*/ 5 w 105"/>
                <a:gd name="T51" fmla="*/ 73 h 106"/>
                <a:gd name="T52" fmla="*/ 2 w 105"/>
                <a:gd name="T53" fmla="*/ 64 h 106"/>
                <a:gd name="T54" fmla="*/ 0 w 105"/>
                <a:gd name="T55" fmla="*/ 53 h 106"/>
                <a:gd name="T56" fmla="*/ 0 w 105"/>
                <a:gd name="T57" fmla="*/ 53 h 106"/>
                <a:gd name="T58" fmla="*/ 2 w 105"/>
                <a:gd name="T59" fmla="*/ 43 h 106"/>
                <a:gd name="T60" fmla="*/ 5 w 105"/>
                <a:gd name="T61" fmla="*/ 32 h 106"/>
                <a:gd name="T62" fmla="*/ 9 w 105"/>
                <a:gd name="T63" fmla="*/ 23 h 106"/>
                <a:gd name="T64" fmla="*/ 16 w 105"/>
                <a:gd name="T65" fmla="*/ 15 h 106"/>
                <a:gd name="T66" fmla="*/ 23 w 105"/>
                <a:gd name="T67" fmla="*/ 9 h 106"/>
                <a:gd name="T68" fmla="*/ 32 w 105"/>
                <a:gd name="T69" fmla="*/ 3 h 106"/>
                <a:gd name="T70" fmla="*/ 42 w 105"/>
                <a:gd name="T71" fmla="*/ 1 h 106"/>
                <a:gd name="T72" fmla="*/ 52 w 105"/>
                <a:gd name="T7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5" h="106">
                  <a:moveTo>
                    <a:pt x="52" y="0"/>
                  </a:moveTo>
                  <a:lnTo>
                    <a:pt x="52" y="0"/>
                  </a:lnTo>
                  <a:lnTo>
                    <a:pt x="63" y="0"/>
                  </a:lnTo>
                  <a:lnTo>
                    <a:pt x="73" y="3"/>
                  </a:lnTo>
                  <a:lnTo>
                    <a:pt x="82" y="9"/>
                  </a:lnTo>
                  <a:lnTo>
                    <a:pt x="89" y="15"/>
                  </a:lnTo>
                  <a:lnTo>
                    <a:pt x="95" y="23"/>
                  </a:lnTo>
                  <a:lnTo>
                    <a:pt x="100" y="32"/>
                  </a:lnTo>
                  <a:lnTo>
                    <a:pt x="104" y="42"/>
                  </a:lnTo>
                  <a:lnTo>
                    <a:pt x="105" y="53"/>
                  </a:lnTo>
                  <a:lnTo>
                    <a:pt x="105" y="53"/>
                  </a:lnTo>
                  <a:lnTo>
                    <a:pt x="104" y="64"/>
                  </a:lnTo>
                  <a:lnTo>
                    <a:pt x="100" y="73"/>
                  </a:lnTo>
                  <a:lnTo>
                    <a:pt x="96" y="82"/>
                  </a:lnTo>
                  <a:lnTo>
                    <a:pt x="89" y="90"/>
                  </a:lnTo>
                  <a:lnTo>
                    <a:pt x="82" y="96"/>
                  </a:lnTo>
                  <a:lnTo>
                    <a:pt x="73" y="102"/>
                  </a:lnTo>
                  <a:lnTo>
                    <a:pt x="63" y="105"/>
                  </a:lnTo>
                  <a:lnTo>
                    <a:pt x="53" y="106"/>
                  </a:lnTo>
                  <a:lnTo>
                    <a:pt x="53" y="106"/>
                  </a:lnTo>
                  <a:lnTo>
                    <a:pt x="42" y="105"/>
                  </a:lnTo>
                  <a:lnTo>
                    <a:pt x="32" y="102"/>
                  </a:lnTo>
                  <a:lnTo>
                    <a:pt x="23" y="96"/>
                  </a:lnTo>
                  <a:lnTo>
                    <a:pt x="16" y="91"/>
                  </a:lnTo>
                  <a:lnTo>
                    <a:pt x="9" y="82"/>
                  </a:lnTo>
                  <a:lnTo>
                    <a:pt x="5" y="73"/>
                  </a:lnTo>
                  <a:lnTo>
                    <a:pt x="2" y="64"/>
                  </a:lnTo>
                  <a:lnTo>
                    <a:pt x="0" y="53"/>
                  </a:lnTo>
                  <a:lnTo>
                    <a:pt x="0" y="53"/>
                  </a:lnTo>
                  <a:lnTo>
                    <a:pt x="2" y="43"/>
                  </a:lnTo>
                  <a:lnTo>
                    <a:pt x="5" y="32"/>
                  </a:lnTo>
                  <a:lnTo>
                    <a:pt x="9" y="23"/>
                  </a:lnTo>
                  <a:lnTo>
                    <a:pt x="16" y="15"/>
                  </a:lnTo>
                  <a:lnTo>
                    <a:pt x="23" y="9"/>
                  </a:lnTo>
                  <a:lnTo>
                    <a:pt x="32" y="3"/>
                  </a:lnTo>
                  <a:lnTo>
                    <a:pt x="42" y="1"/>
                  </a:lnTo>
                  <a:lnTo>
                    <a:pt x="52" y="0"/>
                  </a:lnTo>
                  <a:close/>
                </a:path>
              </a:pathLst>
            </a:custGeom>
            <a:solidFill>
              <a:srgbClr val="B3B4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49"/>
            <p:cNvSpPr>
              <a:spLocks/>
            </p:cNvSpPr>
            <p:nvPr/>
          </p:nvSpPr>
          <p:spPr bwMode="auto">
            <a:xfrm>
              <a:off x="3478" y="-90"/>
              <a:ext cx="52" cy="54"/>
            </a:xfrm>
            <a:custGeom>
              <a:avLst/>
              <a:gdLst>
                <a:gd name="T0" fmla="*/ 52 w 105"/>
                <a:gd name="T1" fmla="*/ 0 h 106"/>
                <a:gd name="T2" fmla="*/ 52 w 105"/>
                <a:gd name="T3" fmla="*/ 0 h 106"/>
                <a:gd name="T4" fmla="*/ 63 w 105"/>
                <a:gd name="T5" fmla="*/ 0 h 106"/>
                <a:gd name="T6" fmla="*/ 73 w 105"/>
                <a:gd name="T7" fmla="*/ 3 h 106"/>
                <a:gd name="T8" fmla="*/ 82 w 105"/>
                <a:gd name="T9" fmla="*/ 9 h 106"/>
                <a:gd name="T10" fmla="*/ 89 w 105"/>
                <a:gd name="T11" fmla="*/ 15 h 106"/>
                <a:gd name="T12" fmla="*/ 95 w 105"/>
                <a:gd name="T13" fmla="*/ 23 h 106"/>
                <a:gd name="T14" fmla="*/ 100 w 105"/>
                <a:gd name="T15" fmla="*/ 32 h 106"/>
                <a:gd name="T16" fmla="*/ 104 w 105"/>
                <a:gd name="T17" fmla="*/ 42 h 106"/>
                <a:gd name="T18" fmla="*/ 105 w 105"/>
                <a:gd name="T19" fmla="*/ 53 h 106"/>
                <a:gd name="T20" fmla="*/ 105 w 105"/>
                <a:gd name="T21" fmla="*/ 53 h 106"/>
                <a:gd name="T22" fmla="*/ 104 w 105"/>
                <a:gd name="T23" fmla="*/ 64 h 106"/>
                <a:gd name="T24" fmla="*/ 100 w 105"/>
                <a:gd name="T25" fmla="*/ 73 h 106"/>
                <a:gd name="T26" fmla="*/ 96 w 105"/>
                <a:gd name="T27" fmla="*/ 82 h 106"/>
                <a:gd name="T28" fmla="*/ 89 w 105"/>
                <a:gd name="T29" fmla="*/ 90 h 106"/>
                <a:gd name="T30" fmla="*/ 82 w 105"/>
                <a:gd name="T31" fmla="*/ 96 h 106"/>
                <a:gd name="T32" fmla="*/ 73 w 105"/>
                <a:gd name="T33" fmla="*/ 102 h 106"/>
                <a:gd name="T34" fmla="*/ 63 w 105"/>
                <a:gd name="T35" fmla="*/ 105 h 106"/>
                <a:gd name="T36" fmla="*/ 53 w 105"/>
                <a:gd name="T37" fmla="*/ 106 h 106"/>
                <a:gd name="T38" fmla="*/ 53 w 105"/>
                <a:gd name="T39" fmla="*/ 106 h 106"/>
                <a:gd name="T40" fmla="*/ 42 w 105"/>
                <a:gd name="T41" fmla="*/ 105 h 106"/>
                <a:gd name="T42" fmla="*/ 32 w 105"/>
                <a:gd name="T43" fmla="*/ 102 h 106"/>
                <a:gd name="T44" fmla="*/ 23 w 105"/>
                <a:gd name="T45" fmla="*/ 96 h 106"/>
                <a:gd name="T46" fmla="*/ 16 w 105"/>
                <a:gd name="T47" fmla="*/ 91 h 106"/>
                <a:gd name="T48" fmla="*/ 9 w 105"/>
                <a:gd name="T49" fmla="*/ 82 h 106"/>
                <a:gd name="T50" fmla="*/ 5 w 105"/>
                <a:gd name="T51" fmla="*/ 73 h 106"/>
                <a:gd name="T52" fmla="*/ 2 w 105"/>
                <a:gd name="T53" fmla="*/ 64 h 106"/>
                <a:gd name="T54" fmla="*/ 0 w 105"/>
                <a:gd name="T55" fmla="*/ 53 h 106"/>
                <a:gd name="T56" fmla="*/ 0 w 105"/>
                <a:gd name="T57" fmla="*/ 53 h 106"/>
                <a:gd name="T58" fmla="*/ 2 w 105"/>
                <a:gd name="T59" fmla="*/ 43 h 106"/>
                <a:gd name="T60" fmla="*/ 5 w 105"/>
                <a:gd name="T61" fmla="*/ 32 h 106"/>
                <a:gd name="T62" fmla="*/ 9 w 105"/>
                <a:gd name="T63" fmla="*/ 23 h 106"/>
                <a:gd name="T64" fmla="*/ 16 w 105"/>
                <a:gd name="T65" fmla="*/ 15 h 106"/>
                <a:gd name="T66" fmla="*/ 23 w 105"/>
                <a:gd name="T67" fmla="*/ 9 h 106"/>
                <a:gd name="T68" fmla="*/ 32 w 105"/>
                <a:gd name="T69" fmla="*/ 3 h 106"/>
                <a:gd name="T70" fmla="*/ 42 w 105"/>
                <a:gd name="T71" fmla="*/ 1 h 106"/>
                <a:gd name="T72" fmla="*/ 52 w 105"/>
                <a:gd name="T7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5" h="106">
                  <a:moveTo>
                    <a:pt x="52" y="0"/>
                  </a:moveTo>
                  <a:lnTo>
                    <a:pt x="52" y="0"/>
                  </a:lnTo>
                  <a:lnTo>
                    <a:pt x="63" y="0"/>
                  </a:lnTo>
                  <a:lnTo>
                    <a:pt x="73" y="3"/>
                  </a:lnTo>
                  <a:lnTo>
                    <a:pt x="82" y="9"/>
                  </a:lnTo>
                  <a:lnTo>
                    <a:pt x="89" y="15"/>
                  </a:lnTo>
                  <a:lnTo>
                    <a:pt x="95" y="23"/>
                  </a:lnTo>
                  <a:lnTo>
                    <a:pt x="100" y="32"/>
                  </a:lnTo>
                  <a:lnTo>
                    <a:pt x="104" y="42"/>
                  </a:lnTo>
                  <a:lnTo>
                    <a:pt x="105" y="53"/>
                  </a:lnTo>
                  <a:lnTo>
                    <a:pt x="105" y="53"/>
                  </a:lnTo>
                  <a:lnTo>
                    <a:pt x="104" y="64"/>
                  </a:lnTo>
                  <a:lnTo>
                    <a:pt x="100" y="73"/>
                  </a:lnTo>
                  <a:lnTo>
                    <a:pt x="96" y="82"/>
                  </a:lnTo>
                  <a:lnTo>
                    <a:pt x="89" y="90"/>
                  </a:lnTo>
                  <a:lnTo>
                    <a:pt x="82" y="96"/>
                  </a:lnTo>
                  <a:lnTo>
                    <a:pt x="73" y="102"/>
                  </a:lnTo>
                  <a:lnTo>
                    <a:pt x="63" y="105"/>
                  </a:lnTo>
                  <a:lnTo>
                    <a:pt x="53" y="106"/>
                  </a:lnTo>
                  <a:lnTo>
                    <a:pt x="53" y="106"/>
                  </a:lnTo>
                  <a:lnTo>
                    <a:pt x="42" y="105"/>
                  </a:lnTo>
                  <a:lnTo>
                    <a:pt x="32" y="102"/>
                  </a:lnTo>
                  <a:lnTo>
                    <a:pt x="23" y="96"/>
                  </a:lnTo>
                  <a:lnTo>
                    <a:pt x="16" y="91"/>
                  </a:lnTo>
                  <a:lnTo>
                    <a:pt x="9" y="82"/>
                  </a:lnTo>
                  <a:lnTo>
                    <a:pt x="5" y="73"/>
                  </a:lnTo>
                  <a:lnTo>
                    <a:pt x="2" y="64"/>
                  </a:lnTo>
                  <a:lnTo>
                    <a:pt x="0" y="53"/>
                  </a:lnTo>
                  <a:lnTo>
                    <a:pt x="0" y="53"/>
                  </a:lnTo>
                  <a:lnTo>
                    <a:pt x="2" y="43"/>
                  </a:lnTo>
                  <a:lnTo>
                    <a:pt x="5" y="32"/>
                  </a:lnTo>
                  <a:lnTo>
                    <a:pt x="9" y="23"/>
                  </a:lnTo>
                  <a:lnTo>
                    <a:pt x="16" y="15"/>
                  </a:lnTo>
                  <a:lnTo>
                    <a:pt x="23" y="9"/>
                  </a:lnTo>
                  <a:lnTo>
                    <a:pt x="32" y="3"/>
                  </a:lnTo>
                  <a:lnTo>
                    <a:pt x="42" y="1"/>
                  </a:lnTo>
                  <a:lnTo>
                    <a:pt x="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50"/>
            <p:cNvSpPr>
              <a:spLocks/>
            </p:cNvSpPr>
            <p:nvPr/>
          </p:nvSpPr>
          <p:spPr bwMode="auto">
            <a:xfrm>
              <a:off x="2962" y="-65"/>
              <a:ext cx="22" cy="22"/>
            </a:xfrm>
            <a:custGeom>
              <a:avLst/>
              <a:gdLst>
                <a:gd name="T0" fmla="*/ 22 w 43"/>
                <a:gd name="T1" fmla="*/ 0 h 44"/>
                <a:gd name="T2" fmla="*/ 22 w 43"/>
                <a:gd name="T3" fmla="*/ 0 h 44"/>
                <a:gd name="T4" fmla="*/ 27 w 43"/>
                <a:gd name="T5" fmla="*/ 0 h 44"/>
                <a:gd name="T6" fmla="*/ 30 w 43"/>
                <a:gd name="T7" fmla="*/ 1 h 44"/>
                <a:gd name="T8" fmla="*/ 34 w 43"/>
                <a:gd name="T9" fmla="*/ 4 h 44"/>
                <a:gd name="T10" fmla="*/ 38 w 43"/>
                <a:gd name="T11" fmla="*/ 7 h 44"/>
                <a:gd name="T12" fmla="*/ 40 w 43"/>
                <a:gd name="T13" fmla="*/ 10 h 44"/>
                <a:gd name="T14" fmla="*/ 42 w 43"/>
                <a:gd name="T15" fmla="*/ 13 h 44"/>
                <a:gd name="T16" fmla="*/ 43 w 43"/>
                <a:gd name="T17" fmla="*/ 18 h 44"/>
                <a:gd name="T18" fmla="*/ 43 w 43"/>
                <a:gd name="T19" fmla="*/ 22 h 44"/>
                <a:gd name="T20" fmla="*/ 43 w 43"/>
                <a:gd name="T21" fmla="*/ 22 h 44"/>
                <a:gd name="T22" fmla="*/ 43 w 43"/>
                <a:gd name="T23" fmla="*/ 27 h 44"/>
                <a:gd name="T24" fmla="*/ 42 w 43"/>
                <a:gd name="T25" fmla="*/ 31 h 44"/>
                <a:gd name="T26" fmla="*/ 40 w 43"/>
                <a:gd name="T27" fmla="*/ 34 h 44"/>
                <a:gd name="T28" fmla="*/ 38 w 43"/>
                <a:gd name="T29" fmla="*/ 38 h 44"/>
                <a:gd name="T30" fmla="*/ 34 w 43"/>
                <a:gd name="T31" fmla="*/ 41 h 44"/>
                <a:gd name="T32" fmla="*/ 31 w 43"/>
                <a:gd name="T33" fmla="*/ 42 h 44"/>
                <a:gd name="T34" fmla="*/ 27 w 43"/>
                <a:gd name="T35" fmla="*/ 44 h 44"/>
                <a:gd name="T36" fmla="*/ 22 w 43"/>
                <a:gd name="T37" fmla="*/ 44 h 44"/>
                <a:gd name="T38" fmla="*/ 22 w 43"/>
                <a:gd name="T39" fmla="*/ 44 h 44"/>
                <a:gd name="T40" fmla="*/ 18 w 43"/>
                <a:gd name="T41" fmla="*/ 44 h 44"/>
                <a:gd name="T42" fmla="*/ 14 w 43"/>
                <a:gd name="T43" fmla="*/ 43 h 44"/>
                <a:gd name="T44" fmla="*/ 10 w 43"/>
                <a:gd name="T45" fmla="*/ 41 h 44"/>
                <a:gd name="T46" fmla="*/ 7 w 43"/>
                <a:gd name="T47" fmla="*/ 38 h 44"/>
                <a:gd name="T48" fmla="*/ 5 w 43"/>
                <a:gd name="T49" fmla="*/ 34 h 44"/>
                <a:gd name="T50" fmla="*/ 3 w 43"/>
                <a:gd name="T51" fmla="*/ 31 h 44"/>
                <a:gd name="T52" fmla="*/ 2 w 43"/>
                <a:gd name="T53" fmla="*/ 27 h 44"/>
                <a:gd name="T54" fmla="*/ 0 w 43"/>
                <a:gd name="T55" fmla="*/ 22 h 44"/>
                <a:gd name="T56" fmla="*/ 0 w 43"/>
                <a:gd name="T57" fmla="*/ 22 h 44"/>
                <a:gd name="T58" fmla="*/ 2 w 43"/>
                <a:gd name="T59" fmla="*/ 18 h 44"/>
                <a:gd name="T60" fmla="*/ 3 w 43"/>
                <a:gd name="T61" fmla="*/ 13 h 44"/>
                <a:gd name="T62" fmla="*/ 5 w 43"/>
                <a:gd name="T63" fmla="*/ 10 h 44"/>
                <a:gd name="T64" fmla="*/ 7 w 43"/>
                <a:gd name="T65" fmla="*/ 7 h 44"/>
                <a:gd name="T66" fmla="*/ 10 w 43"/>
                <a:gd name="T67" fmla="*/ 4 h 44"/>
                <a:gd name="T68" fmla="*/ 14 w 43"/>
                <a:gd name="T69" fmla="*/ 1 h 44"/>
                <a:gd name="T70" fmla="*/ 18 w 43"/>
                <a:gd name="T71" fmla="*/ 0 h 44"/>
                <a:gd name="T72" fmla="*/ 22 w 43"/>
                <a:gd name="T7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3" h="44">
                  <a:moveTo>
                    <a:pt x="22" y="0"/>
                  </a:moveTo>
                  <a:lnTo>
                    <a:pt x="22" y="0"/>
                  </a:lnTo>
                  <a:lnTo>
                    <a:pt x="27" y="0"/>
                  </a:lnTo>
                  <a:lnTo>
                    <a:pt x="30" y="1"/>
                  </a:lnTo>
                  <a:lnTo>
                    <a:pt x="34" y="4"/>
                  </a:lnTo>
                  <a:lnTo>
                    <a:pt x="38" y="7"/>
                  </a:lnTo>
                  <a:lnTo>
                    <a:pt x="40" y="10"/>
                  </a:lnTo>
                  <a:lnTo>
                    <a:pt x="42" y="13"/>
                  </a:lnTo>
                  <a:lnTo>
                    <a:pt x="43" y="18"/>
                  </a:lnTo>
                  <a:lnTo>
                    <a:pt x="43" y="22"/>
                  </a:lnTo>
                  <a:lnTo>
                    <a:pt x="43" y="22"/>
                  </a:lnTo>
                  <a:lnTo>
                    <a:pt x="43" y="27"/>
                  </a:lnTo>
                  <a:lnTo>
                    <a:pt x="42" y="31"/>
                  </a:lnTo>
                  <a:lnTo>
                    <a:pt x="40" y="34"/>
                  </a:lnTo>
                  <a:lnTo>
                    <a:pt x="38" y="38"/>
                  </a:lnTo>
                  <a:lnTo>
                    <a:pt x="34" y="41"/>
                  </a:lnTo>
                  <a:lnTo>
                    <a:pt x="31" y="42"/>
                  </a:lnTo>
                  <a:lnTo>
                    <a:pt x="27" y="44"/>
                  </a:lnTo>
                  <a:lnTo>
                    <a:pt x="22" y="44"/>
                  </a:lnTo>
                  <a:lnTo>
                    <a:pt x="22" y="44"/>
                  </a:lnTo>
                  <a:lnTo>
                    <a:pt x="18" y="44"/>
                  </a:lnTo>
                  <a:lnTo>
                    <a:pt x="14" y="43"/>
                  </a:lnTo>
                  <a:lnTo>
                    <a:pt x="10" y="41"/>
                  </a:lnTo>
                  <a:lnTo>
                    <a:pt x="7" y="38"/>
                  </a:lnTo>
                  <a:lnTo>
                    <a:pt x="5" y="34"/>
                  </a:lnTo>
                  <a:lnTo>
                    <a:pt x="3" y="31"/>
                  </a:lnTo>
                  <a:lnTo>
                    <a:pt x="2" y="27"/>
                  </a:lnTo>
                  <a:lnTo>
                    <a:pt x="0" y="22"/>
                  </a:lnTo>
                  <a:lnTo>
                    <a:pt x="0" y="22"/>
                  </a:lnTo>
                  <a:lnTo>
                    <a:pt x="2" y="18"/>
                  </a:lnTo>
                  <a:lnTo>
                    <a:pt x="3" y="13"/>
                  </a:lnTo>
                  <a:lnTo>
                    <a:pt x="5" y="10"/>
                  </a:lnTo>
                  <a:lnTo>
                    <a:pt x="7" y="7"/>
                  </a:lnTo>
                  <a:lnTo>
                    <a:pt x="10" y="4"/>
                  </a:lnTo>
                  <a:lnTo>
                    <a:pt x="14" y="1"/>
                  </a:lnTo>
                  <a:lnTo>
                    <a:pt x="18" y="0"/>
                  </a:lnTo>
                  <a:lnTo>
                    <a:pt x="22" y="0"/>
                  </a:lnTo>
                  <a:close/>
                </a:path>
              </a:pathLst>
            </a:custGeom>
            <a:solidFill>
              <a:srgbClr val="4B4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51"/>
            <p:cNvSpPr>
              <a:spLocks/>
            </p:cNvSpPr>
            <p:nvPr/>
          </p:nvSpPr>
          <p:spPr bwMode="auto">
            <a:xfrm>
              <a:off x="2962" y="-65"/>
              <a:ext cx="22" cy="22"/>
            </a:xfrm>
            <a:custGeom>
              <a:avLst/>
              <a:gdLst>
                <a:gd name="T0" fmla="*/ 22 w 43"/>
                <a:gd name="T1" fmla="*/ 0 h 44"/>
                <a:gd name="T2" fmla="*/ 22 w 43"/>
                <a:gd name="T3" fmla="*/ 0 h 44"/>
                <a:gd name="T4" fmla="*/ 27 w 43"/>
                <a:gd name="T5" fmla="*/ 0 h 44"/>
                <a:gd name="T6" fmla="*/ 30 w 43"/>
                <a:gd name="T7" fmla="*/ 1 h 44"/>
                <a:gd name="T8" fmla="*/ 34 w 43"/>
                <a:gd name="T9" fmla="*/ 4 h 44"/>
                <a:gd name="T10" fmla="*/ 38 w 43"/>
                <a:gd name="T11" fmla="*/ 7 h 44"/>
                <a:gd name="T12" fmla="*/ 40 w 43"/>
                <a:gd name="T13" fmla="*/ 10 h 44"/>
                <a:gd name="T14" fmla="*/ 42 w 43"/>
                <a:gd name="T15" fmla="*/ 13 h 44"/>
                <a:gd name="T16" fmla="*/ 43 w 43"/>
                <a:gd name="T17" fmla="*/ 18 h 44"/>
                <a:gd name="T18" fmla="*/ 43 w 43"/>
                <a:gd name="T19" fmla="*/ 22 h 44"/>
                <a:gd name="T20" fmla="*/ 43 w 43"/>
                <a:gd name="T21" fmla="*/ 22 h 44"/>
                <a:gd name="T22" fmla="*/ 43 w 43"/>
                <a:gd name="T23" fmla="*/ 27 h 44"/>
                <a:gd name="T24" fmla="*/ 42 w 43"/>
                <a:gd name="T25" fmla="*/ 31 h 44"/>
                <a:gd name="T26" fmla="*/ 40 w 43"/>
                <a:gd name="T27" fmla="*/ 34 h 44"/>
                <a:gd name="T28" fmla="*/ 38 w 43"/>
                <a:gd name="T29" fmla="*/ 38 h 44"/>
                <a:gd name="T30" fmla="*/ 34 w 43"/>
                <a:gd name="T31" fmla="*/ 41 h 44"/>
                <a:gd name="T32" fmla="*/ 31 w 43"/>
                <a:gd name="T33" fmla="*/ 42 h 44"/>
                <a:gd name="T34" fmla="*/ 27 w 43"/>
                <a:gd name="T35" fmla="*/ 44 h 44"/>
                <a:gd name="T36" fmla="*/ 22 w 43"/>
                <a:gd name="T37" fmla="*/ 44 h 44"/>
                <a:gd name="T38" fmla="*/ 22 w 43"/>
                <a:gd name="T39" fmla="*/ 44 h 44"/>
                <a:gd name="T40" fmla="*/ 18 w 43"/>
                <a:gd name="T41" fmla="*/ 44 h 44"/>
                <a:gd name="T42" fmla="*/ 14 w 43"/>
                <a:gd name="T43" fmla="*/ 43 h 44"/>
                <a:gd name="T44" fmla="*/ 10 w 43"/>
                <a:gd name="T45" fmla="*/ 41 h 44"/>
                <a:gd name="T46" fmla="*/ 7 w 43"/>
                <a:gd name="T47" fmla="*/ 38 h 44"/>
                <a:gd name="T48" fmla="*/ 5 w 43"/>
                <a:gd name="T49" fmla="*/ 34 h 44"/>
                <a:gd name="T50" fmla="*/ 3 w 43"/>
                <a:gd name="T51" fmla="*/ 31 h 44"/>
                <a:gd name="T52" fmla="*/ 2 w 43"/>
                <a:gd name="T53" fmla="*/ 27 h 44"/>
                <a:gd name="T54" fmla="*/ 0 w 43"/>
                <a:gd name="T55" fmla="*/ 22 h 44"/>
                <a:gd name="T56" fmla="*/ 0 w 43"/>
                <a:gd name="T57" fmla="*/ 22 h 44"/>
                <a:gd name="T58" fmla="*/ 2 w 43"/>
                <a:gd name="T59" fmla="*/ 18 h 44"/>
                <a:gd name="T60" fmla="*/ 3 w 43"/>
                <a:gd name="T61" fmla="*/ 13 h 44"/>
                <a:gd name="T62" fmla="*/ 5 w 43"/>
                <a:gd name="T63" fmla="*/ 10 h 44"/>
                <a:gd name="T64" fmla="*/ 7 w 43"/>
                <a:gd name="T65" fmla="*/ 7 h 44"/>
                <a:gd name="T66" fmla="*/ 10 w 43"/>
                <a:gd name="T67" fmla="*/ 4 h 44"/>
                <a:gd name="T68" fmla="*/ 14 w 43"/>
                <a:gd name="T69" fmla="*/ 1 h 44"/>
                <a:gd name="T70" fmla="*/ 18 w 43"/>
                <a:gd name="T71" fmla="*/ 0 h 44"/>
                <a:gd name="T72" fmla="*/ 22 w 43"/>
                <a:gd name="T7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3" h="44">
                  <a:moveTo>
                    <a:pt x="22" y="0"/>
                  </a:moveTo>
                  <a:lnTo>
                    <a:pt x="22" y="0"/>
                  </a:lnTo>
                  <a:lnTo>
                    <a:pt x="27" y="0"/>
                  </a:lnTo>
                  <a:lnTo>
                    <a:pt x="30" y="1"/>
                  </a:lnTo>
                  <a:lnTo>
                    <a:pt x="34" y="4"/>
                  </a:lnTo>
                  <a:lnTo>
                    <a:pt x="38" y="7"/>
                  </a:lnTo>
                  <a:lnTo>
                    <a:pt x="40" y="10"/>
                  </a:lnTo>
                  <a:lnTo>
                    <a:pt x="42" y="13"/>
                  </a:lnTo>
                  <a:lnTo>
                    <a:pt x="43" y="18"/>
                  </a:lnTo>
                  <a:lnTo>
                    <a:pt x="43" y="22"/>
                  </a:lnTo>
                  <a:lnTo>
                    <a:pt x="43" y="22"/>
                  </a:lnTo>
                  <a:lnTo>
                    <a:pt x="43" y="27"/>
                  </a:lnTo>
                  <a:lnTo>
                    <a:pt x="42" y="31"/>
                  </a:lnTo>
                  <a:lnTo>
                    <a:pt x="40" y="34"/>
                  </a:lnTo>
                  <a:lnTo>
                    <a:pt x="38" y="38"/>
                  </a:lnTo>
                  <a:lnTo>
                    <a:pt x="34" y="41"/>
                  </a:lnTo>
                  <a:lnTo>
                    <a:pt x="31" y="42"/>
                  </a:lnTo>
                  <a:lnTo>
                    <a:pt x="27" y="44"/>
                  </a:lnTo>
                  <a:lnTo>
                    <a:pt x="22" y="44"/>
                  </a:lnTo>
                  <a:lnTo>
                    <a:pt x="22" y="44"/>
                  </a:lnTo>
                  <a:lnTo>
                    <a:pt x="18" y="44"/>
                  </a:lnTo>
                  <a:lnTo>
                    <a:pt x="14" y="43"/>
                  </a:lnTo>
                  <a:lnTo>
                    <a:pt x="10" y="41"/>
                  </a:lnTo>
                  <a:lnTo>
                    <a:pt x="7" y="38"/>
                  </a:lnTo>
                  <a:lnTo>
                    <a:pt x="5" y="34"/>
                  </a:lnTo>
                  <a:lnTo>
                    <a:pt x="3" y="31"/>
                  </a:lnTo>
                  <a:lnTo>
                    <a:pt x="2" y="27"/>
                  </a:lnTo>
                  <a:lnTo>
                    <a:pt x="0" y="22"/>
                  </a:lnTo>
                  <a:lnTo>
                    <a:pt x="0" y="22"/>
                  </a:lnTo>
                  <a:lnTo>
                    <a:pt x="2" y="18"/>
                  </a:lnTo>
                  <a:lnTo>
                    <a:pt x="3" y="13"/>
                  </a:lnTo>
                  <a:lnTo>
                    <a:pt x="5" y="10"/>
                  </a:lnTo>
                  <a:lnTo>
                    <a:pt x="7" y="7"/>
                  </a:lnTo>
                  <a:lnTo>
                    <a:pt x="10" y="4"/>
                  </a:lnTo>
                  <a:lnTo>
                    <a:pt x="14" y="1"/>
                  </a:lnTo>
                  <a:lnTo>
                    <a:pt x="18"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52"/>
            <p:cNvSpPr>
              <a:spLocks/>
            </p:cNvSpPr>
            <p:nvPr/>
          </p:nvSpPr>
          <p:spPr bwMode="auto">
            <a:xfrm>
              <a:off x="2931" y="-65"/>
              <a:ext cx="21" cy="22"/>
            </a:xfrm>
            <a:custGeom>
              <a:avLst/>
              <a:gdLst>
                <a:gd name="T0" fmla="*/ 22 w 43"/>
                <a:gd name="T1" fmla="*/ 0 h 44"/>
                <a:gd name="T2" fmla="*/ 22 w 43"/>
                <a:gd name="T3" fmla="*/ 0 h 44"/>
                <a:gd name="T4" fmla="*/ 26 w 43"/>
                <a:gd name="T5" fmla="*/ 0 h 44"/>
                <a:gd name="T6" fmla="*/ 30 w 43"/>
                <a:gd name="T7" fmla="*/ 2 h 44"/>
                <a:gd name="T8" fmla="*/ 34 w 43"/>
                <a:gd name="T9" fmla="*/ 4 h 44"/>
                <a:gd name="T10" fmla="*/ 37 w 43"/>
                <a:gd name="T11" fmla="*/ 7 h 44"/>
                <a:gd name="T12" fmla="*/ 39 w 43"/>
                <a:gd name="T13" fmla="*/ 10 h 44"/>
                <a:gd name="T14" fmla="*/ 42 w 43"/>
                <a:gd name="T15" fmla="*/ 13 h 44"/>
                <a:gd name="T16" fmla="*/ 43 w 43"/>
                <a:gd name="T17" fmla="*/ 18 h 44"/>
                <a:gd name="T18" fmla="*/ 43 w 43"/>
                <a:gd name="T19" fmla="*/ 22 h 44"/>
                <a:gd name="T20" fmla="*/ 43 w 43"/>
                <a:gd name="T21" fmla="*/ 22 h 44"/>
                <a:gd name="T22" fmla="*/ 43 w 43"/>
                <a:gd name="T23" fmla="*/ 27 h 44"/>
                <a:gd name="T24" fmla="*/ 42 w 43"/>
                <a:gd name="T25" fmla="*/ 31 h 44"/>
                <a:gd name="T26" fmla="*/ 39 w 43"/>
                <a:gd name="T27" fmla="*/ 34 h 44"/>
                <a:gd name="T28" fmla="*/ 37 w 43"/>
                <a:gd name="T29" fmla="*/ 38 h 44"/>
                <a:gd name="T30" fmla="*/ 34 w 43"/>
                <a:gd name="T31" fmla="*/ 41 h 44"/>
                <a:gd name="T32" fmla="*/ 31 w 43"/>
                <a:gd name="T33" fmla="*/ 43 h 44"/>
                <a:gd name="T34" fmla="*/ 26 w 43"/>
                <a:gd name="T35" fmla="*/ 44 h 44"/>
                <a:gd name="T36" fmla="*/ 22 w 43"/>
                <a:gd name="T37" fmla="*/ 44 h 44"/>
                <a:gd name="T38" fmla="*/ 22 w 43"/>
                <a:gd name="T39" fmla="*/ 44 h 44"/>
                <a:gd name="T40" fmla="*/ 17 w 43"/>
                <a:gd name="T41" fmla="*/ 44 h 44"/>
                <a:gd name="T42" fmla="*/ 13 w 43"/>
                <a:gd name="T43" fmla="*/ 43 h 44"/>
                <a:gd name="T44" fmla="*/ 10 w 43"/>
                <a:gd name="T45" fmla="*/ 41 h 44"/>
                <a:gd name="T46" fmla="*/ 6 w 43"/>
                <a:gd name="T47" fmla="*/ 38 h 44"/>
                <a:gd name="T48" fmla="*/ 4 w 43"/>
                <a:gd name="T49" fmla="*/ 34 h 44"/>
                <a:gd name="T50" fmla="*/ 2 w 43"/>
                <a:gd name="T51" fmla="*/ 31 h 44"/>
                <a:gd name="T52" fmla="*/ 1 w 43"/>
                <a:gd name="T53" fmla="*/ 27 h 44"/>
                <a:gd name="T54" fmla="*/ 0 w 43"/>
                <a:gd name="T55" fmla="*/ 22 h 44"/>
                <a:gd name="T56" fmla="*/ 0 w 43"/>
                <a:gd name="T57" fmla="*/ 22 h 44"/>
                <a:gd name="T58" fmla="*/ 0 w 43"/>
                <a:gd name="T59" fmla="*/ 18 h 44"/>
                <a:gd name="T60" fmla="*/ 2 w 43"/>
                <a:gd name="T61" fmla="*/ 13 h 44"/>
                <a:gd name="T62" fmla="*/ 3 w 43"/>
                <a:gd name="T63" fmla="*/ 10 h 44"/>
                <a:gd name="T64" fmla="*/ 6 w 43"/>
                <a:gd name="T65" fmla="*/ 7 h 44"/>
                <a:gd name="T66" fmla="*/ 10 w 43"/>
                <a:gd name="T67" fmla="*/ 4 h 44"/>
                <a:gd name="T68" fmla="*/ 13 w 43"/>
                <a:gd name="T69" fmla="*/ 2 h 44"/>
                <a:gd name="T70" fmla="*/ 17 w 43"/>
                <a:gd name="T71" fmla="*/ 0 h 44"/>
                <a:gd name="T72" fmla="*/ 22 w 43"/>
                <a:gd name="T7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3" h="44">
                  <a:moveTo>
                    <a:pt x="22" y="0"/>
                  </a:moveTo>
                  <a:lnTo>
                    <a:pt x="22" y="0"/>
                  </a:lnTo>
                  <a:lnTo>
                    <a:pt x="26" y="0"/>
                  </a:lnTo>
                  <a:lnTo>
                    <a:pt x="30" y="2"/>
                  </a:lnTo>
                  <a:lnTo>
                    <a:pt x="34" y="4"/>
                  </a:lnTo>
                  <a:lnTo>
                    <a:pt x="37" y="7"/>
                  </a:lnTo>
                  <a:lnTo>
                    <a:pt x="39" y="10"/>
                  </a:lnTo>
                  <a:lnTo>
                    <a:pt x="42" y="13"/>
                  </a:lnTo>
                  <a:lnTo>
                    <a:pt x="43" y="18"/>
                  </a:lnTo>
                  <a:lnTo>
                    <a:pt x="43" y="22"/>
                  </a:lnTo>
                  <a:lnTo>
                    <a:pt x="43" y="22"/>
                  </a:lnTo>
                  <a:lnTo>
                    <a:pt x="43" y="27"/>
                  </a:lnTo>
                  <a:lnTo>
                    <a:pt x="42" y="31"/>
                  </a:lnTo>
                  <a:lnTo>
                    <a:pt x="39" y="34"/>
                  </a:lnTo>
                  <a:lnTo>
                    <a:pt x="37" y="38"/>
                  </a:lnTo>
                  <a:lnTo>
                    <a:pt x="34" y="41"/>
                  </a:lnTo>
                  <a:lnTo>
                    <a:pt x="31" y="43"/>
                  </a:lnTo>
                  <a:lnTo>
                    <a:pt x="26" y="44"/>
                  </a:lnTo>
                  <a:lnTo>
                    <a:pt x="22" y="44"/>
                  </a:lnTo>
                  <a:lnTo>
                    <a:pt x="22" y="44"/>
                  </a:lnTo>
                  <a:lnTo>
                    <a:pt x="17" y="44"/>
                  </a:lnTo>
                  <a:lnTo>
                    <a:pt x="13" y="43"/>
                  </a:lnTo>
                  <a:lnTo>
                    <a:pt x="10" y="41"/>
                  </a:lnTo>
                  <a:lnTo>
                    <a:pt x="6" y="38"/>
                  </a:lnTo>
                  <a:lnTo>
                    <a:pt x="4" y="34"/>
                  </a:lnTo>
                  <a:lnTo>
                    <a:pt x="2" y="31"/>
                  </a:lnTo>
                  <a:lnTo>
                    <a:pt x="1" y="27"/>
                  </a:lnTo>
                  <a:lnTo>
                    <a:pt x="0" y="22"/>
                  </a:lnTo>
                  <a:lnTo>
                    <a:pt x="0" y="22"/>
                  </a:lnTo>
                  <a:lnTo>
                    <a:pt x="0" y="18"/>
                  </a:lnTo>
                  <a:lnTo>
                    <a:pt x="2" y="13"/>
                  </a:lnTo>
                  <a:lnTo>
                    <a:pt x="3" y="10"/>
                  </a:lnTo>
                  <a:lnTo>
                    <a:pt x="6" y="7"/>
                  </a:lnTo>
                  <a:lnTo>
                    <a:pt x="10" y="4"/>
                  </a:lnTo>
                  <a:lnTo>
                    <a:pt x="13" y="2"/>
                  </a:lnTo>
                  <a:lnTo>
                    <a:pt x="17" y="0"/>
                  </a:lnTo>
                  <a:lnTo>
                    <a:pt x="22" y="0"/>
                  </a:lnTo>
                  <a:close/>
                </a:path>
              </a:pathLst>
            </a:custGeom>
            <a:solidFill>
              <a:srgbClr val="4B4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53"/>
            <p:cNvSpPr>
              <a:spLocks/>
            </p:cNvSpPr>
            <p:nvPr/>
          </p:nvSpPr>
          <p:spPr bwMode="auto">
            <a:xfrm>
              <a:off x="2931" y="-65"/>
              <a:ext cx="21" cy="22"/>
            </a:xfrm>
            <a:custGeom>
              <a:avLst/>
              <a:gdLst>
                <a:gd name="T0" fmla="*/ 22 w 43"/>
                <a:gd name="T1" fmla="*/ 0 h 44"/>
                <a:gd name="T2" fmla="*/ 22 w 43"/>
                <a:gd name="T3" fmla="*/ 0 h 44"/>
                <a:gd name="T4" fmla="*/ 26 w 43"/>
                <a:gd name="T5" fmla="*/ 0 h 44"/>
                <a:gd name="T6" fmla="*/ 30 w 43"/>
                <a:gd name="T7" fmla="*/ 2 h 44"/>
                <a:gd name="T8" fmla="*/ 34 w 43"/>
                <a:gd name="T9" fmla="*/ 4 h 44"/>
                <a:gd name="T10" fmla="*/ 37 w 43"/>
                <a:gd name="T11" fmla="*/ 7 h 44"/>
                <a:gd name="T12" fmla="*/ 39 w 43"/>
                <a:gd name="T13" fmla="*/ 10 h 44"/>
                <a:gd name="T14" fmla="*/ 42 w 43"/>
                <a:gd name="T15" fmla="*/ 13 h 44"/>
                <a:gd name="T16" fmla="*/ 43 w 43"/>
                <a:gd name="T17" fmla="*/ 18 h 44"/>
                <a:gd name="T18" fmla="*/ 43 w 43"/>
                <a:gd name="T19" fmla="*/ 22 h 44"/>
                <a:gd name="T20" fmla="*/ 43 w 43"/>
                <a:gd name="T21" fmla="*/ 22 h 44"/>
                <a:gd name="T22" fmla="*/ 43 w 43"/>
                <a:gd name="T23" fmla="*/ 27 h 44"/>
                <a:gd name="T24" fmla="*/ 42 w 43"/>
                <a:gd name="T25" fmla="*/ 31 h 44"/>
                <a:gd name="T26" fmla="*/ 39 w 43"/>
                <a:gd name="T27" fmla="*/ 34 h 44"/>
                <a:gd name="T28" fmla="*/ 37 w 43"/>
                <a:gd name="T29" fmla="*/ 38 h 44"/>
                <a:gd name="T30" fmla="*/ 34 w 43"/>
                <a:gd name="T31" fmla="*/ 41 h 44"/>
                <a:gd name="T32" fmla="*/ 31 w 43"/>
                <a:gd name="T33" fmla="*/ 43 h 44"/>
                <a:gd name="T34" fmla="*/ 26 w 43"/>
                <a:gd name="T35" fmla="*/ 44 h 44"/>
                <a:gd name="T36" fmla="*/ 22 w 43"/>
                <a:gd name="T37" fmla="*/ 44 h 44"/>
                <a:gd name="T38" fmla="*/ 22 w 43"/>
                <a:gd name="T39" fmla="*/ 44 h 44"/>
                <a:gd name="T40" fmla="*/ 17 w 43"/>
                <a:gd name="T41" fmla="*/ 44 h 44"/>
                <a:gd name="T42" fmla="*/ 13 w 43"/>
                <a:gd name="T43" fmla="*/ 43 h 44"/>
                <a:gd name="T44" fmla="*/ 10 w 43"/>
                <a:gd name="T45" fmla="*/ 41 h 44"/>
                <a:gd name="T46" fmla="*/ 6 w 43"/>
                <a:gd name="T47" fmla="*/ 38 h 44"/>
                <a:gd name="T48" fmla="*/ 4 w 43"/>
                <a:gd name="T49" fmla="*/ 34 h 44"/>
                <a:gd name="T50" fmla="*/ 2 w 43"/>
                <a:gd name="T51" fmla="*/ 31 h 44"/>
                <a:gd name="T52" fmla="*/ 1 w 43"/>
                <a:gd name="T53" fmla="*/ 27 h 44"/>
                <a:gd name="T54" fmla="*/ 0 w 43"/>
                <a:gd name="T55" fmla="*/ 22 h 44"/>
                <a:gd name="T56" fmla="*/ 0 w 43"/>
                <a:gd name="T57" fmla="*/ 22 h 44"/>
                <a:gd name="T58" fmla="*/ 0 w 43"/>
                <a:gd name="T59" fmla="*/ 18 h 44"/>
                <a:gd name="T60" fmla="*/ 2 w 43"/>
                <a:gd name="T61" fmla="*/ 13 h 44"/>
                <a:gd name="T62" fmla="*/ 3 w 43"/>
                <a:gd name="T63" fmla="*/ 10 h 44"/>
                <a:gd name="T64" fmla="*/ 6 w 43"/>
                <a:gd name="T65" fmla="*/ 7 h 44"/>
                <a:gd name="T66" fmla="*/ 10 w 43"/>
                <a:gd name="T67" fmla="*/ 4 h 44"/>
                <a:gd name="T68" fmla="*/ 13 w 43"/>
                <a:gd name="T69" fmla="*/ 2 h 44"/>
                <a:gd name="T70" fmla="*/ 17 w 43"/>
                <a:gd name="T71" fmla="*/ 0 h 44"/>
                <a:gd name="T72" fmla="*/ 22 w 43"/>
                <a:gd name="T7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3" h="44">
                  <a:moveTo>
                    <a:pt x="22" y="0"/>
                  </a:moveTo>
                  <a:lnTo>
                    <a:pt x="22" y="0"/>
                  </a:lnTo>
                  <a:lnTo>
                    <a:pt x="26" y="0"/>
                  </a:lnTo>
                  <a:lnTo>
                    <a:pt x="30" y="2"/>
                  </a:lnTo>
                  <a:lnTo>
                    <a:pt x="34" y="4"/>
                  </a:lnTo>
                  <a:lnTo>
                    <a:pt x="37" y="7"/>
                  </a:lnTo>
                  <a:lnTo>
                    <a:pt x="39" y="10"/>
                  </a:lnTo>
                  <a:lnTo>
                    <a:pt x="42" y="13"/>
                  </a:lnTo>
                  <a:lnTo>
                    <a:pt x="43" y="18"/>
                  </a:lnTo>
                  <a:lnTo>
                    <a:pt x="43" y="22"/>
                  </a:lnTo>
                  <a:lnTo>
                    <a:pt x="43" y="22"/>
                  </a:lnTo>
                  <a:lnTo>
                    <a:pt x="43" y="27"/>
                  </a:lnTo>
                  <a:lnTo>
                    <a:pt x="42" y="31"/>
                  </a:lnTo>
                  <a:lnTo>
                    <a:pt x="39" y="34"/>
                  </a:lnTo>
                  <a:lnTo>
                    <a:pt x="37" y="38"/>
                  </a:lnTo>
                  <a:lnTo>
                    <a:pt x="34" y="41"/>
                  </a:lnTo>
                  <a:lnTo>
                    <a:pt x="31" y="43"/>
                  </a:lnTo>
                  <a:lnTo>
                    <a:pt x="26" y="44"/>
                  </a:lnTo>
                  <a:lnTo>
                    <a:pt x="22" y="44"/>
                  </a:lnTo>
                  <a:lnTo>
                    <a:pt x="22" y="44"/>
                  </a:lnTo>
                  <a:lnTo>
                    <a:pt x="17" y="44"/>
                  </a:lnTo>
                  <a:lnTo>
                    <a:pt x="13" y="43"/>
                  </a:lnTo>
                  <a:lnTo>
                    <a:pt x="10" y="41"/>
                  </a:lnTo>
                  <a:lnTo>
                    <a:pt x="6" y="38"/>
                  </a:lnTo>
                  <a:lnTo>
                    <a:pt x="4" y="34"/>
                  </a:lnTo>
                  <a:lnTo>
                    <a:pt x="2" y="31"/>
                  </a:lnTo>
                  <a:lnTo>
                    <a:pt x="1" y="27"/>
                  </a:lnTo>
                  <a:lnTo>
                    <a:pt x="0" y="22"/>
                  </a:lnTo>
                  <a:lnTo>
                    <a:pt x="0" y="22"/>
                  </a:lnTo>
                  <a:lnTo>
                    <a:pt x="0" y="18"/>
                  </a:lnTo>
                  <a:lnTo>
                    <a:pt x="2" y="13"/>
                  </a:lnTo>
                  <a:lnTo>
                    <a:pt x="3" y="10"/>
                  </a:lnTo>
                  <a:lnTo>
                    <a:pt x="6" y="7"/>
                  </a:lnTo>
                  <a:lnTo>
                    <a:pt x="10" y="4"/>
                  </a:lnTo>
                  <a:lnTo>
                    <a:pt x="13" y="2"/>
                  </a:lnTo>
                  <a:lnTo>
                    <a:pt x="17"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7" name="Group 4"/>
          <p:cNvGrpSpPr>
            <a:grpSpLocks noChangeAspect="1"/>
          </p:cNvGrpSpPr>
          <p:nvPr/>
        </p:nvGrpSpPr>
        <p:grpSpPr bwMode="auto">
          <a:xfrm>
            <a:off x="4073525" y="3333750"/>
            <a:ext cx="345552" cy="533400"/>
            <a:chOff x="3668" y="1265"/>
            <a:chExt cx="566" cy="1152"/>
          </a:xfrm>
        </p:grpSpPr>
        <p:sp>
          <p:nvSpPr>
            <p:cNvPr id="58" name="Rectangle 19"/>
            <p:cNvSpPr>
              <a:spLocks noChangeArrowheads="1"/>
            </p:cNvSpPr>
            <p:nvPr/>
          </p:nvSpPr>
          <p:spPr bwMode="auto">
            <a:xfrm>
              <a:off x="3682" y="1306"/>
              <a:ext cx="516" cy="1003"/>
            </a:xfrm>
            <a:prstGeom prst="rect">
              <a:avLst/>
            </a:prstGeom>
            <a:solidFill>
              <a:schemeClr val="accent3"/>
            </a:solidFill>
            <a:ln w="9525">
              <a:solidFill>
                <a:srgbClr val="000000"/>
              </a:solid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59" name="Line 5"/>
            <p:cNvSpPr>
              <a:spLocks noChangeShapeType="1"/>
            </p:cNvSpPr>
            <p:nvPr/>
          </p:nvSpPr>
          <p:spPr bwMode="auto">
            <a:xfrm>
              <a:off x="3949" y="1375"/>
              <a:ext cx="0" cy="0"/>
            </a:xfrm>
            <a:prstGeom prst="line">
              <a:avLst/>
            </a:prstGeom>
            <a:noFill/>
            <a:ln w="7938">
              <a:solidFill>
                <a:srgbClr val="B7D83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0" name="Line 6"/>
            <p:cNvSpPr>
              <a:spLocks noChangeShapeType="1"/>
            </p:cNvSpPr>
            <p:nvPr/>
          </p:nvSpPr>
          <p:spPr bwMode="auto">
            <a:xfrm>
              <a:off x="3862" y="1341"/>
              <a:ext cx="0" cy="0"/>
            </a:xfrm>
            <a:prstGeom prst="line">
              <a:avLst/>
            </a:prstGeom>
            <a:noFill/>
            <a:ln w="7938">
              <a:solidFill>
                <a:srgbClr val="B7D83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7"/>
            <p:cNvSpPr>
              <a:spLocks noEditPoints="1"/>
            </p:cNvSpPr>
            <p:nvPr/>
          </p:nvSpPr>
          <p:spPr bwMode="auto">
            <a:xfrm>
              <a:off x="3693" y="1290"/>
              <a:ext cx="516" cy="1102"/>
            </a:xfrm>
            <a:custGeom>
              <a:avLst/>
              <a:gdLst>
                <a:gd name="T0" fmla="*/ 1547 w 1548"/>
                <a:gd name="T1" fmla="*/ 3258 h 3307"/>
                <a:gd name="T2" fmla="*/ 1522 w 1548"/>
                <a:gd name="T3" fmla="*/ 3296 h 3307"/>
                <a:gd name="T4" fmla="*/ 61 w 1548"/>
                <a:gd name="T5" fmla="*/ 3307 h 3307"/>
                <a:gd name="T6" fmla="*/ 28 w 1548"/>
                <a:gd name="T7" fmla="*/ 3296 h 3307"/>
                <a:gd name="T8" fmla="*/ 1 w 1548"/>
                <a:gd name="T9" fmla="*/ 3258 h 3307"/>
                <a:gd name="T10" fmla="*/ 1 w 1548"/>
                <a:gd name="T11" fmla="*/ 50 h 3307"/>
                <a:gd name="T12" fmla="*/ 28 w 1548"/>
                <a:gd name="T13" fmla="*/ 11 h 3307"/>
                <a:gd name="T14" fmla="*/ 1487 w 1548"/>
                <a:gd name="T15" fmla="*/ 0 h 3307"/>
                <a:gd name="T16" fmla="*/ 1522 w 1548"/>
                <a:gd name="T17" fmla="*/ 11 h 3307"/>
                <a:gd name="T18" fmla="*/ 1547 w 1548"/>
                <a:gd name="T19" fmla="*/ 50 h 3307"/>
                <a:gd name="T20" fmla="*/ 1516 w 1548"/>
                <a:gd name="T21" fmla="*/ 160 h 3307"/>
                <a:gd name="T22" fmla="*/ 1510 w 1548"/>
                <a:gd name="T23" fmla="*/ 145 h 3307"/>
                <a:gd name="T24" fmla="*/ 1494 w 1548"/>
                <a:gd name="T25" fmla="*/ 138 h 3307"/>
                <a:gd name="T26" fmla="*/ 46 w 1548"/>
                <a:gd name="T27" fmla="*/ 140 h 3307"/>
                <a:gd name="T28" fmla="*/ 35 w 1548"/>
                <a:gd name="T29" fmla="*/ 152 h 3307"/>
                <a:gd name="T30" fmla="*/ 32 w 1548"/>
                <a:gd name="T31" fmla="*/ 3060 h 3307"/>
                <a:gd name="T32" fmla="*/ 39 w 1548"/>
                <a:gd name="T33" fmla="*/ 3075 h 3307"/>
                <a:gd name="T34" fmla="*/ 54 w 1548"/>
                <a:gd name="T35" fmla="*/ 3081 h 3307"/>
                <a:gd name="T36" fmla="*/ 1502 w 1548"/>
                <a:gd name="T37" fmla="*/ 3080 h 3307"/>
                <a:gd name="T38" fmla="*/ 1515 w 1548"/>
                <a:gd name="T39" fmla="*/ 3068 h 3307"/>
                <a:gd name="T40" fmla="*/ 1434 w 1548"/>
                <a:gd name="T41" fmla="*/ 66 h 3307"/>
                <a:gd name="T42" fmla="*/ 1422 w 1548"/>
                <a:gd name="T43" fmla="*/ 40 h 3307"/>
                <a:gd name="T44" fmla="*/ 1397 w 1548"/>
                <a:gd name="T45" fmla="*/ 29 h 3307"/>
                <a:gd name="T46" fmla="*/ 1376 w 1548"/>
                <a:gd name="T47" fmla="*/ 35 h 3307"/>
                <a:gd name="T48" fmla="*/ 1360 w 1548"/>
                <a:gd name="T49" fmla="*/ 58 h 3307"/>
                <a:gd name="T50" fmla="*/ 1362 w 1548"/>
                <a:gd name="T51" fmla="*/ 80 h 3307"/>
                <a:gd name="T52" fmla="*/ 1382 w 1548"/>
                <a:gd name="T53" fmla="*/ 100 h 3307"/>
                <a:gd name="T54" fmla="*/ 1404 w 1548"/>
                <a:gd name="T55" fmla="*/ 102 h 3307"/>
                <a:gd name="T56" fmla="*/ 1427 w 1548"/>
                <a:gd name="T57" fmla="*/ 87 h 3307"/>
                <a:gd name="T58" fmla="*/ 920 w 1548"/>
                <a:gd name="T59" fmla="*/ 3212 h 3307"/>
                <a:gd name="T60" fmla="*/ 917 w 1548"/>
                <a:gd name="T61" fmla="*/ 3157 h 3307"/>
                <a:gd name="T62" fmla="*/ 891 w 1548"/>
                <a:gd name="T63" fmla="*/ 3131 h 3307"/>
                <a:gd name="T64" fmla="*/ 660 w 1548"/>
                <a:gd name="T65" fmla="*/ 3128 h 3307"/>
                <a:gd name="T66" fmla="*/ 627 w 1548"/>
                <a:gd name="T67" fmla="*/ 3142 h 3307"/>
                <a:gd name="T68" fmla="*/ 613 w 1548"/>
                <a:gd name="T69" fmla="*/ 3175 h 3307"/>
                <a:gd name="T70" fmla="*/ 617 w 1548"/>
                <a:gd name="T71" fmla="*/ 3229 h 3307"/>
                <a:gd name="T72" fmla="*/ 642 w 1548"/>
                <a:gd name="T73" fmla="*/ 3255 h 3307"/>
                <a:gd name="T74" fmla="*/ 873 w 1548"/>
                <a:gd name="T75" fmla="*/ 3258 h 3307"/>
                <a:gd name="T76" fmla="*/ 906 w 1548"/>
                <a:gd name="T77" fmla="*/ 3244 h 3307"/>
                <a:gd name="T78" fmla="*/ 920 w 1548"/>
                <a:gd name="T79" fmla="*/ 3212 h 3307"/>
                <a:gd name="T80" fmla="*/ 922 w 1548"/>
                <a:gd name="T81" fmla="*/ 52 h 3307"/>
                <a:gd name="T82" fmla="*/ 910 w 1548"/>
                <a:gd name="T83" fmla="*/ 40 h 3307"/>
                <a:gd name="T84" fmla="*/ 537 w 1548"/>
                <a:gd name="T85" fmla="*/ 38 h 3307"/>
                <a:gd name="T86" fmla="*/ 521 w 1548"/>
                <a:gd name="T87" fmla="*/ 44 h 3307"/>
                <a:gd name="T88" fmla="*/ 515 w 1548"/>
                <a:gd name="T89" fmla="*/ 60 h 3307"/>
                <a:gd name="T90" fmla="*/ 518 w 1548"/>
                <a:gd name="T91" fmla="*/ 73 h 3307"/>
                <a:gd name="T92" fmla="*/ 532 w 1548"/>
                <a:gd name="T93" fmla="*/ 82 h 3307"/>
                <a:gd name="T94" fmla="*/ 906 w 1548"/>
                <a:gd name="T95" fmla="*/ 82 h 3307"/>
                <a:gd name="T96" fmla="*/ 920 w 1548"/>
                <a:gd name="T97" fmla="*/ 73 h 3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48" h="3307">
                  <a:moveTo>
                    <a:pt x="1548" y="62"/>
                  </a:moveTo>
                  <a:lnTo>
                    <a:pt x="1548" y="3245"/>
                  </a:lnTo>
                  <a:lnTo>
                    <a:pt x="1548" y="3245"/>
                  </a:lnTo>
                  <a:lnTo>
                    <a:pt x="1547" y="3258"/>
                  </a:lnTo>
                  <a:lnTo>
                    <a:pt x="1544" y="3270"/>
                  </a:lnTo>
                  <a:lnTo>
                    <a:pt x="1538" y="3280"/>
                  </a:lnTo>
                  <a:lnTo>
                    <a:pt x="1530" y="3289"/>
                  </a:lnTo>
                  <a:lnTo>
                    <a:pt x="1522" y="3296"/>
                  </a:lnTo>
                  <a:lnTo>
                    <a:pt x="1511" y="3302"/>
                  </a:lnTo>
                  <a:lnTo>
                    <a:pt x="1500" y="3306"/>
                  </a:lnTo>
                  <a:lnTo>
                    <a:pt x="1487" y="3307"/>
                  </a:lnTo>
                  <a:lnTo>
                    <a:pt x="61" y="3307"/>
                  </a:lnTo>
                  <a:lnTo>
                    <a:pt x="61" y="3307"/>
                  </a:lnTo>
                  <a:lnTo>
                    <a:pt x="50" y="3306"/>
                  </a:lnTo>
                  <a:lnTo>
                    <a:pt x="38" y="3302"/>
                  </a:lnTo>
                  <a:lnTo>
                    <a:pt x="28" y="3296"/>
                  </a:lnTo>
                  <a:lnTo>
                    <a:pt x="18" y="3289"/>
                  </a:lnTo>
                  <a:lnTo>
                    <a:pt x="10" y="3280"/>
                  </a:lnTo>
                  <a:lnTo>
                    <a:pt x="5" y="3270"/>
                  </a:lnTo>
                  <a:lnTo>
                    <a:pt x="1" y="3258"/>
                  </a:lnTo>
                  <a:lnTo>
                    <a:pt x="0" y="3245"/>
                  </a:lnTo>
                  <a:lnTo>
                    <a:pt x="0" y="62"/>
                  </a:lnTo>
                  <a:lnTo>
                    <a:pt x="0" y="62"/>
                  </a:lnTo>
                  <a:lnTo>
                    <a:pt x="1" y="50"/>
                  </a:lnTo>
                  <a:lnTo>
                    <a:pt x="5" y="38"/>
                  </a:lnTo>
                  <a:lnTo>
                    <a:pt x="10" y="28"/>
                  </a:lnTo>
                  <a:lnTo>
                    <a:pt x="18" y="19"/>
                  </a:lnTo>
                  <a:lnTo>
                    <a:pt x="28" y="11"/>
                  </a:lnTo>
                  <a:lnTo>
                    <a:pt x="38" y="5"/>
                  </a:lnTo>
                  <a:lnTo>
                    <a:pt x="50" y="1"/>
                  </a:lnTo>
                  <a:lnTo>
                    <a:pt x="61" y="0"/>
                  </a:lnTo>
                  <a:lnTo>
                    <a:pt x="1487" y="0"/>
                  </a:lnTo>
                  <a:lnTo>
                    <a:pt x="1487" y="0"/>
                  </a:lnTo>
                  <a:lnTo>
                    <a:pt x="1500" y="1"/>
                  </a:lnTo>
                  <a:lnTo>
                    <a:pt x="1511" y="5"/>
                  </a:lnTo>
                  <a:lnTo>
                    <a:pt x="1522" y="11"/>
                  </a:lnTo>
                  <a:lnTo>
                    <a:pt x="1530" y="19"/>
                  </a:lnTo>
                  <a:lnTo>
                    <a:pt x="1538" y="28"/>
                  </a:lnTo>
                  <a:lnTo>
                    <a:pt x="1544" y="38"/>
                  </a:lnTo>
                  <a:lnTo>
                    <a:pt x="1547" y="50"/>
                  </a:lnTo>
                  <a:lnTo>
                    <a:pt x="1548" y="62"/>
                  </a:lnTo>
                  <a:close/>
                  <a:moveTo>
                    <a:pt x="1516" y="3060"/>
                  </a:moveTo>
                  <a:lnTo>
                    <a:pt x="1516" y="160"/>
                  </a:lnTo>
                  <a:lnTo>
                    <a:pt x="1516" y="160"/>
                  </a:lnTo>
                  <a:lnTo>
                    <a:pt x="1516" y="156"/>
                  </a:lnTo>
                  <a:lnTo>
                    <a:pt x="1515" y="152"/>
                  </a:lnTo>
                  <a:lnTo>
                    <a:pt x="1513" y="148"/>
                  </a:lnTo>
                  <a:lnTo>
                    <a:pt x="1510" y="145"/>
                  </a:lnTo>
                  <a:lnTo>
                    <a:pt x="1507" y="141"/>
                  </a:lnTo>
                  <a:lnTo>
                    <a:pt x="1502" y="140"/>
                  </a:lnTo>
                  <a:lnTo>
                    <a:pt x="1499" y="139"/>
                  </a:lnTo>
                  <a:lnTo>
                    <a:pt x="1494" y="138"/>
                  </a:lnTo>
                  <a:lnTo>
                    <a:pt x="54" y="138"/>
                  </a:lnTo>
                  <a:lnTo>
                    <a:pt x="54" y="138"/>
                  </a:lnTo>
                  <a:lnTo>
                    <a:pt x="51" y="139"/>
                  </a:lnTo>
                  <a:lnTo>
                    <a:pt x="46" y="140"/>
                  </a:lnTo>
                  <a:lnTo>
                    <a:pt x="43" y="141"/>
                  </a:lnTo>
                  <a:lnTo>
                    <a:pt x="39" y="145"/>
                  </a:lnTo>
                  <a:lnTo>
                    <a:pt x="36" y="148"/>
                  </a:lnTo>
                  <a:lnTo>
                    <a:pt x="35" y="152"/>
                  </a:lnTo>
                  <a:lnTo>
                    <a:pt x="32" y="156"/>
                  </a:lnTo>
                  <a:lnTo>
                    <a:pt x="32" y="160"/>
                  </a:lnTo>
                  <a:lnTo>
                    <a:pt x="32" y="3060"/>
                  </a:lnTo>
                  <a:lnTo>
                    <a:pt x="32" y="3060"/>
                  </a:lnTo>
                  <a:lnTo>
                    <a:pt x="32" y="3064"/>
                  </a:lnTo>
                  <a:lnTo>
                    <a:pt x="35" y="3068"/>
                  </a:lnTo>
                  <a:lnTo>
                    <a:pt x="36" y="3072"/>
                  </a:lnTo>
                  <a:lnTo>
                    <a:pt x="39" y="3075"/>
                  </a:lnTo>
                  <a:lnTo>
                    <a:pt x="43" y="3078"/>
                  </a:lnTo>
                  <a:lnTo>
                    <a:pt x="46" y="3080"/>
                  </a:lnTo>
                  <a:lnTo>
                    <a:pt x="51" y="3081"/>
                  </a:lnTo>
                  <a:lnTo>
                    <a:pt x="54" y="3081"/>
                  </a:lnTo>
                  <a:lnTo>
                    <a:pt x="1494" y="3081"/>
                  </a:lnTo>
                  <a:lnTo>
                    <a:pt x="1494" y="3081"/>
                  </a:lnTo>
                  <a:lnTo>
                    <a:pt x="1499" y="3081"/>
                  </a:lnTo>
                  <a:lnTo>
                    <a:pt x="1502" y="3080"/>
                  </a:lnTo>
                  <a:lnTo>
                    <a:pt x="1507" y="3078"/>
                  </a:lnTo>
                  <a:lnTo>
                    <a:pt x="1510" y="3075"/>
                  </a:lnTo>
                  <a:lnTo>
                    <a:pt x="1513" y="3072"/>
                  </a:lnTo>
                  <a:lnTo>
                    <a:pt x="1515" y="3068"/>
                  </a:lnTo>
                  <a:lnTo>
                    <a:pt x="1516" y="3064"/>
                  </a:lnTo>
                  <a:lnTo>
                    <a:pt x="1516" y="3060"/>
                  </a:lnTo>
                  <a:close/>
                  <a:moveTo>
                    <a:pt x="1434" y="66"/>
                  </a:moveTo>
                  <a:lnTo>
                    <a:pt x="1434" y="66"/>
                  </a:lnTo>
                  <a:lnTo>
                    <a:pt x="1433" y="58"/>
                  </a:lnTo>
                  <a:lnTo>
                    <a:pt x="1431" y="51"/>
                  </a:lnTo>
                  <a:lnTo>
                    <a:pt x="1427" y="45"/>
                  </a:lnTo>
                  <a:lnTo>
                    <a:pt x="1422" y="40"/>
                  </a:lnTo>
                  <a:lnTo>
                    <a:pt x="1418" y="35"/>
                  </a:lnTo>
                  <a:lnTo>
                    <a:pt x="1411" y="31"/>
                  </a:lnTo>
                  <a:lnTo>
                    <a:pt x="1404" y="29"/>
                  </a:lnTo>
                  <a:lnTo>
                    <a:pt x="1397" y="29"/>
                  </a:lnTo>
                  <a:lnTo>
                    <a:pt x="1397" y="29"/>
                  </a:lnTo>
                  <a:lnTo>
                    <a:pt x="1389" y="29"/>
                  </a:lnTo>
                  <a:lnTo>
                    <a:pt x="1382" y="31"/>
                  </a:lnTo>
                  <a:lnTo>
                    <a:pt x="1376" y="35"/>
                  </a:lnTo>
                  <a:lnTo>
                    <a:pt x="1371" y="40"/>
                  </a:lnTo>
                  <a:lnTo>
                    <a:pt x="1366" y="45"/>
                  </a:lnTo>
                  <a:lnTo>
                    <a:pt x="1362" y="51"/>
                  </a:lnTo>
                  <a:lnTo>
                    <a:pt x="1360" y="58"/>
                  </a:lnTo>
                  <a:lnTo>
                    <a:pt x="1360" y="66"/>
                  </a:lnTo>
                  <a:lnTo>
                    <a:pt x="1360" y="66"/>
                  </a:lnTo>
                  <a:lnTo>
                    <a:pt x="1360" y="73"/>
                  </a:lnTo>
                  <a:lnTo>
                    <a:pt x="1362" y="80"/>
                  </a:lnTo>
                  <a:lnTo>
                    <a:pt x="1366" y="87"/>
                  </a:lnTo>
                  <a:lnTo>
                    <a:pt x="1371" y="92"/>
                  </a:lnTo>
                  <a:lnTo>
                    <a:pt x="1376" y="96"/>
                  </a:lnTo>
                  <a:lnTo>
                    <a:pt x="1382" y="100"/>
                  </a:lnTo>
                  <a:lnTo>
                    <a:pt x="1389" y="102"/>
                  </a:lnTo>
                  <a:lnTo>
                    <a:pt x="1397" y="103"/>
                  </a:lnTo>
                  <a:lnTo>
                    <a:pt x="1397" y="103"/>
                  </a:lnTo>
                  <a:lnTo>
                    <a:pt x="1404" y="102"/>
                  </a:lnTo>
                  <a:lnTo>
                    <a:pt x="1411" y="100"/>
                  </a:lnTo>
                  <a:lnTo>
                    <a:pt x="1418" y="96"/>
                  </a:lnTo>
                  <a:lnTo>
                    <a:pt x="1422" y="92"/>
                  </a:lnTo>
                  <a:lnTo>
                    <a:pt x="1427" y="87"/>
                  </a:lnTo>
                  <a:lnTo>
                    <a:pt x="1431" y="80"/>
                  </a:lnTo>
                  <a:lnTo>
                    <a:pt x="1433" y="73"/>
                  </a:lnTo>
                  <a:lnTo>
                    <a:pt x="1434" y="66"/>
                  </a:lnTo>
                  <a:close/>
                  <a:moveTo>
                    <a:pt x="920" y="3212"/>
                  </a:moveTo>
                  <a:lnTo>
                    <a:pt x="920" y="3175"/>
                  </a:lnTo>
                  <a:lnTo>
                    <a:pt x="920" y="3175"/>
                  </a:lnTo>
                  <a:lnTo>
                    <a:pt x="919" y="3165"/>
                  </a:lnTo>
                  <a:lnTo>
                    <a:pt x="917" y="3157"/>
                  </a:lnTo>
                  <a:lnTo>
                    <a:pt x="912" y="3148"/>
                  </a:lnTo>
                  <a:lnTo>
                    <a:pt x="906" y="3142"/>
                  </a:lnTo>
                  <a:lnTo>
                    <a:pt x="899" y="3136"/>
                  </a:lnTo>
                  <a:lnTo>
                    <a:pt x="891" y="3131"/>
                  </a:lnTo>
                  <a:lnTo>
                    <a:pt x="882" y="3129"/>
                  </a:lnTo>
                  <a:lnTo>
                    <a:pt x="873" y="3128"/>
                  </a:lnTo>
                  <a:lnTo>
                    <a:pt x="660" y="3128"/>
                  </a:lnTo>
                  <a:lnTo>
                    <a:pt x="660" y="3128"/>
                  </a:lnTo>
                  <a:lnTo>
                    <a:pt x="651" y="3129"/>
                  </a:lnTo>
                  <a:lnTo>
                    <a:pt x="642" y="3131"/>
                  </a:lnTo>
                  <a:lnTo>
                    <a:pt x="634" y="3136"/>
                  </a:lnTo>
                  <a:lnTo>
                    <a:pt x="627" y="3142"/>
                  </a:lnTo>
                  <a:lnTo>
                    <a:pt x="621" y="3148"/>
                  </a:lnTo>
                  <a:lnTo>
                    <a:pt x="617" y="3157"/>
                  </a:lnTo>
                  <a:lnTo>
                    <a:pt x="614" y="3165"/>
                  </a:lnTo>
                  <a:lnTo>
                    <a:pt x="613" y="3175"/>
                  </a:lnTo>
                  <a:lnTo>
                    <a:pt x="613" y="3212"/>
                  </a:lnTo>
                  <a:lnTo>
                    <a:pt x="613" y="3212"/>
                  </a:lnTo>
                  <a:lnTo>
                    <a:pt x="614" y="3221"/>
                  </a:lnTo>
                  <a:lnTo>
                    <a:pt x="617" y="3229"/>
                  </a:lnTo>
                  <a:lnTo>
                    <a:pt x="621" y="3237"/>
                  </a:lnTo>
                  <a:lnTo>
                    <a:pt x="627" y="3244"/>
                  </a:lnTo>
                  <a:lnTo>
                    <a:pt x="634" y="3250"/>
                  </a:lnTo>
                  <a:lnTo>
                    <a:pt x="642" y="3255"/>
                  </a:lnTo>
                  <a:lnTo>
                    <a:pt x="651" y="3257"/>
                  </a:lnTo>
                  <a:lnTo>
                    <a:pt x="660" y="3258"/>
                  </a:lnTo>
                  <a:lnTo>
                    <a:pt x="873" y="3258"/>
                  </a:lnTo>
                  <a:lnTo>
                    <a:pt x="873" y="3258"/>
                  </a:lnTo>
                  <a:lnTo>
                    <a:pt x="882" y="3257"/>
                  </a:lnTo>
                  <a:lnTo>
                    <a:pt x="891" y="3255"/>
                  </a:lnTo>
                  <a:lnTo>
                    <a:pt x="899" y="3250"/>
                  </a:lnTo>
                  <a:lnTo>
                    <a:pt x="906" y="3244"/>
                  </a:lnTo>
                  <a:lnTo>
                    <a:pt x="912" y="3237"/>
                  </a:lnTo>
                  <a:lnTo>
                    <a:pt x="917" y="3229"/>
                  </a:lnTo>
                  <a:lnTo>
                    <a:pt x="919" y="3221"/>
                  </a:lnTo>
                  <a:lnTo>
                    <a:pt x="920" y="3212"/>
                  </a:lnTo>
                  <a:close/>
                  <a:moveTo>
                    <a:pt x="924" y="60"/>
                  </a:moveTo>
                  <a:lnTo>
                    <a:pt x="924" y="60"/>
                  </a:lnTo>
                  <a:lnTo>
                    <a:pt x="924" y="56"/>
                  </a:lnTo>
                  <a:lnTo>
                    <a:pt x="922" y="52"/>
                  </a:lnTo>
                  <a:lnTo>
                    <a:pt x="920" y="48"/>
                  </a:lnTo>
                  <a:lnTo>
                    <a:pt x="917" y="44"/>
                  </a:lnTo>
                  <a:lnTo>
                    <a:pt x="913" y="42"/>
                  </a:lnTo>
                  <a:lnTo>
                    <a:pt x="910" y="40"/>
                  </a:lnTo>
                  <a:lnTo>
                    <a:pt x="906" y="38"/>
                  </a:lnTo>
                  <a:lnTo>
                    <a:pt x="902" y="38"/>
                  </a:lnTo>
                  <a:lnTo>
                    <a:pt x="537" y="38"/>
                  </a:lnTo>
                  <a:lnTo>
                    <a:pt x="537" y="38"/>
                  </a:lnTo>
                  <a:lnTo>
                    <a:pt x="532" y="38"/>
                  </a:lnTo>
                  <a:lnTo>
                    <a:pt x="528" y="40"/>
                  </a:lnTo>
                  <a:lnTo>
                    <a:pt x="524" y="42"/>
                  </a:lnTo>
                  <a:lnTo>
                    <a:pt x="521" y="44"/>
                  </a:lnTo>
                  <a:lnTo>
                    <a:pt x="518" y="48"/>
                  </a:lnTo>
                  <a:lnTo>
                    <a:pt x="516" y="52"/>
                  </a:lnTo>
                  <a:lnTo>
                    <a:pt x="515" y="56"/>
                  </a:lnTo>
                  <a:lnTo>
                    <a:pt x="515" y="60"/>
                  </a:lnTo>
                  <a:lnTo>
                    <a:pt x="515" y="60"/>
                  </a:lnTo>
                  <a:lnTo>
                    <a:pt x="515" y="65"/>
                  </a:lnTo>
                  <a:lnTo>
                    <a:pt x="516" y="70"/>
                  </a:lnTo>
                  <a:lnTo>
                    <a:pt x="518" y="73"/>
                  </a:lnTo>
                  <a:lnTo>
                    <a:pt x="521" y="77"/>
                  </a:lnTo>
                  <a:lnTo>
                    <a:pt x="524" y="79"/>
                  </a:lnTo>
                  <a:lnTo>
                    <a:pt x="528" y="81"/>
                  </a:lnTo>
                  <a:lnTo>
                    <a:pt x="532" y="82"/>
                  </a:lnTo>
                  <a:lnTo>
                    <a:pt x="537" y="82"/>
                  </a:lnTo>
                  <a:lnTo>
                    <a:pt x="902" y="82"/>
                  </a:lnTo>
                  <a:lnTo>
                    <a:pt x="902" y="82"/>
                  </a:lnTo>
                  <a:lnTo>
                    <a:pt x="906" y="82"/>
                  </a:lnTo>
                  <a:lnTo>
                    <a:pt x="910" y="81"/>
                  </a:lnTo>
                  <a:lnTo>
                    <a:pt x="913" y="79"/>
                  </a:lnTo>
                  <a:lnTo>
                    <a:pt x="917" y="77"/>
                  </a:lnTo>
                  <a:lnTo>
                    <a:pt x="920" y="73"/>
                  </a:lnTo>
                  <a:lnTo>
                    <a:pt x="922" y="70"/>
                  </a:lnTo>
                  <a:lnTo>
                    <a:pt x="924" y="65"/>
                  </a:lnTo>
                  <a:lnTo>
                    <a:pt x="924" y="60"/>
                  </a:lnTo>
                  <a:close/>
                </a:path>
              </a:pathLst>
            </a:custGeom>
            <a:solidFill>
              <a:srgbClr val="4B4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8"/>
            <p:cNvSpPr>
              <a:spLocks/>
            </p:cNvSpPr>
            <p:nvPr/>
          </p:nvSpPr>
          <p:spPr bwMode="auto">
            <a:xfrm>
              <a:off x="3693" y="1290"/>
              <a:ext cx="516" cy="1102"/>
            </a:xfrm>
            <a:custGeom>
              <a:avLst/>
              <a:gdLst>
                <a:gd name="T0" fmla="*/ 1548 w 1548"/>
                <a:gd name="T1" fmla="*/ 62 h 3307"/>
                <a:gd name="T2" fmla="*/ 1548 w 1548"/>
                <a:gd name="T3" fmla="*/ 3245 h 3307"/>
                <a:gd name="T4" fmla="*/ 1548 w 1548"/>
                <a:gd name="T5" fmla="*/ 3245 h 3307"/>
                <a:gd name="T6" fmla="*/ 1547 w 1548"/>
                <a:gd name="T7" fmla="*/ 3258 h 3307"/>
                <a:gd name="T8" fmla="*/ 1544 w 1548"/>
                <a:gd name="T9" fmla="*/ 3270 h 3307"/>
                <a:gd name="T10" fmla="*/ 1538 w 1548"/>
                <a:gd name="T11" fmla="*/ 3280 h 3307"/>
                <a:gd name="T12" fmla="*/ 1530 w 1548"/>
                <a:gd name="T13" fmla="*/ 3289 h 3307"/>
                <a:gd name="T14" fmla="*/ 1522 w 1548"/>
                <a:gd name="T15" fmla="*/ 3296 h 3307"/>
                <a:gd name="T16" fmla="*/ 1511 w 1548"/>
                <a:gd name="T17" fmla="*/ 3302 h 3307"/>
                <a:gd name="T18" fmla="*/ 1500 w 1548"/>
                <a:gd name="T19" fmla="*/ 3306 h 3307"/>
                <a:gd name="T20" fmla="*/ 1487 w 1548"/>
                <a:gd name="T21" fmla="*/ 3307 h 3307"/>
                <a:gd name="T22" fmla="*/ 61 w 1548"/>
                <a:gd name="T23" fmla="*/ 3307 h 3307"/>
                <a:gd name="T24" fmla="*/ 61 w 1548"/>
                <a:gd name="T25" fmla="*/ 3307 h 3307"/>
                <a:gd name="T26" fmla="*/ 50 w 1548"/>
                <a:gd name="T27" fmla="*/ 3306 h 3307"/>
                <a:gd name="T28" fmla="*/ 38 w 1548"/>
                <a:gd name="T29" fmla="*/ 3302 h 3307"/>
                <a:gd name="T30" fmla="*/ 28 w 1548"/>
                <a:gd name="T31" fmla="*/ 3296 h 3307"/>
                <a:gd name="T32" fmla="*/ 18 w 1548"/>
                <a:gd name="T33" fmla="*/ 3289 h 3307"/>
                <a:gd name="T34" fmla="*/ 10 w 1548"/>
                <a:gd name="T35" fmla="*/ 3280 h 3307"/>
                <a:gd name="T36" fmla="*/ 5 w 1548"/>
                <a:gd name="T37" fmla="*/ 3270 h 3307"/>
                <a:gd name="T38" fmla="*/ 1 w 1548"/>
                <a:gd name="T39" fmla="*/ 3258 h 3307"/>
                <a:gd name="T40" fmla="*/ 0 w 1548"/>
                <a:gd name="T41" fmla="*/ 3245 h 3307"/>
                <a:gd name="T42" fmla="*/ 0 w 1548"/>
                <a:gd name="T43" fmla="*/ 62 h 3307"/>
                <a:gd name="T44" fmla="*/ 0 w 1548"/>
                <a:gd name="T45" fmla="*/ 62 h 3307"/>
                <a:gd name="T46" fmla="*/ 1 w 1548"/>
                <a:gd name="T47" fmla="*/ 50 h 3307"/>
                <a:gd name="T48" fmla="*/ 5 w 1548"/>
                <a:gd name="T49" fmla="*/ 38 h 3307"/>
                <a:gd name="T50" fmla="*/ 10 w 1548"/>
                <a:gd name="T51" fmla="*/ 28 h 3307"/>
                <a:gd name="T52" fmla="*/ 18 w 1548"/>
                <a:gd name="T53" fmla="*/ 19 h 3307"/>
                <a:gd name="T54" fmla="*/ 28 w 1548"/>
                <a:gd name="T55" fmla="*/ 11 h 3307"/>
                <a:gd name="T56" fmla="*/ 38 w 1548"/>
                <a:gd name="T57" fmla="*/ 5 h 3307"/>
                <a:gd name="T58" fmla="*/ 50 w 1548"/>
                <a:gd name="T59" fmla="*/ 1 h 3307"/>
                <a:gd name="T60" fmla="*/ 61 w 1548"/>
                <a:gd name="T61" fmla="*/ 0 h 3307"/>
                <a:gd name="T62" fmla="*/ 1487 w 1548"/>
                <a:gd name="T63" fmla="*/ 0 h 3307"/>
                <a:gd name="T64" fmla="*/ 1487 w 1548"/>
                <a:gd name="T65" fmla="*/ 0 h 3307"/>
                <a:gd name="T66" fmla="*/ 1500 w 1548"/>
                <a:gd name="T67" fmla="*/ 1 h 3307"/>
                <a:gd name="T68" fmla="*/ 1511 w 1548"/>
                <a:gd name="T69" fmla="*/ 5 h 3307"/>
                <a:gd name="T70" fmla="*/ 1522 w 1548"/>
                <a:gd name="T71" fmla="*/ 11 h 3307"/>
                <a:gd name="T72" fmla="*/ 1530 w 1548"/>
                <a:gd name="T73" fmla="*/ 19 h 3307"/>
                <a:gd name="T74" fmla="*/ 1538 w 1548"/>
                <a:gd name="T75" fmla="*/ 28 h 3307"/>
                <a:gd name="T76" fmla="*/ 1544 w 1548"/>
                <a:gd name="T77" fmla="*/ 38 h 3307"/>
                <a:gd name="T78" fmla="*/ 1547 w 1548"/>
                <a:gd name="T79" fmla="*/ 50 h 3307"/>
                <a:gd name="T80" fmla="*/ 1548 w 1548"/>
                <a:gd name="T81" fmla="*/ 62 h 3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48" h="3307">
                  <a:moveTo>
                    <a:pt x="1548" y="62"/>
                  </a:moveTo>
                  <a:lnTo>
                    <a:pt x="1548" y="3245"/>
                  </a:lnTo>
                  <a:lnTo>
                    <a:pt x="1548" y="3245"/>
                  </a:lnTo>
                  <a:lnTo>
                    <a:pt x="1547" y="3258"/>
                  </a:lnTo>
                  <a:lnTo>
                    <a:pt x="1544" y="3270"/>
                  </a:lnTo>
                  <a:lnTo>
                    <a:pt x="1538" y="3280"/>
                  </a:lnTo>
                  <a:lnTo>
                    <a:pt x="1530" y="3289"/>
                  </a:lnTo>
                  <a:lnTo>
                    <a:pt x="1522" y="3296"/>
                  </a:lnTo>
                  <a:lnTo>
                    <a:pt x="1511" y="3302"/>
                  </a:lnTo>
                  <a:lnTo>
                    <a:pt x="1500" y="3306"/>
                  </a:lnTo>
                  <a:lnTo>
                    <a:pt x="1487" y="3307"/>
                  </a:lnTo>
                  <a:lnTo>
                    <a:pt x="61" y="3307"/>
                  </a:lnTo>
                  <a:lnTo>
                    <a:pt x="61" y="3307"/>
                  </a:lnTo>
                  <a:lnTo>
                    <a:pt x="50" y="3306"/>
                  </a:lnTo>
                  <a:lnTo>
                    <a:pt x="38" y="3302"/>
                  </a:lnTo>
                  <a:lnTo>
                    <a:pt x="28" y="3296"/>
                  </a:lnTo>
                  <a:lnTo>
                    <a:pt x="18" y="3289"/>
                  </a:lnTo>
                  <a:lnTo>
                    <a:pt x="10" y="3280"/>
                  </a:lnTo>
                  <a:lnTo>
                    <a:pt x="5" y="3270"/>
                  </a:lnTo>
                  <a:lnTo>
                    <a:pt x="1" y="3258"/>
                  </a:lnTo>
                  <a:lnTo>
                    <a:pt x="0" y="3245"/>
                  </a:lnTo>
                  <a:lnTo>
                    <a:pt x="0" y="62"/>
                  </a:lnTo>
                  <a:lnTo>
                    <a:pt x="0" y="62"/>
                  </a:lnTo>
                  <a:lnTo>
                    <a:pt x="1" y="50"/>
                  </a:lnTo>
                  <a:lnTo>
                    <a:pt x="5" y="38"/>
                  </a:lnTo>
                  <a:lnTo>
                    <a:pt x="10" y="28"/>
                  </a:lnTo>
                  <a:lnTo>
                    <a:pt x="18" y="19"/>
                  </a:lnTo>
                  <a:lnTo>
                    <a:pt x="28" y="11"/>
                  </a:lnTo>
                  <a:lnTo>
                    <a:pt x="38" y="5"/>
                  </a:lnTo>
                  <a:lnTo>
                    <a:pt x="50" y="1"/>
                  </a:lnTo>
                  <a:lnTo>
                    <a:pt x="61" y="0"/>
                  </a:lnTo>
                  <a:lnTo>
                    <a:pt x="1487" y="0"/>
                  </a:lnTo>
                  <a:lnTo>
                    <a:pt x="1487" y="0"/>
                  </a:lnTo>
                  <a:lnTo>
                    <a:pt x="1500" y="1"/>
                  </a:lnTo>
                  <a:lnTo>
                    <a:pt x="1511" y="5"/>
                  </a:lnTo>
                  <a:lnTo>
                    <a:pt x="1522" y="11"/>
                  </a:lnTo>
                  <a:lnTo>
                    <a:pt x="1530" y="19"/>
                  </a:lnTo>
                  <a:lnTo>
                    <a:pt x="1538" y="28"/>
                  </a:lnTo>
                  <a:lnTo>
                    <a:pt x="1544" y="38"/>
                  </a:lnTo>
                  <a:lnTo>
                    <a:pt x="1547" y="50"/>
                  </a:lnTo>
                  <a:lnTo>
                    <a:pt x="1548" y="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9"/>
            <p:cNvSpPr>
              <a:spLocks/>
            </p:cNvSpPr>
            <p:nvPr/>
          </p:nvSpPr>
          <p:spPr bwMode="auto">
            <a:xfrm>
              <a:off x="3704" y="1336"/>
              <a:ext cx="494" cy="981"/>
            </a:xfrm>
            <a:custGeom>
              <a:avLst/>
              <a:gdLst>
                <a:gd name="T0" fmla="*/ 1484 w 1484"/>
                <a:gd name="T1" fmla="*/ 2922 h 2943"/>
                <a:gd name="T2" fmla="*/ 1484 w 1484"/>
                <a:gd name="T3" fmla="*/ 22 h 2943"/>
                <a:gd name="T4" fmla="*/ 1484 w 1484"/>
                <a:gd name="T5" fmla="*/ 22 h 2943"/>
                <a:gd name="T6" fmla="*/ 1484 w 1484"/>
                <a:gd name="T7" fmla="*/ 18 h 2943"/>
                <a:gd name="T8" fmla="*/ 1483 w 1484"/>
                <a:gd name="T9" fmla="*/ 14 h 2943"/>
                <a:gd name="T10" fmla="*/ 1481 w 1484"/>
                <a:gd name="T11" fmla="*/ 10 h 2943"/>
                <a:gd name="T12" fmla="*/ 1478 w 1484"/>
                <a:gd name="T13" fmla="*/ 7 h 2943"/>
                <a:gd name="T14" fmla="*/ 1475 w 1484"/>
                <a:gd name="T15" fmla="*/ 3 h 2943"/>
                <a:gd name="T16" fmla="*/ 1470 w 1484"/>
                <a:gd name="T17" fmla="*/ 2 h 2943"/>
                <a:gd name="T18" fmla="*/ 1467 w 1484"/>
                <a:gd name="T19" fmla="*/ 1 h 2943"/>
                <a:gd name="T20" fmla="*/ 1462 w 1484"/>
                <a:gd name="T21" fmla="*/ 0 h 2943"/>
                <a:gd name="T22" fmla="*/ 22 w 1484"/>
                <a:gd name="T23" fmla="*/ 0 h 2943"/>
                <a:gd name="T24" fmla="*/ 22 w 1484"/>
                <a:gd name="T25" fmla="*/ 0 h 2943"/>
                <a:gd name="T26" fmla="*/ 19 w 1484"/>
                <a:gd name="T27" fmla="*/ 1 h 2943"/>
                <a:gd name="T28" fmla="*/ 14 w 1484"/>
                <a:gd name="T29" fmla="*/ 2 h 2943"/>
                <a:gd name="T30" fmla="*/ 11 w 1484"/>
                <a:gd name="T31" fmla="*/ 3 h 2943"/>
                <a:gd name="T32" fmla="*/ 7 w 1484"/>
                <a:gd name="T33" fmla="*/ 7 h 2943"/>
                <a:gd name="T34" fmla="*/ 4 w 1484"/>
                <a:gd name="T35" fmla="*/ 10 h 2943"/>
                <a:gd name="T36" fmla="*/ 3 w 1484"/>
                <a:gd name="T37" fmla="*/ 14 h 2943"/>
                <a:gd name="T38" fmla="*/ 0 w 1484"/>
                <a:gd name="T39" fmla="*/ 18 h 2943"/>
                <a:gd name="T40" fmla="*/ 0 w 1484"/>
                <a:gd name="T41" fmla="*/ 22 h 2943"/>
                <a:gd name="T42" fmla="*/ 0 w 1484"/>
                <a:gd name="T43" fmla="*/ 2922 h 2943"/>
                <a:gd name="T44" fmla="*/ 0 w 1484"/>
                <a:gd name="T45" fmla="*/ 2922 h 2943"/>
                <a:gd name="T46" fmla="*/ 0 w 1484"/>
                <a:gd name="T47" fmla="*/ 2926 h 2943"/>
                <a:gd name="T48" fmla="*/ 3 w 1484"/>
                <a:gd name="T49" fmla="*/ 2930 h 2943"/>
                <a:gd name="T50" fmla="*/ 4 w 1484"/>
                <a:gd name="T51" fmla="*/ 2934 h 2943"/>
                <a:gd name="T52" fmla="*/ 7 w 1484"/>
                <a:gd name="T53" fmla="*/ 2937 h 2943"/>
                <a:gd name="T54" fmla="*/ 11 w 1484"/>
                <a:gd name="T55" fmla="*/ 2940 h 2943"/>
                <a:gd name="T56" fmla="*/ 14 w 1484"/>
                <a:gd name="T57" fmla="*/ 2942 h 2943"/>
                <a:gd name="T58" fmla="*/ 19 w 1484"/>
                <a:gd name="T59" fmla="*/ 2943 h 2943"/>
                <a:gd name="T60" fmla="*/ 22 w 1484"/>
                <a:gd name="T61" fmla="*/ 2943 h 2943"/>
                <a:gd name="T62" fmla="*/ 1462 w 1484"/>
                <a:gd name="T63" fmla="*/ 2943 h 2943"/>
                <a:gd name="T64" fmla="*/ 1462 w 1484"/>
                <a:gd name="T65" fmla="*/ 2943 h 2943"/>
                <a:gd name="T66" fmla="*/ 1467 w 1484"/>
                <a:gd name="T67" fmla="*/ 2943 h 2943"/>
                <a:gd name="T68" fmla="*/ 1470 w 1484"/>
                <a:gd name="T69" fmla="*/ 2942 h 2943"/>
                <a:gd name="T70" fmla="*/ 1475 w 1484"/>
                <a:gd name="T71" fmla="*/ 2940 h 2943"/>
                <a:gd name="T72" fmla="*/ 1478 w 1484"/>
                <a:gd name="T73" fmla="*/ 2937 h 2943"/>
                <a:gd name="T74" fmla="*/ 1481 w 1484"/>
                <a:gd name="T75" fmla="*/ 2934 h 2943"/>
                <a:gd name="T76" fmla="*/ 1483 w 1484"/>
                <a:gd name="T77" fmla="*/ 2930 h 2943"/>
                <a:gd name="T78" fmla="*/ 1484 w 1484"/>
                <a:gd name="T79" fmla="*/ 2926 h 2943"/>
                <a:gd name="T80" fmla="*/ 1484 w 1484"/>
                <a:gd name="T81" fmla="*/ 2922 h 2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84" h="2943">
                  <a:moveTo>
                    <a:pt x="1484" y="2922"/>
                  </a:moveTo>
                  <a:lnTo>
                    <a:pt x="1484" y="22"/>
                  </a:lnTo>
                  <a:lnTo>
                    <a:pt x="1484" y="22"/>
                  </a:lnTo>
                  <a:lnTo>
                    <a:pt x="1484" y="18"/>
                  </a:lnTo>
                  <a:lnTo>
                    <a:pt x="1483" y="14"/>
                  </a:lnTo>
                  <a:lnTo>
                    <a:pt x="1481" y="10"/>
                  </a:lnTo>
                  <a:lnTo>
                    <a:pt x="1478" y="7"/>
                  </a:lnTo>
                  <a:lnTo>
                    <a:pt x="1475" y="3"/>
                  </a:lnTo>
                  <a:lnTo>
                    <a:pt x="1470" y="2"/>
                  </a:lnTo>
                  <a:lnTo>
                    <a:pt x="1467" y="1"/>
                  </a:lnTo>
                  <a:lnTo>
                    <a:pt x="1462" y="0"/>
                  </a:lnTo>
                  <a:lnTo>
                    <a:pt x="22" y="0"/>
                  </a:lnTo>
                  <a:lnTo>
                    <a:pt x="22" y="0"/>
                  </a:lnTo>
                  <a:lnTo>
                    <a:pt x="19" y="1"/>
                  </a:lnTo>
                  <a:lnTo>
                    <a:pt x="14" y="2"/>
                  </a:lnTo>
                  <a:lnTo>
                    <a:pt x="11" y="3"/>
                  </a:lnTo>
                  <a:lnTo>
                    <a:pt x="7" y="7"/>
                  </a:lnTo>
                  <a:lnTo>
                    <a:pt x="4" y="10"/>
                  </a:lnTo>
                  <a:lnTo>
                    <a:pt x="3" y="14"/>
                  </a:lnTo>
                  <a:lnTo>
                    <a:pt x="0" y="18"/>
                  </a:lnTo>
                  <a:lnTo>
                    <a:pt x="0" y="22"/>
                  </a:lnTo>
                  <a:lnTo>
                    <a:pt x="0" y="2922"/>
                  </a:lnTo>
                  <a:lnTo>
                    <a:pt x="0" y="2922"/>
                  </a:lnTo>
                  <a:lnTo>
                    <a:pt x="0" y="2926"/>
                  </a:lnTo>
                  <a:lnTo>
                    <a:pt x="3" y="2930"/>
                  </a:lnTo>
                  <a:lnTo>
                    <a:pt x="4" y="2934"/>
                  </a:lnTo>
                  <a:lnTo>
                    <a:pt x="7" y="2937"/>
                  </a:lnTo>
                  <a:lnTo>
                    <a:pt x="11" y="2940"/>
                  </a:lnTo>
                  <a:lnTo>
                    <a:pt x="14" y="2942"/>
                  </a:lnTo>
                  <a:lnTo>
                    <a:pt x="19" y="2943"/>
                  </a:lnTo>
                  <a:lnTo>
                    <a:pt x="22" y="2943"/>
                  </a:lnTo>
                  <a:lnTo>
                    <a:pt x="1462" y="2943"/>
                  </a:lnTo>
                  <a:lnTo>
                    <a:pt x="1462" y="2943"/>
                  </a:lnTo>
                  <a:lnTo>
                    <a:pt x="1467" y="2943"/>
                  </a:lnTo>
                  <a:lnTo>
                    <a:pt x="1470" y="2942"/>
                  </a:lnTo>
                  <a:lnTo>
                    <a:pt x="1475" y="2940"/>
                  </a:lnTo>
                  <a:lnTo>
                    <a:pt x="1478" y="2937"/>
                  </a:lnTo>
                  <a:lnTo>
                    <a:pt x="1481" y="2934"/>
                  </a:lnTo>
                  <a:lnTo>
                    <a:pt x="1483" y="2930"/>
                  </a:lnTo>
                  <a:lnTo>
                    <a:pt x="1484" y="2926"/>
                  </a:lnTo>
                  <a:lnTo>
                    <a:pt x="1484" y="29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10"/>
            <p:cNvSpPr>
              <a:spLocks/>
            </p:cNvSpPr>
            <p:nvPr/>
          </p:nvSpPr>
          <p:spPr bwMode="auto">
            <a:xfrm>
              <a:off x="4146" y="1299"/>
              <a:ext cx="25" cy="25"/>
            </a:xfrm>
            <a:custGeom>
              <a:avLst/>
              <a:gdLst>
                <a:gd name="T0" fmla="*/ 74 w 74"/>
                <a:gd name="T1" fmla="*/ 37 h 74"/>
                <a:gd name="T2" fmla="*/ 74 w 74"/>
                <a:gd name="T3" fmla="*/ 37 h 74"/>
                <a:gd name="T4" fmla="*/ 73 w 74"/>
                <a:gd name="T5" fmla="*/ 29 h 74"/>
                <a:gd name="T6" fmla="*/ 71 w 74"/>
                <a:gd name="T7" fmla="*/ 22 h 74"/>
                <a:gd name="T8" fmla="*/ 67 w 74"/>
                <a:gd name="T9" fmla="*/ 16 h 74"/>
                <a:gd name="T10" fmla="*/ 62 w 74"/>
                <a:gd name="T11" fmla="*/ 11 h 74"/>
                <a:gd name="T12" fmla="*/ 58 w 74"/>
                <a:gd name="T13" fmla="*/ 6 h 74"/>
                <a:gd name="T14" fmla="*/ 51 w 74"/>
                <a:gd name="T15" fmla="*/ 2 h 74"/>
                <a:gd name="T16" fmla="*/ 44 w 74"/>
                <a:gd name="T17" fmla="*/ 0 h 74"/>
                <a:gd name="T18" fmla="*/ 37 w 74"/>
                <a:gd name="T19" fmla="*/ 0 h 74"/>
                <a:gd name="T20" fmla="*/ 37 w 74"/>
                <a:gd name="T21" fmla="*/ 0 h 74"/>
                <a:gd name="T22" fmla="*/ 29 w 74"/>
                <a:gd name="T23" fmla="*/ 0 h 74"/>
                <a:gd name="T24" fmla="*/ 22 w 74"/>
                <a:gd name="T25" fmla="*/ 2 h 74"/>
                <a:gd name="T26" fmla="*/ 16 w 74"/>
                <a:gd name="T27" fmla="*/ 6 h 74"/>
                <a:gd name="T28" fmla="*/ 11 w 74"/>
                <a:gd name="T29" fmla="*/ 11 h 74"/>
                <a:gd name="T30" fmla="*/ 6 w 74"/>
                <a:gd name="T31" fmla="*/ 16 h 74"/>
                <a:gd name="T32" fmla="*/ 2 w 74"/>
                <a:gd name="T33" fmla="*/ 22 h 74"/>
                <a:gd name="T34" fmla="*/ 0 w 74"/>
                <a:gd name="T35" fmla="*/ 29 h 74"/>
                <a:gd name="T36" fmla="*/ 0 w 74"/>
                <a:gd name="T37" fmla="*/ 37 h 74"/>
                <a:gd name="T38" fmla="*/ 0 w 74"/>
                <a:gd name="T39" fmla="*/ 37 h 74"/>
                <a:gd name="T40" fmla="*/ 0 w 74"/>
                <a:gd name="T41" fmla="*/ 44 h 74"/>
                <a:gd name="T42" fmla="*/ 2 w 74"/>
                <a:gd name="T43" fmla="*/ 51 h 74"/>
                <a:gd name="T44" fmla="*/ 6 w 74"/>
                <a:gd name="T45" fmla="*/ 58 h 74"/>
                <a:gd name="T46" fmla="*/ 11 w 74"/>
                <a:gd name="T47" fmla="*/ 63 h 74"/>
                <a:gd name="T48" fmla="*/ 16 w 74"/>
                <a:gd name="T49" fmla="*/ 67 h 74"/>
                <a:gd name="T50" fmla="*/ 22 w 74"/>
                <a:gd name="T51" fmla="*/ 71 h 74"/>
                <a:gd name="T52" fmla="*/ 29 w 74"/>
                <a:gd name="T53" fmla="*/ 73 h 74"/>
                <a:gd name="T54" fmla="*/ 37 w 74"/>
                <a:gd name="T55" fmla="*/ 74 h 74"/>
                <a:gd name="T56" fmla="*/ 37 w 74"/>
                <a:gd name="T57" fmla="*/ 74 h 74"/>
                <a:gd name="T58" fmla="*/ 44 w 74"/>
                <a:gd name="T59" fmla="*/ 73 h 74"/>
                <a:gd name="T60" fmla="*/ 51 w 74"/>
                <a:gd name="T61" fmla="*/ 71 h 74"/>
                <a:gd name="T62" fmla="*/ 58 w 74"/>
                <a:gd name="T63" fmla="*/ 67 h 74"/>
                <a:gd name="T64" fmla="*/ 62 w 74"/>
                <a:gd name="T65" fmla="*/ 63 h 74"/>
                <a:gd name="T66" fmla="*/ 67 w 74"/>
                <a:gd name="T67" fmla="*/ 58 h 74"/>
                <a:gd name="T68" fmla="*/ 71 w 74"/>
                <a:gd name="T69" fmla="*/ 51 h 74"/>
                <a:gd name="T70" fmla="*/ 73 w 74"/>
                <a:gd name="T71" fmla="*/ 44 h 74"/>
                <a:gd name="T72" fmla="*/ 74 w 74"/>
                <a:gd name="T73"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 h="74">
                  <a:moveTo>
                    <a:pt x="74" y="37"/>
                  </a:moveTo>
                  <a:lnTo>
                    <a:pt x="74" y="37"/>
                  </a:lnTo>
                  <a:lnTo>
                    <a:pt x="73" y="29"/>
                  </a:lnTo>
                  <a:lnTo>
                    <a:pt x="71" y="22"/>
                  </a:lnTo>
                  <a:lnTo>
                    <a:pt x="67" y="16"/>
                  </a:lnTo>
                  <a:lnTo>
                    <a:pt x="62" y="11"/>
                  </a:lnTo>
                  <a:lnTo>
                    <a:pt x="58" y="6"/>
                  </a:lnTo>
                  <a:lnTo>
                    <a:pt x="51" y="2"/>
                  </a:lnTo>
                  <a:lnTo>
                    <a:pt x="44" y="0"/>
                  </a:lnTo>
                  <a:lnTo>
                    <a:pt x="37" y="0"/>
                  </a:lnTo>
                  <a:lnTo>
                    <a:pt x="37" y="0"/>
                  </a:lnTo>
                  <a:lnTo>
                    <a:pt x="29" y="0"/>
                  </a:lnTo>
                  <a:lnTo>
                    <a:pt x="22" y="2"/>
                  </a:lnTo>
                  <a:lnTo>
                    <a:pt x="16" y="6"/>
                  </a:lnTo>
                  <a:lnTo>
                    <a:pt x="11" y="11"/>
                  </a:lnTo>
                  <a:lnTo>
                    <a:pt x="6" y="16"/>
                  </a:lnTo>
                  <a:lnTo>
                    <a:pt x="2" y="22"/>
                  </a:lnTo>
                  <a:lnTo>
                    <a:pt x="0" y="29"/>
                  </a:lnTo>
                  <a:lnTo>
                    <a:pt x="0" y="37"/>
                  </a:lnTo>
                  <a:lnTo>
                    <a:pt x="0" y="37"/>
                  </a:lnTo>
                  <a:lnTo>
                    <a:pt x="0" y="44"/>
                  </a:lnTo>
                  <a:lnTo>
                    <a:pt x="2" y="51"/>
                  </a:lnTo>
                  <a:lnTo>
                    <a:pt x="6" y="58"/>
                  </a:lnTo>
                  <a:lnTo>
                    <a:pt x="11" y="63"/>
                  </a:lnTo>
                  <a:lnTo>
                    <a:pt x="16" y="67"/>
                  </a:lnTo>
                  <a:lnTo>
                    <a:pt x="22" y="71"/>
                  </a:lnTo>
                  <a:lnTo>
                    <a:pt x="29" y="73"/>
                  </a:lnTo>
                  <a:lnTo>
                    <a:pt x="37" y="74"/>
                  </a:lnTo>
                  <a:lnTo>
                    <a:pt x="37" y="74"/>
                  </a:lnTo>
                  <a:lnTo>
                    <a:pt x="44" y="73"/>
                  </a:lnTo>
                  <a:lnTo>
                    <a:pt x="51" y="71"/>
                  </a:lnTo>
                  <a:lnTo>
                    <a:pt x="58" y="67"/>
                  </a:lnTo>
                  <a:lnTo>
                    <a:pt x="62" y="63"/>
                  </a:lnTo>
                  <a:lnTo>
                    <a:pt x="67" y="58"/>
                  </a:lnTo>
                  <a:lnTo>
                    <a:pt x="71" y="51"/>
                  </a:lnTo>
                  <a:lnTo>
                    <a:pt x="73" y="44"/>
                  </a:lnTo>
                  <a:lnTo>
                    <a:pt x="74" y="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11"/>
            <p:cNvSpPr>
              <a:spLocks/>
            </p:cNvSpPr>
            <p:nvPr/>
          </p:nvSpPr>
          <p:spPr bwMode="auto">
            <a:xfrm>
              <a:off x="3897" y="2332"/>
              <a:ext cx="103" cy="44"/>
            </a:xfrm>
            <a:custGeom>
              <a:avLst/>
              <a:gdLst>
                <a:gd name="T0" fmla="*/ 307 w 307"/>
                <a:gd name="T1" fmla="*/ 84 h 130"/>
                <a:gd name="T2" fmla="*/ 307 w 307"/>
                <a:gd name="T3" fmla="*/ 47 h 130"/>
                <a:gd name="T4" fmla="*/ 307 w 307"/>
                <a:gd name="T5" fmla="*/ 47 h 130"/>
                <a:gd name="T6" fmla="*/ 306 w 307"/>
                <a:gd name="T7" fmla="*/ 37 h 130"/>
                <a:gd name="T8" fmla="*/ 304 w 307"/>
                <a:gd name="T9" fmla="*/ 29 h 130"/>
                <a:gd name="T10" fmla="*/ 299 w 307"/>
                <a:gd name="T11" fmla="*/ 20 h 130"/>
                <a:gd name="T12" fmla="*/ 293 w 307"/>
                <a:gd name="T13" fmla="*/ 14 h 130"/>
                <a:gd name="T14" fmla="*/ 286 w 307"/>
                <a:gd name="T15" fmla="*/ 8 h 130"/>
                <a:gd name="T16" fmla="*/ 278 w 307"/>
                <a:gd name="T17" fmla="*/ 3 h 130"/>
                <a:gd name="T18" fmla="*/ 269 w 307"/>
                <a:gd name="T19" fmla="*/ 1 h 130"/>
                <a:gd name="T20" fmla="*/ 260 w 307"/>
                <a:gd name="T21" fmla="*/ 0 h 130"/>
                <a:gd name="T22" fmla="*/ 47 w 307"/>
                <a:gd name="T23" fmla="*/ 0 h 130"/>
                <a:gd name="T24" fmla="*/ 47 w 307"/>
                <a:gd name="T25" fmla="*/ 0 h 130"/>
                <a:gd name="T26" fmla="*/ 38 w 307"/>
                <a:gd name="T27" fmla="*/ 1 h 130"/>
                <a:gd name="T28" fmla="*/ 29 w 307"/>
                <a:gd name="T29" fmla="*/ 3 h 130"/>
                <a:gd name="T30" fmla="*/ 21 w 307"/>
                <a:gd name="T31" fmla="*/ 8 h 130"/>
                <a:gd name="T32" fmla="*/ 14 w 307"/>
                <a:gd name="T33" fmla="*/ 14 h 130"/>
                <a:gd name="T34" fmla="*/ 8 w 307"/>
                <a:gd name="T35" fmla="*/ 20 h 130"/>
                <a:gd name="T36" fmla="*/ 4 w 307"/>
                <a:gd name="T37" fmla="*/ 29 h 130"/>
                <a:gd name="T38" fmla="*/ 1 w 307"/>
                <a:gd name="T39" fmla="*/ 37 h 130"/>
                <a:gd name="T40" fmla="*/ 0 w 307"/>
                <a:gd name="T41" fmla="*/ 47 h 130"/>
                <a:gd name="T42" fmla="*/ 0 w 307"/>
                <a:gd name="T43" fmla="*/ 84 h 130"/>
                <a:gd name="T44" fmla="*/ 0 w 307"/>
                <a:gd name="T45" fmla="*/ 84 h 130"/>
                <a:gd name="T46" fmla="*/ 1 w 307"/>
                <a:gd name="T47" fmla="*/ 93 h 130"/>
                <a:gd name="T48" fmla="*/ 4 w 307"/>
                <a:gd name="T49" fmla="*/ 101 h 130"/>
                <a:gd name="T50" fmla="*/ 8 w 307"/>
                <a:gd name="T51" fmla="*/ 109 h 130"/>
                <a:gd name="T52" fmla="*/ 14 w 307"/>
                <a:gd name="T53" fmla="*/ 116 h 130"/>
                <a:gd name="T54" fmla="*/ 21 w 307"/>
                <a:gd name="T55" fmla="*/ 122 h 130"/>
                <a:gd name="T56" fmla="*/ 29 w 307"/>
                <a:gd name="T57" fmla="*/ 127 h 130"/>
                <a:gd name="T58" fmla="*/ 38 w 307"/>
                <a:gd name="T59" fmla="*/ 129 h 130"/>
                <a:gd name="T60" fmla="*/ 47 w 307"/>
                <a:gd name="T61" fmla="*/ 130 h 130"/>
                <a:gd name="T62" fmla="*/ 260 w 307"/>
                <a:gd name="T63" fmla="*/ 130 h 130"/>
                <a:gd name="T64" fmla="*/ 260 w 307"/>
                <a:gd name="T65" fmla="*/ 130 h 130"/>
                <a:gd name="T66" fmla="*/ 269 w 307"/>
                <a:gd name="T67" fmla="*/ 129 h 130"/>
                <a:gd name="T68" fmla="*/ 278 w 307"/>
                <a:gd name="T69" fmla="*/ 127 h 130"/>
                <a:gd name="T70" fmla="*/ 286 w 307"/>
                <a:gd name="T71" fmla="*/ 122 h 130"/>
                <a:gd name="T72" fmla="*/ 293 w 307"/>
                <a:gd name="T73" fmla="*/ 116 h 130"/>
                <a:gd name="T74" fmla="*/ 299 w 307"/>
                <a:gd name="T75" fmla="*/ 109 h 130"/>
                <a:gd name="T76" fmla="*/ 304 w 307"/>
                <a:gd name="T77" fmla="*/ 101 h 130"/>
                <a:gd name="T78" fmla="*/ 306 w 307"/>
                <a:gd name="T79" fmla="*/ 93 h 130"/>
                <a:gd name="T80" fmla="*/ 307 w 307"/>
                <a:gd name="T81" fmla="*/ 84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7" h="130">
                  <a:moveTo>
                    <a:pt x="307" y="84"/>
                  </a:moveTo>
                  <a:lnTo>
                    <a:pt x="307" y="47"/>
                  </a:lnTo>
                  <a:lnTo>
                    <a:pt x="307" y="47"/>
                  </a:lnTo>
                  <a:lnTo>
                    <a:pt x="306" y="37"/>
                  </a:lnTo>
                  <a:lnTo>
                    <a:pt x="304" y="29"/>
                  </a:lnTo>
                  <a:lnTo>
                    <a:pt x="299" y="20"/>
                  </a:lnTo>
                  <a:lnTo>
                    <a:pt x="293" y="14"/>
                  </a:lnTo>
                  <a:lnTo>
                    <a:pt x="286" y="8"/>
                  </a:lnTo>
                  <a:lnTo>
                    <a:pt x="278" y="3"/>
                  </a:lnTo>
                  <a:lnTo>
                    <a:pt x="269" y="1"/>
                  </a:lnTo>
                  <a:lnTo>
                    <a:pt x="260" y="0"/>
                  </a:lnTo>
                  <a:lnTo>
                    <a:pt x="47" y="0"/>
                  </a:lnTo>
                  <a:lnTo>
                    <a:pt x="47" y="0"/>
                  </a:lnTo>
                  <a:lnTo>
                    <a:pt x="38" y="1"/>
                  </a:lnTo>
                  <a:lnTo>
                    <a:pt x="29" y="3"/>
                  </a:lnTo>
                  <a:lnTo>
                    <a:pt x="21" y="8"/>
                  </a:lnTo>
                  <a:lnTo>
                    <a:pt x="14" y="14"/>
                  </a:lnTo>
                  <a:lnTo>
                    <a:pt x="8" y="20"/>
                  </a:lnTo>
                  <a:lnTo>
                    <a:pt x="4" y="29"/>
                  </a:lnTo>
                  <a:lnTo>
                    <a:pt x="1" y="37"/>
                  </a:lnTo>
                  <a:lnTo>
                    <a:pt x="0" y="47"/>
                  </a:lnTo>
                  <a:lnTo>
                    <a:pt x="0" y="84"/>
                  </a:lnTo>
                  <a:lnTo>
                    <a:pt x="0" y="84"/>
                  </a:lnTo>
                  <a:lnTo>
                    <a:pt x="1" y="93"/>
                  </a:lnTo>
                  <a:lnTo>
                    <a:pt x="4" y="101"/>
                  </a:lnTo>
                  <a:lnTo>
                    <a:pt x="8" y="109"/>
                  </a:lnTo>
                  <a:lnTo>
                    <a:pt x="14" y="116"/>
                  </a:lnTo>
                  <a:lnTo>
                    <a:pt x="21" y="122"/>
                  </a:lnTo>
                  <a:lnTo>
                    <a:pt x="29" y="127"/>
                  </a:lnTo>
                  <a:lnTo>
                    <a:pt x="38" y="129"/>
                  </a:lnTo>
                  <a:lnTo>
                    <a:pt x="47" y="130"/>
                  </a:lnTo>
                  <a:lnTo>
                    <a:pt x="260" y="130"/>
                  </a:lnTo>
                  <a:lnTo>
                    <a:pt x="260" y="130"/>
                  </a:lnTo>
                  <a:lnTo>
                    <a:pt x="269" y="129"/>
                  </a:lnTo>
                  <a:lnTo>
                    <a:pt x="278" y="127"/>
                  </a:lnTo>
                  <a:lnTo>
                    <a:pt x="286" y="122"/>
                  </a:lnTo>
                  <a:lnTo>
                    <a:pt x="293" y="116"/>
                  </a:lnTo>
                  <a:lnTo>
                    <a:pt x="299" y="109"/>
                  </a:lnTo>
                  <a:lnTo>
                    <a:pt x="304" y="101"/>
                  </a:lnTo>
                  <a:lnTo>
                    <a:pt x="306" y="93"/>
                  </a:lnTo>
                  <a:lnTo>
                    <a:pt x="307" y="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2"/>
            <p:cNvSpPr>
              <a:spLocks/>
            </p:cNvSpPr>
            <p:nvPr/>
          </p:nvSpPr>
          <p:spPr bwMode="auto">
            <a:xfrm>
              <a:off x="3865" y="1302"/>
              <a:ext cx="136" cy="15"/>
            </a:xfrm>
            <a:custGeom>
              <a:avLst/>
              <a:gdLst>
                <a:gd name="T0" fmla="*/ 409 w 409"/>
                <a:gd name="T1" fmla="*/ 22 h 44"/>
                <a:gd name="T2" fmla="*/ 409 w 409"/>
                <a:gd name="T3" fmla="*/ 22 h 44"/>
                <a:gd name="T4" fmla="*/ 409 w 409"/>
                <a:gd name="T5" fmla="*/ 18 h 44"/>
                <a:gd name="T6" fmla="*/ 407 w 409"/>
                <a:gd name="T7" fmla="*/ 14 h 44"/>
                <a:gd name="T8" fmla="*/ 405 w 409"/>
                <a:gd name="T9" fmla="*/ 10 h 44"/>
                <a:gd name="T10" fmla="*/ 402 w 409"/>
                <a:gd name="T11" fmla="*/ 6 h 44"/>
                <a:gd name="T12" fmla="*/ 398 w 409"/>
                <a:gd name="T13" fmla="*/ 4 h 44"/>
                <a:gd name="T14" fmla="*/ 395 w 409"/>
                <a:gd name="T15" fmla="*/ 2 h 44"/>
                <a:gd name="T16" fmla="*/ 391 w 409"/>
                <a:gd name="T17" fmla="*/ 0 h 44"/>
                <a:gd name="T18" fmla="*/ 387 w 409"/>
                <a:gd name="T19" fmla="*/ 0 h 44"/>
                <a:gd name="T20" fmla="*/ 22 w 409"/>
                <a:gd name="T21" fmla="*/ 0 h 44"/>
                <a:gd name="T22" fmla="*/ 22 w 409"/>
                <a:gd name="T23" fmla="*/ 0 h 44"/>
                <a:gd name="T24" fmla="*/ 17 w 409"/>
                <a:gd name="T25" fmla="*/ 0 h 44"/>
                <a:gd name="T26" fmla="*/ 13 w 409"/>
                <a:gd name="T27" fmla="*/ 2 h 44"/>
                <a:gd name="T28" fmla="*/ 9 w 409"/>
                <a:gd name="T29" fmla="*/ 4 h 44"/>
                <a:gd name="T30" fmla="*/ 6 w 409"/>
                <a:gd name="T31" fmla="*/ 6 h 44"/>
                <a:gd name="T32" fmla="*/ 3 w 409"/>
                <a:gd name="T33" fmla="*/ 10 h 44"/>
                <a:gd name="T34" fmla="*/ 1 w 409"/>
                <a:gd name="T35" fmla="*/ 14 h 44"/>
                <a:gd name="T36" fmla="*/ 0 w 409"/>
                <a:gd name="T37" fmla="*/ 18 h 44"/>
                <a:gd name="T38" fmla="*/ 0 w 409"/>
                <a:gd name="T39" fmla="*/ 22 h 44"/>
                <a:gd name="T40" fmla="*/ 0 w 409"/>
                <a:gd name="T41" fmla="*/ 22 h 44"/>
                <a:gd name="T42" fmla="*/ 0 w 409"/>
                <a:gd name="T43" fmla="*/ 27 h 44"/>
                <a:gd name="T44" fmla="*/ 1 w 409"/>
                <a:gd name="T45" fmla="*/ 32 h 44"/>
                <a:gd name="T46" fmla="*/ 3 w 409"/>
                <a:gd name="T47" fmla="*/ 35 h 44"/>
                <a:gd name="T48" fmla="*/ 6 w 409"/>
                <a:gd name="T49" fmla="*/ 39 h 44"/>
                <a:gd name="T50" fmla="*/ 9 w 409"/>
                <a:gd name="T51" fmla="*/ 41 h 44"/>
                <a:gd name="T52" fmla="*/ 13 w 409"/>
                <a:gd name="T53" fmla="*/ 43 h 44"/>
                <a:gd name="T54" fmla="*/ 17 w 409"/>
                <a:gd name="T55" fmla="*/ 44 h 44"/>
                <a:gd name="T56" fmla="*/ 22 w 409"/>
                <a:gd name="T57" fmla="*/ 44 h 44"/>
                <a:gd name="T58" fmla="*/ 387 w 409"/>
                <a:gd name="T59" fmla="*/ 44 h 44"/>
                <a:gd name="T60" fmla="*/ 387 w 409"/>
                <a:gd name="T61" fmla="*/ 44 h 44"/>
                <a:gd name="T62" fmla="*/ 391 w 409"/>
                <a:gd name="T63" fmla="*/ 44 h 44"/>
                <a:gd name="T64" fmla="*/ 395 w 409"/>
                <a:gd name="T65" fmla="*/ 43 h 44"/>
                <a:gd name="T66" fmla="*/ 398 w 409"/>
                <a:gd name="T67" fmla="*/ 41 h 44"/>
                <a:gd name="T68" fmla="*/ 402 w 409"/>
                <a:gd name="T69" fmla="*/ 39 h 44"/>
                <a:gd name="T70" fmla="*/ 405 w 409"/>
                <a:gd name="T71" fmla="*/ 35 h 44"/>
                <a:gd name="T72" fmla="*/ 407 w 409"/>
                <a:gd name="T73" fmla="*/ 32 h 44"/>
                <a:gd name="T74" fmla="*/ 409 w 409"/>
                <a:gd name="T75" fmla="*/ 27 h 44"/>
                <a:gd name="T76" fmla="*/ 409 w 409"/>
                <a:gd name="T77"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9" h="44">
                  <a:moveTo>
                    <a:pt x="409" y="22"/>
                  </a:moveTo>
                  <a:lnTo>
                    <a:pt x="409" y="22"/>
                  </a:lnTo>
                  <a:lnTo>
                    <a:pt x="409" y="18"/>
                  </a:lnTo>
                  <a:lnTo>
                    <a:pt x="407" y="14"/>
                  </a:lnTo>
                  <a:lnTo>
                    <a:pt x="405" y="10"/>
                  </a:lnTo>
                  <a:lnTo>
                    <a:pt x="402" y="6"/>
                  </a:lnTo>
                  <a:lnTo>
                    <a:pt x="398" y="4"/>
                  </a:lnTo>
                  <a:lnTo>
                    <a:pt x="395" y="2"/>
                  </a:lnTo>
                  <a:lnTo>
                    <a:pt x="391" y="0"/>
                  </a:lnTo>
                  <a:lnTo>
                    <a:pt x="387" y="0"/>
                  </a:lnTo>
                  <a:lnTo>
                    <a:pt x="22" y="0"/>
                  </a:lnTo>
                  <a:lnTo>
                    <a:pt x="22" y="0"/>
                  </a:lnTo>
                  <a:lnTo>
                    <a:pt x="17" y="0"/>
                  </a:lnTo>
                  <a:lnTo>
                    <a:pt x="13" y="2"/>
                  </a:lnTo>
                  <a:lnTo>
                    <a:pt x="9" y="4"/>
                  </a:lnTo>
                  <a:lnTo>
                    <a:pt x="6" y="6"/>
                  </a:lnTo>
                  <a:lnTo>
                    <a:pt x="3" y="10"/>
                  </a:lnTo>
                  <a:lnTo>
                    <a:pt x="1" y="14"/>
                  </a:lnTo>
                  <a:lnTo>
                    <a:pt x="0" y="18"/>
                  </a:lnTo>
                  <a:lnTo>
                    <a:pt x="0" y="22"/>
                  </a:lnTo>
                  <a:lnTo>
                    <a:pt x="0" y="22"/>
                  </a:lnTo>
                  <a:lnTo>
                    <a:pt x="0" y="27"/>
                  </a:lnTo>
                  <a:lnTo>
                    <a:pt x="1" y="32"/>
                  </a:lnTo>
                  <a:lnTo>
                    <a:pt x="3" y="35"/>
                  </a:lnTo>
                  <a:lnTo>
                    <a:pt x="6" y="39"/>
                  </a:lnTo>
                  <a:lnTo>
                    <a:pt x="9" y="41"/>
                  </a:lnTo>
                  <a:lnTo>
                    <a:pt x="13" y="43"/>
                  </a:lnTo>
                  <a:lnTo>
                    <a:pt x="17" y="44"/>
                  </a:lnTo>
                  <a:lnTo>
                    <a:pt x="22" y="44"/>
                  </a:lnTo>
                  <a:lnTo>
                    <a:pt x="387" y="44"/>
                  </a:lnTo>
                  <a:lnTo>
                    <a:pt x="387" y="44"/>
                  </a:lnTo>
                  <a:lnTo>
                    <a:pt x="391" y="44"/>
                  </a:lnTo>
                  <a:lnTo>
                    <a:pt x="395" y="43"/>
                  </a:lnTo>
                  <a:lnTo>
                    <a:pt x="398" y="41"/>
                  </a:lnTo>
                  <a:lnTo>
                    <a:pt x="402" y="39"/>
                  </a:lnTo>
                  <a:lnTo>
                    <a:pt x="405" y="35"/>
                  </a:lnTo>
                  <a:lnTo>
                    <a:pt x="407" y="32"/>
                  </a:lnTo>
                  <a:lnTo>
                    <a:pt x="409" y="27"/>
                  </a:lnTo>
                  <a:lnTo>
                    <a:pt x="409"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3"/>
            <p:cNvSpPr>
              <a:spLocks noEditPoints="1"/>
            </p:cNvSpPr>
            <p:nvPr/>
          </p:nvSpPr>
          <p:spPr bwMode="auto">
            <a:xfrm>
              <a:off x="3668" y="1265"/>
              <a:ext cx="566" cy="1152"/>
            </a:xfrm>
            <a:custGeom>
              <a:avLst/>
              <a:gdLst>
                <a:gd name="T0" fmla="*/ 1696 w 1696"/>
                <a:gd name="T1" fmla="*/ 3319 h 3455"/>
                <a:gd name="T2" fmla="*/ 1696 w 1696"/>
                <a:gd name="T3" fmla="*/ 3333 h 3455"/>
                <a:gd name="T4" fmla="*/ 1690 w 1696"/>
                <a:gd name="T5" fmla="*/ 3360 h 3455"/>
                <a:gd name="T6" fmla="*/ 1680 w 1696"/>
                <a:gd name="T7" fmla="*/ 3384 h 3455"/>
                <a:gd name="T8" fmla="*/ 1665 w 1696"/>
                <a:gd name="T9" fmla="*/ 3406 h 3455"/>
                <a:gd name="T10" fmla="*/ 1647 w 1696"/>
                <a:gd name="T11" fmla="*/ 3425 h 3455"/>
                <a:gd name="T12" fmla="*/ 1626 w 1696"/>
                <a:gd name="T13" fmla="*/ 3438 h 3455"/>
                <a:gd name="T14" fmla="*/ 1602 w 1696"/>
                <a:gd name="T15" fmla="*/ 3449 h 3455"/>
                <a:gd name="T16" fmla="*/ 1575 w 1696"/>
                <a:gd name="T17" fmla="*/ 3455 h 3455"/>
                <a:gd name="T18" fmla="*/ 135 w 1696"/>
                <a:gd name="T19" fmla="*/ 3455 h 3455"/>
                <a:gd name="T20" fmla="*/ 121 w 1696"/>
                <a:gd name="T21" fmla="*/ 3455 h 3455"/>
                <a:gd name="T22" fmla="*/ 95 w 1696"/>
                <a:gd name="T23" fmla="*/ 3449 h 3455"/>
                <a:gd name="T24" fmla="*/ 70 w 1696"/>
                <a:gd name="T25" fmla="*/ 3438 h 3455"/>
                <a:gd name="T26" fmla="*/ 50 w 1696"/>
                <a:gd name="T27" fmla="*/ 3425 h 3455"/>
                <a:gd name="T28" fmla="*/ 31 w 1696"/>
                <a:gd name="T29" fmla="*/ 3406 h 3455"/>
                <a:gd name="T30" fmla="*/ 16 w 1696"/>
                <a:gd name="T31" fmla="*/ 3384 h 3455"/>
                <a:gd name="T32" fmla="*/ 6 w 1696"/>
                <a:gd name="T33" fmla="*/ 3360 h 3455"/>
                <a:gd name="T34" fmla="*/ 1 w 1696"/>
                <a:gd name="T35" fmla="*/ 3333 h 3455"/>
                <a:gd name="T36" fmla="*/ 0 w 1696"/>
                <a:gd name="T37" fmla="*/ 136 h 3455"/>
                <a:gd name="T38" fmla="*/ 1 w 1696"/>
                <a:gd name="T39" fmla="*/ 122 h 3455"/>
                <a:gd name="T40" fmla="*/ 6 w 1696"/>
                <a:gd name="T41" fmla="*/ 95 h 3455"/>
                <a:gd name="T42" fmla="*/ 16 w 1696"/>
                <a:gd name="T43" fmla="*/ 71 h 3455"/>
                <a:gd name="T44" fmla="*/ 31 w 1696"/>
                <a:gd name="T45" fmla="*/ 50 h 3455"/>
                <a:gd name="T46" fmla="*/ 50 w 1696"/>
                <a:gd name="T47" fmla="*/ 32 h 3455"/>
                <a:gd name="T48" fmla="*/ 70 w 1696"/>
                <a:gd name="T49" fmla="*/ 17 h 3455"/>
                <a:gd name="T50" fmla="*/ 95 w 1696"/>
                <a:gd name="T51" fmla="*/ 6 h 3455"/>
                <a:gd name="T52" fmla="*/ 121 w 1696"/>
                <a:gd name="T53" fmla="*/ 2 h 3455"/>
                <a:gd name="T54" fmla="*/ 1561 w 1696"/>
                <a:gd name="T55" fmla="*/ 0 h 3455"/>
                <a:gd name="T56" fmla="*/ 1575 w 1696"/>
                <a:gd name="T57" fmla="*/ 2 h 3455"/>
                <a:gd name="T58" fmla="*/ 1602 w 1696"/>
                <a:gd name="T59" fmla="*/ 6 h 3455"/>
                <a:gd name="T60" fmla="*/ 1626 w 1696"/>
                <a:gd name="T61" fmla="*/ 17 h 3455"/>
                <a:gd name="T62" fmla="*/ 1647 w 1696"/>
                <a:gd name="T63" fmla="*/ 32 h 3455"/>
                <a:gd name="T64" fmla="*/ 1665 w 1696"/>
                <a:gd name="T65" fmla="*/ 50 h 3455"/>
                <a:gd name="T66" fmla="*/ 1680 w 1696"/>
                <a:gd name="T67" fmla="*/ 71 h 3455"/>
                <a:gd name="T68" fmla="*/ 1690 w 1696"/>
                <a:gd name="T69" fmla="*/ 95 h 3455"/>
                <a:gd name="T70" fmla="*/ 1696 w 1696"/>
                <a:gd name="T71" fmla="*/ 122 h 3455"/>
                <a:gd name="T72" fmla="*/ 1622 w 1696"/>
                <a:gd name="T73" fmla="*/ 3319 h 3455"/>
                <a:gd name="T74" fmla="*/ 1622 w 1696"/>
                <a:gd name="T75" fmla="*/ 136 h 3455"/>
                <a:gd name="T76" fmla="*/ 1618 w 1696"/>
                <a:gd name="T77" fmla="*/ 112 h 3455"/>
                <a:gd name="T78" fmla="*/ 1604 w 1696"/>
                <a:gd name="T79" fmla="*/ 93 h 3455"/>
                <a:gd name="T80" fmla="*/ 1585 w 1696"/>
                <a:gd name="T81" fmla="*/ 79 h 3455"/>
                <a:gd name="T82" fmla="*/ 1561 w 1696"/>
                <a:gd name="T83" fmla="*/ 74 h 3455"/>
                <a:gd name="T84" fmla="*/ 135 w 1696"/>
                <a:gd name="T85" fmla="*/ 74 h 3455"/>
                <a:gd name="T86" fmla="*/ 112 w 1696"/>
                <a:gd name="T87" fmla="*/ 79 h 3455"/>
                <a:gd name="T88" fmla="*/ 92 w 1696"/>
                <a:gd name="T89" fmla="*/ 93 h 3455"/>
                <a:gd name="T90" fmla="*/ 79 w 1696"/>
                <a:gd name="T91" fmla="*/ 112 h 3455"/>
                <a:gd name="T92" fmla="*/ 74 w 1696"/>
                <a:gd name="T93" fmla="*/ 136 h 3455"/>
                <a:gd name="T94" fmla="*/ 74 w 1696"/>
                <a:gd name="T95" fmla="*/ 3319 h 3455"/>
                <a:gd name="T96" fmla="*/ 79 w 1696"/>
                <a:gd name="T97" fmla="*/ 3344 h 3455"/>
                <a:gd name="T98" fmla="*/ 92 w 1696"/>
                <a:gd name="T99" fmla="*/ 3363 h 3455"/>
                <a:gd name="T100" fmla="*/ 112 w 1696"/>
                <a:gd name="T101" fmla="*/ 3376 h 3455"/>
                <a:gd name="T102" fmla="*/ 135 w 1696"/>
                <a:gd name="T103" fmla="*/ 3381 h 3455"/>
                <a:gd name="T104" fmla="*/ 1561 w 1696"/>
                <a:gd name="T105" fmla="*/ 3381 h 3455"/>
                <a:gd name="T106" fmla="*/ 1585 w 1696"/>
                <a:gd name="T107" fmla="*/ 3376 h 3455"/>
                <a:gd name="T108" fmla="*/ 1604 w 1696"/>
                <a:gd name="T109" fmla="*/ 3363 h 3455"/>
                <a:gd name="T110" fmla="*/ 1618 w 1696"/>
                <a:gd name="T111" fmla="*/ 3344 h 3455"/>
                <a:gd name="T112" fmla="*/ 1622 w 1696"/>
                <a:gd name="T113" fmla="*/ 3319 h 3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96" h="3455">
                  <a:moveTo>
                    <a:pt x="1696" y="136"/>
                  </a:moveTo>
                  <a:lnTo>
                    <a:pt x="1696" y="3319"/>
                  </a:lnTo>
                  <a:lnTo>
                    <a:pt x="1696" y="3319"/>
                  </a:lnTo>
                  <a:lnTo>
                    <a:pt x="1696" y="3333"/>
                  </a:lnTo>
                  <a:lnTo>
                    <a:pt x="1694" y="3347"/>
                  </a:lnTo>
                  <a:lnTo>
                    <a:pt x="1690" y="3360"/>
                  </a:lnTo>
                  <a:lnTo>
                    <a:pt x="1686" y="3373"/>
                  </a:lnTo>
                  <a:lnTo>
                    <a:pt x="1680" y="3384"/>
                  </a:lnTo>
                  <a:lnTo>
                    <a:pt x="1673" y="3396"/>
                  </a:lnTo>
                  <a:lnTo>
                    <a:pt x="1665" y="3406"/>
                  </a:lnTo>
                  <a:lnTo>
                    <a:pt x="1657" y="3415"/>
                  </a:lnTo>
                  <a:lnTo>
                    <a:pt x="1647" y="3425"/>
                  </a:lnTo>
                  <a:lnTo>
                    <a:pt x="1636" y="3431"/>
                  </a:lnTo>
                  <a:lnTo>
                    <a:pt x="1626" y="3438"/>
                  </a:lnTo>
                  <a:lnTo>
                    <a:pt x="1614" y="3444"/>
                  </a:lnTo>
                  <a:lnTo>
                    <a:pt x="1602" y="3449"/>
                  </a:lnTo>
                  <a:lnTo>
                    <a:pt x="1589" y="3452"/>
                  </a:lnTo>
                  <a:lnTo>
                    <a:pt x="1575" y="3455"/>
                  </a:lnTo>
                  <a:lnTo>
                    <a:pt x="1561" y="3455"/>
                  </a:lnTo>
                  <a:lnTo>
                    <a:pt x="135" y="3455"/>
                  </a:lnTo>
                  <a:lnTo>
                    <a:pt x="135" y="3455"/>
                  </a:lnTo>
                  <a:lnTo>
                    <a:pt x="121" y="3455"/>
                  </a:lnTo>
                  <a:lnTo>
                    <a:pt x="109" y="3452"/>
                  </a:lnTo>
                  <a:lnTo>
                    <a:pt x="95" y="3449"/>
                  </a:lnTo>
                  <a:lnTo>
                    <a:pt x="83" y="3444"/>
                  </a:lnTo>
                  <a:lnTo>
                    <a:pt x="70" y="3438"/>
                  </a:lnTo>
                  <a:lnTo>
                    <a:pt x="60" y="3431"/>
                  </a:lnTo>
                  <a:lnTo>
                    <a:pt x="50" y="3425"/>
                  </a:lnTo>
                  <a:lnTo>
                    <a:pt x="39" y="3415"/>
                  </a:lnTo>
                  <a:lnTo>
                    <a:pt x="31" y="3406"/>
                  </a:lnTo>
                  <a:lnTo>
                    <a:pt x="23" y="3396"/>
                  </a:lnTo>
                  <a:lnTo>
                    <a:pt x="16" y="3384"/>
                  </a:lnTo>
                  <a:lnTo>
                    <a:pt x="10" y="3373"/>
                  </a:lnTo>
                  <a:lnTo>
                    <a:pt x="6" y="3360"/>
                  </a:lnTo>
                  <a:lnTo>
                    <a:pt x="2" y="3347"/>
                  </a:lnTo>
                  <a:lnTo>
                    <a:pt x="1" y="3333"/>
                  </a:lnTo>
                  <a:lnTo>
                    <a:pt x="0" y="3319"/>
                  </a:lnTo>
                  <a:lnTo>
                    <a:pt x="0" y="136"/>
                  </a:lnTo>
                  <a:lnTo>
                    <a:pt x="0" y="136"/>
                  </a:lnTo>
                  <a:lnTo>
                    <a:pt x="1" y="122"/>
                  </a:lnTo>
                  <a:lnTo>
                    <a:pt x="2" y="109"/>
                  </a:lnTo>
                  <a:lnTo>
                    <a:pt x="6" y="95"/>
                  </a:lnTo>
                  <a:lnTo>
                    <a:pt x="10" y="84"/>
                  </a:lnTo>
                  <a:lnTo>
                    <a:pt x="16" y="71"/>
                  </a:lnTo>
                  <a:lnTo>
                    <a:pt x="23" y="60"/>
                  </a:lnTo>
                  <a:lnTo>
                    <a:pt x="31" y="50"/>
                  </a:lnTo>
                  <a:lnTo>
                    <a:pt x="39" y="40"/>
                  </a:lnTo>
                  <a:lnTo>
                    <a:pt x="50" y="32"/>
                  </a:lnTo>
                  <a:lnTo>
                    <a:pt x="60" y="23"/>
                  </a:lnTo>
                  <a:lnTo>
                    <a:pt x="70" y="17"/>
                  </a:lnTo>
                  <a:lnTo>
                    <a:pt x="83" y="11"/>
                  </a:lnTo>
                  <a:lnTo>
                    <a:pt x="95" y="6"/>
                  </a:lnTo>
                  <a:lnTo>
                    <a:pt x="109" y="3"/>
                  </a:lnTo>
                  <a:lnTo>
                    <a:pt x="121" y="2"/>
                  </a:lnTo>
                  <a:lnTo>
                    <a:pt x="135" y="0"/>
                  </a:lnTo>
                  <a:lnTo>
                    <a:pt x="1561" y="0"/>
                  </a:lnTo>
                  <a:lnTo>
                    <a:pt x="1561" y="0"/>
                  </a:lnTo>
                  <a:lnTo>
                    <a:pt x="1575" y="2"/>
                  </a:lnTo>
                  <a:lnTo>
                    <a:pt x="1589" y="3"/>
                  </a:lnTo>
                  <a:lnTo>
                    <a:pt x="1602" y="6"/>
                  </a:lnTo>
                  <a:lnTo>
                    <a:pt x="1614" y="11"/>
                  </a:lnTo>
                  <a:lnTo>
                    <a:pt x="1626" y="17"/>
                  </a:lnTo>
                  <a:lnTo>
                    <a:pt x="1636" y="23"/>
                  </a:lnTo>
                  <a:lnTo>
                    <a:pt x="1647" y="32"/>
                  </a:lnTo>
                  <a:lnTo>
                    <a:pt x="1657" y="40"/>
                  </a:lnTo>
                  <a:lnTo>
                    <a:pt x="1665" y="50"/>
                  </a:lnTo>
                  <a:lnTo>
                    <a:pt x="1673" y="60"/>
                  </a:lnTo>
                  <a:lnTo>
                    <a:pt x="1680" y="71"/>
                  </a:lnTo>
                  <a:lnTo>
                    <a:pt x="1686" y="84"/>
                  </a:lnTo>
                  <a:lnTo>
                    <a:pt x="1690" y="95"/>
                  </a:lnTo>
                  <a:lnTo>
                    <a:pt x="1694" y="109"/>
                  </a:lnTo>
                  <a:lnTo>
                    <a:pt x="1696" y="122"/>
                  </a:lnTo>
                  <a:lnTo>
                    <a:pt x="1696" y="136"/>
                  </a:lnTo>
                  <a:close/>
                  <a:moveTo>
                    <a:pt x="1622" y="3319"/>
                  </a:moveTo>
                  <a:lnTo>
                    <a:pt x="1622" y="136"/>
                  </a:lnTo>
                  <a:lnTo>
                    <a:pt x="1622" y="136"/>
                  </a:lnTo>
                  <a:lnTo>
                    <a:pt x="1621" y="124"/>
                  </a:lnTo>
                  <a:lnTo>
                    <a:pt x="1618" y="112"/>
                  </a:lnTo>
                  <a:lnTo>
                    <a:pt x="1612" y="102"/>
                  </a:lnTo>
                  <a:lnTo>
                    <a:pt x="1604" y="93"/>
                  </a:lnTo>
                  <a:lnTo>
                    <a:pt x="1596" y="85"/>
                  </a:lnTo>
                  <a:lnTo>
                    <a:pt x="1585" y="79"/>
                  </a:lnTo>
                  <a:lnTo>
                    <a:pt x="1574" y="75"/>
                  </a:lnTo>
                  <a:lnTo>
                    <a:pt x="1561" y="74"/>
                  </a:lnTo>
                  <a:lnTo>
                    <a:pt x="135" y="74"/>
                  </a:lnTo>
                  <a:lnTo>
                    <a:pt x="135" y="74"/>
                  </a:lnTo>
                  <a:lnTo>
                    <a:pt x="124" y="75"/>
                  </a:lnTo>
                  <a:lnTo>
                    <a:pt x="112" y="79"/>
                  </a:lnTo>
                  <a:lnTo>
                    <a:pt x="102" y="85"/>
                  </a:lnTo>
                  <a:lnTo>
                    <a:pt x="92" y="93"/>
                  </a:lnTo>
                  <a:lnTo>
                    <a:pt x="84" y="102"/>
                  </a:lnTo>
                  <a:lnTo>
                    <a:pt x="79" y="112"/>
                  </a:lnTo>
                  <a:lnTo>
                    <a:pt x="75" y="124"/>
                  </a:lnTo>
                  <a:lnTo>
                    <a:pt x="74" y="136"/>
                  </a:lnTo>
                  <a:lnTo>
                    <a:pt x="74" y="3319"/>
                  </a:lnTo>
                  <a:lnTo>
                    <a:pt x="74" y="3319"/>
                  </a:lnTo>
                  <a:lnTo>
                    <a:pt x="75" y="3332"/>
                  </a:lnTo>
                  <a:lnTo>
                    <a:pt x="79" y="3344"/>
                  </a:lnTo>
                  <a:lnTo>
                    <a:pt x="84" y="3354"/>
                  </a:lnTo>
                  <a:lnTo>
                    <a:pt x="92" y="3363"/>
                  </a:lnTo>
                  <a:lnTo>
                    <a:pt x="102" y="3370"/>
                  </a:lnTo>
                  <a:lnTo>
                    <a:pt x="112" y="3376"/>
                  </a:lnTo>
                  <a:lnTo>
                    <a:pt x="124" y="3380"/>
                  </a:lnTo>
                  <a:lnTo>
                    <a:pt x="135" y="3381"/>
                  </a:lnTo>
                  <a:lnTo>
                    <a:pt x="1561" y="3381"/>
                  </a:lnTo>
                  <a:lnTo>
                    <a:pt x="1561" y="3381"/>
                  </a:lnTo>
                  <a:lnTo>
                    <a:pt x="1574" y="3380"/>
                  </a:lnTo>
                  <a:lnTo>
                    <a:pt x="1585" y="3376"/>
                  </a:lnTo>
                  <a:lnTo>
                    <a:pt x="1596" y="3370"/>
                  </a:lnTo>
                  <a:lnTo>
                    <a:pt x="1604" y="3363"/>
                  </a:lnTo>
                  <a:lnTo>
                    <a:pt x="1612" y="3354"/>
                  </a:lnTo>
                  <a:lnTo>
                    <a:pt x="1618" y="3344"/>
                  </a:lnTo>
                  <a:lnTo>
                    <a:pt x="1621" y="3332"/>
                  </a:lnTo>
                  <a:lnTo>
                    <a:pt x="1622" y="3319"/>
                  </a:lnTo>
                  <a:close/>
                </a:path>
              </a:pathLst>
            </a:custGeom>
            <a:solidFill>
              <a:srgbClr val="4B4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4"/>
            <p:cNvSpPr>
              <a:spLocks/>
            </p:cNvSpPr>
            <p:nvPr/>
          </p:nvSpPr>
          <p:spPr bwMode="auto">
            <a:xfrm>
              <a:off x="3668" y="1265"/>
              <a:ext cx="566" cy="1152"/>
            </a:xfrm>
            <a:custGeom>
              <a:avLst/>
              <a:gdLst>
                <a:gd name="T0" fmla="*/ 1696 w 1696"/>
                <a:gd name="T1" fmla="*/ 3319 h 3455"/>
                <a:gd name="T2" fmla="*/ 1696 w 1696"/>
                <a:gd name="T3" fmla="*/ 3333 h 3455"/>
                <a:gd name="T4" fmla="*/ 1690 w 1696"/>
                <a:gd name="T5" fmla="*/ 3360 h 3455"/>
                <a:gd name="T6" fmla="*/ 1680 w 1696"/>
                <a:gd name="T7" fmla="*/ 3384 h 3455"/>
                <a:gd name="T8" fmla="*/ 1665 w 1696"/>
                <a:gd name="T9" fmla="*/ 3406 h 3455"/>
                <a:gd name="T10" fmla="*/ 1647 w 1696"/>
                <a:gd name="T11" fmla="*/ 3425 h 3455"/>
                <a:gd name="T12" fmla="*/ 1626 w 1696"/>
                <a:gd name="T13" fmla="*/ 3438 h 3455"/>
                <a:gd name="T14" fmla="*/ 1602 w 1696"/>
                <a:gd name="T15" fmla="*/ 3449 h 3455"/>
                <a:gd name="T16" fmla="*/ 1575 w 1696"/>
                <a:gd name="T17" fmla="*/ 3455 h 3455"/>
                <a:gd name="T18" fmla="*/ 135 w 1696"/>
                <a:gd name="T19" fmla="*/ 3455 h 3455"/>
                <a:gd name="T20" fmla="*/ 121 w 1696"/>
                <a:gd name="T21" fmla="*/ 3455 h 3455"/>
                <a:gd name="T22" fmla="*/ 95 w 1696"/>
                <a:gd name="T23" fmla="*/ 3449 h 3455"/>
                <a:gd name="T24" fmla="*/ 70 w 1696"/>
                <a:gd name="T25" fmla="*/ 3438 h 3455"/>
                <a:gd name="T26" fmla="*/ 50 w 1696"/>
                <a:gd name="T27" fmla="*/ 3425 h 3455"/>
                <a:gd name="T28" fmla="*/ 31 w 1696"/>
                <a:gd name="T29" fmla="*/ 3406 h 3455"/>
                <a:gd name="T30" fmla="*/ 16 w 1696"/>
                <a:gd name="T31" fmla="*/ 3384 h 3455"/>
                <a:gd name="T32" fmla="*/ 6 w 1696"/>
                <a:gd name="T33" fmla="*/ 3360 h 3455"/>
                <a:gd name="T34" fmla="*/ 1 w 1696"/>
                <a:gd name="T35" fmla="*/ 3333 h 3455"/>
                <a:gd name="T36" fmla="*/ 0 w 1696"/>
                <a:gd name="T37" fmla="*/ 136 h 3455"/>
                <a:gd name="T38" fmla="*/ 1 w 1696"/>
                <a:gd name="T39" fmla="*/ 122 h 3455"/>
                <a:gd name="T40" fmla="*/ 6 w 1696"/>
                <a:gd name="T41" fmla="*/ 95 h 3455"/>
                <a:gd name="T42" fmla="*/ 16 w 1696"/>
                <a:gd name="T43" fmla="*/ 71 h 3455"/>
                <a:gd name="T44" fmla="*/ 31 w 1696"/>
                <a:gd name="T45" fmla="*/ 50 h 3455"/>
                <a:gd name="T46" fmla="*/ 50 w 1696"/>
                <a:gd name="T47" fmla="*/ 32 h 3455"/>
                <a:gd name="T48" fmla="*/ 70 w 1696"/>
                <a:gd name="T49" fmla="*/ 17 h 3455"/>
                <a:gd name="T50" fmla="*/ 95 w 1696"/>
                <a:gd name="T51" fmla="*/ 6 h 3455"/>
                <a:gd name="T52" fmla="*/ 121 w 1696"/>
                <a:gd name="T53" fmla="*/ 2 h 3455"/>
                <a:gd name="T54" fmla="*/ 1561 w 1696"/>
                <a:gd name="T55" fmla="*/ 0 h 3455"/>
                <a:gd name="T56" fmla="*/ 1575 w 1696"/>
                <a:gd name="T57" fmla="*/ 2 h 3455"/>
                <a:gd name="T58" fmla="*/ 1602 w 1696"/>
                <a:gd name="T59" fmla="*/ 6 h 3455"/>
                <a:gd name="T60" fmla="*/ 1626 w 1696"/>
                <a:gd name="T61" fmla="*/ 17 h 3455"/>
                <a:gd name="T62" fmla="*/ 1647 w 1696"/>
                <a:gd name="T63" fmla="*/ 32 h 3455"/>
                <a:gd name="T64" fmla="*/ 1665 w 1696"/>
                <a:gd name="T65" fmla="*/ 50 h 3455"/>
                <a:gd name="T66" fmla="*/ 1680 w 1696"/>
                <a:gd name="T67" fmla="*/ 71 h 3455"/>
                <a:gd name="T68" fmla="*/ 1690 w 1696"/>
                <a:gd name="T69" fmla="*/ 95 h 3455"/>
                <a:gd name="T70" fmla="*/ 1696 w 1696"/>
                <a:gd name="T71" fmla="*/ 122 h 3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96" h="3455">
                  <a:moveTo>
                    <a:pt x="1696" y="136"/>
                  </a:moveTo>
                  <a:lnTo>
                    <a:pt x="1696" y="3319"/>
                  </a:lnTo>
                  <a:lnTo>
                    <a:pt x="1696" y="3319"/>
                  </a:lnTo>
                  <a:lnTo>
                    <a:pt x="1696" y="3333"/>
                  </a:lnTo>
                  <a:lnTo>
                    <a:pt x="1694" y="3347"/>
                  </a:lnTo>
                  <a:lnTo>
                    <a:pt x="1690" y="3360"/>
                  </a:lnTo>
                  <a:lnTo>
                    <a:pt x="1686" y="3373"/>
                  </a:lnTo>
                  <a:lnTo>
                    <a:pt x="1680" y="3384"/>
                  </a:lnTo>
                  <a:lnTo>
                    <a:pt x="1673" y="3396"/>
                  </a:lnTo>
                  <a:lnTo>
                    <a:pt x="1665" y="3406"/>
                  </a:lnTo>
                  <a:lnTo>
                    <a:pt x="1657" y="3415"/>
                  </a:lnTo>
                  <a:lnTo>
                    <a:pt x="1647" y="3425"/>
                  </a:lnTo>
                  <a:lnTo>
                    <a:pt x="1636" y="3431"/>
                  </a:lnTo>
                  <a:lnTo>
                    <a:pt x="1626" y="3438"/>
                  </a:lnTo>
                  <a:lnTo>
                    <a:pt x="1614" y="3444"/>
                  </a:lnTo>
                  <a:lnTo>
                    <a:pt x="1602" y="3449"/>
                  </a:lnTo>
                  <a:lnTo>
                    <a:pt x="1589" y="3452"/>
                  </a:lnTo>
                  <a:lnTo>
                    <a:pt x="1575" y="3455"/>
                  </a:lnTo>
                  <a:lnTo>
                    <a:pt x="1561" y="3455"/>
                  </a:lnTo>
                  <a:lnTo>
                    <a:pt x="135" y="3455"/>
                  </a:lnTo>
                  <a:lnTo>
                    <a:pt x="135" y="3455"/>
                  </a:lnTo>
                  <a:lnTo>
                    <a:pt x="121" y="3455"/>
                  </a:lnTo>
                  <a:lnTo>
                    <a:pt x="109" y="3452"/>
                  </a:lnTo>
                  <a:lnTo>
                    <a:pt x="95" y="3449"/>
                  </a:lnTo>
                  <a:lnTo>
                    <a:pt x="83" y="3444"/>
                  </a:lnTo>
                  <a:lnTo>
                    <a:pt x="70" y="3438"/>
                  </a:lnTo>
                  <a:lnTo>
                    <a:pt x="60" y="3431"/>
                  </a:lnTo>
                  <a:lnTo>
                    <a:pt x="50" y="3425"/>
                  </a:lnTo>
                  <a:lnTo>
                    <a:pt x="39" y="3415"/>
                  </a:lnTo>
                  <a:lnTo>
                    <a:pt x="31" y="3406"/>
                  </a:lnTo>
                  <a:lnTo>
                    <a:pt x="23" y="3396"/>
                  </a:lnTo>
                  <a:lnTo>
                    <a:pt x="16" y="3384"/>
                  </a:lnTo>
                  <a:lnTo>
                    <a:pt x="10" y="3373"/>
                  </a:lnTo>
                  <a:lnTo>
                    <a:pt x="6" y="3360"/>
                  </a:lnTo>
                  <a:lnTo>
                    <a:pt x="2" y="3347"/>
                  </a:lnTo>
                  <a:lnTo>
                    <a:pt x="1" y="3333"/>
                  </a:lnTo>
                  <a:lnTo>
                    <a:pt x="0" y="3319"/>
                  </a:lnTo>
                  <a:lnTo>
                    <a:pt x="0" y="136"/>
                  </a:lnTo>
                  <a:lnTo>
                    <a:pt x="0" y="136"/>
                  </a:lnTo>
                  <a:lnTo>
                    <a:pt x="1" y="122"/>
                  </a:lnTo>
                  <a:lnTo>
                    <a:pt x="2" y="109"/>
                  </a:lnTo>
                  <a:lnTo>
                    <a:pt x="6" y="95"/>
                  </a:lnTo>
                  <a:lnTo>
                    <a:pt x="10" y="84"/>
                  </a:lnTo>
                  <a:lnTo>
                    <a:pt x="16" y="71"/>
                  </a:lnTo>
                  <a:lnTo>
                    <a:pt x="23" y="60"/>
                  </a:lnTo>
                  <a:lnTo>
                    <a:pt x="31" y="50"/>
                  </a:lnTo>
                  <a:lnTo>
                    <a:pt x="39" y="40"/>
                  </a:lnTo>
                  <a:lnTo>
                    <a:pt x="50" y="32"/>
                  </a:lnTo>
                  <a:lnTo>
                    <a:pt x="60" y="23"/>
                  </a:lnTo>
                  <a:lnTo>
                    <a:pt x="70" y="17"/>
                  </a:lnTo>
                  <a:lnTo>
                    <a:pt x="83" y="11"/>
                  </a:lnTo>
                  <a:lnTo>
                    <a:pt x="95" y="6"/>
                  </a:lnTo>
                  <a:lnTo>
                    <a:pt x="109" y="3"/>
                  </a:lnTo>
                  <a:lnTo>
                    <a:pt x="121" y="2"/>
                  </a:lnTo>
                  <a:lnTo>
                    <a:pt x="135" y="0"/>
                  </a:lnTo>
                  <a:lnTo>
                    <a:pt x="1561" y="0"/>
                  </a:lnTo>
                  <a:lnTo>
                    <a:pt x="1561" y="0"/>
                  </a:lnTo>
                  <a:lnTo>
                    <a:pt x="1575" y="2"/>
                  </a:lnTo>
                  <a:lnTo>
                    <a:pt x="1589" y="3"/>
                  </a:lnTo>
                  <a:lnTo>
                    <a:pt x="1602" y="6"/>
                  </a:lnTo>
                  <a:lnTo>
                    <a:pt x="1614" y="11"/>
                  </a:lnTo>
                  <a:lnTo>
                    <a:pt x="1626" y="17"/>
                  </a:lnTo>
                  <a:lnTo>
                    <a:pt x="1636" y="23"/>
                  </a:lnTo>
                  <a:lnTo>
                    <a:pt x="1647" y="32"/>
                  </a:lnTo>
                  <a:lnTo>
                    <a:pt x="1657" y="40"/>
                  </a:lnTo>
                  <a:lnTo>
                    <a:pt x="1665" y="50"/>
                  </a:lnTo>
                  <a:lnTo>
                    <a:pt x="1673" y="60"/>
                  </a:lnTo>
                  <a:lnTo>
                    <a:pt x="1680" y="71"/>
                  </a:lnTo>
                  <a:lnTo>
                    <a:pt x="1686" y="84"/>
                  </a:lnTo>
                  <a:lnTo>
                    <a:pt x="1690" y="95"/>
                  </a:lnTo>
                  <a:lnTo>
                    <a:pt x="1694" y="109"/>
                  </a:lnTo>
                  <a:lnTo>
                    <a:pt x="1696" y="122"/>
                  </a:lnTo>
                  <a:lnTo>
                    <a:pt x="1696"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5"/>
            <p:cNvSpPr>
              <a:spLocks/>
            </p:cNvSpPr>
            <p:nvPr/>
          </p:nvSpPr>
          <p:spPr bwMode="auto">
            <a:xfrm>
              <a:off x="3693" y="1290"/>
              <a:ext cx="516" cy="1102"/>
            </a:xfrm>
            <a:custGeom>
              <a:avLst/>
              <a:gdLst>
                <a:gd name="T0" fmla="*/ 1548 w 1548"/>
                <a:gd name="T1" fmla="*/ 3245 h 3307"/>
                <a:gd name="T2" fmla="*/ 1548 w 1548"/>
                <a:gd name="T3" fmla="*/ 62 h 3307"/>
                <a:gd name="T4" fmla="*/ 1548 w 1548"/>
                <a:gd name="T5" fmla="*/ 62 h 3307"/>
                <a:gd name="T6" fmla="*/ 1547 w 1548"/>
                <a:gd name="T7" fmla="*/ 50 h 3307"/>
                <a:gd name="T8" fmla="*/ 1544 w 1548"/>
                <a:gd name="T9" fmla="*/ 38 h 3307"/>
                <a:gd name="T10" fmla="*/ 1538 w 1548"/>
                <a:gd name="T11" fmla="*/ 28 h 3307"/>
                <a:gd name="T12" fmla="*/ 1530 w 1548"/>
                <a:gd name="T13" fmla="*/ 19 h 3307"/>
                <a:gd name="T14" fmla="*/ 1522 w 1548"/>
                <a:gd name="T15" fmla="*/ 11 h 3307"/>
                <a:gd name="T16" fmla="*/ 1511 w 1548"/>
                <a:gd name="T17" fmla="*/ 5 h 3307"/>
                <a:gd name="T18" fmla="*/ 1500 w 1548"/>
                <a:gd name="T19" fmla="*/ 1 h 3307"/>
                <a:gd name="T20" fmla="*/ 1487 w 1548"/>
                <a:gd name="T21" fmla="*/ 0 h 3307"/>
                <a:gd name="T22" fmla="*/ 61 w 1548"/>
                <a:gd name="T23" fmla="*/ 0 h 3307"/>
                <a:gd name="T24" fmla="*/ 61 w 1548"/>
                <a:gd name="T25" fmla="*/ 0 h 3307"/>
                <a:gd name="T26" fmla="*/ 50 w 1548"/>
                <a:gd name="T27" fmla="*/ 1 h 3307"/>
                <a:gd name="T28" fmla="*/ 38 w 1548"/>
                <a:gd name="T29" fmla="*/ 5 h 3307"/>
                <a:gd name="T30" fmla="*/ 28 w 1548"/>
                <a:gd name="T31" fmla="*/ 11 h 3307"/>
                <a:gd name="T32" fmla="*/ 18 w 1548"/>
                <a:gd name="T33" fmla="*/ 19 h 3307"/>
                <a:gd name="T34" fmla="*/ 10 w 1548"/>
                <a:gd name="T35" fmla="*/ 28 h 3307"/>
                <a:gd name="T36" fmla="*/ 5 w 1548"/>
                <a:gd name="T37" fmla="*/ 38 h 3307"/>
                <a:gd name="T38" fmla="*/ 1 w 1548"/>
                <a:gd name="T39" fmla="*/ 50 h 3307"/>
                <a:gd name="T40" fmla="*/ 0 w 1548"/>
                <a:gd name="T41" fmla="*/ 62 h 3307"/>
                <a:gd name="T42" fmla="*/ 0 w 1548"/>
                <a:gd name="T43" fmla="*/ 3245 h 3307"/>
                <a:gd name="T44" fmla="*/ 0 w 1548"/>
                <a:gd name="T45" fmla="*/ 3245 h 3307"/>
                <a:gd name="T46" fmla="*/ 1 w 1548"/>
                <a:gd name="T47" fmla="*/ 3258 h 3307"/>
                <a:gd name="T48" fmla="*/ 5 w 1548"/>
                <a:gd name="T49" fmla="*/ 3270 h 3307"/>
                <a:gd name="T50" fmla="*/ 10 w 1548"/>
                <a:gd name="T51" fmla="*/ 3280 h 3307"/>
                <a:gd name="T52" fmla="*/ 18 w 1548"/>
                <a:gd name="T53" fmla="*/ 3289 h 3307"/>
                <a:gd name="T54" fmla="*/ 28 w 1548"/>
                <a:gd name="T55" fmla="*/ 3296 h 3307"/>
                <a:gd name="T56" fmla="*/ 38 w 1548"/>
                <a:gd name="T57" fmla="*/ 3302 h 3307"/>
                <a:gd name="T58" fmla="*/ 50 w 1548"/>
                <a:gd name="T59" fmla="*/ 3306 h 3307"/>
                <a:gd name="T60" fmla="*/ 61 w 1548"/>
                <a:gd name="T61" fmla="*/ 3307 h 3307"/>
                <a:gd name="T62" fmla="*/ 1487 w 1548"/>
                <a:gd name="T63" fmla="*/ 3307 h 3307"/>
                <a:gd name="T64" fmla="*/ 1487 w 1548"/>
                <a:gd name="T65" fmla="*/ 3307 h 3307"/>
                <a:gd name="T66" fmla="*/ 1500 w 1548"/>
                <a:gd name="T67" fmla="*/ 3306 h 3307"/>
                <a:gd name="T68" fmla="*/ 1511 w 1548"/>
                <a:gd name="T69" fmla="*/ 3302 h 3307"/>
                <a:gd name="T70" fmla="*/ 1522 w 1548"/>
                <a:gd name="T71" fmla="*/ 3296 h 3307"/>
                <a:gd name="T72" fmla="*/ 1530 w 1548"/>
                <a:gd name="T73" fmla="*/ 3289 h 3307"/>
                <a:gd name="T74" fmla="*/ 1538 w 1548"/>
                <a:gd name="T75" fmla="*/ 3280 h 3307"/>
                <a:gd name="T76" fmla="*/ 1544 w 1548"/>
                <a:gd name="T77" fmla="*/ 3270 h 3307"/>
                <a:gd name="T78" fmla="*/ 1547 w 1548"/>
                <a:gd name="T79" fmla="*/ 3258 h 3307"/>
                <a:gd name="T80" fmla="*/ 1548 w 1548"/>
                <a:gd name="T81" fmla="*/ 3245 h 3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48" h="3307">
                  <a:moveTo>
                    <a:pt x="1548" y="3245"/>
                  </a:moveTo>
                  <a:lnTo>
                    <a:pt x="1548" y="62"/>
                  </a:lnTo>
                  <a:lnTo>
                    <a:pt x="1548" y="62"/>
                  </a:lnTo>
                  <a:lnTo>
                    <a:pt x="1547" y="50"/>
                  </a:lnTo>
                  <a:lnTo>
                    <a:pt x="1544" y="38"/>
                  </a:lnTo>
                  <a:lnTo>
                    <a:pt x="1538" y="28"/>
                  </a:lnTo>
                  <a:lnTo>
                    <a:pt x="1530" y="19"/>
                  </a:lnTo>
                  <a:lnTo>
                    <a:pt x="1522" y="11"/>
                  </a:lnTo>
                  <a:lnTo>
                    <a:pt x="1511" y="5"/>
                  </a:lnTo>
                  <a:lnTo>
                    <a:pt x="1500" y="1"/>
                  </a:lnTo>
                  <a:lnTo>
                    <a:pt x="1487" y="0"/>
                  </a:lnTo>
                  <a:lnTo>
                    <a:pt x="61" y="0"/>
                  </a:lnTo>
                  <a:lnTo>
                    <a:pt x="61" y="0"/>
                  </a:lnTo>
                  <a:lnTo>
                    <a:pt x="50" y="1"/>
                  </a:lnTo>
                  <a:lnTo>
                    <a:pt x="38" y="5"/>
                  </a:lnTo>
                  <a:lnTo>
                    <a:pt x="28" y="11"/>
                  </a:lnTo>
                  <a:lnTo>
                    <a:pt x="18" y="19"/>
                  </a:lnTo>
                  <a:lnTo>
                    <a:pt x="10" y="28"/>
                  </a:lnTo>
                  <a:lnTo>
                    <a:pt x="5" y="38"/>
                  </a:lnTo>
                  <a:lnTo>
                    <a:pt x="1" y="50"/>
                  </a:lnTo>
                  <a:lnTo>
                    <a:pt x="0" y="62"/>
                  </a:lnTo>
                  <a:lnTo>
                    <a:pt x="0" y="3245"/>
                  </a:lnTo>
                  <a:lnTo>
                    <a:pt x="0" y="3245"/>
                  </a:lnTo>
                  <a:lnTo>
                    <a:pt x="1" y="3258"/>
                  </a:lnTo>
                  <a:lnTo>
                    <a:pt x="5" y="3270"/>
                  </a:lnTo>
                  <a:lnTo>
                    <a:pt x="10" y="3280"/>
                  </a:lnTo>
                  <a:lnTo>
                    <a:pt x="18" y="3289"/>
                  </a:lnTo>
                  <a:lnTo>
                    <a:pt x="28" y="3296"/>
                  </a:lnTo>
                  <a:lnTo>
                    <a:pt x="38" y="3302"/>
                  </a:lnTo>
                  <a:lnTo>
                    <a:pt x="50" y="3306"/>
                  </a:lnTo>
                  <a:lnTo>
                    <a:pt x="61" y="3307"/>
                  </a:lnTo>
                  <a:lnTo>
                    <a:pt x="1487" y="3307"/>
                  </a:lnTo>
                  <a:lnTo>
                    <a:pt x="1487" y="3307"/>
                  </a:lnTo>
                  <a:lnTo>
                    <a:pt x="1500" y="3306"/>
                  </a:lnTo>
                  <a:lnTo>
                    <a:pt x="1511" y="3302"/>
                  </a:lnTo>
                  <a:lnTo>
                    <a:pt x="1522" y="3296"/>
                  </a:lnTo>
                  <a:lnTo>
                    <a:pt x="1530" y="3289"/>
                  </a:lnTo>
                  <a:lnTo>
                    <a:pt x="1538" y="3280"/>
                  </a:lnTo>
                  <a:lnTo>
                    <a:pt x="1544" y="3270"/>
                  </a:lnTo>
                  <a:lnTo>
                    <a:pt x="1547" y="3258"/>
                  </a:lnTo>
                  <a:lnTo>
                    <a:pt x="1548" y="32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16"/>
            <p:cNvSpPr>
              <a:spLocks noEditPoints="1"/>
            </p:cNvSpPr>
            <p:nvPr/>
          </p:nvSpPr>
          <p:spPr bwMode="auto">
            <a:xfrm>
              <a:off x="3704" y="1336"/>
              <a:ext cx="494" cy="981"/>
            </a:xfrm>
            <a:custGeom>
              <a:avLst/>
              <a:gdLst>
                <a:gd name="T0" fmla="*/ 1484 w 1484"/>
                <a:gd name="T1" fmla="*/ 22 h 2943"/>
                <a:gd name="T2" fmla="*/ 1484 w 1484"/>
                <a:gd name="T3" fmla="*/ 2922 h 2943"/>
                <a:gd name="T4" fmla="*/ 1484 w 1484"/>
                <a:gd name="T5" fmla="*/ 2922 h 2943"/>
                <a:gd name="T6" fmla="*/ 1484 w 1484"/>
                <a:gd name="T7" fmla="*/ 2926 h 2943"/>
                <a:gd name="T8" fmla="*/ 1483 w 1484"/>
                <a:gd name="T9" fmla="*/ 2930 h 2943"/>
                <a:gd name="T10" fmla="*/ 1481 w 1484"/>
                <a:gd name="T11" fmla="*/ 2934 h 2943"/>
                <a:gd name="T12" fmla="*/ 1478 w 1484"/>
                <a:gd name="T13" fmla="*/ 2937 h 2943"/>
                <a:gd name="T14" fmla="*/ 1475 w 1484"/>
                <a:gd name="T15" fmla="*/ 2940 h 2943"/>
                <a:gd name="T16" fmla="*/ 1470 w 1484"/>
                <a:gd name="T17" fmla="*/ 2942 h 2943"/>
                <a:gd name="T18" fmla="*/ 1467 w 1484"/>
                <a:gd name="T19" fmla="*/ 2943 h 2943"/>
                <a:gd name="T20" fmla="*/ 1462 w 1484"/>
                <a:gd name="T21" fmla="*/ 2943 h 2943"/>
                <a:gd name="T22" fmla="*/ 22 w 1484"/>
                <a:gd name="T23" fmla="*/ 2943 h 2943"/>
                <a:gd name="T24" fmla="*/ 22 w 1484"/>
                <a:gd name="T25" fmla="*/ 2943 h 2943"/>
                <a:gd name="T26" fmla="*/ 19 w 1484"/>
                <a:gd name="T27" fmla="*/ 2943 h 2943"/>
                <a:gd name="T28" fmla="*/ 14 w 1484"/>
                <a:gd name="T29" fmla="*/ 2942 h 2943"/>
                <a:gd name="T30" fmla="*/ 11 w 1484"/>
                <a:gd name="T31" fmla="*/ 2940 h 2943"/>
                <a:gd name="T32" fmla="*/ 7 w 1484"/>
                <a:gd name="T33" fmla="*/ 2937 h 2943"/>
                <a:gd name="T34" fmla="*/ 4 w 1484"/>
                <a:gd name="T35" fmla="*/ 2934 h 2943"/>
                <a:gd name="T36" fmla="*/ 3 w 1484"/>
                <a:gd name="T37" fmla="*/ 2930 h 2943"/>
                <a:gd name="T38" fmla="*/ 0 w 1484"/>
                <a:gd name="T39" fmla="*/ 2926 h 2943"/>
                <a:gd name="T40" fmla="*/ 0 w 1484"/>
                <a:gd name="T41" fmla="*/ 2922 h 2943"/>
                <a:gd name="T42" fmla="*/ 0 w 1484"/>
                <a:gd name="T43" fmla="*/ 22 h 2943"/>
                <a:gd name="T44" fmla="*/ 0 w 1484"/>
                <a:gd name="T45" fmla="*/ 22 h 2943"/>
                <a:gd name="T46" fmla="*/ 0 w 1484"/>
                <a:gd name="T47" fmla="*/ 18 h 2943"/>
                <a:gd name="T48" fmla="*/ 3 w 1484"/>
                <a:gd name="T49" fmla="*/ 14 h 2943"/>
                <a:gd name="T50" fmla="*/ 4 w 1484"/>
                <a:gd name="T51" fmla="*/ 10 h 2943"/>
                <a:gd name="T52" fmla="*/ 7 w 1484"/>
                <a:gd name="T53" fmla="*/ 7 h 2943"/>
                <a:gd name="T54" fmla="*/ 11 w 1484"/>
                <a:gd name="T55" fmla="*/ 3 h 2943"/>
                <a:gd name="T56" fmla="*/ 14 w 1484"/>
                <a:gd name="T57" fmla="*/ 2 h 2943"/>
                <a:gd name="T58" fmla="*/ 19 w 1484"/>
                <a:gd name="T59" fmla="*/ 1 h 2943"/>
                <a:gd name="T60" fmla="*/ 22 w 1484"/>
                <a:gd name="T61" fmla="*/ 0 h 2943"/>
                <a:gd name="T62" fmla="*/ 1462 w 1484"/>
                <a:gd name="T63" fmla="*/ 0 h 2943"/>
                <a:gd name="T64" fmla="*/ 1462 w 1484"/>
                <a:gd name="T65" fmla="*/ 0 h 2943"/>
                <a:gd name="T66" fmla="*/ 1467 w 1484"/>
                <a:gd name="T67" fmla="*/ 1 h 2943"/>
                <a:gd name="T68" fmla="*/ 1470 w 1484"/>
                <a:gd name="T69" fmla="*/ 2 h 2943"/>
                <a:gd name="T70" fmla="*/ 1475 w 1484"/>
                <a:gd name="T71" fmla="*/ 3 h 2943"/>
                <a:gd name="T72" fmla="*/ 1478 w 1484"/>
                <a:gd name="T73" fmla="*/ 7 h 2943"/>
                <a:gd name="T74" fmla="*/ 1481 w 1484"/>
                <a:gd name="T75" fmla="*/ 10 h 2943"/>
                <a:gd name="T76" fmla="*/ 1483 w 1484"/>
                <a:gd name="T77" fmla="*/ 14 h 2943"/>
                <a:gd name="T78" fmla="*/ 1484 w 1484"/>
                <a:gd name="T79" fmla="*/ 18 h 2943"/>
                <a:gd name="T80" fmla="*/ 1484 w 1484"/>
                <a:gd name="T81" fmla="*/ 22 h 2943"/>
                <a:gd name="T82" fmla="*/ 1440 w 1484"/>
                <a:gd name="T83" fmla="*/ 45 h 2943"/>
                <a:gd name="T84" fmla="*/ 45 w 1484"/>
                <a:gd name="T85" fmla="*/ 45 h 2943"/>
                <a:gd name="T86" fmla="*/ 45 w 1484"/>
                <a:gd name="T87" fmla="*/ 2898 h 2943"/>
                <a:gd name="T88" fmla="*/ 1440 w 1484"/>
                <a:gd name="T89" fmla="*/ 2898 h 2943"/>
                <a:gd name="T90" fmla="*/ 1440 w 1484"/>
                <a:gd name="T91" fmla="*/ 45 h 2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84" h="2943">
                  <a:moveTo>
                    <a:pt x="1484" y="22"/>
                  </a:moveTo>
                  <a:lnTo>
                    <a:pt x="1484" y="2922"/>
                  </a:lnTo>
                  <a:lnTo>
                    <a:pt x="1484" y="2922"/>
                  </a:lnTo>
                  <a:lnTo>
                    <a:pt x="1484" y="2926"/>
                  </a:lnTo>
                  <a:lnTo>
                    <a:pt x="1483" y="2930"/>
                  </a:lnTo>
                  <a:lnTo>
                    <a:pt x="1481" y="2934"/>
                  </a:lnTo>
                  <a:lnTo>
                    <a:pt x="1478" y="2937"/>
                  </a:lnTo>
                  <a:lnTo>
                    <a:pt x="1475" y="2940"/>
                  </a:lnTo>
                  <a:lnTo>
                    <a:pt x="1470" y="2942"/>
                  </a:lnTo>
                  <a:lnTo>
                    <a:pt x="1467" y="2943"/>
                  </a:lnTo>
                  <a:lnTo>
                    <a:pt x="1462" y="2943"/>
                  </a:lnTo>
                  <a:lnTo>
                    <a:pt x="22" y="2943"/>
                  </a:lnTo>
                  <a:lnTo>
                    <a:pt x="22" y="2943"/>
                  </a:lnTo>
                  <a:lnTo>
                    <a:pt x="19" y="2943"/>
                  </a:lnTo>
                  <a:lnTo>
                    <a:pt x="14" y="2942"/>
                  </a:lnTo>
                  <a:lnTo>
                    <a:pt x="11" y="2940"/>
                  </a:lnTo>
                  <a:lnTo>
                    <a:pt x="7" y="2937"/>
                  </a:lnTo>
                  <a:lnTo>
                    <a:pt x="4" y="2934"/>
                  </a:lnTo>
                  <a:lnTo>
                    <a:pt x="3" y="2930"/>
                  </a:lnTo>
                  <a:lnTo>
                    <a:pt x="0" y="2926"/>
                  </a:lnTo>
                  <a:lnTo>
                    <a:pt x="0" y="2922"/>
                  </a:lnTo>
                  <a:lnTo>
                    <a:pt x="0" y="22"/>
                  </a:lnTo>
                  <a:lnTo>
                    <a:pt x="0" y="22"/>
                  </a:lnTo>
                  <a:lnTo>
                    <a:pt x="0" y="18"/>
                  </a:lnTo>
                  <a:lnTo>
                    <a:pt x="3" y="14"/>
                  </a:lnTo>
                  <a:lnTo>
                    <a:pt x="4" y="10"/>
                  </a:lnTo>
                  <a:lnTo>
                    <a:pt x="7" y="7"/>
                  </a:lnTo>
                  <a:lnTo>
                    <a:pt x="11" y="3"/>
                  </a:lnTo>
                  <a:lnTo>
                    <a:pt x="14" y="2"/>
                  </a:lnTo>
                  <a:lnTo>
                    <a:pt x="19" y="1"/>
                  </a:lnTo>
                  <a:lnTo>
                    <a:pt x="22" y="0"/>
                  </a:lnTo>
                  <a:lnTo>
                    <a:pt x="1462" y="0"/>
                  </a:lnTo>
                  <a:lnTo>
                    <a:pt x="1462" y="0"/>
                  </a:lnTo>
                  <a:lnTo>
                    <a:pt x="1467" y="1"/>
                  </a:lnTo>
                  <a:lnTo>
                    <a:pt x="1470" y="2"/>
                  </a:lnTo>
                  <a:lnTo>
                    <a:pt x="1475" y="3"/>
                  </a:lnTo>
                  <a:lnTo>
                    <a:pt x="1478" y="7"/>
                  </a:lnTo>
                  <a:lnTo>
                    <a:pt x="1481" y="10"/>
                  </a:lnTo>
                  <a:lnTo>
                    <a:pt x="1483" y="14"/>
                  </a:lnTo>
                  <a:lnTo>
                    <a:pt x="1484" y="18"/>
                  </a:lnTo>
                  <a:lnTo>
                    <a:pt x="1484" y="22"/>
                  </a:lnTo>
                  <a:close/>
                  <a:moveTo>
                    <a:pt x="1440" y="45"/>
                  </a:moveTo>
                  <a:lnTo>
                    <a:pt x="45" y="45"/>
                  </a:lnTo>
                  <a:lnTo>
                    <a:pt x="45" y="2898"/>
                  </a:lnTo>
                  <a:lnTo>
                    <a:pt x="1440" y="2898"/>
                  </a:lnTo>
                  <a:lnTo>
                    <a:pt x="1440" y="45"/>
                  </a:lnTo>
                  <a:close/>
                </a:path>
              </a:pathLst>
            </a:custGeom>
            <a:solidFill>
              <a:srgbClr val="B7D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17"/>
            <p:cNvSpPr>
              <a:spLocks/>
            </p:cNvSpPr>
            <p:nvPr/>
          </p:nvSpPr>
          <p:spPr bwMode="auto">
            <a:xfrm>
              <a:off x="3704" y="1336"/>
              <a:ext cx="494" cy="981"/>
            </a:xfrm>
            <a:custGeom>
              <a:avLst/>
              <a:gdLst>
                <a:gd name="T0" fmla="*/ 1484 w 1484"/>
                <a:gd name="T1" fmla="*/ 22 h 2943"/>
                <a:gd name="T2" fmla="*/ 1484 w 1484"/>
                <a:gd name="T3" fmla="*/ 2922 h 2943"/>
                <a:gd name="T4" fmla="*/ 1484 w 1484"/>
                <a:gd name="T5" fmla="*/ 2922 h 2943"/>
                <a:gd name="T6" fmla="*/ 1484 w 1484"/>
                <a:gd name="T7" fmla="*/ 2926 h 2943"/>
                <a:gd name="T8" fmla="*/ 1483 w 1484"/>
                <a:gd name="T9" fmla="*/ 2930 h 2943"/>
                <a:gd name="T10" fmla="*/ 1481 w 1484"/>
                <a:gd name="T11" fmla="*/ 2934 h 2943"/>
                <a:gd name="T12" fmla="*/ 1478 w 1484"/>
                <a:gd name="T13" fmla="*/ 2937 h 2943"/>
                <a:gd name="T14" fmla="*/ 1475 w 1484"/>
                <a:gd name="T15" fmla="*/ 2940 h 2943"/>
                <a:gd name="T16" fmla="*/ 1470 w 1484"/>
                <a:gd name="T17" fmla="*/ 2942 h 2943"/>
                <a:gd name="T18" fmla="*/ 1467 w 1484"/>
                <a:gd name="T19" fmla="*/ 2943 h 2943"/>
                <a:gd name="T20" fmla="*/ 1462 w 1484"/>
                <a:gd name="T21" fmla="*/ 2943 h 2943"/>
                <a:gd name="T22" fmla="*/ 22 w 1484"/>
                <a:gd name="T23" fmla="*/ 2943 h 2943"/>
                <a:gd name="T24" fmla="*/ 22 w 1484"/>
                <a:gd name="T25" fmla="*/ 2943 h 2943"/>
                <a:gd name="T26" fmla="*/ 19 w 1484"/>
                <a:gd name="T27" fmla="*/ 2943 h 2943"/>
                <a:gd name="T28" fmla="*/ 14 w 1484"/>
                <a:gd name="T29" fmla="*/ 2942 h 2943"/>
                <a:gd name="T30" fmla="*/ 11 w 1484"/>
                <a:gd name="T31" fmla="*/ 2940 h 2943"/>
                <a:gd name="T32" fmla="*/ 7 w 1484"/>
                <a:gd name="T33" fmla="*/ 2937 h 2943"/>
                <a:gd name="T34" fmla="*/ 4 w 1484"/>
                <a:gd name="T35" fmla="*/ 2934 h 2943"/>
                <a:gd name="T36" fmla="*/ 3 w 1484"/>
                <a:gd name="T37" fmla="*/ 2930 h 2943"/>
                <a:gd name="T38" fmla="*/ 0 w 1484"/>
                <a:gd name="T39" fmla="*/ 2926 h 2943"/>
                <a:gd name="T40" fmla="*/ 0 w 1484"/>
                <a:gd name="T41" fmla="*/ 2922 h 2943"/>
                <a:gd name="T42" fmla="*/ 0 w 1484"/>
                <a:gd name="T43" fmla="*/ 22 h 2943"/>
                <a:gd name="T44" fmla="*/ 0 w 1484"/>
                <a:gd name="T45" fmla="*/ 22 h 2943"/>
                <a:gd name="T46" fmla="*/ 0 w 1484"/>
                <a:gd name="T47" fmla="*/ 18 h 2943"/>
                <a:gd name="T48" fmla="*/ 3 w 1484"/>
                <a:gd name="T49" fmla="*/ 14 h 2943"/>
                <a:gd name="T50" fmla="*/ 4 w 1484"/>
                <a:gd name="T51" fmla="*/ 10 h 2943"/>
                <a:gd name="T52" fmla="*/ 7 w 1484"/>
                <a:gd name="T53" fmla="*/ 7 h 2943"/>
                <a:gd name="T54" fmla="*/ 11 w 1484"/>
                <a:gd name="T55" fmla="*/ 3 h 2943"/>
                <a:gd name="T56" fmla="*/ 14 w 1484"/>
                <a:gd name="T57" fmla="*/ 2 h 2943"/>
                <a:gd name="T58" fmla="*/ 19 w 1484"/>
                <a:gd name="T59" fmla="*/ 1 h 2943"/>
                <a:gd name="T60" fmla="*/ 22 w 1484"/>
                <a:gd name="T61" fmla="*/ 0 h 2943"/>
                <a:gd name="T62" fmla="*/ 1462 w 1484"/>
                <a:gd name="T63" fmla="*/ 0 h 2943"/>
                <a:gd name="T64" fmla="*/ 1462 w 1484"/>
                <a:gd name="T65" fmla="*/ 0 h 2943"/>
                <a:gd name="T66" fmla="*/ 1467 w 1484"/>
                <a:gd name="T67" fmla="*/ 1 h 2943"/>
                <a:gd name="T68" fmla="*/ 1470 w 1484"/>
                <a:gd name="T69" fmla="*/ 2 h 2943"/>
                <a:gd name="T70" fmla="*/ 1475 w 1484"/>
                <a:gd name="T71" fmla="*/ 3 h 2943"/>
                <a:gd name="T72" fmla="*/ 1478 w 1484"/>
                <a:gd name="T73" fmla="*/ 7 h 2943"/>
                <a:gd name="T74" fmla="*/ 1481 w 1484"/>
                <a:gd name="T75" fmla="*/ 10 h 2943"/>
                <a:gd name="T76" fmla="*/ 1483 w 1484"/>
                <a:gd name="T77" fmla="*/ 14 h 2943"/>
                <a:gd name="T78" fmla="*/ 1484 w 1484"/>
                <a:gd name="T79" fmla="*/ 18 h 2943"/>
                <a:gd name="T80" fmla="*/ 1484 w 1484"/>
                <a:gd name="T81" fmla="*/ 22 h 2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84" h="2943">
                  <a:moveTo>
                    <a:pt x="1484" y="22"/>
                  </a:moveTo>
                  <a:lnTo>
                    <a:pt x="1484" y="2922"/>
                  </a:lnTo>
                  <a:lnTo>
                    <a:pt x="1484" y="2922"/>
                  </a:lnTo>
                  <a:lnTo>
                    <a:pt x="1484" y="2926"/>
                  </a:lnTo>
                  <a:lnTo>
                    <a:pt x="1483" y="2930"/>
                  </a:lnTo>
                  <a:lnTo>
                    <a:pt x="1481" y="2934"/>
                  </a:lnTo>
                  <a:lnTo>
                    <a:pt x="1478" y="2937"/>
                  </a:lnTo>
                  <a:lnTo>
                    <a:pt x="1475" y="2940"/>
                  </a:lnTo>
                  <a:lnTo>
                    <a:pt x="1470" y="2942"/>
                  </a:lnTo>
                  <a:lnTo>
                    <a:pt x="1467" y="2943"/>
                  </a:lnTo>
                  <a:lnTo>
                    <a:pt x="1462" y="2943"/>
                  </a:lnTo>
                  <a:lnTo>
                    <a:pt x="22" y="2943"/>
                  </a:lnTo>
                  <a:lnTo>
                    <a:pt x="22" y="2943"/>
                  </a:lnTo>
                  <a:lnTo>
                    <a:pt x="19" y="2943"/>
                  </a:lnTo>
                  <a:lnTo>
                    <a:pt x="14" y="2942"/>
                  </a:lnTo>
                  <a:lnTo>
                    <a:pt x="11" y="2940"/>
                  </a:lnTo>
                  <a:lnTo>
                    <a:pt x="7" y="2937"/>
                  </a:lnTo>
                  <a:lnTo>
                    <a:pt x="4" y="2934"/>
                  </a:lnTo>
                  <a:lnTo>
                    <a:pt x="3" y="2930"/>
                  </a:lnTo>
                  <a:lnTo>
                    <a:pt x="0" y="2926"/>
                  </a:lnTo>
                  <a:lnTo>
                    <a:pt x="0" y="2922"/>
                  </a:lnTo>
                  <a:lnTo>
                    <a:pt x="0" y="22"/>
                  </a:lnTo>
                  <a:lnTo>
                    <a:pt x="0" y="22"/>
                  </a:lnTo>
                  <a:lnTo>
                    <a:pt x="0" y="18"/>
                  </a:lnTo>
                  <a:lnTo>
                    <a:pt x="3" y="14"/>
                  </a:lnTo>
                  <a:lnTo>
                    <a:pt x="4" y="10"/>
                  </a:lnTo>
                  <a:lnTo>
                    <a:pt x="7" y="7"/>
                  </a:lnTo>
                  <a:lnTo>
                    <a:pt x="11" y="3"/>
                  </a:lnTo>
                  <a:lnTo>
                    <a:pt x="14" y="2"/>
                  </a:lnTo>
                  <a:lnTo>
                    <a:pt x="19" y="1"/>
                  </a:lnTo>
                  <a:lnTo>
                    <a:pt x="22" y="0"/>
                  </a:lnTo>
                  <a:lnTo>
                    <a:pt x="1462" y="0"/>
                  </a:lnTo>
                  <a:lnTo>
                    <a:pt x="1462" y="0"/>
                  </a:lnTo>
                  <a:lnTo>
                    <a:pt x="1467" y="1"/>
                  </a:lnTo>
                  <a:lnTo>
                    <a:pt x="1470" y="2"/>
                  </a:lnTo>
                  <a:lnTo>
                    <a:pt x="1475" y="3"/>
                  </a:lnTo>
                  <a:lnTo>
                    <a:pt x="1478" y="7"/>
                  </a:lnTo>
                  <a:lnTo>
                    <a:pt x="1481" y="10"/>
                  </a:lnTo>
                  <a:lnTo>
                    <a:pt x="1483" y="14"/>
                  </a:lnTo>
                  <a:lnTo>
                    <a:pt x="1484" y="18"/>
                  </a:lnTo>
                  <a:lnTo>
                    <a:pt x="148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Rectangle 18"/>
            <p:cNvSpPr>
              <a:spLocks noChangeArrowheads="1"/>
            </p:cNvSpPr>
            <p:nvPr/>
          </p:nvSpPr>
          <p:spPr bwMode="auto">
            <a:xfrm>
              <a:off x="3719" y="1351"/>
              <a:ext cx="465" cy="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20"/>
            <p:cNvSpPr>
              <a:spLocks/>
            </p:cNvSpPr>
            <p:nvPr/>
          </p:nvSpPr>
          <p:spPr bwMode="auto">
            <a:xfrm>
              <a:off x="4146" y="1299"/>
              <a:ext cx="25" cy="25"/>
            </a:xfrm>
            <a:custGeom>
              <a:avLst/>
              <a:gdLst>
                <a:gd name="T0" fmla="*/ 37 w 74"/>
                <a:gd name="T1" fmla="*/ 0 h 74"/>
                <a:gd name="T2" fmla="*/ 37 w 74"/>
                <a:gd name="T3" fmla="*/ 0 h 74"/>
                <a:gd name="T4" fmla="*/ 44 w 74"/>
                <a:gd name="T5" fmla="*/ 0 h 74"/>
                <a:gd name="T6" fmla="*/ 51 w 74"/>
                <a:gd name="T7" fmla="*/ 2 h 74"/>
                <a:gd name="T8" fmla="*/ 58 w 74"/>
                <a:gd name="T9" fmla="*/ 6 h 74"/>
                <a:gd name="T10" fmla="*/ 62 w 74"/>
                <a:gd name="T11" fmla="*/ 11 h 74"/>
                <a:gd name="T12" fmla="*/ 67 w 74"/>
                <a:gd name="T13" fmla="*/ 16 h 74"/>
                <a:gd name="T14" fmla="*/ 71 w 74"/>
                <a:gd name="T15" fmla="*/ 22 h 74"/>
                <a:gd name="T16" fmla="*/ 73 w 74"/>
                <a:gd name="T17" fmla="*/ 29 h 74"/>
                <a:gd name="T18" fmla="*/ 74 w 74"/>
                <a:gd name="T19" fmla="*/ 37 h 74"/>
                <a:gd name="T20" fmla="*/ 74 w 74"/>
                <a:gd name="T21" fmla="*/ 37 h 74"/>
                <a:gd name="T22" fmla="*/ 73 w 74"/>
                <a:gd name="T23" fmla="*/ 44 h 74"/>
                <a:gd name="T24" fmla="*/ 71 w 74"/>
                <a:gd name="T25" fmla="*/ 51 h 74"/>
                <a:gd name="T26" fmla="*/ 67 w 74"/>
                <a:gd name="T27" fmla="*/ 58 h 74"/>
                <a:gd name="T28" fmla="*/ 62 w 74"/>
                <a:gd name="T29" fmla="*/ 63 h 74"/>
                <a:gd name="T30" fmla="*/ 58 w 74"/>
                <a:gd name="T31" fmla="*/ 67 h 74"/>
                <a:gd name="T32" fmla="*/ 51 w 74"/>
                <a:gd name="T33" fmla="*/ 71 h 74"/>
                <a:gd name="T34" fmla="*/ 44 w 74"/>
                <a:gd name="T35" fmla="*/ 73 h 74"/>
                <a:gd name="T36" fmla="*/ 37 w 74"/>
                <a:gd name="T37" fmla="*/ 74 h 74"/>
                <a:gd name="T38" fmla="*/ 37 w 74"/>
                <a:gd name="T39" fmla="*/ 74 h 74"/>
                <a:gd name="T40" fmla="*/ 29 w 74"/>
                <a:gd name="T41" fmla="*/ 73 h 74"/>
                <a:gd name="T42" fmla="*/ 22 w 74"/>
                <a:gd name="T43" fmla="*/ 71 h 74"/>
                <a:gd name="T44" fmla="*/ 16 w 74"/>
                <a:gd name="T45" fmla="*/ 67 h 74"/>
                <a:gd name="T46" fmla="*/ 11 w 74"/>
                <a:gd name="T47" fmla="*/ 63 h 74"/>
                <a:gd name="T48" fmla="*/ 6 w 74"/>
                <a:gd name="T49" fmla="*/ 58 h 74"/>
                <a:gd name="T50" fmla="*/ 2 w 74"/>
                <a:gd name="T51" fmla="*/ 51 h 74"/>
                <a:gd name="T52" fmla="*/ 0 w 74"/>
                <a:gd name="T53" fmla="*/ 44 h 74"/>
                <a:gd name="T54" fmla="*/ 0 w 74"/>
                <a:gd name="T55" fmla="*/ 37 h 74"/>
                <a:gd name="T56" fmla="*/ 0 w 74"/>
                <a:gd name="T57" fmla="*/ 37 h 74"/>
                <a:gd name="T58" fmla="*/ 0 w 74"/>
                <a:gd name="T59" fmla="*/ 29 h 74"/>
                <a:gd name="T60" fmla="*/ 2 w 74"/>
                <a:gd name="T61" fmla="*/ 22 h 74"/>
                <a:gd name="T62" fmla="*/ 6 w 74"/>
                <a:gd name="T63" fmla="*/ 16 h 74"/>
                <a:gd name="T64" fmla="*/ 11 w 74"/>
                <a:gd name="T65" fmla="*/ 11 h 74"/>
                <a:gd name="T66" fmla="*/ 16 w 74"/>
                <a:gd name="T67" fmla="*/ 6 h 74"/>
                <a:gd name="T68" fmla="*/ 22 w 74"/>
                <a:gd name="T69" fmla="*/ 2 h 74"/>
                <a:gd name="T70" fmla="*/ 29 w 74"/>
                <a:gd name="T71" fmla="*/ 0 h 74"/>
                <a:gd name="T72" fmla="*/ 37 w 74"/>
                <a:gd name="T73"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 h="74">
                  <a:moveTo>
                    <a:pt x="37" y="0"/>
                  </a:moveTo>
                  <a:lnTo>
                    <a:pt x="37" y="0"/>
                  </a:lnTo>
                  <a:lnTo>
                    <a:pt x="44" y="0"/>
                  </a:lnTo>
                  <a:lnTo>
                    <a:pt x="51" y="2"/>
                  </a:lnTo>
                  <a:lnTo>
                    <a:pt x="58" y="6"/>
                  </a:lnTo>
                  <a:lnTo>
                    <a:pt x="62" y="11"/>
                  </a:lnTo>
                  <a:lnTo>
                    <a:pt x="67" y="16"/>
                  </a:lnTo>
                  <a:lnTo>
                    <a:pt x="71" y="22"/>
                  </a:lnTo>
                  <a:lnTo>
                    <a:pt x="73" y="29"/>
                  </a:lnTo>
                  <a:lnTo>
                    <a:pt x="74" y="37"/>
                  </a:lnTo>
                  <a:lnTo>
                    <a:pt x="74" y="37"/>
                  </a:lnTo>
                  <a:lnTo>
                    <a:pt x="73" y="44"/>
                  </a:lnTo>
                  <a:lnTo>
                    <a:pt x="71" y="51"/>
                  </a:lnTo>
                  <a:lnTo>
                    <a:pt x="67" y="58"/>
                  </a:lnTo>
                  <a:lnTo>
                    <a:pt x="62" y="63"/>
                  </a:lnTo>
                  <a:lnTo>
                    <a:pt x="58" y="67"/>
                  </a:lnTo>
                  <a:lnTo>
                    <a:pt x="51" y="71"/>
                  </a:lnTo>
                  <a:lnTo>
                    <a:pt x="44" y="73"/>
                  </a:lnTo>
                  <a:lnTo>
                    <a:pt x="37" y="74"/>
                  </a:lnTo>
                  <a:lnTo>
                    <a:pt x="37" y="74"/>
                  </a:lnTo>
                  <a:lnTo>
                    <a:pt x="29" y="73"/>
                  </a:lnTo>
                  <a:lnTo>
                    <a:pt x="22" y="71"/>
                  </a:lnTo>
                  <a:lnTo>
                    <a:pt x="16" y="67"/>
                  </a:lnTo>
                  <a:lnTo>
                    <a:pt x="11" y="63"/>
                  </a:lnTo>
                  <a:lnTo>
                    <a:pt x="6" y="58"/>
                  </a:lnTo>
                  <a:lnTo>
                    <a:pt x="2" y="51"/>
                  </a:lnTo>
                  <a:lnTo>
                    <a:pt x="0" y="44"/>
                  </a:lnTo>
                  <a:lnTo>
                    <a:pt x="0" y="37"/>
                  </a:lnTo>
                  <a:lnTo>
                    <a:pt x="0" y="37"/>
                  </a:lnTo>
                  <a:lnTo>
                    <a:pt x="0" y="29"/>
                  </a:lnTo>
                  <a:lnTo>
                    <a:pt x="2" y="22"/>
                  </a:lnTo>
                  <a:lnTo>
                    <a:pt x="6" y="16"/>
                  </a:lnTo>
                  <a:lnTo>
                    <a:pt x="11" y="11"/>
                  </a:lnTo>
                  <a:lnTo>
                    <a:pt x="16" y="6"/>
                  </a:lnTo>
                  <a:lnTo>
                    <a:pt x="22" y="2"/>
                  </a:lnTo>
                  <a:lnTo>
                    <a:pt x="29" y="0"/>
                  </a:lnTo>
                  <a:lnTo>
                    <a:pt x="37" y="0"/>
                  </a:lnTo>
                  <a:close/>
                </a:path>
              </a:pathLst>
            </a:custGeom>
            <a:solidFill>
              <a:srgbClr val="B3B4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21"/>
            <p:cNvSpPr>
              <a:spLocks/>
            </p:cNvSpPr>
            <p:nvPr/>
          </p:nvSpPr>
          <p:spPr bwMode="auto">
            <a:xfrm>
              <a:off x="4146" y="1299"/>
              <a:ext cx="25" cy="25"/>
            </a:xfrm>
            <a:custGeom>
              <a:avLst/>
              <a:gdLst>
                <a:gd name="T0" fmla="*/ 37 w 74"/>
                <a:gd name="T1" fmla="*/ 0 h 74"/>
                <a:gd name="T2" fmla="*/ 37 w 74"/>
                <a:gd name="T3" fmla="*/ 0 h 74"/>
                <a:gd name="T4" fmla="*/ 44 w 74"/>
                <a:gd name="T5" fmla="*/ 0 h 74"/>
                <a:gd name="T6" fmla="*/ 51 w 74"/>
                <a:gd name="T7" fmla="*/ 2 h 74"/>
                <a:gd name="T8" fmla="*/ 58 w 74"/>
                <a:gd name="T9" fmla="*/ 6 h 74"/>
                <a:gd name="T10" fmla="*/ 62 w 74"/>
                <a:gd name="T11" fmla="*/ 11 h 74"/>
                <a:gd name="T12" fmla="*/ 67 w 74"/>
                <a:gd name="T13" fmla="*/ 16 h 74"/>
                <a:gd name="T14" fmla="*/ 71 w 74"/>
                <a:gd name="T15" fmla="*/ 22 h 74"/>
                <a:gd name="T16" fmla="*/ 73 w 74"/>
                <a:gd name="T17" fmla="*/ 29 h 74"/>
                <a:gd name="T18" fmla="*/ 74 w 74"/>
                <a:gd name="T19" fmla="*/ 37 h 74"/>
                <a:gd name="T20" fmla="*/ 74 w 74"/>
                <a:gd name="T21" fmla="*/ 37 h 74"/>
                <a:gd name="T22" fmla="*/ 73 w 74"/>
                <a:gd name="T23" fmla="*/ 44 h 74"/>
                <a:gd name="T24" fmla="*/ 71 w 74"/>
                <a:gd name="T25" fmla="*/ 51 h 74"/>
                <a:gd name="T26" fmla="*/ 67 w 74"/>
                <a:gd name="T27" fmla="*/ 58 h 74"/>
                <a:gd name="T28" fmla="*/ 62 w 74"/>
                <a:gd name="T29" fmla="*/ 63 h 74"/>
                <a:gd name="T30" fmla="*/ 58 w 74"/>
                <a:gd name="T31" fmla="*/ 67 h 74"/>
                <a:gd name="T32" fmla="*/ 51 w 74"/>
                <a:gd name="T33" fmla="*/ 71 h 74"/>
                <a:gd name="T34" fmla="*/ 44 w 74"/>
                <a:gd name="T35" fmla="*/ 73 h 74"/>
                <a:gd name="T36" fmla="*/ 37 w 74"/>
                <a:gd name="T37" fmla="*/ 74 h 74"/>
                <a:gd name="T38" fmla="*/ 37 w 74"/>
                <a:gd name="T39" fmla="*/ 74 h 74"/>
                <a:gd name="T40" fmla="*/ 29 w 74"/>
                <a:gd name="T41" fmla="*/ 73 h 74"/>
                <a:gd name="T42" fmla="*/ 22 w 74"/>
                <a:gd name="T43" fmla="*/ 71 h 74"/>
                <a:gd name="T44" fmla="*/ 16 w 74"/>
                <a:gd name="T45" fmla="*/ 67 h 74"/>
                <a:gd name="T46" fmla="*/ 11 w 74"/>
                <a:gd name="T47" fmla="*/ 63 h 74"/>
                <a:gd name="T48" fmla="*/ 6 w 74"/>
                <a:gd name="T49" fmla="*/ 58 h 74"/>
                <a:gd name="T50" fmla="*/ 2 w 74"/>
                <a:gd name="T51" fmla="*/ 51 h 74"/>
                <a:gd name="T52" fmla="*/ 0 w 74"/>
                <a:gd name="T53" fmla="*/ 44 h 74"/>
                <a:gd name="T54" fmla="*/ 0 w 74"/>
                <a:gd name="T55" fmla="*/ 37 h 74"/>
                <a:gd name="T56" fmla="*/ 0 w 74"/>
                <a:gd name="T57" fmla="*/ 37 h 74"/>
                <a:gd name="T58" fmla="*/ 0 w 74"/>
                <a:gd name="T59" fmla="*/ 29 h 74"/>
                <a:gd name="T60" fmla="*/ 2 w 74"/>
                <a:gd name="T61" fmla="*/ 22 h 74"/>
                <a:gd name="T62" fmla="*/ 6 w 74"/>
                <a:gd name="T63" fmla="*/ 16 h 74"/>
                <a:gd name="T64" fmla="*/ 11 w 74"/>
                <a:gd name="T65" fmla="*/ 11 h 74"/>
                <a:gd name="T66" fmla="*/ 16 w 74"/>
                <a:gd name="T67" fmla="*/ 6 h 74"/>
                <a:gd name="T68" fmla="*/ 22 w 74"/>
                <a:gd name="T69" fmla="*/ 2 h 74"/>
                <a:gd name="T70" fmla="*/ 29 w 74"/>
                <a:gd name="T71" fmla="*/ 0 h 74"/>
                <a:gd name="T72" fmla="*/ 37 w 74"/>
                <a:gd name="T73"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 h="74">
                  <a:moveTo>
                    <a:pt x="37" y="0"/>
                  </a:moveTo>
                  <a:lnTo>
                    <a:pt x="37" y="0"/>
                  </a:lnTo>
                  <a:lnTo>
                    <a:pt x="44" y="0"/>
                  </a:lnTo>
                  <a:lnTo>
                    <a:pt x="51" y="2"/>
                  </a:lnTo>
                  <a:lnTo>
                    <a:pt x="58" y="6"/>
                  </a:lnTo>
                  <a:lnTo>
                    <a:pt x="62" y="11"/>
                  </a:lnTo>
                  <a:lnTo>
                    <a:pt x="67" y="16"/>
                  </a:lnTo>
                  <a:lnTo>
                    <a:pt x="71" y="22"/>
                  </a:lnTo>
                  <a:lnTo>
                    <a:pt x="73" y="29"/>
                  </a:lnTo>
                  <a:lnTo>
                    <a:pt x="74" y="37"/>
                  </a:lnTo>
                  <a:lnTo>
                    <a:pt x="74" y="37"/>
                  </a:lnTo>
                  <a:lnTo>
                    <a:pt x="73" y="44"/>
                  </a:lnTo>
                  <a:lnTo>
                    <a:pt x="71" y="51"/>
                  </a:lnTo>
                  <a:lnTo>
                    <a:pt x="67" y="58"/>
                  </a:lnTo>
                  <a:lnTo>
                    <a:pt x="62" y="63"/>
                  </a:lnTo>
                  <a:lnTo>
                    <a:pt x="58" y="67"/>
                  </a:lnTo>
                  <a:lnTo>
                    <a:pt x="51" y="71"/>
                  </a:lnTo>
                  <a:lnTo>
                    <a:pt x="44" y="73"/>
                  </a:lnTo>
                  <a:lnTo>
                    <a:pt x="37" y="74"/>
                  </a:lnTo>
                  <a:lnTo>
                    <a:pt x="37" y="74"/>
                  </a:lnTo>
                  <a:lnTo>
                    <a:pt x="29" y="73"/>
                  </a:lnTo>
                  <a:lnTo>
                    <a:pt x="22" y="71"/>
                  </a:lnTo>
                  <a:lnTo>
                    <a:pt x="16" y="67"/>
                  </a:lnTo>
                  <a:lnTo>
                    <a:pt x="11" y="63"/>
                  </a:lnTo>
                  <a:lnTo>
                    <a:pt x="6" y="58"/>
                  </a:lnTo>
                  <a:lnTo>
                    <a:pt x="2" y="51"/>
                  </a:lnTo>
                  <a:lnTo>
                    <a:pt x="0" y="44"/>
                  </a:lnTo>
                  <a:lnTo>
                    <a:pt x="0" y="37"/>
                  </a:lnTo>
                  <a:lnTo>
                    <a:pt x="0" y="37"/>
                  </a:lnTo>
                  <a:lnTo>
                    <a:pt x="0" y="29"/>
                  </a:lnTo>
                  <a:lnTo>
                    <a:pt x="2" y="22"/>
                  </a:lnTo>
                  <a:lnTo>
                    <a:pt x="6" y="16"/>
                  </a:lnTo>
                  <a:lnTo>
                    <a:pt x="11" y="11"/>
                  </a:lnTo>
                  <a:lnTo>
                    <a:pt x="16" y="6"/>
                  </a:lnTo>
                  <a:lnTo>
                    <a:pt x="22" y="2"/>
                  </a:lnTo>
                  <a:lnTo>
                    <a:pt x="29" y="0"/>
                  </a:lnTo>
                  <a:lnTo>
                    <a:pt x="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22"/>
            <p:cNvSpPr>
              <a:spLocks noEditPoints="1"/>
            </p:cNvSpPr>
            <p:nvPr/>
          </p:nvSpPr>
          <p:spPr bwMode="auto">
            <a:xfrm>
              <a:off x="3897" y="2332"/>
              <a:ext cx="103" cy="44"/>
            </a:xfrm>
            <a:custGeom>
              <a:avLst/>
              <a:gdLst>
                <a:gd name="T0" fmla="*/ 307 w 307"/>
                <a:gd name="T1" fmla="*/ 47 h 130"/>
                <a:gd name="T2" fmla="*/ 307 w 307"/>
                <a:gd name="T3" fmla="*/ 84 h 130"/>
                <a:gd name="T4" fmla="*/ 307 w 307"/>
                <a:gd name="T5" fmla="*/ 84 h 130"/>
                <a:gd name="T6" fmla="*/ 306 w 307"/>
                <a:gd name="T7" fmla="*/ 93 h 130"/>
                <a:gd name="T8" fmla="*/ 304 w 307"/>
                <a:gd name="T9" fmla="*/ 101 h 130"/>
                <a:gd name="T10" fmla="*/ 299 w 307"/>
                <a:gd name="T11" fmla="*/ 109 h 130"/>
                <a:gd name="T12" fmla="*/ 293 w 307"/>
                <a:gd name="T13" fmla="*/ 116 h 130"/>
                <a:gd name="T14" fmla="*/ 286 w 307"/>
                <a:gd name="T15" fmla="*/ 122 h 130"/>
                <a:gd name="T16" fmla="*/ 278 w 307"/>
                <a:gd name="T17" fmla="*/ 127 h 130"/>
                <a:gd name="T18" fmla="*/ 269 w 307"/>
                <a:gd name="T19" fmla="*/ 129 h 130"/>
                <a:gd name="T20" fmla="*/ 260 w 307"/>
                <a:gd name="T21" fmla="*/ 130 h 130"/>
                <a:gd name="T22" fmla="*/ 47 w 307"/>
                <a:gd name="T23" fmla="*/ 130 h 130"/>
                <a:gd name="T24" fmla="*/ 47 w 307"/>
                <a:gd name="T25" fmla="*/ 130 h 130"/>
                <a:gd name="T26" fmla="*/ 38 w 307"/>
                <a:gd name="T27" fmla="*/ 129 h 130"/>
                <a:gd name="T28" fmla="*/ 29 w 307"/>
                <a:gd name="T29" fmla="*/ 127 h 130"/>
                <a:gd name="T30" fmla="*/ 21 w 307"/>
                <a:gd name="T31" fmla="*/ 122 h 130"/>
                <a:gd name="T32" fmla="*/ 14 w 307"/>
                <a:gd name="T33" fmla="*/ 116 h 130"/>
                <a:gd name="T34" fmla="*/ 8 w 307"/>
                <a:gd name="T35" fmla="*/ 109 h 130"/>
                <a:gd name="T36" fmla="*/ 4 w 307"/>
                <a:gd name="T37" fmla="*/ 101 h 130"/>
                <a:gd name="T38" fmla="*/ 1 w 307"/>
                <a:gd name="T39" fmla="*/ 93 h 130"/>
                <a:gd name="T40" fmla="*/ 0 w 307"/>
                <a:gd name="T41" fmla="*/ 84 h 130"/>
                <a:gd name="T42" fmla="*/ 0 w 307"/>
                <a:gd name="T43" fmla="*/ 47 h 130"/>
                <a:gd name="T44" fmla="*/ 0 w 307"/>
                <a:gd name="T45" fmla="*/ 47 h 130"/>
                <a:gd name="T46" fmla="*/ 1 w 307"/>
                <a:gd name="T47" fmla="*/ 37 h 130"/>
                <a:gd name="T48" fmla="*/ 4 w 307"/>
                <a:gd name="T49" fmla="*/ 29 h 130"/>
                <a:gd name="T50" fmla="*/ 8 w 307"/>
                <a:gd name="T51" fmla="*/ 20 h 130"/>
                <a:gd name="T52" fmla="*/ 14 w 307"/>
                <a:gd name="T53" fmla="*/ 14 h 130"/>
                <a:gd name="T54" fmla="*/ 21 w 307"/>
                <a:gd name="T55" fmla="*/ 8 h 130"/>
                <a:gd name="T56" fmla="*/ 29 w 307"/>
                <a:gd name="T57" fmla="*/ 3 h 130"/>
                <a:gd name="T58" fmla="*/ 38 w 307"/>
                <a:gd name="T59" fmla="*/ 1 h 130"/>
                <a:gd name="T60" fmla="*/ 47 w 307"/>
                <a:gd name="T61" fmla="*/ 0 h 130"/>
                <a:gd name="T62" fmla="*/ 260 w 307"/>
                <a:gd name="T63" fmla="*/ 0 h 130"/>
                <a:gd name="T64" fmla="*/ 260 w 307"/>
                <a:gd name="T65" fmla="*/ 0 h 130"/>
                <a:gd name="T66" fmla="*/ 269 w 307"/>
                <a:gd name="T67" fmla="*/ 1 h 130"/>
                <a:gd name="T68" fmla="*/ 278 w 307"/>
                <a:gd name="T69" fmla="*/ 3 h 130"/>
                <a:gd name="T70" fmla="*/ 286 w 307"/>
                <a:gd name="T71" fmla="*/ 8 h 130"/>
                <a:gd name="T72" fmla="*/ 293 w 307"/>
                <a:gd name="T73" fmla="*/ 14 h 130"/>
                <a:gd name="T74" fmla="*/ 299 w 307"/>
                <a:gd name="T75" fmla="*/ 20 h 130"/>
                <a:gd name="T76" fmla="*/ 304 w 307"/>
                <a:gd name="T77" fmla="*/ 29 h 130"/>
                <a:gd name="T78" fmla="*/ 306 w 307"/>
                <a:gd name="T79" fmla="*/ 37 h 130"/>
                <a:gd name="T80" fmla="*/ 307 w 307"/>
                <a:gd name="T81" fmla="*/ 47 h 130"/>
                <a:gd name="T82" fmla="*/ 262 w 307"/>
                <a:gd name="T83" fmla="*/ 84 h 130"/>
                <a:gd name="T84" fmla="*/ 262 w 307"/>
                <a:gd name="T85" fmla="*/ 47 h 130"/>
                <a:gd name="T86" fmla="*/ 47 w 307"/>
                <a:gd name="T87" fmla="*/ 44 h 130"/>
                <a:gd name="T88" fmla="*/ 45 w 307"/>
                <a:gd name="T89" fmla="*/ 84 h 130"/>
                <a:gd name="T90" fmla="*/ 260 w 307"/>
                <a:gd name="T91" fmla="*/ 85 h 130"/>
                <a:gd name="T92" fmla="*/ 260 w 307"/>
                <a:gd name="T93" fmla="*/ 85 h 130"/>
                <a:gd name="T94" fmla="*/ 262 w 307"/>
                <a:gd name="T95" fmla="*/ 85 h 130"/>
                <a:gd name="T96" fmla="*/ 262 w 307"/>
                <a:gd name="T97" fmla="*/ 84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7" h="130">
                  <a:moveTo>
                    <a:pt x="307" y="47"/>
                  </a:moveTo>
                  <a:lnTo>
                    <a:pt x="307" y="84"/>
                  </a:lnTo>
                  <a:lnTo>
                    <a:pt x="307" y="84"/>
                  </a:lnTo>
                  <a:lnTo>
                    <a:pt x="306" y="93"/>
                  </a:lnTo>
                  <a:lnTo>
                    <a:pt x="304" y="101"/>
                  </a:lnTo>
                  <a:lnTo>
                    <a:pt x="299" y="109"/>
                  </a:lnTo>
                  <a:lnTo>
                    <a:pt x="293" y="116"/>
                  </a:lnTo>
                  <a:lnTo>
                    <a:pt x="286" y="122"/>
                  </a:lnTo>
                  <a:lnTo>
                    <a:pt x="278" y="127"/>
                  </a:lnTo>
                  <a:lnTo>
                    <a:pt x="269" y="129"/>
                  </a:lnTo>
                  <a:lnTo>
                    <a:pt x="260" y="130"/>
                  </a:lnTo>
                  <a:lnTo>
                    <a:pt x="47" y="130"/>
                  </a:lnTo>
                  <a:lnTo>
                    <a:pt x="47" y="130"/>
                  </a:lnTo>
                  <a:lnTo>
                    <a:pt x="38" y="129"/>
                  </a:lnTo>
                  <a:lnTo>
                    <a:pt x="29" y="127"/>
                  </a:lnTo>
                  <a:lnTo>
                    <a:pt x="21" y="122"/>
                  </a:lnTo>
                  <a:lnTo>
                    <a:pt x="14" y="116"/>
                  </a:lnTo>
                  <a:lnTo>
                    <a:pt x="8" y="109"/>
                  </a:lnTo>
                  <a:lnTo>
                    <a:pt x="4" y="101"/>
                  </a:lnTo>
                  <a:lnTo>
                    <a:pt x="1" y="93"/>
                  </a:lnTo>
                  <a:lnTo>
                    <a:pt x="0" y="84"/>
                  </a:lnTo>
                  <a:lnTo>
                    <a:pt x="0" y="47"/>
                  </a:lnTo>
                  <a:lnTo>
                    <a:pt x="0" y="47"/>
                  </a:lnTo>
                  <a:lnTo>
                    <a:pt x="1" y="37"/>
                  </a:lnTo>
                  <a:lnTo>
                    <a:pt x="4" y="29"/>
                  </a:lnTo>
                  <a:lnTo>
                    <a:pt x="8" y="20"/>
                  </a:lnTo>
                  <a:lnTo>
                    <a:pt x="14" y="14"/>
                  </a:lnTo>
                  <a:lnTo>
                    <a:pt x="21" y="8"/>
                  </a:lnTo>
                  <a:lnTo>
                    <a:pt x="29" y="3"/>
                  </a:lnTo>
                  <a:lnTo>
                    <a:pt x="38" y="1"/>
                  </a:lnTo>
                  <a:lnTo>
                    <a:pt x="47" y="0"/>
                  </a:lnTo>
                  <a:lnTo>
                    <a:pt x="260" y="0"/>
                  </a:lnTo>
                  <a:lnTo>
                    <a:pt x="260" y="0"/>
                  </a:lnTo>
                  <a:lnTo>
                    <a:pt x="269" y="1"/>
                  </a:lnTo>
                  <a:lnTo>
                    <a:pt x="278" y="3"/>
                  </a:lnTo>
                  <a:lnTo>
                    <a:pt x="286" y="8"/>
                  </a:lnTo>
                  <a:lnTo>
                    <a:pt x="293" y="14"/>
                  </a:lnTo>
                  <a:lnTo>
                    <a:pt x="299" y="20"/>
                  </a:lnTo>
                  <a:lnTo>
                    <a:pt x="304" y="29"/>
                  </a:lnTo>
                  <a:lnTo>
                    <a:pt x="306" y="37"/>
                  </a:lnTo>
                  <a:lnTo>
                    <a:pt x="307" y="47"/>
                  </a:lnTo>
                  <a:close/>
                  <a:moveTo>
                    <a:pt x="262" y="84"/>
                  </a:moveTo>
                  <a:lnTo>
                    <a:pt x="262" y="47"/>
                  </a:lnTo>
                  <a:lnTo>
                    <a:pt x="47" y="44"/>
                  </a:lnTo>
                  <a:lnTo>
                    <a:pt x="45" y="84"/>
                  </a:lnTo>
                  <a:lnTo>
                    <a:pt x="260" y="85"/>
                  </a:lnTo>
                  <a:lnTo>
                    <a:pt x="260" y="85"/>
                  </a:lnTo>
                  <a:lnTo>
                    <a:pt x="262" y="85"/>
                  </a:lnTo>
                  <a:lnTo>
                    <a:pt x="262" y="84"/>
                  </a:lnTo>
                  <a:close/>
                </a:path>
              </a:pathLst>
            </a:custGeom>
            <a:solidFill>
              <a:srgbClr val="B3B4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23"/>
            <p:cNvSpPr>
              <a:spLocks/>
            </p:cNvSpPr>
            <p:nvPr/>
          </p:nvSpPr>
          <p:spPr bwMode="auto">
            <a:xfrm>
              <a:off x="3897" y="2332"/>
              <a:ext cx="103" cy="44"/>
            </a:xfrm>
            <a:custGeom>
              <a:avLst/>
              <a:gdLst>
                <a:gd name="T0" fmla="*/ 307 w 307"/>
                <a:gd name="T1" fmla="*/ 47 h 130"/>
                <a:gd name="T2" fmla="*/ 307 w 307"/>
                <a:gd name="T3" fmla="*/ 84 h 130"/>
                <a:gd name="T4" fmla="*/ 307 w 307"/>
                <a:gd name="T5" fmla="*/ 84 h 130"/>
                <a:gd name="T6" fmla="*/ 306 w 307"/>
                <a:gd name="T7" fmla="*/ 93 h 130"/>
                <a:gd name="T8" fmla="*/ 304 w 307"/>
                <a:gd name="T9" fmla="*/ 101 h 130"/>
                <a:gd name="T10" fmla="*/ 299 w 307"/>
                <a:gd name="T11" fmla="*/ 109 h 130"/>
                <a:gd name="T12" fmla="*/ 293 w 307"/>
                <a:gd name="T13" fmla="*/ 116 h 130"/>
                <a:gd name="T14" fmla="*/ 286 w 307"/>
                <a:gd name="T15" fmla="*/ 122 h 130"/>
                <a:gd name="T16" fmla="*/ 278 w 307"/>
                <a:gd name="T17" fmla="*/ 127 h 130"/>
                <a:gd name="T18" fmla="*/ 269 w 307"/>
                <a:gd name="T19" fmla="*/ 129 h 130"/>
                <a:gd name="T20" fmla="*/ 260 w 307"/>
                <a:gd name="T21" fmla="*/ 130 h 130"/>
                <a:gd name="T22" fmla="*/ 47 w 307"/>
                <a:gd name="T23" fmla="*/ 130 h 130"/>
                <a:gd name="T24" fmla="*/ 47 w 307"/>
                <a:gd name="T25" fmla="*/ 130 h 130"/>
                <a:gd name="T26" fmla="*/ 38 w 307"/>
                <a:gd name="T27" fmla="*/ 129 h 130"/>
                <a:gd name="T28" fmla="*/ 29 w 307"/>
                <a:gd name="T29" fmla="*/ 127 h 130"/>
                <a:gd name="T30" fmla="*/ 21 w 307"/>
                <a:gd name="T31" fmla="*/ 122 h 130"/>
                <a:gd name="T32" fmla="*/ 14 w 307"/>
                <a:gd name="T33" fmla="*/ 116 h 130"/>
                <a:gd name="T34" fmla="*/ 8 w 307"/>
                <a:gd name="T35" fmla="*/ 109 h 130"/>
                <a:gd name="T36" fmla="*/ 4 w 307"/>
                <a:gd name="T37" fmla="*/ 101 h 130"/>
                <a:gd name="T38" fmla="*/ 1 w 307"/>
                <a:gd name="T39" fmla="*/ 93 h 130"/>
                <a:gd name="T40" fmla="*/ 0 w 307"/>
                <a:gd name="T41" fmla="*/ 84 h 130"/>
                <a:gd name="T42" fmla="*/ 0 w 307"/>
                <a:gd name="T43" fmla="*/ 47 h 130"/>
                <a:gd name="T44" fmla="*/ 0 w 307"/>
                <a:gd name="T45" fmla="*/ 47 h 130"/>
                <a:gd name="T46" fmla="*/ 1 w 307"/>
                <a:gd name="T47" fmla="*/ 37 h 130"/>
                <a:gd name="T48" fmla="*/ 4 w 307"/>
                <a:gd name="T49" fmla="*/ 29 h 130"/>
                <a:gd name="T50" fmla="*/ 8 w 307"/>
                <a:gd name="T51" fmla="*/ 20 h 130"/>
                <a:gd name="T52" fmla="*/ 14 w 307"/>
                <a:gd name="T53" fmla="*/ 14 h 130"/>
                <a:gd name="T54" fmla="*/ 21 w 307"/>
                <a:gd name="T55" fmla="*/ 8 h 130"/>
                <a:gd name="T56" fmla="*/ 29 w 307"/>
                <a:gd name="T57" fmla="*/ 3 h 130"/>
                <a:gd name="T58" fmla="*/ 38 w 307"/>
                <a:gd name="T59" fmla="*/ 1 h 130"/>
                <a:gd name="T60" fmla="*/ 47 w 307"/>
                <a:gd name="T61" fmla="*/ 0 h 130"/>
                <a:gd name="T62" fmla="*/ 260 w 307"/>
                <a:gd name="T63" fmla="*/ 0 h 130"/>
                <a:gd name="T64" fmla="*/ 260 w 307"/>
                <a:gd name="T65" fmla="*/ 0 h 130"/>
                <a:gd name="T66" fmla="*/ 269 w 307"/>
                <a:gd name="T67" fmla="*/ 1 h 130"/>
                <a:gd name="T68" fmla="*/ 278 w 307"/>
                <a:gd name="T69" fmla="*/ 3 h 130"/>
                <a:gd name="T70" fmla="*/ 286 w 307"/>
                <a:gd name="T71" fmla="*/ 8 h 130"/>
                <a:gd name="T72" fmla="*/ 293 w 307"/>
                <a:gd name="T73" fmla="*/ 14 h 130"/>
                <a:gd name="T74" fmla="*/ 299 w 307"/>
                <a:gd name="T75" fmla="*/ 20 h 130"/>
                <a:gd name="T76" fmla="*/ 304 w 307"/>
                <a:gd name="T77" fmla="*/ 29 h 130"/>
                <a:gd name="T78" fmla="*/ 306 w 307"/>
                <a:gd name="T79" fmla="*/ 37 h 130"/>
                <a:gd name="T80" fmla="*/ 307 w 307"/>
                <a:gd name="T81" fmla="*/ 4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7" h="130">
                  <a:moveTo>
                    <a:pt x="307" y="47"/>
                  </a:moveTo>
                  <a:lnTo>
                    <a:pt x="307" y="84"/>
                  </a:lnTo>
                  <a:lnTo>
                    <a:pt x="307" y="84"/>
                  </a:lnTo>
                  <a:lnTo>
                    <a:pt x="306" y="93"/>
                  </a:lnTo>
                  <a:lnTo>
                    <a:pt x="304" y="101"/>
                  </a:lnTo>
                  <a:lnTo>
                    <a:pt x="299" y="109"/>
                  </a:lnTo>
                  <a:lnTo>
                    <a:pt x="293" y="116"/>
                  </a:lnTo>
                  <a:lnTo>
                    <a:pt x="286" y="122"/>
                  </a:lnTo>
                  <a:lnTo>
                    <a:pt x="278" y="127"/>
                  </a:lnTo>
                  <a:lnTo>
                    <a:pt x="269" y="129"/>
                  </a:lnTo>
                  <a:lnTo>
                    <a:pt x="260" y="130"/>
                  </a:lnTo>
                  <a:lnTo>
                    <a:pt x="47" y="130"/>
                  </a:lnTo>
                  <a:lnTo>
                    <a:pt x="47" y="130"/>
                  </a:lnTo>
                  <a:lnTo>
                    <a:pt x="38" y="129"/>
                  </a:lnTo>
                  <a:lnTo>
                    <a:pt x="29" y="127"/>
                  </a:lnTo>
                  <a:lnTo>
                    <a:pt x="21" y="122"/>
                  </a:lnTo>
                  <a:lnTo>
                    <a:pt x="14" y="116"/>
                  </a:lnTo>
                  <a:lnTo>
                    <a:pt x="8" y="109"/>
                  </a:lnTo>
                  <a:lnTo>
                    <a:pt x="4" y="101"/>
                  </a:lnTo>
                  <a:lnTo>
                    <a:pt x="1" y="93"/>
                  </a:lnTo>
                  <a:lnTo>
                    <a:pt x="0" y="84"/>
                  </a:lnTo>
                  <a:lnTo>
                    <a:pt x="0" y="47"/>
                  </a:lnTo>
                  <a:lnTo>
                    <a:pt x="0" y="47"/>
                  </a:lnTo>
                  <a:lnTo>
                    <a:pt x="1" y="37"/>
                  </a:lnTo>
                  <a:lnTo>
                    <a:pt x="4" y="29"/>
                  </a:lnTo>
                  <a:lnTo>
                    <a:pt x="8" y="20"/>
                  </a:lnTo>
                  <a:lnTo>
                    <a:pt x="14" y="14"/>
                  </a:lnTo>
                  <a:lnTo>
                    <a:pt x="21" y="8"/>
                  </a:lnTo>
                  <a:lnTo>
                    <a:pt x="29" y="3"/>
                  </a:lnTo>
                  <a:lnTo>
                    <a:pt x="38" y="1"/>
                  </a:lnTo>
                  <a:lnTo>
                    <a:pt x="47" y="0"/>
                  </a:lnTo>
                  <a:lnTo>
                    <a:pt x="260" y="0"/>
                  </a:lnTo>
                  <a:lnTo>
                    <a:pt x="260" y="0"/>
                  </a:lnTo>
                  <a:lnTo>
                    <a:pt x="269" y="1"/>
                  </a:lnTo>
                  <a:lnTo>
                    <a:pt x="278" y="3"/>
                  </a:lnTo>
                  <a:lnTo>
                    <a:pt x="286" y="8"/>
                  </a:lnTo>
                  <a:lnTo>
                    <a:pt x="293" y="14"/>
                  </a:lnTo>
                  <a:lnTo>
                    <a:pt x="299" y="20"/>
                  </a:lnTo>
                  <a:lnTo>
                    <a:pt x="304" y="29"/>
                  </a:lnTo>
                  <a:lnTo>
                    <a:pt x="306" y="37"/>
                  </a:lnTo>
                  <a:lnTo>
                    <a:pt x="307" y="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24"/>
            <p:cNvSpPr>
              <a:spLocks/>
            </p:cNvSpPr>
            <p:nvPr/>
          </p:nvSpPr>
          <p:spPr bwMode="auto">
            <a:xfrm>
              <a:off x="3912" y="2347"/>
              <a:ext cx="73" cy="14"/>
            </a:xfrm>
            <a:custGeom>
              <a:avLst/>
              <a:gdLst>
                <a:gd name="T0" fmla="*/ 217 w 217"/>
                <a:gd name="T1" fmla="*/ 40 h 41"/>
                <a:gd name="T2" fmla="*/ 217 w 217"/>
                <a:gd name="T3" fmla="*/ 3 h 41"/>
                <a:gd name="T4" fmla="*/ 2 w 217"/>
                <a:gd name="T5" fmla="*/ 0 h 41"/>
                <a:gd name="T6" fmla="*/ 0 w 217"/>
                <a:gd name="T7" fmla="*/ 40 h 41"/>
                <a:gd name="T8" fmla="*/ 215 w 217"/>
                <a:gd name="T9" fmla="*/ 41 h 41"/>
                <a:gd name="T10" fmla="*/ 215 w 217"/>
                <a:gd name="T11" fmla="*/ 41 h 41"/>
                <a:gd name="T12" fmla="*/ 217 w 217"/>
                <a:gd name="T13" fmla="*/ 41 h 41"/>
                <a:gd name="T14" fmla="*/ 217 w 217"/>
                <a:gd name="T15" fmla="*/ 4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7" h="41">
                  <a:moveTo>
                    <a:pt x="217" y="40"/>
                  </a:moveTo>
                  <a:lnTo>
                    <a:pt x="217" y="3"/>
                  </a:lnTo>
                  <a:lnTo>
                    <a:pt x="2" y="0"/>
                  </a:lnTo>
                  <a:lnTo>
                    <a:pt x="0" y="40"/>
                  </a:lnTo>
                  <a:lnTo>
                    <a:pt x="215" y="41"/>
                  </a:lnTo>
                  <a:lnTo>
                    <a:pt x="215" y="41"/>
                  </a:lnTo>
                  <a:lnTo>
                    <a:pt x="217" y="41"/>
                  </a:lnTo>
                  <a:lnTo>
                    <a:pt x="217" y="4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25"/>
            <p:cNvSpPr>
              <a:spLocks/>
            </p:cNvSpPr>
            <p:nvPr/>
          </p:nvSpPr>
          <p:spPr bwMode="auto">
            <a:xfrm>
              <a:off x="3865" y="1302"/>
              <a:ext cx="136" cy="15"/>
            </a:xfrm>
            <a:custGeom>
              <a:avLst/>
              <a:gdLst>
                <a:gd name="T0" fmla="*/ 387 w 409"/>
                <a:gd name="T1" fmla="*/ 0 h 44"/>
                <a:gd name="T2" fmla="*/ 387 w 409"/>
                <a:gd name="T3" fmla="*/ 0 h 44"/>
                <a:gd name="T4" fmla="*/ 391 w 409"/>
                <a:gd name="T5" fmla="*/ 0 h 44"/>
                <a:gd name="T6" fmla="*/ 395 w 409"/>
                <a:gd name="T7" fmla="*/ 2 h 44"/>
                <a:gd name="T8" fmla="*/ 398 w 409"/>
                <a:gd name="T9" fmla="*/ 4 h 44"/>
                <a:gd name="T10" fmla="*/ 402 w 409"/>
                <a:gd name="T11" fmla="*/ 6 h 44"/>
                <a:gd name="T12" fmla="*/ 405 w 409"/>
                <a:gd name="T13" fmla="*/ 10 h 44"/>
                <a:gd name="T14" fmla="*/ 407 w 409"/>
                <a:gd name="T15" fmla="*/ 14 h 44"/>
                <a:gd name="T16" fmla="*/ 409 w 409"/>
                <a:gd name="T17" fmla="*/ 18 h 44"/>
                <a:gd name="T18" fmla="*/ 409 w 409"/>
                <a:gd name="T19" fmla="*/ 22 h 44"/>
                <a:gd name="T20" fmla="*/ 409 w 409"/>
                <a:gd name="T21" fmla="*/ 22 h 44"/>
                <a:gd name="T22" fmla="*/ 409 w 409"/>
                <a:gd name="T23" fmla="*/ 27 h 44"/>
                <a:gd name="T24" fmla="*/ 407 w 409"/>
                <a:gd name="T25" fmla="*/ 32 h 44"/>
                <a:gd name="T26" fmla="*/ 405 w 409"/>
                <a:gd name="T27" fmla="*/ 35 h 44"/>
                <a:gd name="T28" fmla="*/ 402 w 409"/>
                <a:gd name="T29" fmla="*/ 39 h 44"/>
                <a:gd name="T30" fmla="*/ 398 w 409"/>
                <a:gd name="T31" fmla="*/ 41 h 44"/>
                <a:gd name="T32" fmla="*/ 395 w 409"/>
                <a:gd name="T33" fmla="*/ 43 h 44"/>
                <a:gd name="T34" fmla="*/ 391 w 409"/>
                <a:gd name="T35" fmla="*/ 44 h 44"/>
                <a:gd name="T36" fmla="*/ 387 w 409"/>
                <a:gd name="T37" fmla="*/ 44 h 44"/>
                <a:gd name="T38" fmla="*/ 22 w 409"/>
                <a:gd name="T39" fmla="*/ 44 h 44"/>
                <a:gd name="T40" fmla="*/ 22 w 409"/>
                <a:gd name="T41" fmla="*/ 44 h 44"/>
                <a:gd name="T42" fmla="*/ 17 w 409"/>
                <a:gd name="T43" fmla="*/ 44 h 44"/>
                <a:gd name="T44" fmla="*/ 13 w 409"/>
                <a:gd name="T45" fmla="*/ 43 h 44"/>
                <a:gd name="T46" fmla="*/ 9 w 409"/>
                <a:gd name="T47" fmla="*/ 41 h 44"/>
                <a:gd name="T48" fmla="*/ 6 w 409"/>
                <a:gd name="T49" fmla="*/ 39 h 44"/>
                <a:gd name="T50" fmla="*/ 3 w 409"/>
                <a:gd name="T51" fmla="*/ 35 h 44"/>
                <a:gd name="T52" fmla="*/ 1 w 409"/>
                <a:gd name="T53" fmla="*/ 32 h 44"/>
                <a:gd name="T54" fmla="*/ 0 w 409"/>
                <a:gd name="T55" fmla="*/ 27 h 44"/>
                <a:gd name="T56" fmla="*/ 0 w 409"/>
                <a:gd name="T57" fmla="*/ 22 h 44"/>
                <a:gd name="T58" fmla="*/ 0 w 409"/>
                <a:gd name="T59" fmla="*/ 22 h 44"/>
                <a:gd name="T60" fmla="*/ 0 w 409"/>
                <a:gd name="T61" fmla="*/ 18 h 44"/>
                <a:gd name="T62" fmla="*/ 1 w 409"/>
                <a:gd name="T63" fmla="*/ 14 h 44"/>
                <a:gd name="T64" fmla="*/ 3 w 409"/>
                <a:gd name="T65" fmla="*/ 10 h 44"/>
                <a:gd name="T66" fmla="*/ 6 w 409"/>
                <a:gd name="T67" fmla="*/ 6 h 44"/>
                <a:gd name="T68" fmla="*/ 9 w 409"/>
                <a:gd name="T69" fmla="*/ 4 h 44"/>
                <a:gd name="T70" fmla="*/ 13 w 409"/>
                <a:gd name="T71" fmla="*/ 2 h 44"/>
                <a:gd name="T72" fmla="*/ 17 w 409"/>
                <a:gd name="T73" fmla="*/ 0 h 44"/>
                <a:gd name="T74" fmla="*/ 22 w 409"/>
                <a:gd name="T75" fmla="*/ 0 h 44"/>
                <a:gd name="T76" fmla="*/ 387 w 409"/>
                <a:gd name="T7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9" h="44">
                  <a:moveTo>
                    <a:pt x="387" y="0"/>
                  </a:moveTo>
                  <a:lnTo>
                    <a:pt x="387" y="0"/>
                  </a:lnTo>
                  <a:lnTo>
                    <a:pt x="391" y="0"/>
                  </a:lnTo>
                  <a:lnTo>
                    <a:pt x="395" y="2"/>
                  </a:lnTo>
                  <a:lnTo>
                    <a:pt x="398" y="4"/>
                  </a:lnTo>
                  <a:lnTo>
                    <a:pt x="402" y="6"/>
                  </a:lnTo>
                  <a:lnTo>
                    <a:pt x="405" y="10"/>
                  </a:lnTo>
                  <a:lnTo>
                    <a:pt x="407" y="14"/>
                  </a:lnTo>
                  <a:lnTo>
                    <a:pt x="409" y="18"/>
                  </a:lnTo>
                  <a:lnTo>
                    <a:pt x="409" y="22"/>
                  </a:lnTo>
                  <a:lnTo>
                    <a:pt x="409" y="22"/>
                  </a:lnTo>
                  <a:lnTo>
                    <a:pt x="409" y="27"/>
                  </a:lnTo>
                  <a:lnTo>
                    <a:pt x="407" y="32"/>
                  </a:lnTo>
                  <a:lnTo>
                    <a:pt x="405" y="35"/>
                  </a:lnTo>
                  <a:lnTo>
                    <a:pt x="402" y="39"/>
                  </a:lnTo>
                  <a:lnTo>
                    <a:pt x="398" y="41"/>
                  </a:lnTo>
                  <a:lnTo>
                    <a:pt x="395" y="43"/>
                  </a:lnTo>
                  <a:lnTo>
                    <a:pt x="391" y="44"/>
                  </a:lnTo>
                  <a:lnTo>
                    <a:pt x="387" y="44"/>
                  </a:lnTo>
                  <a:lnTo>
                    <a:pt x="22" y="44"/>
                  </a:lnTo>
                  <a:lnTo>
                    <a:pt x="22" y="44"/>
                  </a:lnTo>
                  <a:lnTo>
                    <a:pt x="17" y="44"/>
                  </a:lnTo>
                  <a:lnTo>
                    <a:pt x="13" y="43"/>
                  </a:lnTo>
                  <a:lnTo>
                    <a:pt x="9" y="41"/>
                  </a:lnTo>
                  <a:lnTo>
                    <a:pt x="6" y="39"/>
                  </a:lnTo>
                  <a:lnTo>
                    <a:pt x="3" y="35"/>
                  </a:lnTo>
                  <a:lnTo>
                    <a:pt x="1" y="32"/>
                  </a:lnTo>
                  <a:lnTo>
                    <a:pt x="0" y="27"/>
                  </a:lnTo>
                  <a:lnTo>
                    <a:pt x="0" y="22"/>
                  </a:lnTo>
                  <a:lnTo>
                    <a:pt x="0" y="22"/>
                  </a:lnTo>
                  <a:lnTo>
                    <a:pt x="0" y="18"/>
                  </a:lnTo>
                  <a:lnTo>
                    <a:pt x="1" y="14"/>
                  </a:lnTo>
                  <a:lnTo>
                    <a:pt x="3" y="10"/>
                  </a:lnTo>
                  <a:lnTo>
                    <a:pt x="6" y="6"/>
                  </a:lnTo>
                  <a:lnTo>
                    <a:pt x="9" y="4"/>
                  </a:lnTo>
                  <a:lnTo>
                    <a:pt x="13" y="2"/>
                  </a:lnTo>
                  <a:lnTo>
                    <a:pt x="17" y="0"/>
                  </a:lnTo>
                  <a:lnTo>
                    <a:pt x="22" y="0"/>
                  </a:lnTo>
                  <a:lnTo>
                    <a:pt x="387" y="0"/>
                  </a:lnTo>
                  <a:close/>
                </a:path>
              </a:pathLst>
            </a:custGeom>
            <a:solidFill>
              <a:srgbClr val="B3B4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26"/>
            <p:cNvSpPr>
              <a:spLocks/>
            </p:cNvSpPr>
            <p:nvPr/>
          </p:nvSpPr>
          <p:spPr bwMode="auto">
            <a:xfrm>
              <a:off x="3912" y="2347"/>
              <a:ext cx="73" cy="14"/>
            </a:xfrm>
            <a:custGeom>
              <a:avLst/>
              <a:gdLst>
                <a:gd name="T0" fmla="*/ 217 w 217"/>
                <a:gd name="T1" fmla="*/ 3 h 41"/>
                <a:gd name="T2" fmla="*/ 217 w 217"/>
                <a:gd name="T3" fmla="*/ 40 h 41"/>
                <a:gd name="T4" fmla="*/ 217 w 217"/>
                <a:gd name="T5" fmla="*/ 40 h 41"/>
                <a:gd name="T6" fmla="*/ 217 w 217"/>
                <a:gd name="T7" fmla="*/ 41 h 41"/>
                <a:gd name="T8" fmla="*/ 215 w 217"/>
                <a:gd name="T9" fmla="*/ 41 h 41"/>
                <a:gd name="T10" fmla="*/ 0 w 217"/>
                <a:gd name="T11" fmla="*/ 40 h 41"/>
                <a:gd name="T12" fmla="*/ 2 w 217"/>
                <a:gd name="T13" fmla="*/ 0 h 41"/>
                <a:gd name="T14" fmla="*/ 217 w 217"/>
                <a:gd name="T15" fmla="*/ 3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7" h="41">
                  <a:moveTo>
                    <a:pt x="217" y="3"/>
                  </a:moveTo>
                  <a:lnTo>
                    <a:pt x="217" y="40"/>
                  </a:lnTo>
                  <a:lnTo>
                    <a:pt x="217" y="40"/>
                  </a:lnTo>
                  <a:lnTo>
                    <a:pt x="217" y="41"/>
                  </a:lnTo>
                  <a:lnTo>
                    <a:pt x="215" y="41"/>
                  </a:lnTo>
                  <a:lnTo>
                    <a:pt x="0" y="40"/>
                  </a:lnTo>
                  <a:lnTo>
                    <a:pt x="2" y="0"/>
                  </a:lnTo>
                  <a:lnTo>
                    <a:pt x="217" y="3"/>
                  </a:lnTo>
                  <a:close/>
                </a:path>
              </a:pathLst>
            </a:custGeom>
            <a:solidFill>
              <a:srgbClr val="B3B4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0" name="Rectangle 79"/>
          <p:cNvSpPr/>
          <p:nvPr/>
        </p:nvSpPr>
        <p:spPr>
          <a:xfrm>
            <a:off x="2318092" y="4229070"/>
            <a:ext cx="1157689" cy="261610"/>
          </a:xfrm>
          <a:prstGeom prst="rect">
            <a:avLst/>
          </a:prstGeom>
        </p:spPr>
        <p:txBody>
          <a:bodyPr wrap="none">
            <a:spAutoFit/>
          </a:bodyPr>
          <a:lstStyle/>
          <a:p>
            <a:r>
              <a:rPr lang="en-US" sz="1100" b="1" dirty="0"/>
              <a:t>Cloud Devices</a:t>
            </a:r>
          </a:p>
        </p:txBody>
      </p:sp>
      <p:pic>
        <p:nvPicPr>
          <p:cNvPr id="81" name="Picture 7" descr="http://www.geektime.com/wp-content/uploads/2014/05/perfecto.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362950" y="2962275"/>
            <a:ext cx="1320800" cy="457200"/>
          </a:xfrm>
          <a:prstGeom prst="rect">
            <a:avLst/>
          </a:prstGeom>
          <a:noFill/>
        </p:spPr>
      </p:pic>
      <p:pic>
        <p:nvPicPr>
          <p:cNvPr id="82" name="Picture 81" descr="Experitest.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9353551" y="3648075"/>
            <a:ext cx="1109644" cy="4572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3" name="Picture 2" descr="D:\Users\tpalande\Pictures\jamo_logo.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940800" y="4410077"/>
            <a:ext cx="1403350" cy="359833"/>
          </a:xfrm>
          <a:prstGeom prst="rect">
            <a:avLst/>
          </a:prstGeom>
          <a:noFill/>
        </p:spPr>
      </p:pic>
      <p:pic>
        <p:nvPicPr>
          <p:cNvPr id="84" name="Picture 35" descr="image001"/>
          <p:cNvPicPr>
            <a:picLocks noChangeAspect="1" noChangeArrowheads="1"/>
          </p:cNvPicPr>
          <p:nvPr/>
        </p:nvPicPr>
        <p:blipFill>
          <a:blip r:embed="rId8" cstate="print"/>
          <a:srcRect/>
          <a:stretch>
            <a:fillRect/>
          </a:stretch>
        </p:blipFill>
        <p:spPr bwMode="auto">
          <a:xfrm>
            <a:off x="8280400" y="3648075"/>
            <a:ext cx="829448" cy="425998"/>
          </a:xfrm>
          <a:prstGeom prst="rect">
            <a:avLst/>
          </a:prstGeom>
          <a:noFill/>
          <a:ln w="9525">
            <a:noFill/>
            <a:miter lim="800000"/>
            <a:headEnd/>
            <a:tailEnd/>
          </a:ln>
        </p:spPr>
      </p:pic>
      <p:sp>
        <p:nvSpPr>
          <p:cNvPr id="85" name="Rectangle 84"/>
          <p:cNvSpPr/>
          <p:nvPr/>
        </p:nvSpPr>
        <p:spPr>
          <a:xfrm>
            <a:off x="2049236" y="4943476"/>
            <a:ext cx="5046890" cy="1239611"/>
          </a:xfrm>
          <a:prstGeom prst="rect">
            <a:avLst/>
          </a:prstGeom>
          <a:solidFill>
            <a:schemeClr val="bg1">
              <a:lumMod val="95000"/>
            </a:schemeClr>
          </a:solidFill>
        </p:spPr>
        <p:txBody>
          <a:bodyPr wrap="square">
            <a:noAutofit/>
          </a:bodyPr>
          <a:lstStyle/>
          <a:p>
            <a:pPr marL="174625" lvl="3" indent="-174625">
              <a:buClr>
                <a:schemeClr val="accent1"/>
              </a:buClr>
              <a:buFont typeface="Wingdings" pitchFamily="2" charset="2"/>
              <a:buChar char="§"/>
            </a:pPr>
            <a:r>
              <a:rPr lang="en-US" sz="1100" dirty="0">
                <a:solidFill>
                  <a:schemeClr val="tx2">
                    <a:lumMod val="50000"/>
                  </a:schemeClr>
                </a:solidFill>
                <a:cs typeface="Calibri" pitchFamily="34" charset="0"/>
              </a:rPr>
              <a:t>Coverage: Testing over an array of device/OS/Browser combination</a:t>
            </a:r>
          </a:p>
          <a:p>
            <a:pPr marL="174625" lvl="3" indent="-174625">
              <a:buClr>
                <a:schemeClr val="accent1"/>
              </a:buClr>
              <a:buFont typeface="Wingdings" pitchFamily="2" charset="2"/>
              <a:buChar char="§"/>
            </a:pPr>
            <a:r>
              <a:rPr lang="en-US" sz="1100" dirty="0">
                <a:solidFill>
                  <a:schemeClr val="tx2">
                    <a:lumMod val="50000"/>
                  </a:schemeClr>
                </a:solidFill>
                <a:cs typeface="Calibri" pitchFamily="34" charset="0"/>
              </a:rPr>
              <a:t>Unattended script execution and report generation</a:t>
            </a:r>
          </a:p>
          <a:p>
            <a:pPr marL="174625" lvl="3" indent="-174625">
              <a:buClr>
                <a:schemeClr val="accent1"/>
              </a:buClr>
              <a:buFont typeface="Wingdings" pitchFamily="2" charset="2"/>
              <a:buChar char="§"/>
            </a:pPr>
            <a:r>
              <a:rPr lang="en-US" sz="1100" dirty="0">
                <a:solidFill>
                  <a:schemeClr val="tx2">
                    <a:lumMod val="50000"/>
                  </a:schemeClr>
                </a:solidFill>
                <a:cs typeface="Calibri" pitchFamily="34" charset="0"/>
              </a:rPr>
              <a:t>Improves overall product quality</a:t>
            </a:r>
          </a:p>
          <a:p>
            <a:pPr marL="174625" lvl="3" indent="-174625">
              <a:buClr>
                <a:schemeClr val="accent1"/>
              </a:buClr>
              <a:buFont typeface="Wingdings" pitchFamily="2" charset="2"/>
              <a:buChar char="§"/>
            </a:pPr>
            <a:r>
              <a:rPr lang="en-US" sz="1100" dirty="0">
                <a:solidFill>
                  <a:schemeClr val="tx2">
                    <a:lumMod val="50000"/>
                  </a:schemeClr>
                </a:solidFill>
                <a:cs typeface="Calibri" pitchFamily="34" charset="0"/>
              </a:rPr>
              <a:t>Saves time and cost     </a:t>
            </a:r>
          </a:p>
        </p:txBody>
      </p:sp>
      <p:sp>
        <p:nvSpPr>
          <p:cNvPr id="86" name="Rectangle 85"/>
          <p:cNvSpPr/>
          <p:nvPr/>
        </p:nvSpPr>
        <p:spPr>
          <a:xfrm>
            <a:off x="7200901" y="4943476"/>
            <a:ext cx="3552825" cy="1238250"/>
          </a:xfrm>
          <a:prstGeom prst="rect">
            <a:avLst/>
          </a:prstGeom>
          <a:solidFill>
            <a:schemeClr val="bg1">
              <a:lumMod val="95000"/>
            </a:schemeClr>
          </a:solidFill>
        </p:spPr>
        <p:txBody>
          <a:bodyPr wrap="square">
            <a:noAutofit/>
          </a:bodyPr>
          <a:lstStyle/>
          <a:p>
            <a:pPr marL="0" lvl="3">
              <a:buClr>
                <a:schemeClr val="accent5"/>
              </a:buClr>
            </a:pPr>
            <a:r>
              <a:rPr lang="en-US" sz="1100" b="1" dirty="0">
                <a:solidFill>
                  <a:schemeClr val="tx2">
                    <a:lumMod val="50000"/>
                  </a:schemeClr>
                </a:solidFill>
                <a:cs typeface="Calibri" pitchFamily="34" charset="0"/>
              </a:rPr>
              <a:t>Experience in Automation tools:</a:t>
            </a:r>
          </a:p>
          <a:p>
            <a:pPr marL="174625" lvl="3" indent="-174625">
              <a:buClr>
                <a:schemeClr val="accent1"/>
              </a:buClr>
              <a:buFont typeface="Wingdings" pitchFamily="2" charset="2"/>
              <a:buChar char="§"/>
            </a:pPr>
            <a:r>
              <a:rPr lang="en-US" sz="1100" dirty="0">
                <a:solidFill>
                  <a:schemeClr val="tx2">
                    <a:lumMod val="50000"/>
                  </a:schemeClr>
                </a:solidFill>
                <a:cs typeface="Calibri" pitchFamily="34" charset="0"/>
              </a:rPr>
              <a:t>See Test</a:t>
            </a:r>
          </a:p>
          <a:p>
            <a:pPr marL="174625" lvl="3" indent="-174625">
              <a:buClr>
                <a:schemeClr val="accent1"/>
              </a:buClr>
              <a:buFont typeface="Wingdings" pitchFamily="2" charset="2"/>
              <a:buChar char="§"/>
            </a:pPr>
            <a:r>
              <a:rPr lang="en-US" sz="1100" dirty="0">
                <a:solidFill>
                  <a:schemeClr val="tx2">
                    <a:lumMod val="50000"/>
                  </a:schemeClr>
                </a:solidFill>
                <a:cs typeface="Calibri" pitchFamily="34" charset="0"/>
              </a:rPr>
              <a:t>UFT</a:t>
            </a:r>
          </a:p>
          <a:p>
            <a:pPr marL="174625" lvl="3" indent="-174625">
              <a:buClr>
                <a:schemeClr val="accent1"/>
              </a:buClr>
              <a:buFont typeface="Wingdings" pitchFamily="2" charset="2"/>
              <a:buChar char="§"/>
            </a:pPr>
            <a:r>
              <a:rPr lang="en-US" sz="1100" dirty="0">
                <a:solidFill>
                  <a:schemeClr val="tx2">
                    <a:lumMod val="50000"/>
                  </a:schemeClr>
                </a:solidFill>
                <a:cs typeface="Calibri" pitchFamily="34" charset="0"/>
              </a:rPr>
              <a:t>Perfecto Mobile</a:t>
            </a:r>
          </a:p>
          <a:p>
            <a:pPr marL="174625" lvl="3" indent="-174625">
              <a:buClr>
                <a:schemeClr val="accent1"/>
              </a:buClr>
              <a:buFont typeface="Wingdings" pitchFamily="2" charset="2"/>
              <a:buChar char="§"/>
            </a:pPr>
            <a:r>
              <a:rPr lang="en-US" sz="1100" dirty="0">
                <a:solidFill>
                  <a:schemeClr val="tx2">
                    <a:lumMod val="50000"/>
                  </a:schemeClr>
                </a:solidFill>
                <a:cs typeface="Calibri" pitchFamily="34" charset="0"/>
              </a:rPr>
              <a:t>Jamo Solutions</a:t>
            </a:r>
          </a:p>
          <a:p>
            <a:pPr marL="0" lvl="3">
              <a:buClr>
                <a:schemeClr val="accent1"/>
              </a:buClr>
            </a:pPr>
            <a:r>
              <a:rPr lang="en-US" sz="1100" b="1" dirty="0">
                <a:solidFill>
                  <a:schemeClr val="tx2">
                    <a:lumMod val="50000"/>
                  </a:schemeClr>
                </a:solidFill>
                <a:cs typeface="Calibri" pitchFamily="34" charset="0"/>
              </a:rPr>
              <a:t>Note: The tool will be selected later based on detailed analysis .</a:t>
            </a:r>
          </a:p>
        </p:txBody>
      </p:sp>
    </p:spTree>
    <p:extLst>
      <p:ext uri="{BB962C8B-B14F-4D97-AF65-F5344CB8AC3E}">
        <p14:creationId xmlns:p14="http://schemas.microsoft.com/office/powerpoint/2010/main" val="121205853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6"/>
          <p:cNvSpPr>
            <a:spLocks noGrp="1"/>
          </p:cNvSpPr>
          <p:nvPr>
            <p:ph type="body" sz="quarter" idx="38"/>
          </p:nvPr>
        </p:nvSpPr>
        <p:spPr>
          <a:xfrm>
            <a:off x="6151452" y="5419948"/>
            <a:ext cx="1692449" cy="432048"/>
          </a:xfrm>
        </p:spPr>
        <p:txBody>
          <a:bodyPr/>
          <a:lstStyle/>
          <a:p>
            <a:endParaRPr lang="en-US"/>
          </a:p>
        </p:txBody>
      </p:sp>
      <p:sp>
        <p:nvSpPr>
          <p:cNvPr id="2" name="Title 1"/>
          <p:cNvSpPr>
            <a:spLocks noGrp="1"/>
          </p:cNvSpPr>
          <p:nvPr>
            <p:ph type="title"/>
          </p:nvPr>
        </p:nvSpPr>
        <p:spPr/>
        <p:txBody>
          <a:bodyPr/>
          <a:lstStyle/>
          <a:p>
            <a:r>
              <a:rPr lang="en-US" dirty="0"/>
              <a:t>We address every aspect of Mobile App Support</a:t>
            </a:r>
            <a:endParaRPr lang="en-GB" dirty="0"/>
          </a:p>
        </p:txBody>
      </p:sp>
      <p:grpSp>
        <p:nvGrpSpPr>
          <p:cNvPr id="10" name="Group 9"/>
          <p:cNvGrpSpPr/>
          <p:nvPr/>
        </p:nvGrpSpPr>
        <p:grpSpPr>
          <a:xfrm>
            <a:off x="880186" y="1187306"/>
            <a:ext cx="2159025" cy="5111894"/>
            <a:chOff x="1500672" y="1428606"/>
            <a:chExt cx="2159025" cy="5111894"/>
          </a:xfrm>
        </p:grpSpPr>
        <p:sp>
          <p:nvSpPr>
            <p:cNvPr id="6" name="Rounded Rectangle 5"/>
            <p:cNvSpPr/>
            <p:nvPr/>
          </p:nvSpPr>
          <p:spPr>
            <a:xfrm>
              <a:off x="1807031" y="1450500"/>
              <a:ext cx="1852666" cy="576171"/>
            </a:xfrm>
            <a:prstGeom prst="roundRect">
              <a:avLst>
                <a:gd name="adj" fmla="val 789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84048" rIns="0" rtlCol="0" anchor="ctr"/>
            <a:lstStyle/>
            <a:p>
              <a:r>
                <a:rPr lang="en-GB" sz="1400" b="1" dirty="0">
                  <a:solidFill>
                    <a:schemeClr val="bg1"/>
                  </a:solidFill>
                </a:rPr>
                <a:t>Application Maintenance</a:t>
              </a:r>
            </a:p>
          </p:txBody>
        </p:sp>
        <p:sp>
          <p:nvSpPr>
            <p:cNvPr id="7" name="Oval 6"/>
            <p:cNvSpPr/>
            <p:nvPr/>
          </p:nvSpPr>
          <p:spPr>
            <a:xfrm>
              <a:off x="1500672" y="1428606"/>
              <a:ext cx="630000" cy="630000"/>
            </a:xfrm>
            <a:prstGeom prst="ellipse">
              <a:avLst/>
            </a:prstGeom>
          </p:spPr>
          <p:style>
            <a:lnRef idx="2">
              <a:schemeClr val="accent1"/>
            </a:lnRef>
            <a:fillRef idx="1">
              <a:schemeClr val="lt1"/>
            </a:fillRef>
            <a:effectRef idx="0">
              <a:schemeClr val="accent1"/>
            </a:effectRef>
            <a:fontRef idx="minor">
              <a:schemeClr val="dk1"/>
            </a:fontRef>
          </p:style>
          <p:txBody>
            <a:bodyPr wrap="square" rtlCol="0" anchor="ctr">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endParaRPr lang="en-GB" sz="1600" b="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ndParaRPr>
            </a:p>
          </p:txBody>
        </p:sp>
        <p:sp>
          <p:nvSpPr>
            <p:cNvPr id="15" name="Espace réservé du contenu 2"/>
            <p:cNvSpPr txBox="1">
              <a:spLocks/>
            </p:cNvSpPr>
            <p:nvPr/>
          </p:nvSpPr>
          <p:spPr>
            <a:xfrm>
              <a:off x="1500673" y="2130832"/>
              <a:ext cx="2159024" cy="4409668"/>
            </a:xfrm>
            <a:prstGeom prst="rect">
              <a:avLst/>
            </a:prstGeom>
            <a:solidFill>
              <a:schemeClr val="bg1">
                <a:lumMod val="95000"/>
              </a:schemeClr>
            </a:solidFill>
          </p:spPr>
          <p:txBody>
            <a:bodyPr vert="horz" wrap="square" lIns="91440" tIns="45720" rIns="91440" bIns="45720" rtlCol="0">
              <a:noAutofit/>
            </a:bodyPr>
            <a:lstStyle/>
            <a:p>
              <a:pPr>
                <a:spcAft>
                  <a:spcPts val="200"/>
                </a:spcAft>
                <a:buClr>
                  <a:schemeClr val="accent1"/>
                </a:buClr>
              </a:pPr>
              <a:r>
                <a:rPr lang="en-US" sz="1050" b="1" dirty="0">
                  <a:solidFill>
                    <a:srgbClr val="9F958F">
                      <a:lumMod val="50000"/>
                    </a:srgbClr>
                  </a:solidFill>
                  <a:latin typeface="+mj-lt"/>
                </a:rPr>
                <a:t>App compatibility</a:t>
              </a:r>
            </a:p>
            <a:p>
              <a:pPr marL="168275" indent="-168275">
                <a:spcAft>
                  <a:spcPts val="100"/>
                </a:spcAft>
                <a:buClr>
                  <a:schemeClr val="accent1"/>
                </a:buClr>
                <a:buFont typeface="Wingdings" pitchFamily="2" charset="2"/>
                <a:buChar char="§"/>
              </a:pPr>
              <a:r>
                <a:rPr lang="en-US" sz="1000" dirty="0">
                  <a:solidFill>
                    <a:srgbClr val="9F958F">
                      <a:lumMod val="50000"/>
                    </a:srgbClr>
                  </a:solidFill>
                  <a:latin typeface="+mj-lt"/>
                </a:rPr>
                <a:t>Update app to maintain compatibility with new versions of OS/SDK</a:t>
              </a:r>
            </a:p>
            <a:p>
              <a:pPr marL="168275" indent="-168275">
                <a:spcAft>
                  <a:spcPts val="100"/>
                </a:spcAft>
                <a:buClr>
                  <a:schemeClr val="accent1"/>
                </a:buClr>
                <a:buFont typeface="Wingdings" pitchFamily="2" charset="2"/>
                <a:buChar char="§"/>
              </a:pPr>
              <a:r>
                <a:rPr lang="en-US" sz="1000" dirty="0">
                  <a:solidFill>
                    <a:srgbClr val="9F958F">
                      <a:lumMod val="50000"/>
                    </a:srgbClr>
                  </a:solidFill>
                  <a:latin typeface="+mj-lt"/>
                </a:rPr>
                <a:t>Add support for new device types (phone/tablet) and screen sizes</a:t>
              </a:r>
            </a:p>
            <a:p>
              <a:pPr marL="168275" indent="-168275">
                <a:spcAft>
                  <a:spcPts val="100"/>
                </a:spcAft>
                <a:buClr>
                  <a:schemeClr val="accent1"/>
                </a:buClr>
                <a:buFont typeface="Wingdings" pitchFamily="2" charset="2"/>
                <a:buChar char="§"/>
              </a:pPr>
              <a:r>
                <a:rPr lang="en-US" sz="1000" dirty="0">
                  <a:solidFill>
                    <a:srgbClr val="9F958F">
                      <a:lumMod val="50000"/>
                    </a:srgbClr>
                  </a:solidFill>
                  <a:latin typeface="+mj-lt"/>
                </a:rPr>
                <a:t>Technology Refresh</a:t>
              </a:r>
            </a:p>
            <a:p>
              <a:pPr marL="168275" indent="-168275">
                <a:spcAft>
                  <a:spcPts val="100"/>
                </a:spcAft>
                <a:buClr>
                  <a:schemeClr val="accent1"/>
                </a:buClr>
                <a:buFont typeface="Wingdings" pitchFamily="2" charset="2"/>
                <a:buChar char="§"/>
              </a:pPr>
              <a:r>
                <a:rPr lang="en-US" sz="1000" dirty="0">
                  <a:solidFill>
                    <a:srgbClr val="9F958F">
                      <a:lumMod val="50000"/>
                    </a:srgbClr>
                  </a:solidFill>
                  <a:latin typeface="+mj-lt"/>
                </a:rPr>
                <a:t>Take advantage of emerging technology capabilities (e.g. new HTML5 capabilities)</a:t>
              </a:r>
            </a:p>
            <a:p>
              <a:pPr marL="168275" indent="-168275">
                <a:spcAft>
                  <a:spcPts val="100"/>
                </a:spcAft>
                <a:buClr>
                  <a:schemeClr val="accent1"/>
                </a:buClr>
                <a:buFont typeface="Wingdings" pitchFamily="2" charset="2"/>
                <a:buChar char="§"/>
              </a:pPr>
              <a:r>
                <a:rPr lang="en-US" sz="1000" dirty="0">
                  <a:solidFill>
                    <a:srgbClr val="9F958F">
                      <a:lumMod val="50000"/>
                    </a:srgbClr>
                  </a:solidFill>
                  <a:latin typeface="+mj-lt"/>
                </a:rPr>
                <a:t>Application Hardening</a:t>
              </a:r>
            </a:p>
            <a:p>
              <a:pPr marL="168275" indent="-168275">
                <a:spcAft>
                  <a:spcPts val="100"/>
                </a:spcAft>
                <a:buClr>
                  <a:schemeClr val="accent1"/>
                </a:buClr>
                <a:buFont typeface="Wingdings" pitchFamily="2" charset="2"/>
                <a:buChar char="§"/>
              </a:pPr>
              <a:r>
                <a:rPr lang="en-US" sz="1000" dirty="0">
                  <a:solidFill>
                    <a:srgbClr val="9F958F">
                      <a:lumMod val="50000"/>
                    </a:srgbClr>
                  </a:solidFill>
                  <a:latin typeface="+mj-lt"/>
                </a:rPr>
                <a:t>Monitor security threats </a:t>
              </a:r>
            </a:p>
            <a:p>
              <a:pPr marL="168275" indent="-168275">
                <a:spcAft>
                  <a:spcPts val="100"/>
                </a:spcAft>
                <a:buClr>
                  <a:schemeClr val="accent1"/>
                </a:buClr>
                <a:buFont typeface="Wingdings" pitchFamily="2" charset="2"/>
                <a:buChar char="§"/>
              </a:pPr>
              <a:r>
                <a:rPr lang="en-US" sz="1000" dirty="0">
                  <a:solidFill>
                    <a:srgbClr val="9F958F">
                      <a:lumMod val="50000"/>
                    </a:srgbClr>
                  </a:solidFill>
                  <a:latin typeface="+mj-lt"/>
                </a:rPr>
                <a:t>Update application and data against existing and emerging security threats</a:t>
              </a:r>
            </a:p>
            <a:p>
              <a:pPr marL="168275" indent="-168275">
                <a:spcAft>
                  <a:spcPts val="100"/>
                </a:spcAft>
                <a:buClr>
                  <a:schemeClr val="accent1"/>
                </a:buClr>
                <a:buFont typeface="Wingdings" pitchFamily="2" charset="2"/>
                <a:buChar char="§"/>
              </a:pPr>
              <a:r>
                <a:rPr lang="en-US" sz="1000" dirty="0">
                  <a:solidFill>
                    <a:srgbClr val="9F958F">
                      <a:lumMod val="50000"/>
                    </a:srgbClr>
                  </a:solidFill>
                  <a:latin typeface="+mj-lt"/>
                </a:rPr>
                <a:t>Application Enhancements</a:t>
              </a:r>
            </a:p>
            <a:p>
              <a:pPr marL="168275" indent="-168275">
                <a:spcAft>
                  <a:spcPts val="100"/>
                </a:spcAft>
                <a:buClr>
                  <a:schemeClr val="accent1"/>
                </a:buClr>
                <a:buFont typeface="Wingdings" pitchFamily="2" charset="2"/>
                <a:buChar char="§"/>
              </a:pPr>
              <a:r>
                <a:rPr lang="en-US" sz="1000" dirty="0">
                  <a:solidFill>
                    <a:srgbClr val="9F958F">
                      <a:lumMod val="50000"/>
                    </a:srgbClr>
                  </a:solidFill>
                  <a:latin typeface="+mj-lt"/>
                </a:rPr>
                <a:t>Develop new application functionality to meet changing business requirements</a:t>
              </a:r>
            </a:p>
            <a:p>
              <a:pPr marL="168275" indent="-168275">
                <a:spcAft>
                  <a:spcPts val="100"/>
                </a:spcAft>
                <a:buClr>
                  <a:schemeClr val="accent1"/>
                </a:buClr>
                <a:buFont typeface="Wingdings" pitchFamily="2" charset="2"/>
                <a:buChar char="§"/>
              </a:pPr>
              <a:r>
                <a:rPr lang="en-US" sz="1000" dirty="0">
                  <a:solidFill>
                    <a:srgbClr val="9F958F">
                      <a:lumMod val="50000"/>
                    </a:srgbClr>
                  </a:solidFill>
                  <a:latin typeface="+mj-lt"/>
                </a:rPr>
                <a:t>Defect &amp; Bug fixes</a:t>
              </a:r>
            </a:p>
            <a:p>
              <a:pPr marL="168275" indent="-168275">
                <a:spcAft>
                  <a:spcPts val="100"/>
                </a:spcAft>
                <a:buClr>
                  <a:schemeClr val="accent1"/>
                </a:buClr>
                <a:buFont typeface="Wingdings" pitchFamily="2" charset="2"/>
                <a:buChar char="§"/>
              </a:pPr>
              <a:r>
                <a:rPr lang="en-US" sz="1000" dirty="0">
                  <a:solidFill>
                    <a:srgbClr val="9F958F">
                      <a:lumMod val="50000"/>
                    </a:srgbClr>
                  </a:solidFill>
                  <a:latin typeface="+mj-lt"/>
                </a:rPr>
                <a:t>Update app code to fix issues affecting the functioning of the app</a:t>
              </a:r>
            </a:p>
          </p:txBody>
        </p:sp>
        <p:sp>
          <p:nvSpPr>
            <p:cNvPr id="16" name="Half Frame 15"/>
            <p:cNvSpPr/>
            <p:nvPr/>
          </p:nvSpPr>
          <p:spPr>
            <a:xfrm rot="10800000">
              <a:off x="3278697" y="6189246"/>
              <a:ext cx="381000" cy="338554"/>
            </a:xfrm>
            <a:prstGeom prst="halfFrame">
              <a:avLst>
                <a:gd name="adj1" fmla="val 17006"/>
                <a:gd name="adj2" fmla="val 13946"/>
              </a:avLst>
            </a:prstGeom>
            <a:solidFill>
              <a:schemeClr val="accent1"/>
            </a:solidFill>
          </p:spPr>
          <p:txBody>
            <a:bodyPr wrap="square" rtlCol="0" anchor="ctr">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endParaRPr lang="en-GB" sz="1600" b="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ndParaRPr>
            </a:p>
          </p:txBody>
        </p:sp>
        <p:grpSp>
          <p:nvGrpSpPr>
            <p:cNvPr id="31" name="Group 166"/>
            <p:cNvGrpSpPr/>
            <p:nvPr/>
          </p:nvGrpSpPr>
          <p:grpSpPr>
            <a:xfrm>
              <a:off x="1596806" y="1571802"/>
              <a:ext cx="408208" cy="385023"/>
              <a:chOff x="7372188" y="5427650"/>
              <a:chExt cx="674492" cy="517100"/>
            </a:xfrm>
          </p:grpSpPr>
          <p:sp>
            <p:nvSpPr>
              <p:cNvPr id="32" name="Freeform 34"/>
              <p:cNvSpPr>
                <a:spLocks/>
              </p:cNvSpPr>
              <p:nvPr/>
            </p:nvSpPr>
            <p:spPr bwMode="auto">
              <a:xfrm>
                <a:off x="7372188" y="5427650"/>
                <a:ext cx="296478" cy="291176"/>
              </a:xfrm>
              <a:custGeom>
                <a:avLst/>
                <a:gdLst/>
                <a:ahLst/>
                <a:cxnLst>
                  <a:cxn ang="0">
                    <a:pos x="1175" y="515"/>
                  </a:cxn>
                  <a:cxn ang="0">
                    <a:pos x="1161" y="477"/>
                  </a:cxn>
                  <a:cxn ang="0">
                    <a:pos x="1146" y="439"/>
                  </a:cxn>
                  <a:cxn ang="0">
                    <a:pos x="1128" y="402"/>
                  </a:cxn>
                  <a:cxn ang="0">
                    <a:pos x="1208" y="273"/>
                  </a:cxn>
                  <a:cxn ang="0">
                    <a:pos x="937" y="206"/>
                  </a:cxn>
                  <a:cxn ang="0">
                    <a:pos x="902" y="187"/>
                  </a:cxn>
                  <a:cxn ang="0">
                    <a:pos x="866" y="169"/>
                  </a:cxn>
                  <a:cxn ang="0">
                    <a:pos x="828" y="155"/>
                  </a:cxn>
                  <a:cxn ang="0">
                    <a:pos x="790" y="143"/>
                  </a:cxn>
                  <a:cxn ang="0">
                    <a:pos x="550" y="0"/>
                  </a:cxn>
                  <a:cxn ang="0">
                    <a:pos x="515" y="149"/>
                  </a:cxn>
                  <a:cxn ang="0">
                    <a:pos x="477" y="162"/>
                  </a:cxn>
                  <a:cxn ang="0">
                    <a:pos x="439" y="178"/>
                  </a:cxn>
                  <a:cxn ang="0">
                    <a:pos x="405" y="195"/>
                  </a:cxn>
                  <a:cxn ang="0">
                    <a:pos x="273" y="116"/>
                  </a:cxn>
                  <a:cxn ang="0">
                    <a:pos x="206" y="385"/>
                  </a:cxn>
                  <a:cxn ang="0">
                    <a:pos x="187" y="421"/>
                  </a:cxn>
                  <a:cxn ang="0">
                    <a:pos x="170" y="458"/>
                  </a:cxn>
                  <a:cxn ang="0">
                    <a:pos x="156" y="496"/>
                  </a:cxn>
                  <a:cxn ang="0">
                    <a:pos x="144" y="534"/>
                  </a:cxn>
                  <a:cxn ang="0">
                    <a:pos x="0" y="774"/>
                  </a:cxn>
                  <a:cxn ang="0">
                    <a:pos x="149" y="808"/>
                  </a:cxn>
                  <a:cxn ang="0">
                    <a:pos x="163" y="846"/>
                  </a:cxn>
                  <a:cxn ang="0">
                    <a:pos x="178" y="884"/>
                  </a:cxn>
                  <a:cxn ang="0">
                    <a:pos x="196" y="919"/>
                  </a:cxn>
                  <a:cxn ang="0">
                    <a:pos x="116" y="1050"/>
                  </a:cxn>
                  <a:cxn ang="0">
                    <a:pos x="387" y="1118"/>
                  </a:cxn>
                  <a:cxn ang="0">
                    <a:pos x="422" y="1137"/>
                  </a:cxn>
                  <a:cxn ang="0">
                    <a:pos x="458" y="1154"/>
                  </a:cxn>
                  <a:cxn ang="0">
                    <a:pos x="496" y="1168"/>
                  </a:cxn>
                  <a:cxn ang="0">
                    <a:pos x="534" y="1180"/>
                  </a:cxn>
                  <a:cxn ang="0">
                    <a:pos x="774" y="1323"/>
                  </a:cxn>
                  <a:cxn ang="0">
                    <a:pos x="809" y="1175"/>
                  </a:cxn>
                  <a:cxn ang="0">
                    <a:pos x="847" y="1161"/>
                  </a:cxn>
                  <a:cxn ang="0">
                    <a:pos x="885" y="1145"/>
                  </a:cxn>
                  <a:cxn ang="0">
                    <a:pos x="919" y="1128"/>
                  </a:cxn>
                  <a:cxn ang="0">
                    <a:pos x="1051" y="1207"/>
                  </a:cxn>
                  <a:cxn ang="0">
                    <a:pos x="1118" y="936"/>
                  </a:cxn>
                  <a:cxn ang="0">
                    <a:pos x="1137" y="902"/>
                  </a:cxn>
                  <a:cxn ang="0">
                    <a:pos x="1154" y="865"/>
                  </a:cxn>
                  <a:cxn ang="0">
                    <a:pos x="1168" y="827"/>
                  </a:cxn>
                  <a:cxn ang="0">
                    <a:pos x="1180" y="789"/>
                  </a:cxn>
                  <a:cxn ang="0">
                    <a:pos x="1324" y="549"/>
                  </a:cxn>
                </a:cxnLst>
                <a:rect l="0" t="0" r="r" b="b"/>
                <a:pathLst>
                  <a:path w="1324" h="1323">
                    <a:moveTo>
                      <a:pt x="1180" y="534"/>
                    </a:moveTo>
                    <a:lnTo>
                      <a:pt x="1175" y="515"/>
                    </a:lnTo>
                    <a:lnTo>
                      <a:pt x="1168" y="496"/>
                    </a:lnTo>
                    <a:lnTo>
                      <a:pt x="1161" y="477"/>
                    </a:lnTo>
                    <a:lnTo>
                      <a:pt x="1154" y="458"/>
                    </a:lnTo>
                    <a:lnTo>
                      <a:pt x="1146" y="439"/>
                    </a:lnTo>
                    <a:lnTo>
                      <a:pt x="1137" y="421"/>
                    </a:lnTo>
                    <a:lnTo>
                      <a:pt x="1128" y="402"/>
                    </a:lnTo>
                    <a:lnTo>
                      <a:pt x="1118" y="385"/>
                    </a:lnTo>
                    <a:lnTo>
                      <a:pt x="1208" y="273"/>
                    </a:lnTo>
                    <a:lnTo>
                      <a:pt x="1051" y="116"/>
                    </a:lnTo>
                    <a:lnTo>
                      <a:pt x="937" y="206"/>
                    </a:lnTo>
                    <a:lnTo>
                      <a:pt x="919" y="195"/>
                    </a:lnTo>
                    <a:lnTo>
                      <a:pt x="902" y="187"/>
                    </a:lnTo>
                    <a:lnTo>
                      <a:pt x="885" y="178"/>
                    </a:lnTo>
                    <a:lnTo>
                      <a:pt x="866" y="169"/>
                    </a:lnTo>
                    <a:lnTo>
                      <a:pt x="847" y="162"/>
                    </a:lnTo>
                    <a:lnTo>
                      <a:pt x="828" y="155"/>
                    </a:lnTo>
                    <a:lnTo>
                      <a:pt x="809" y="149"/>
                    </a:lnTo>
                    <a:lnTo>
                      <a:pt x="790" y="143"/>
                    </a:lnTo>
                    <a:lnTo>
                      <a:pt x="774" y="0"/>
                    </a:lnTo>
                    <a:lnTo>
                      <a:pt x="550" y="0"/>
                    </a:lnTo>
                    <a:lnTo>
                      <a:pt x="534" y="143"/>
                    </a:lnTo>
                    <a:lnTo>
                      <a:pt x="515" y="149"/>
                    </a:lnTo>
                    <a:lnTo>
                      <a:pt x="496" y="155"/>
                    </a:lnTo>
                    <a:lnTo>
                      <a:pt x="477" y="162"/>
                    </a:lnTo>
                    <a:lnTo>
                      <a:pt x="458" y="169"/>
                    </a:lnTo>
                    <a:lnTo>
                      <a:pt x="439" y="178"/>
                    </a:lnTo>
                    <a:lnTo>
                      <a:pt x="422" y="187"/>
                    </a:lnTo>
                    <a:lnTo>
                      <a:pt x="405" y="195"/>
                    </a:lnTo>
                    <a:lnTo>
                      <a:pt x="387" y="206"/>
                    </a:lnTo>
                    <a:lnTo>
                      <a:pt x="273" y="116"/>
                    </a:lnTo>
                    <a:lnTo>
                      <a:pt x="116" y="273"/>
                    </a:lnTo>
                    <a:lnTo>
                      <a:pt x="206" y="385"/>
                    </a:lnTo>
                    <a:lnTo>
                      <a:pt x="196" y="402"/>
                    </a:lnTo>
                    <a:lnTo>
                      <a:pt x="187" y="421"/>
                    </a:lnTo>
                    <a:lnTo>
                      <a:pt x="178" y="439"/>
                    </a:lnTo>
                    <a:lnTo>
                      <a:pt x="170" y="458"/>
                    </a:lnTo>
                    <a:lnTo>
                      <a:pt x="163" y="477"/>
                    </a:lnTo>
                    <a:lnTo>
                      <a:pt x="156" y="496"/>
                    </a:lnTo>
                    <a:lnTo>
                      <a:pt x="149" y="515"/>
                    </a:lnTo>
                    <a:lnTo>
                      <a:pt x="144" y="534"/>
                    </a:lnTo>
                    <a:lnTo>
                      <a:pt x="0" y="549"/>
                    </a:lnTo>
                    <a:lnTo>
                      <a:pt x="0" y="774"/>
                    </a:lnTo>
                    <a:lnTo>
                      <a:pt x="144" y="789"/>
                    </a:lnTo>
                    <a:lnTo>
                      <a:pt x="149" y="808"/>
                    </a:lnTo>
                    <a:lnTo>
                      <a:pt x="156" y="827"/>
                    </a:lnTo>
                    <a:lnTo>
                      <a:pt x="163" y="846"/>
                    </a:lnTo>
                    <a:lnTo>
                      <a:pt x="170" y="865"/>
                    </a:lnTo>
                    <a:lnTo>
                      <a:pt x="178" y="884"/>
                    </a:lnTo>
                    <a:lnTo>
                      <a:pt x="187" y="902"/>
                    </a:lnTo>
                    <a:lnTo>
                      <a:pt x="196" y="919"/>
                    </a:lnTo>
                    <a:lnTo>
                      <a:pt x="206" y="936"/>
                    </a:lnTo>
                    <a:lnTo>
                      <a:pt x="116" y="1050"/>
                    </a:lnTo>
                    <a:lnTo>
                      <a:pt x="273" y="1207"/>
                    </a:lnTo>
                    <a:lnTo>
                      <a:pt x="387" y="1118"/>
                    </a:lnTo>
                    <a:lnTo>
                      <a:pt x="405" y="1128"/>
                    </a:lnTo>
                    <a:lnTo>
                      <a:pt x="422" y="1137"/>
                    </a:lnTo>
                    <a:lnTo>
                      <a:pt x="439" y="1145"/>
                    </a:lnTo>
                    <a:lnTo>
                      <a:pt x="458" y="1154"/>
                    </a:lnTo>
                    <a:lnTo>
                      <a:pt x="477" y="1161"/>
                    </a:lnTo>
                    <a:lnTo>
                      <a:pt x="496" y="1168"/>
                    </a:lnTo>
                    <a:lnTo>
                      <a:pt x="515" y="1175"/>
                    </a:lnTo>
                    <a:lnTo>
                      <a:pt x="534" y="1180"/>
                    </a:lnTo>
                    <a:lnTo>
                      <a:pt x="550" y="1323"/>
                    </a:lnTo>
                    <a:lnTo>
                      <a:pt x="774" y="1323"/>
                    </a:lnTo>
                    <a:lnTo>
                      <a:pt x="790" y="1180"/>
                    </a:lnTo>
                    <a:lnTo>
                      <a:pt x="809" y="1175"/>
                    </a:lnTo>
                    <a:lnTo>
                      <a:pt x="828" y="1168"/>
                    </a:lnTo>
                    <a:lnTo>
                      <a:pt x="847" y="1161"/>
                    </a:lnTo>
                    <a:lnTo>
                      <a:pt x="866" y="1154"/>
                    </a:lnTo>
                    <a:lnTo>
                      <a:pt x="885" y="1145"/>
                    </a:lnTo>
                    <a:lnTo>
                      <a:pt x="902" y="1137"/>
                    </a:lnTo>
                    <a:lnTo>
                      <a:pt x="919" y="1128"/>
                    </a:lnTo>
                    <a:lnTo>
                      <a:pt x="937" y="1118"/>
                    </a:lnTo>
                    <a:lnTo>
                      <a:pt x="1051" y="1207"/>
                    </a:lnTo>
                    <a:lnTo>
                      <a:pt x="1208" y="1050"/>
                    </a:lnTo>
                    <a:lnTo>
                      <a:pt x="1118" y="936"/>
                    </a:lnTo>
                    <a:lnTo>
                      <a:pt x="1128" y="919"/>
                    </a:lnTo>
                    <a:lnTo>
                      <a:pt x="1137" y="902"/>
                    </a:lnTo>
                    <a:lnTo>
                      <a:pt x="1146" y="884"/>
                    </a:lnTo>
                    <a:lnTo>
                      <a:pt x="1154" y="865"/>
                    </a:lnTo>
                    <a:lnTo>
                      <a:pt x="1161" y="846"/>
                    </a:lnTo>
                    <a:lnTo>
                      <a:pt x="1168" y="827"/>
                    </a:lnTo>
                    <a:lnTo>
                      <a:pt x="1175" y="808"/>
                    </a:lnTo>
                    <a:lnTo>
                      <a:pt x="1180" y="789"/>
                    </a:lnTo>
                    <a:lnTo>
                      <a:pt x="1324" y="774"/>
                    </a:lnTo>
                    <a:lnTo>
                      <a:pt x="1324" y="549"/>
                    </a:lnTo>
                    <a:lnTo>
                      <a:pt x="1180" y="534"/>
                    </a:lnTo>
                    <a:close/>
                  </a:path>
                </a:pathLst>
              </a:custGeom>
              <a:no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reeform 36"/>
              <p:cNvSpPr>
                <a:spLocks/>
              </p:cNvSpPr>
              <p:nvPr/>
            </p:nvSpPr>
            <p:spPr bwMode="auto">
              <a:xfrm>
                <a:off x="7492660" y="5545528"/>
                <a:ext cx="57773" cy="57619"/>
              </a:xfrm>
              <a:custGeom>
                <a:avLst/>
                <a:gdLst/>
                <a:ahLst/>
                <a:cxnLst>
                  <a:cxn ang="0">
                    <a:pos x="38" y="223"/>
                  </a:cxn>
                  <a:cxn ang="0">
                    <a:pos x="46" y="232"/>
                  </a:cxn>
                  <a:cxn ang="0">
                    <a:pos x="57" y="239"/>
                  </a:cxn>
                  <a:cxn ang="0">
                    <a:pos x="69" y="246"/>
                  </a:cxn>
                  <a:cxn ang="0">
                    <a:pos x="79" y="251"/>
                  </a:cxn>
                  <a:cxn ang="0">
                    <a:pos x="91" y="256"/>
                  </a:cxn>
                  <a:cxn ang="0">
                    <a:pos x="103" y="260"/>
                  </a:cxn>
                  <a:cxn ang="0">
                    <a:pos x="117" y="261"/>
                  </a:cxn>
                  <a:cxn ang="0">
                    <a:pos x="129" y="261"/>
                  </a:cxn>
                  <a:cxn ang="0">
                    <a:pos x="141" y="261"/>
                  </a:cxn>
                  <a:cxn ang="0">
                    <a:pos x="155" y="260"/>
                  </a:cxn>
                  <a:cxn ang="0">
                    <a:pos x="167" y="256"/>
                  </a:cxn>
                  <a:cxn ang="0">
                    <a:pos x="179" y="251"/>
                  </a:cxn>
                  <a:cxn ang="0">
                    <a:pos x="190" y="246"/>
                  </a:cxn>
                  <a:cxn ang="0">
                    <a:pos x="202" y="239"/>
                  </a:cxn>
                  <a:cxn ang="0">
                    <a:pos x="212" y="232"/>
                  </a:cxn>
                  <a:cxn ang="0">
                    <a:pos x="221" y="223"/>
                  </a:cxn>
                  <a:cxn ang="0">
                    <a:pos x="236" y="204"/>
                  </a:cxn>
                  <a:cxn ang="0">
                    <a:pos x="248" y="182"/>
                  </a:cxn>
                  <a:cxn ang="0">
                    <a:pos x="257" y="158"/>
                  </a:cxn>
                  <a:cxn ang="0">
                    <a:pos x="259" y="132"/>
                  </a:cxn>
                  <a:cxn ang="0">
                    <a:pos x="257" y="106"/>
                  </a:cxn>
                  <a:cxn ang="0">
                    <a:pos x="250" y="82"/>
                  </a:cxn>
                  <a:cxn ang="0">
                    <a:pos x="238" y="59"/>
                  </a:cxn>
                  <a:cxn ang="0">
                    <a:pos x="221" y="38"/>
                  </a:cxn>
                  <a:cxn ang="0">
                    <a:pos x="212" y="30"/>
                  </a:cxn>
                  <a:cxn ang="0">
                    <a:pos x="202" y="23"/>
                  </a:cxn>
                  <a:cxn ang="0">
                    <a:pos x="190" y="16"/>
                  </a:cxn>
                  <a:cxn ang="0">
                    <a:pos x="179" y="11"/>
                  </a:cxn>
                  <a:cxn ang="0">
                    <a:pos x="167" y="6"/>
                  </a:cxn>
                  <a:cxn ang="0">
                    <a:pos x="155" y="2"/>
                  </a:cxn>
                  <a:cxn ang="0">
                    <a:pos x="141" y="0"/>
                  </a:cxn>
                  <a:cxn ang="0">
                    <a:pos x="129" y="0"/>
                  </a:cxn>
                  <a:cxn ang="0">
                    <a:pos x="117" y="0"/>
                  </a:cxn>
                  <a:cxn ang="0">
                    <a:pos x="103" y="2"/>
                  </a:cxn>
                  <a:cxn ang="0">
                    <a:pos x="91" y="6"/>
                  </a:cxn>
                  <a:cxn ang="0">
                    <a:pos x="79" y="11"/>
                  </a:cxn>
                  <a:cxn ang="0">
                    <a:pos x="69" y="16"/>
                  </a:cxn>
                  <a:cxn ang="0">
                    <a:pos x="57" y="23"/>
                  </a:cxn>
                  <a:cxn ang="0">
                    <a:pos x="46" y="30"/>
                  </a:cxn>
                  <a:cxn ang="0">
                    <a:pos x="38" y="38"/>
                  </a:cxn>
                  <a:cxn ang="0">
                    <a:pos x="22" y="59"/>
                  </a:cxn>
                  <a:cxn ang="0">
                    <a:pos x="10" y="82"/>
                  </a:cxn>
                  <a:cxn ang="0">
                    <a:pos x="1" y="106"/>
                  </a:cxn>
                  <a:cxn ang="0">
                    <a:pos x="0" y="132"/>
                  </a:cxn>
                  <a:cxn ang="0">
                    <a:pos x="1" y="158"/>
                  </a:cxn>
                  <a:cxn ang="0">
                    <a:pos x="10" y="182"/>
                  </a:cxn>
                  <a:cxn ang="0">
                    <a:pos x="22" y="204"/>
                  </a:cxn>
                  <a:cxn ang="0">
                    <a:pos x="38" y="223"/>
                  </a:cxn>
                </a:cxnLst>
                <a:rect l="0" t="0" r="r" b="b"/>
                <a:pathLst>
                  <a:path w="259" h="261">
                    <a:moveTo>
                      <a:pt x="38" y="223"/>
                    </a:moveTo>
                    <a:lnTo>
                      <a:pt x="46" y="232"/>
                    </a:lnTo>
                    <a:lnTo>
                      <a:pt x="57" y="239"/>
                    </a:lnTo>
                    <a:lnTo>
                      <a:pt x="69" y="246"/>
                    </a:lnTo>
                    <a:lnTo>
                      <a:pt x="79" y="251"/>
                    </a:lnTo>
                    <a:lnTo>
                      <a:pt x="91" y="256"/>
                    </a:lnTo>
                    <a:lnTo>
                      <a:pt x="103" y="260"/>
                    </a:lnTo>
                    <a:lnTo>
                      <a:pt x="117" y="261"/>
                    </a:lnTo>
                    <a:lnTo>
                      <a:pt x="129" y="261"/>
                    </a:lnTo>
                    <a:lnTo>
                      <a:pt x="141" y="261"/>
                    </a:lnTo>
                    <a:lnTo>
                      <a:pt x="155" y="260"/>
                    </a:lnTo>
                    <a:lnTo>
                      <a:pt x="167" y="256"/>
                    </a:lnTo>
                    <a:lnTo>
                      <a:pt x="179" y="251"/>
                    </a:lnTo>
                    <a:lnTo>
                      <a:pt x="190" y="246"/>
                    </a:lnTo>
                    <a:lnTo>
                      <a:pt x="202" y="239"/>
                    </a:lnTo>
                    <a:lnTo>
                      <a:pt x="212" y="232"/>
                    </a:lnTo>
                    <a:lnTo>
                      <a:pt x="221" y="223"/>
                    </a:lnTo>
                    <a:lnTo>
                      <a:pt x="236" y="204"/>
                    </a:lnTo>
                    <a:lnTo>
                      <a:pt x="248" y="182"/>
                    </a:lnTo>
                    <a:lnTo>
                      <a:pt x="257" y="158"/>
                    </a:lnTo>
                    <a:lnTo>
                      <a:pt x="259" y="132"/>
                    </a:lnTo>
                    <a:lnTo>
                      <a:pt x="257" y="106"/>
                    </a:lnTo>
                    <a:lnTo>
                      <a:pt x="250" y="82"/>
                    </a:lnTo>
                    <a:lnTo>
                      <a:pt x="238" y="59"/>
                    </a:lnTo>
                    <a:lnTo>
                      <a:pt x="221" y="38"/>
                    </a:lnTo>
                    <a:lnTo>
                      <a:pt x="212" y="30"/>
                    </a:lnTo>
                    <a:lnTo>
                      <a:pt x="202" y="23"/>
                    </a:lnTo>
                    <a:lnTo>
                      <a:pt x="190" y="16"/>
                    </a:lnTo>
                    <a:lnTo>
                      <a:pt x="179" y="11"/>
                    </a:lnTo>
                    <a:lnTo>
                      <a:pt x="167" y="6"/>
                    </a:lnTo>
                    <a:lnTo>
                      <a:pt x="155" y="2"/>
                    </a:lnTo>
                    <a:lnTo>
                      <a:pt x="141" y="0"/>
                    </a:lnTo>
                    <a:lnTo>
                      <a:pt x="129" y="0"/>
                    </a:lnTo>
                    <a:lnTo>
                      <a:pt x="117" y="0"/>
                    </a:lnTo>
                    <a:lnTo>
                      <a:pt x="103" y="2"/>
                    </a:lnTo>
                    <a:lnTo>
                      <a:pt x="91" y="6"/>
                    </a:lnTo>
                    <a:lnTo>
                      <a:pt x="79" y="11"/>
                    </a:lnTo>
                    <a:lnTo>
                      <a:pt x="69" y="16"/>
                    </a:lnTo>
                    <a:lnTo>
                      <a:pt x="57" y="23"/>
                    </a:lnTo>
                    <a:lnTo>
                      <a:pt x="46" y="30"/>
                    </a:lnTo>
                    <a:lnTo>
                      <a:pt x="38" y="38"/>
                    </a:lnTo>
                    <a:lnTo>
                      <a:pt x="22" y="59"/>
                    </a:lnTo>
                    <a:lnTo>
                      <a:pt x="10" y="82"/>
                    </a:lnTo>
                    <a:lnTo>
                      <a:pt x="1" y="106"/>
                    </a:lnTo>
                    <a:lnTo>
                      <a:pt x="0" y="132"/>
                    </a:lnTo>
                    <a:lnTo>
                      <a:pt x="1" y="158"/>
                    </a:lnTo>
                    <a:lnTo>
                      <a:pt x="10" y="182"/>
                    </a:lnTo>
                    <a:lnTo>
                      <a:pt x="22" y="204"/>
                    </a:lnTo>
                    <a:lnTo>
                      <a:pt x="38" y="223"/>
                    </a:lnTo>
                    <a:close/>
                  </a:path>
                </a:pathLst>
              </a:custGeom>
              <a:no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37"/>
              <p:cNvSpPr>
                <a:spLocks/>
              </p:cNvSpPr>
              <p:nvPr/>
            </p:nvSpPr>
            <p:spPr bwMode="auto">
              <a:xfrm>
                <a:off x="7609129" y="5537455"/>
                <a:ext cx="414263" cy="407295"/>
              </a:xfrm>
              <a:custGeom>
                <a:avLst/>
                <a:gdLst/>
                <a:ahLst/>
                <a:cxnLst>
                  <a:cxn ang="0">
                    <a:pos x="1643" y="701"/>
                  </a:cxn>
                  <a:cxn ang="0">
                    <a:pos x="1629" y="658"/>
                  </a:cxn>
                  <a:cxn ang="0">
                    <a:pos x="1612" y="618"/>
                  </a:cxn>
                  <a:cxn ang="0">
                    <a:pos x="1591" y="576"/>
                  </a:cxn>
                  <a:cxn ang="0">
                    <a:pos x="1707" y="399"/>
                  </a:cxn>
                  <a:cxn ang="0">
                    <a:pos x="1294" y="269"/>
                  </a:cxn>
                  <a:cxn ang="0">
                    <a:pos x="1254" y="248"/>
                  </a:cxn>
                  <a:cxn ang="0">
                    <a:pos x="1213" y="229"/>
                  </a:cxn>
                  <a:cxn ang="0">
                    <a:pos x="1171" y="214"/>
                  </a:cxn>
                  <a:cxn ang="0">
                    <a:pos x="1128" y="200"/>
                  </a:cxn>
                  <a:cxn ang="0">
                    <a:pos x="745" y="0"/>
                  </a:cxn>
                  <a:cxn ang="0">
                    <a:pos x="701" y="207"/>
                  </a:cxn>
                  <a:cxn ang="0">
                    <a:pos x="658" y="221"/>
                  </a:cxn>
                  <a:cxn ang="0">
                    <a:pos x="617" y="238"/>
                  </a:cxn>
                  <a:cxn ang="0">
                    <a:pos x="577" y="259"/>
                  </a:cxn>
                  <a:cxn ang="0">
                    <a:pos x="399" y="143"/>
                  </a:cxn>
                  <a:cxn ang="0">
                    <a:pos x="270" y="557"/>
                  </a:cxn>
                  <a:cxn ang="0">
                    <a:pos x="249" y="597"/>
                  </a:cxn>
                  <a:cxn ang="0">
                    <a:pos x="230" y="637"/>
                  </a:cxn>
                  <a:cxn ang="0">
                    <a:pos x="214" y="678"/>
                  </a:cxn>
                  <a:cxn ang="0">
                    <a:pos x="201" y="722"/>
                  </a:cxn>
                  <a:cxn ang="0">
                    <a:pos x="0" y="1107"/>
                  </a:cxn>
                  <a:cxn ang="0">
                    <a:pos x="207" y="1150"/>
                  </a:cxn>
                  <a:cxn ang="0">
                    <a:pos x="221" y="1193"/>
                  </a:cxn>
                  <a:cxn ang="0">
                    <a:pos x="239" y="1235"/>
                  </a:cxn>
                  <a:cxn ang="0">
                    <a:pos x="259" y="1274"/>
                  </a:cxn>
                  <a:cxn ang="0">
                    <a:pos x="144" y="1452"/>
                  </a:cxn>
                  <a:cxn ang="0">
                    <a:pos x="556" y="1582"/>
                  </a:cxn>
                  <a:cxn ang="0">
                    <a:pos x="596" y="1604"/>
                  </a:cxn>
                  <a:cxn ang="0">
                    <a:pos x="638" y="1622"/>
                  </a:cxn>
                  <a:cxn ang="0">
                    <a:pos x="679" y="1637"/>
                  </a:cxn>
                  <a:cxn ang="0">
                    <a:pos x="722" y="1651"/>
                  </a:cxn>
                  <a:cxn ang="0">
                    <a:pos x="1106" y="1851"/>
                  </a:cxn>
                  <a:cxn ang="0">
                    <a:pos x="1149" y="1644"/>
                  </a:cxn>
                  <a:cxn ang="0">
                    <a:pos x="1192" y="1630"/>
                  </a:cxn>
                  <a:cxn ang="0">
                    <a:pos x="1234" y="1613"/>
                  </a:cxn>
                  <a:cxn ang="0">
                    <a:pos x="1273" y="1594"/>
                  </a:cxn>
                  <a:cxn ang="0">
                    <a:pos x="1451" y="1708"/>
                  </a:cxn>
                  <a:cxn ang="0">
                    <a:pos x="1581" y="1295"/>
                  </a:cxn>
                  <a:cxn ang="0">
                    <a:pos x="1601" y="1255"/>
                  </a:cxn>
                  <a:cxn ang="0">
                    <a:pos x="1620" y="1214"/>
                  </a:cxn>
                  <a:cxn ang="0">
                    <a:pos x="1636" y="1172"/>
                  </a:cxn>
                  <a:cxn ang="0">
                    <a:pos x="1650" y="1129"/>
                  </a:cxn>
                  <a:cxn ang="0">
                    <a:pos x="1850" y="746"/>
                  </a:cxn>
                </a:cxnLst>
                <a:rect l="0" t="0" r="r" b="b"/>
                <a:pathLst>
                  <a:path w="1850" h="1851">
                    <a:moveTo>
                      <a:pt x="1650" y="722"/>
                    </a:moveTo>
                    <a:lnTo>
                      <a:pt x="1643" y="701"/>
                    </a:lnTo>
                    <a:lnTo>
                      <a:pt x="1636" y="678"/>
                    </a:lnTo>
                    <a:lnTo>
                      <a:pt x="1629" y="658"/>
                    </a:lnTo>
                    <a:lnTo>
                      <a:pt x="1620" y="637"/>
                    </a:lnTo>
                    <a:lnTo>
                      <a:pt x="1612" y="618"/>
                    </a:lnTo>
                    <a:lnTo>
                      <a:pt x="1601" y="597"/>
                    </a:lnTo>
                    <a:lnTo>
                      <a:pt x="1591" y="576"/>
                    </a:lnTo>
                    <a:lnTo>
                      <a:pt x="1581" y="557"/>
                    </a:lnTo>
                    <a:lnTo>
                      <a:pt x="1707" y="399"/>
                    </a:lnTo>
                    <a:lnTo>
                      <a:pt x="1451" y="143"/>
                    </a:lnTo>
                    <a:lnTo>
                      <a:pt x="1294" y="269"/>
                    </a:lnTo>
                    <a:lnTo>
                      <a:pt x="1273" y="259"/>
                    </a:lnTo>
                    <a:lnTo>
                      <a:pt x="1254" y="248"/>
                    </a:lnTo>
                    <a:lnTo>
                      <a:pt x="1234" y="238"/>
                    </a:lnTo>
                    <a:lnTo>
                      <a:pt x="1213" y="229"/>
                    </a:lnTo>
                    <a:lnTo>
                      <a:pt x="1192" y="221"/>
                    </a:lnTo>
                    <a:lnTo>
                      <a:pt x="1171" y="214"/>
                    </a:lnTo>
                    <a:lnTo>
                      <a:pt x="1149" y="207"/>
                    </a:lnTo>
                    <a:lnTo>
                      <a:pt x="1128" y="200"/>
                    </a:lnTo>
                    <a:lnTo>
                      <a:pt x="1106" y="0"/>
                    </a:lnTo>
                    <a:lnTo>
                      <a:pt x="745" y="0"/>
                    </a:lnTo>
                    <a:lnTo>
                      <a:pt x="722" y="200"/>
                    </a:lnTo>
                    <a:lnTo>
                      <a:pt x="701" y="207"/>
                    </a:lnTo>
                    <a:lnTo>
                      <a:pt x="679" y="214"/>
                    </a:lnTo>
                    <a:lnTo>
                      <a:pt x="658" y="221"/>
                    </a:lnTo>
                    <a:lnTo>
                      <a:pt x="638" y="229"/>
                    </a:lnTo>
                    <a:lnTo>
                      <a:pt x="617" y="238"/>
                    </a:lnTo>
                    <a:lnTo>
                      <a:pt x="596" y="248"/>
                    </a:lnTo>
                    <a:lnTo>
                      <a:pt x="577" y="259"/>
                    </a:lnTo>
                    <a:lnTo>
                      <a:pt x="556" y="269"/>
                    </a:lnTo>
                    <a:lnTo>
                      <a:pt x="399" y="143"/>
                    </a:lnTo>
                    <a:lnTo>
                      <a:pt x="144" y="399"/>
                    </a:lnTo>
                    <a:lnTo>
                      <a:pt x="270" y="557"/>
                    </a:lnTo>
                    <a:lnTo>
                      <a:pt x="259" y="576"/>
                    </a:lnTo>
                    <a:lnTo>
                      <a:pt x="249" y="597"/>
                    </a:lnTo>
                    <a:lnTo>
                      <a:pt x="239" y="618"/>
                    </a:lnTo>
                    <a:lnTo>
                      <a:pt x="230" y="637"/>
                    </a:lnTo>
                    <a:lnTo>
                      <a:pt x="221" y="658"/>
                    </a:lnTo>
                    <a:lnTo>
                      <a:pt x="214" y="678"/>
                    </a:lnTo>
                    <a:lnTo>
                      <a:pt x="207" y="701"/>
                    </a:lnTo>
                    <a:lnTo>
                      <a:pt x="201" y="722"/>
                    </a:lnTo>
                    <a:lnTo>
                      <a:pt x="0" y="746"/>
                    </a:lnTo>
                    <a:lnTo>
                      <a:pt x="0" y="1107"/>
                    </a:lnTo>
                    <a:lnTo>
                      <a:pt x="201" y="1129"/>
                    </a:lnTo>
                    <a:lnTo>
                      <a:pt x="207" y="1150"/>
                    </a:lnTo>
                    <a:lnTo>
                      <a:pt x="214" y="1172"/>
                    </a:lnTo>
                    <a:lnTo>
                      <a:pt x="221" y="1193"/>
                    </a:lnTo>
                    <a:lnTo>
                      <a:pt x="230" y="1214"/>
                    </a:lnTo>
                    <a:lnTo>
                      <a:pt x="239" y="1235"/>
                    </a:lnTo>
                    <a:lnTo>
                      <a:pt x="249" y="1255"/>
                    </a:lnTo>
                    <a:lnTo>
                      <a:pt x="259" y="1274"/>
                    </a:lnTo>
                    <a:lnTo>
                      <a:pt x="270" y="1295"/>
                    </a:lnTo>
                    <a:lnTo>
                      <a:pt x="144" y="1452"/>
                    </a:lnTo>
                    <a:lnTo>
                      <a:pt x="399" y="1708"/>
                    </a:lnTo>
                    <a:lnTo>
                      <a:pt x="556" y="1582"/>
                    </a:lnTo>
                    <a:lnTo>
                      <a:pt x="577" y="1594"/>
                    </a:lnTo>
                    <a:lnTo>
                      <a:pt x="596" y="1604"/>
                    </a:lnTo>
                    <a:lnTo>
                      <a:pt x="617" y="1613"/>
                    </a:lnTo>
                    <a:lnTo>
                      <a:pt x="638" y="1622"/>
                    </a:lnTo>
                    <a:lnTo>
                      <a:pt x="658" y="1630"/>
                    </a:lnTo>
                    <a:lnTo>
                      <a:pt x="679" y="1637"/>
                    </a:lnTo>
                    <a:lnTo>
                      <a:pt x="701" y="1644"/>
                    </a:lnTo>
                    <a:lnTo>
                      <a:pt x="722" y="1651"/>
                    </a:lnTo>
                    <a:lnTo>
                      <a:pt x="745" y="1851"/>
                    </a:lnTo>
                    <a:lnTo>
                      <a:pt x="1106" y="1851"/>
                    </a:lnTo>
                    <a:lnTo>
                      <a:pt x="1128" y="1651"/>
                    </a:lnTo>
                    <a:lnTo>
                      <a:pt x="1149" y="1644"/>
                    </a:lnTo>
                    <a:lnTo>
                      <a:pt x="1171" y="1637"/>
                    </a:lnTo>
                    <a:lnTo>
                      <a:pt x="1192" y="1630"/>
                    </a:lnTo>
                    <a:lnTo>
                      <a:pt x="1213" y="1622"/>
                    </a:lnTo>
                    <a:lnTo>
                      <a:pt x="1234" y="1613"/>
                    </a:lnTo>
                    <a:lnTo>
                      <a:pt x="1254" y="1604"/>
                    </a:lnTo>
                    <a:lnTo>
                      <a:pt x="1273" y="1594"/>
                    </a:lnTo>
                    <a:lnTo>
                      <a:pt x="1294" y="1582"/>
                    </a:lnTo>
                    <a:lnTo>
                      <a:pt x="1451" y="1708"/>
                    </a:lnTo>
                    <a:lnTo>
                      <a:pt x="1707" y="1452"/>
                    </a:lnTo>
                    <a:lnTo>
                      <a:pt x="1581" y="1295"/>
                    </a:lnTo>
                    <a:lnTo>
                      <a:pt x="1591" y="1274"/>
                    </a:lnTo>
                    <a:lnTo>
                      <a:pt x="1601" y="1255"/>
                    </a:lnTo>
                    <a:lnTo>
                      <a:pt x="1612" y="1235"/>
                    </a:lnTo>
                    <a:lnTo>
                      <a:pt x="1620" y="1214"/>
                    </a:lnTo>
                    <a:lnTo>
                      <a:pt x="1629" y="1193"/>
                    </a:lnTo>
                    <a:lnTo>
                      <a:pt x="1636" y="1172"/>
                    </a:lnTo>
                    <a:lnTo>
                      <a:pt x="1643" y="1150"/>
                    </a:lnTo>
                    <a:lnTo>
                      <a:pt x="1650" y="1129"/>
                    </a:lnTo>
                    <a:lnTo>
                      <a:pt x="1850" y="1107"/>
                    </a:lnTo>
                    <a:lnTo>
                      <a:pt x="1850" y="746"/>
                    </a:lnTo>
                    <a:lnTo>
                      <a:pt x="1650" y="722"/>
                    </a:lnTo>
                    <a:close/>
                  </a:path>
                </a:pathLst>
              </a:custGeom>
              <a:no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reeform 40"/>
              <p:cNvSpPr>
                <a:spLocks/>
              </p:cNvSpPr>
              <p:nvPr/>
            </p:nvSpPr>
            <p:spPr bwMode="auto">
              <a:xfrm>
                <a:off x="7507887" y="5560922"/>
                <a:ext cx="27767" cy="26831"/>
              </a:xfrm>
              <a:custGeom>
                <a:avLst/>
                <a:gdLst/>
                <a:ahLst/>
                <a:cxnLst>
                  <a:cxn ang="0">
                    <a:pos x="0" y="62"/>
                  </a:cxn>
                  <a:cxn ang="0">
                    <a:pos x="2" y="50"/>
                  </a:cxn>
                  <a:cxn ang="0">
                    <a:pos x="5" y="38"/>
                  </a:cxn>
                  <a:cxn ang="0">
                    <a:pos x="10" y="27"/>
                  </a:cxn>
                  <a:cxn ang="0">
                    <a:pos x="19" y="17"/>
                  </a:cxn>
                  <a:cxn ang="0">
                    <a:pos x="29" y="10"/>
                  </a:cxn>
                  <a:cxn ang="0">
                    <a:pos x="40" y="5"/>
                  </a:cxn>
                  <a:cxn ang="0">
                    <a:pos x="50" y="1"/>
                  </a:cxn>
                  <a:cxn ang="0">
                    <a:pos x="62" y="0"/>
                  </a:cxn>
                  <a:cxn ang="0">
                    <a:pos x="74" y="1"/>
                  </a:cxn>
                  <a:cxn ang="0">
                    <a:pos x="86" y="5"/>
                  </a:cxn>
                  <a:cxn ang="0">
                    <a:pos x="97" y="10"/>
                  </a:cxn>
                  <a:cxn ang="0">
                    <a:pos x="105" y="17"/>
                  </a:cxn>
                  <a:cxn ang="0">
                    <a:pos x="114" y="27"/>
                  </a:cxn>
                  <a:cxn ang="0">
                    <a:pos x="119" y="38"/>
                  </a:cxn>
                  <a:cxn ang="0">
                    <a:pos x="123" y="50"/>
                  </a:cxn>
                  <a:cxn ang="0">
                    <a:pos x="124" y="62"/>
                  </a:cxn>
                  <a:cxn ang="0">
                    <a:pos x="123" y="74"/>
                  </a:cxn>
                  <a:cxn ang="0">
                    <a:pos x="119" y="84"/>
                  </a:cxn>
                  <a:cxn ang="0">
                    <a:pos x="114" y="95"/>
                  </a:cxn>
                  <a:cxn ang="0">
                    <a:pos x="107" y="105"/>
                  </a:cxn>
                  <a:cxn ang="0">
                    <a:pos x="97" y="112"/>
                  </a:cxn>
                  <a:cxn ang="0">
                    <a:pos x="86" y="117"/>
                  </a:cxn>
                  <a:cxn ang="0">
                    <a:pos x="74" y="121"/>
                  </a:cxn>
                  <a:cxn ang="0">
                    <a:pos x="62" y="122"/>
                  </a:cxn>
                  <a:cxn ang="0">
                    <a:pos x="50" y="121"/>
                  </a:cxn>
                  <a:cxn ang="0">
                    <a:pos x="40" y="119"/>
                  </a:cxn>
                  <a:cxn ang="0">
                    <a:pos x="29" y="114"/>
                  </a:cxn>
                  <a:cxn ang="0">
                    <a:pos x="19" y="105"/>
                  </a:cxn>
                  <a:cxn ang="0">
                    <a:pos x="10" y="95"/>
                  </a:cxn>
                  <a:cxn ang="0">
                    <a:pos x="5" y="84"/>
                  </a:cxn>
                  <a:cxn ang="0">
                    <a:pos x="2" y="74"/>
                  </a:cxn>
                  <a:cxn ang="0">
                    <a:pos x="0" y="62"/>
                  </a:cxn>
                </a:cxnLst>
                <a:rect l="0" t="0" r="r" b="b"/>
                <a:pathLst>
                  <a:path w="124" h="122">
                    <a:moveTo>
                      <a:pt x="0" y="62"/>
                    </a:moveTo>
                    <a:lnTo>
                      <a:pt x="2" y="50"/>
                    </a:lnTo>
                    <a:lnTo>
                      <a:pt x="5" y="38"/>
                    </a:lnTo>
                    <a:lnTo>
                      <a:pt x="10" y="27"/>
                    </a:lnTo>
                    <a:lnTo>
                      <a:pt x="19" y="17"/>
                    </a:lnTo>
                    <a:lnTo>
                      <a:pt x="29" y="10"/>
                    </a:lnTo>
                    <a:lnTo>
                      <a:pt x="40" y="5"/>
                    </a:lnTo>
                    <a:lnTo>
                      <a:pt x="50" y="1"/>
                    </a:lnTo>
                    <a:lnTo>
                      <a:pt x="62" y="0"/>
                    </a:lnTo>
                    <a:lnTo>
                      <a:pt x="74" y="1"/>
                    </a:lnTo>
                    <a:lnTo>
                      <a:pt x="86" y="5"/>
                    </a:lnTo>
                    <a:lnTo>
                      <a:pt x="97" y="10"/>
                    </a:lnTo>
                    <a:lnTo>
                      <a:pt x="105" y="17"/>
                    </a:lnTo>
                    <a:lnTo>
                      <a:pt x="114" y="27"/>
                    </a:lnTo>
                    <a:lnTo>
                      <a:pt x="119" y="38"/>
                    </a:lnTo>
                    <a:lnTo>
                      <a:pt x="123" y="50"/>
                    </a:lnTo>
                    <a:lnTo>
                      <a:pt x="124" y="62"/>
                    </a:lnTo>
                    <a:lnTo>
                      <a:pt x="123" y="74"/>
                    </a:lnTo>
                    <a:lnTo>
                      <a:pt x="119" y="84"/>
                    </a:lnTo>
                    <a:lnTo>
                      <a:pt x="114" y="95"/>
                    </a:lnTo>
                    <a:lnTo>
                      <a:pt x="107" y="105"/>
                    </a:lnTo>
                    <a:lnTo>
                      <a:pt x="97" y="112"/>
                    </a:lnTo>
                    <a:lnTo>
                      <a:pt x="86" y="117"/>
                    </a:lnTo>
                    <a:lnTo>
                      <a:pt x="74" y="121"/>
                    </a:lnTo>
                    <a:lnTo>
                      <a:pt x="62" y="122"/>
                    </a:lnTo>
                    <a:lnTo>
                      <a:pt x="50" y="121"/>
                    </a:lnTo>
                    <a:lnTo>
                      <a:pt x="40" y="119"/>
                    </a:lnTo>
                    <a:lnTo>
                      <a:pt x="29" y="114"/>
                    </a:lnTo>
                    <a:lnTo>
                      <a:pt x="19" y="105"/>
                    </a:lnTo>
                    <a:lnTo>
                      <a:pt x="10" y="95"/>
                    </a:lnTo>
                    <a:lnTo>
                      <a:pt x="5" y="84"/>
                    </a:lnTo>
                    <a:lnTo>
                      <a:pt x="2" y="74"/>
                    </a:lnTo>
                    <a:lnTo>
                      <a:pt x="0" y="62"/>
                    </a:lnTo>
                    <a:close/>
                  </a:path>
                </a:pathLst>
              </a:custGeom>
              <a:no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43"/>
              <p:cNvSpPr>
                <a:spLocks/>
              </p:cNvSpPr>
              <p:nvPr/>
            </p:nvSpPr>
            <p:spPr bwMode="auto">
              <a:xfrm>
                <a:off x="7745277" y="5449926"/>
                <a:ext cx="301403" cy="367709"/>
              </a:xfrm>
              <a:custGeom>
                <a:avLst/>
                <a:gdLst/>
                <a:ahLst/>
                <a:cxnLst>
                  <a:cxn ang="0">
                    <a:pos x="133" y="885"/>
                  </a:cxn>
                  <a:cxn ang="0">
                    <a:pos x="90" y="935"/>
                  </a:cxn>
                  <a:cxn ang="0">
                    <a:pos x="53" y="992"/>
                  </a:cxn>
                  <a:cxn ang="0">
                    <a:pos x="26" y="1052"/>
                  </a:cxn>
                  <a:cxn ang="0">
                    <a:pos x="9" y="1114"/>
                  </a:cxn>
                  <a:cxn ang="0">
                    <a:pos x="0" y="1180"/>
                  </a:cxn>
                  <a:cxn ang="0">
                    <a:pos x="0" y="1246"/>
                  </a:cxn>
                  <a:cxn ang="0">
                    <a:pos x="10" y="1311"/>
                  </a:cxn>
                  <a:cxn ang="0">
                    <a:pos x="29" y="1377"/>
                  </a:cxn>
                  <a:cxn ang="0">
                    <a:pos x="48" y="1425"/>
                  </a:cxn>
                  <a:cxn ang="0">
                    <a:pos x="345" y="1127"/>
                  </a:cxn>
                  <a:cxn ang="0">
                    <a:pos x="530" y="1310"/>
                  </a:cxn>
                  <a:cxn ang="0">
                    <a:pos x="228" y="1614"/>
                  </a:cxn>
                  <a:cxn ang="0">
                    <a:pos x="271" y="1634"/>
                  </a:cxn>
                  <a:cxn ang="0">
                    <a:pos x="304" y="1647"/>
                  </a:cxn>
                  <a:cxn ang="0">
                    <a:pos x="338" y="1657"/>
                  </a:cxn>
                  <a:cxn ang="0">
                    <a:pos x="373" y="1666"/>
                  </a:cxn>
                  <a:cxn ang="0">
                    <a:pos x="406" y="1671"/>
                  </a:cxn>
                  <a:cxn ang="0">
                    <a:pos x="440" y="1672"/>
                  </a:cxn>
                  <a:cxn ang="0">
                    <a:pos x="475" y="1672"/>
                  </a:cxn>
                  <a:cxn ang="0">
                    <a:pos x="509" y="1671"/>
                  </a:cxn>
                  <a:cxn ang="0">
                    <a:pos x="544" y="1666"/>
                  </a:cxn>
                  <a:cxn ang="0">
                    <a:pos x="577" y="1659"/>
                  </a:cxn>
                  <a:cxn ang="0">
                    <a:pos x="610" y="1648"/>
                  </a:cxn>
                  <a:cxn ang="0">
                    <a:pos x="641" y="1636"/>
                  </a:cxn>
                  <a:cxn ang="0">
                    <a:pos x="672" y="1621"/>
                  </a:cxn>
                  <a:cxn ang="0">
                    <a:pos x="701" y="1603"/>
                  </a:cxn>
                  <a:cxn ang="0">
                    <a:pos x="731" y="1584"/>
                  </a:cxn>
                  <a:cxn ang="0">
                    <a:pos x="758" y="1562"/>
                  </a:cxn>
                  <a:cxn ang="0">
                    <a:pos x="784" y="1538"/>
                  </a:cxn>
                  <a:cxn ang="0">
                    <a:pos x="827" y="1489"/>
                  </a:cxn>
                  <a:cxn ang="0">
                    <a:pos x="862" y="1436"/>
                  </a:cxn>
                  <a:cxn ang="0">
                    <a:pos x="888" y="1379"/>
                  </a:cxn>
                  <a:cxn ang="0">
                    <a:pos x="907" y="1318"/>
                  </a:cxn>
                  <a:cxn ang="0">
                    <a:pos x="917" y="1256"/>
                  </a:cxn>
                  <a:cxn ang="0">
                    <a:pos x="919" y="1192"/>
                  </a:cxn>
                  <a:cxn ang="0">
                    <a:pos x="912" y="1128"/>
                  </a:cxn>
                  <a:cxn ang="0">
                    <a:pos x="896" y="1066"/>
                  </a:cxn>
                  <a:cxn ang="0">
                    <a:pos x="1346" y="619"/>
                  </a:cxn>
                  <a:cxn ang="0">
                    <a:pos x="1346" y="0"/>
                  </a:cxn>
                  <a:cxn ang="0">
                    <a:pos x="579" y="765"/>
                  </a:cxn>
                  <a:cxn ang="0">
                    <a:pos x="549" y="759"/>
                  </a:cxn>
                  <a:cxn ang="0">
                    <a:pos x="518" y="753"/>
                  </a:cxn>
                  <a:cxn ang="0">
                    <a:pos x="487" y="750"/>
                  </a:cxn>
                  <a:cxn ang="0">
                    <a:pos x="458" y="750"/>
                  </a:cxn>
                  <a:cxn ang="0">
                    <a:pos x="427" y="750"/>
                  </a:cxn>
                  <a:cxn ang="0">
                    <a:pos x="397" y="753"/>
                  </a:cxn>
                  <a:cxn ang="0">
                    <a:pos x="368" y="759"/>
                  </a:cxn>
                  <a:cxn ang="0">
                    <a:pos x="338" y="765"/>
                  </a:cxn>
                  <a:cxn ang="0">
                    <a:pos x="311" y="774"/>
                  </a:cxn>
                  <a:cxn ang="0">
                    <a:pos x="283" y="784"/>
                  </a:cxn>
                  <a:cxn ang="0">
                    <a:pos x="256" y="797"/>
                  </a:cxn>
                  <a:cxn ang="0">
                    <a:pos x="230" y="810"/>
                  </a:cxn>
                  <a:cxn ang="0">
                    <a:pos x="204" y="826"/>
                  </a:cxn>
                  <a:cxn ang="0">
                    <a:pos x="180" y="843"/>
                  </a:cxn>
                  <a:cxn ang="0">
                    <a:pos x="155" y="864"/>
                  </a:cxn>
                  <a:cxn ang="0">
                    <a:pos x="133" y="885"/>
                  </a:cxn>
                </a:cxnLst>
                <a:rect l="0" t="0" r="r" b="b"/>
                <a:pathLst>
                  <a:path w="1346" h="1672">
                    <a:moveTo>
                      <a:pt x="133" y="885"/>
                    </a:moveTo>
                    <a:lnTo>
                      <a:pt x="90" y="935"/>
                    </a:lnTo>
                    <a:lnTo>
                      <a:pt x="53" y="992"/>
                    </a:lnTo>
                    <a:lnTo>
                      <a:pt x="26" y="1052"/>
                    </a:lnTo>
                    <a:lnTo>
                      <a:pt x="9" y="1114"/>
                    </a:lnTo>
                    <a:lnTo>
                      <a:pt x="0" y="1180"/>
                    </a:lnTo>
                    <a:lnTo>
                      <a:pt x="0" y="1246"/>
                    </a:lnTo>
                    <a:lnTo>
                      <a:pt x="10" y="1311"/>
                    </a:lnTo>
                    <a:lnTo>
                      <a:pt x="29" y="1377"/>
                    </a:lnTo>
                    <a:lnTo>
                      <a:pt x="48" y="1425"/>
                    </a:lnTo>
                    <a:lnTo>
                      <a:pt x="345" y="1127"/>
                    </a:lnTo>
                    <a:lnTo>
                      <a:pt x="530" y="1310"/>
                    </a:lnTo>
                    <a:lnTo>
                      <a:pt x="228" y="1614"/>
                    </a:lnTo>
                    <a:lnTo>
                      <a:pt x="271" y="1634"/>
                    </a:lnTo>
                    <a:lnTo>
                      <a:pt x="304" y="1647"/>
                    </a:lnTo>
                    <a:lnTo>
                      <a:pt x="338" y="1657"/>
                    </a:lnTo>
                    <a:lnTo>
                      <a:pt x="373" y="1666"/>
                    </a:lnTo>
                    <a:lnTo>
                      <a:pt x="406" y="1671"/>
                    </a:lnTo>
                    <a:lnTo>
                      <a:pt x="440" y="1672"/>
                    </a:lnTo>
                    <a:lnTo>
                      <a:pt x="475" y="1672"/>
                    </a:lnTo>
                    <a:lnTo>
                      <a:pt x="509" y="1671"/>
                    </a:lnTo>
                    <a:lnTo>
                      <a:pt x="544" y="1666"/>
                    </a:lnTo>
                    <a:lnTo>
                      <a:pt x="577" y="1659"/>
                    </a:lnTo>
                    <a:lnTo>
                      <a:pt x="610" y="1648"/>
                    </a:lnTo>
                    <a:lnTo>
                      <a:pt x="641" y="1636"/>
                    </a:lnTo>
                    <a:lnTo>
                      <a:pt x="672" y="1621"/>
                    </a:lnTo>
                    <a:lnTo>
                      <a:pt x="701" y="1603"/>
                    </a:lnTo>
                    <a:lnTo>
                      <a:pt x="731" y="1584"/>
                    </a:lnTo>
                    <a:lnTo>
                      <a:pt x="758" y="1562"/>
                    </a:lnTo>
                    <a:lnTo>
                      <a:pt x="784" y="1538"/>
                    </a:lnTo>
                    <a:lnTo>
                      <a:pt x="827" y="1489"/>
                    </a:lnTo>
                    <a:lnTo>
                      <a:pt x="862" y="1436"/>
                    </a:lnTo>
                    <a:lnTo>
                      <a:pt x="888" y="1379"/>
                    </a:lnTo>
                    <a:lnTo>
                      <a:pt x="907" y="1318"/>
                    </a:lnTo>
                    <a:lnTo>
                      <a:pt x="917" y="1256"/>
                    </a:lnTo>
                    <a:lnTo>
                      <a:pt x="919" y="1192"/>
                    </a:lnTo>
                    <a:lnTo>
                      <a:pt x="912" y="1128"/>
                    </a:lnTo>
                    <a:lnTo>
                      <a:pt x="896" y="1066"/>
                    </a:lnTo>
                    <a:lnTo>
                      <a:pt x="1346" y="619"/>
                    </a:lnTo>
                    <a:lnTo>
                      <a:pt x="1346" y="0"/>
                    </a:lnTo>
                    <a:lnTo>
                      <a:pt x="579" y="765"/>
                    </a:lnTo>
                    <a:lnTo>
                      <a:pt x="549" y="759"/>
                    </a:lnTo>
                    <a:lnTo>
                      <a:pt x="518" y="753"/>
                    </a:lnTo>
                    <a:lnTo>
                      <a:pt x="487" y="750"/>
                    </a:lnTo>
                    <a:lnTo>
                      <a:pt x="458" y="750"/>
                    </a:lnTo>
                    <a:lnTo>
                      <a:pt x="427" y="750"/>
                    </a:lnTo>
                    <a:lnTo>
                      <a:pt x="397" y="753"/>
                    </a:lnTo>
                    <a:lnTo>
                      <a:pt x="368" y="759"/>
                    </a:lnTo>
                    <a:lnTo>
                      <a:pt x="338" y="765"/>
                    </a:lnTo>
                    <a:lnTo>
                      <a:pt x="311" y="774"/>
                    </a:lnTo>
                    <a:lnTo>
                      <a:pt x="283" y="784"/>
                    </a:lnTo>
                    <a:lnTo>
                      <a:pt x="256" y="797"/>
                    </a:lnTo>
                    <a:lnTo>
                      <a:pt x="230" y="810"/>
                    </a:lnTo>
                    <a:lnTo>
                      <a:pt x="204" y="826"/>
                    </a:lnTo>
                    <a:lnTo>
                      <a:pt x="180" y="843"/>
                    </a:lnTo>
                    <a:lnTo>
                      <a:pt x="155" y="864"/>
                    </a:lnTo>
                    <a:lnTo>
                      <a:pt x="133" y="885"/>
                    </a:lnTo>
                    <a:close/>
                  </a:path>
                </a:pathLst>
              </a:custGeom>
              <a:no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47"/>
              <p:cNvSpPr>
                <a:spLocks/>
              </p:cNvSpPr>
              <p:nvPr/>
            </p:nvSpPr>
            <p:spPr bwMode="auto">
              <a:xfrm>
                <a:off x="7792999" y="5708114"/>
                <a:ext cx="59313" cy="58633"/>
              </a:xfrm>
              <a:custGeom>
                <a:avLst/>
                <a:gdLst/>
                <a:ahLst/>
                <a:cxnLst>
                  <a:cxn ang="0">
                    <a:pos x="45" y="262"/>
                  </a:cxn>
                  <a:cxn ang="0">
                    <a:pos x="57" y="273"/>
                  </a:cxn>
                  <a:cxn ang="0">
                    <a:pos x="67" y="281"/>
                  </a:cxn>
                  <a:cxn ang="0">
                    <a:pos x="81" y="290"/>
                  </a:cxn>
                  <a:cxn ang="0">
                    <a:pos x="93" y="295"/>
                  </a:cxn>
                  <a:cxn ang="0">
                    <a:pos x="107" y="300"/>
                  </a:cxn>
                  <a:cxn ang="0">
                    <a:pos x="123" y="304"/>
                  </a:cxn>
                  <a:cxn ang="0">
                    <a:pos x="136" y="307"/>
                  </a:cxn>
                  <a:cxn ang="0">
                    <a:pos x="152" y="307"/>
                  </a:cxn>
                  <a:cxn ang="0">
                    <a:pos x="167" y="307"/>
                  </a:cxn>
                  <a:cxn ang="0">
                    <a:pos x="183" y="304"/>
                  </a:cxn>
                  <a:cxn ang="0">
                    <a:pos x="197" y="300"/>
                  </a:cxn>
                  <a:cxn ang="0">
                    <a:pos x="211" y="295"/>
                  </a:cxn>
                  <a:cxn ang="0">
                    <a:pos x="224" y="290"/>
                  </a:cxn>
                  <a:cxn ang="0">
                    <a:pos x="237" y="281"/>
                  </a:cxn>
                  <a:cxn ang="0">
                    <a:pos x="249" y="273"/>
                  </a:cxn>
                  <a:cxn ang="0">
                    <a:pos x="261" y="262"/>
                  </a:cxn>
                  <a:cxn ang="0">
                    <a:pos x="280" y="238"/>
                  </a:cxn>
                  <a:cxn ang="0">
                    <a:pos x="294" y="212"/>
                  </a:cxn>
                  <a:cxn ang="0">
                    <a:pos x="302" y="185"/>
                  </a:cxn>
                  <a:cxn ang="0">
                    <a:pos x="306" y="154"/>
                  </a:cxn>
                  <a:cxn ang="0">
                    <a:pos x="302" y="123"/>
                  </a:cxn>
                  <a:cxn ang="0">
                    <a:pos x="294" y="95"/>
                  </a:cxn>
                  <a:cxn ang="0">
                    <a:pos x="280" y="69"/>
                  </a:cxn>
                  <a:cxn ang="0">
                    <a:pos x="261" y="45"/>
                  </a:cxn>
                  <a:cxn ang="0">
                    <a:pos x="249" y="34"/>
                  </a:cxn>
                  <a:cxn ang="0">
                    <a:pos x="237" y="26"/>
                  </a:cxn>
                  <a:cxn ang="0">
                    <a:pos x="224" y="17"/>
                  </a:cxn>
                  <a:cxn ang="0">
                    <a:pos x="211" y="12"/>
                  </a:cxn>
                  <a:cxn ang="0">
                    <a:pos x="197" y="7"/>
                  </a:cxn>
                  <a:cxn ang="0">
                    <a:pos x="183" y="3"/>
                  </a:cxn>
                  <a:cxn ang="0">
                    <a:pos x="167" y="0"/>
                  </a:cxn>
                  <a:cxn ang="0">
                    <a:pos x="152" y="0"/>
                  </a:cxn>
                  <a:cxn ang="0">
                    <a:pos x="136" y="0"/>
                  </a:cxn>
                  <a:cxn ang="0">
                    <a:pos x="123" y="3"/>
                  </a:cxn>
                  <a:cxn ang="0">
                    <a:pos x="107" y="7"/>
                  </a:cxn>
                  <a:cxn ang="0">
                    <a:pos x="93" y="12"/>
                  </a:cxn>
                  <a:cxn ang="0">
                    <a:pos x="81" y="17"/>
                  </a:cxn>
                  <a:cxn ang="0">
                    <a:pos x="67" y="26"/>
                  </a:cxn>
                  <a:cxn ang="0">
                    <a:pos x="57" y="34"/>
                  </a:cxn>
                  <a:cxn ang="0">
                    <a:pos x="45" y="45"/>
                  </a:cxn>
                  <a:cxn ang="0">
                    <a:pos x="26" y="69"/>
                  </a:cxn>
                  <a:cxn ang="0">
                    <a:pos x="12" y="95"/>
                  </a:cxn>
                  <a:cxn ang="0">
                    <a:pos x="3" y="123"/>
                  </a:cxn>
                  <a:cxn ang="0">
                    <a:pos x="0" y="154"/>
                  </a:cxn>
                  <a:cxn ang="0">
                    <a:pos x="3" y="185"/>
                  </a:cxn>
                  <a:cxn ang="0">
                    <a:pos x="12" y="212"/>
                  </a:cxn>
                  <a:cxn ang="0">
                    <a:pos x="26" y="238"/>
                  </a:cxn>
                  <a:cxn ang="0">
                    <a:pos x="45" y="262"/>
                  </a:cxn>
                </a:cxnLst>
                <a:rect l="0" t="0" r="r" b="b"/>
                <a:pathLst>
                  <a:path w="306" h="307">
                    <a:moveTo>
                      <a:pt x="45" y="262"/>
                    </a:moveTo>
                    <a:lnTo>
                      <a:pt x="57" y="273"/>
                    </a:lnTo>
                    <a:lnTo>
                      <a:pt x="67" y="281"/>
                    </a:lnTo>
                    <a:lnTo>
                      <a:pt x="81" y="290"/>
                    </a:lnTo>
                    <a:lnTo>
                      <a:pt x="93" y="295"/>
                    </a:lnTo>
                    <a:lnTo>
                      <a:pt x="107" y="300"/>
                    </a:lnTo>
                    <a:lnTo>
                      <a:pt x="123" y="304"/>
                    </a:lnTo>
                    <a:lnTo>
                      <a:pt x="136" y="307"/>
                    </a:lnTo>
                    <a:lnTo>
                      <a:pt x="152" y="307"/>
                    </a:lnTo>
                    <a:lnTo>
                      <a:pt x="167" y="307"/>
                    </a:lnTo>
                    <a:lnTo>
                      <a:pt x="183" y="304"/>
                    </a:lnTo>
                    <a:lnTo>
                      <a:pt x="197" y="300"/>
                    </a:lnTo>
                    <a:lnTo>
                      <a:pt x="211" y="295"/>
                    </a:lnTo>
                    <a:lnTo>
                      <a:pt x="224" y="290"/>
                    </a:lnTo>
                    <a:lnTo>
                      <a:pt x="237" y="281"/>
                    </a:lnTo>
                    <a:lnTo>
                      <a:pt x="249" y="273"/>
                    </a:lnTo>
                    <a:lnTo>
                      <a:pt x="261" y="262"/>
                    </a:lnTo>
                    <a:lnTo>
                      <a:pt x="280" y="238"/>
                    </a:lnTo>
                    <a:lnTo>
                      <a:pt x="294" y="212"/>
                    </a:lnTo>
                    <a:lnTo>
                      <a:pt x="302" y="185"/>
                    </a:lnTo>
                    <a:lnTo>
                      <a:pt x="306" y="154"/>
                    </a:lnTo>
                    <a:lnTo>
                      <a:pt x="302" y="123"/>
                    </a:lnTo>
                    <a:lnTo>
                      <a:pt x="294" y="95"/>
                    </a:lnTo>
                    <a:lnTo>
                      <a:pt x="280" y="69"/>
                    </a:lnTo>
                    <a:lnTo>
                      <a:pt x="261" y="45"/>
                    </a:lnTo>
                    <a:lnTo>
                      <a:pt x="249" y="34"/>
                    </a:lnTo>
                    <a:lnTo>
                      <a:pt x="237" y="26"/>
                    </a:lnTo>
                    <a:lnTo>
                      <a:pt x="224" y="17"/>
                    </a:lnTo>
                    <a:lnTo>
                      <a:pt x="211" y="12"/>
                    </a:lnTo>
                    <a:lnTo>
                      <a:pt x="197" y="7"/>
                    </a:lnTo>
                    <a:lnTo>
                      <a:pt x="183" y="3"/>
                    </a:lnTo>
                    <a:lnTo>
                      <a:pt x="167" y="0"/>
                    </a:lnTo>
                    <a:lnTo>
                      <a:pt x="152" y="0"/>
                    </a:lnTo>
                    <a:lnTo>
                      <a:pt x="136" y="0"/>
                    </a:lnTo>
                    <a:lnTo>
                      <a:pt x="123" y="3"/>
                    </a:lnTo>
                    <a:lnTo>
                      <a:pt x="107" y="7"/>
                    </a:lnTo>
                    <a:lnTo>
                      <a:pt x="93" y="12"/>
                    </a:lnTo>
                    <a:lnTo>
                      <a:pt x="81" y="17"/>
                    </a:lnTo>
                    <a:lnTo>
                      <a:pt x="67" y="26"/>
                    </a:lnTo>
                    <a:lnTo>
                      <a:pt x="57" y="34"/>
                    </a:lnTo>
                    <a:lnTo>
                      <a:pt x="45" y="45"/>
                    </a:lnTo>
                    <a:lnTo>
                      <a:pt x="26" y="69"/>
                    </a:lnTo>
                    <a:lnTo>
                      <a:pt x="12" y="95"/>
                    </a:lnTo>
                    <a:lnTo>
                      <a:pt x="3" y="123"/>
                    </a:lnTo>
                    <a:lnTo>
                      <a:pt x="0" y="154"/>
                    </a:lnTo>
                    <a:lnTo>
                      <a:pt x="3" y="185"/>
                    </a:lnTo>
                    <a:lnTo>
                      <a:pt x="12" y="212"/>
                    </a:lnTo>
                    <a:lnTo>
                      <a:pt x="26" y="238"/>
                    </a:lnTo>
                    <a:lnTo>
                      <a:pt x="45" y="262"/>
                    </a:lnTo>
                    <a:close/>
                  </a:path>
                </a:pathLst>
              </a:custGeom>
              <a:no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48"/>
              <p:cNvSpPr>
                <a:spLocks/>
              </p:cNvSpPr>
              <p:nvPr/>
            </p:nvSpPr>
            <p:spPr bwMode="auto">
              <a:xfrm>
                <a:off x="7806908" y="5722117"/>
                <a:ext cx="32565" cy="32744"/>
              </a:xfrm>
              <a:custGeom>
                <a:avLst/>
                <a:gdLst/>
                <a:ahLst/>
                <a:cxnLst>
                  <a:cxn ang="0">
                    <a:pos x="0" y="85"/>
                  </a:cxn>
                  <a:cxn ang="0">
                    <a:pos x="2" y="67"/>
                  </a:cxn>
                  <a:cxn ang="0">
                    <a:pos x="5" y="52"/>
                  </a:cxn>
                  <a:cxn ang="0">
                    <a:pos x="14" y="36"/>
                  </a:cxn>
                  <a:cxn ang="0">
                    <a:pos x="24" y="24"/>
                  </a:cxn>
                  <a:cxn ang="0">
                    <a:pos x="31" y="19"/>
                  </a:cxn>
                  <a:cxn ang="0">
                    <a:pos x="37" y="14"/>
                  </a:cxn>
                  <a:cxn ang="0">
                    <a:pos x="45" y="10"/>
                  </a:cxn>
                  <a:cxn ang="0">
                    <a:pos x="52" y="7"/>
                  </a:cxn>
                  <a:cxn ang="0">
                    <a:pos x="61" y="3"/>
                  </a:cxn>
                  <a:cxn ang="0">
                    <a:pos x="68" y="2"/>
                  </a:cxn>
                  <a:cxn ang="0">
                    <a:pos x="76" y="0"/>
                  </a:cxn>
                  <a:cxn ang="0">
                    <a:pos x="85" y="0"/>
                  </a:cxn>
                  <a:cxn ang="0">
                    <a:pos x="94" y="0"/>
                  </a:cxn>
                  <a:cxn ang="0">
                    <a:pos x="102" y="2"/>
                  </a:cxn>
                  <a:cxn ang="0">
                    <a:pos x="109" y="3"/>
                  </a:cxn>
                  <a:cxn ang="0">
                    <a:pos x="118" y="7"/>
                  </a:cxn>
                  <a:cxn ang="0">
                    <a:pos x="125" y="10"/>
                  </a:cxn>
                  <a:cxn ang="0">
                    <a:pos x="132" y="14"/>
                  </a:cxn>
                  <a:cxn ang="0">
                    <a:pos x="138" y="19"/>
                  </a:cxn>
                  <a:cxn ang="0">
                    <a:pos x="145" y="24"/>
                  </a:cxn>
                  <a:cxn ang="0">
                    <a:pos x="156" y="36"/>
                  </a:cxn>
                  <a:cxn ang="0">
                    <a:pos x="163" y="52"/>
                  </a:cxn>
                  <a:cxn ang="0">
                    <a:pos x="168" y="67"/>
                  </a:cxn>
                  <a:cxn ang="0">
                    <a:pos x="170" y="85"/>
                  </a:cxn>
                  <a:cxn ang="0">
                    <a:pos x="168" y="102"/>
                  </a:cxn>
                  <a:cxn ang="0">
                    <a:pos x="163" y="117"/>
                  </a:cxn>
                  <a:cxn ang="0">
                    <a:pos x="156" y="133"/>
                  </a:cxn>
                  <a:cxn ang="0">
                    <a:pos x="145" y="145"/>
                  </a:cxn>
                  <a:cxn ang="0">
                    <a:pos x="132" y="155"/>
                  </a:cxn>
                  <a:cxn ang="0">
                    <a:pos x="118" y="164"/>
                  </a:cxn>
                  <a:cxn ang="0">
                    <a:pos x="102" y="169"/>
                  </a:cxn>
                  <a:cxn ang="0">
                    <a:pos x="85" y="171"/>
                  </a:cxn>
                  <a:cxn ang="0">
                    <a:pos x="76" y="171"/>
                  </a:cxn>
                  <a:cxn ang="0">
                    <a:pos x="68" y="169"/>
                  </a:cxn>
                  <a:cxn ang="0">
                    <a:pos x="61" y="168"/>
                  </a:cxn>
                  <a:cxn ang="0">
                    <a:pos x="52" y="164"/>
                  </a:cxn>
                  <a:cxn ang="0">
                    <a:pos x="45" y="161"/>
                  </a:cxn>
                  <a:cxn ang="0">
                    <a:pos x="37" y="155"/>
                  </a:cxn>
                  <a:cxn ang="0">
                    <a:pos x="31" y="150"/>
                  </a:cxn>
                  <a:cxn ang="0">
                    <a:pos x="24" y="145"/>
                  </a:cxn>
                  <a:cxn ang="0">
                    <a:pos x="14" y="133"/>
                  </a:cxn>
                  <a:cxn ang="0">
                    <a:pos x="5" y="117"/>
                  </a:cxn>
                  <a:cxn ang="0">
                    <a:pos x="2" y="102"/>
                  </a:cxn>
                  <a:cxn ang="0">
                    <a:pos x="0" y="85"/>
                  </a:cxn>
                </a:cxnLst>
                <a:rect l="0" t="0" r="r" b="b"/>
                <a:pathLst>
                  <a:path w="170" h="171">
                    <a:moveTo>
                      <a:pt x="0" y="85"/>
                    </a:moveTo>
                    <a:lnTo>
                      <a:pt x="2" y="67"/>
                    </a:lnTo>
                    <a:lnTo>
                      <a:pt x="5" y="52"/>
                    </a:lnTo>
                    <a:lnTo>
                      <a:pt x="14" y="36"/>
                    </a:lnTo>
                    <a:lnTo>
                      <a:pt x="24" y="24"/>
                    </a:lnTo>
                    <a:lnTo>
                      <a:pt x="31" y="19"/>
                    </a:lnTo>
                    <a:lnTo>
                      <a:pt x="37" y="14"/>
                    </a:lnTo>
                    <a:lnTo>
                      <a:pt x="45" y="10"/>
                    </a:lnTo>
                    <a:lnTo>
                      <a:pt x="52" y="7"/>
                    </a:lnTo>
                    <a:lnTo>
                      <a:pt x="61" y="3"/>
                    </a:lnTo>
                    <a:lnTo>
                      <a:pt x="68" y="2"/>
                    </a:lnTo>
                    <a:lnTo>
                      <a:pt x="76" y="0"/>
                    </a:lnTo>
                    <a:lnTo>
                      <a:pt x="85" y="0"/>
                    </a:lnTo>
                    <a:lnTo>
                      <a:pt x="94" y="0"/>
                    </a:lnTo>
                    <a:lnTo>
                      <a:pt x="102" y="2"/>
                    </a:lnTo>
                    <a:lnTo>
                      <a:pt x="109" y="3"/>
                    </a:lnTo>
                    <a:lnTo>
                      <a:pt x="118" y="7"/>
                    </a:lnTo>
                    <a:lnTo>
                      <a:pt x="125" y="10"/>
                    </a:lnTo>
                    <a:lnTo>
                      <a:pt x="132" y="14"/>
                    </a:lnTo>
                    <a:lnTo>
                      <a:pt x="138" y="19"/>
                    </a:lnTo>
                    <a:lnTo>
                      <a:pt x="145" y="24"/>
                    </a:lnTo>
                    <a:lnTo>
                      <a:pt x="156" y="36"/>
                    </a:lnTo>
                    <a:lnTo>
                      <a:pt x="163" y="52"/>
                    </a:lnTo>
                    <a:lnTo>
                      <a:pt x="168" y="67"/>
                    </a:lnTo>
                    <a:lnTo>
                      <a:pt x="170" y="85"/>
                    </a:lnTo>
                    <a:lnTo>
                      <a:pt x="168" y="102"/>
                    </a:lnTo>
                    <a:lnTo>
                      <a:pt x="163" y="117"/>
                    </a:lnTo>
                    <a:lnTo>
                      <a:pt x="156" y="133"/>
                    </a:lnTo>
                    <a:lnTo>
                      <a:pt x="145" y="145"/>
                    </a:lnTo>
                    <a:lnTo>
                      <a:pt x="132" y="155"/>
                    </a:lnTo>
                    <a:lnTo>
                      <a:pt x="118" y="164"/>
                    </a:lnTo>
                    <a:lnTo>
                      <a:pt x="102" y="169"/>
                    </a:lnTo>
                    <a:lnTo>
                      <a:pt x="85" y="171"/>
                    </a:lnTo>
                    <a:lnTo>
                      <a:pt x="76" y="171"/>
                    </a:lnTo>
                    <a:lnTo>
                      <a:pt x="68" y="169"/>
                    </a:lnTo>
                    <a:lnTo>
                      <a:pt x="61" y="168"/>
                    </a:lnTo>
                    <a:lnTo>
                      <a:pt x="52" y="164"/>
                    </a:lnTo>
                    <a:lnTo>
                      <a:pt x="45" y="161"/>
                    </a:lnTo>
                    <a:lnTo>
                      <a:pt x="37" y="155"/>
                    </a:lnTo>
                    <a:lnTo>
                      <a:pt x="31" y="150"/>
                    </a:lnTo>
                    <a:lnTo>
                      <a:pt x="24" y="145"/>
                    </a:lnTo>
                    <a:lnTo>
                      <a:pt x="14" y="133"/>
                    </a:lnTo>
                    <a:lnTo>
                      <a:pt x="5" y="117"/>
                    </a:lnTo>
                    <a:lnTo>
                      <a:pt x="2" y="102"/>
                    </a:lnTo>
                    <a:lnTo>
                      <a:pt x="0" y="85"/>
                    </a:lnTo>
                    <a:close/>
                  </a:path>
                </a:pathLst>
              </a:custGeom>
              <a:no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Rectangle 38"/>
              <p:cNvSpPr/>
              <p:nvPr/>
            </p:nvSpPr>
            <p:spPr bwMode="auto">
              <a:xfrm rot="18947059">
                <a:off x="7891137" y="5574390"/>
                <a:ext cx="123011" cy="70583"/>
              </a:xfrm>
              <a:prstGeom prst="rect">
                <a:avLst/>
              </a:pr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1600" b="1" dirty="0">
                  <a:cs typeface="Arial" charset="0"/>
                </a:endParaRPr>
              </a:p>
            </p:txBody>
          </p:sp>
        </p:grpSp>
      </p:grpSp>
      <p:grpSp>
        <p:nvGrpSpPr>
          <p:cNvPr id="12" name="Group 11"/>
          <p:cNvGrpSpPr/>
          <p:nvPr/>
        </p:nvGrpSpPr>
        <p:grpSpPr>
          <a:xfrm>
            <a:off x="3285707" y="1174606"/>
            <a:ext cx="2249152" cy="5124594"/>
            <a:chOff x="3700740" y="1415906"/>
            <a:chExt cx="2179803" cy="4756294"/>
          </a:xfrm>
        </p:grpSpPr>
        <p:sp>
          <p:nvSpPr>
            <p:cNvPr id="3" name="Rounded Rectangle 2"/>
            <p:cNvSpPr/>
            <p:nvPr/>
          </p:nvSpPr>
          <p:spPr>
            <a:xfrm>
              <a:off x="4008942" y="1450500"/>
              <a:ext cx="1871601" cy="576171"/>
            </a:xfrm>
            <a:prstGeom prst="roundRect">
              <a:avLst>
                <a:gd name="adj" fmla="val 789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84048" rtlCol="0" anchor="ctr"/>
            <a:lstStyle/>
            <a:p>
              <a:r>
                <a:rPr lang="en-GB" sz="1400" b="1" dirty="0">
                  <a:solidFill>
                    <a:schemeClr val="bg1"/>
                  </a:solidFill>
                </a:rPr>
                <a:t>QA Services</a:t>
              </a:r>
            </a:p>
          </p:txBody>
        </p:sp>
        <p:sp>
          <p:nvSpPr>
            <p:cNvPr id="4" name="Oval 3"/>
            <p:cNvSpPr/>
            <p:nvPr/>
          </p:nvSpPr>
          <p:spPr>
            <a:xfrm>
              <a:off x="3700740" y="1415906"/>
              <a:ext cx="630000" cy="630000"/>
            </a:xfrm>
            <a:prstGeom prst="ellipse">
              <a:avLst/>
            </a:prstGeom>
          </p:spPr>
          <p:style>
            <a:lnRef idx="2">
              <a:schemeClr val="accent1"/>
            </a:lnRef>
            <a:fillRef idx="1">
              <a:schemeClr val="lt1"/>
            </a:fillRef>
            <a:effectRef idx="0">
              <a:schemeClr val="accent1"/>
            </a:effectRef>
            <a:fontRef idx="minor">
              <a:schemeClr val="dk1"/>
            </a:fontRef>
          </p:style>
          <p:txBody>
            <a:bodyPr wrap="square" rtlCol="0" anchor="ctr">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endParaRPr lang="en-GB" sz="1600" b="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ndParaRPr>
            </a:p>
          </p:txBody>
        </p:sp>
        <p:sp>
          <p:nvSpPr>
            <p:cNvPr id="11" name="Espace réservé du contenu 2"/>
            <p:cNvSpPr txBox="1">
              <a:spLocks/>
            </p:cNvSpPr>
            <p:nvPr/>
          </p:nvSpPr>
          <p:spPr>
            <a:xfrm>
              <a:off x="3700740" y="2130832"/>
              <a:ext cx="2179802" cy="4041368"/>
            </a:xfrm>
            <a:prstGeom prst="rect">
              <a:avLst/>
            </a:prstGeom>
            <a:solidFill>
              <a:schemeClr val="bg1">
                <a:lumMod val="95000"/>
              </a:schemeClr>
            </a:solidFill>
          </p:spPr>
          <p:txBody>
            <a:bodyPr vert="horz" wrap="square" lIns="91440" tIns="45720" rIns="91440" bIns="45720" rtlCol="0">
              <a:noAutofit/>
            </a:bodyPr>
            <a:lstStyle/>
            <a:p>
              <a:pPr>
                <a:spcAft>
                  <a:spcPts val="200"/>
                </a:spcAft>
                <a:buClr>
                  <a:schemeClr val="accent1"/>
                </a:buClr>
              </a:pPr>
              <a:r>
                <a:rPr lang="en-US" sz="1050" b="1" dirty="0">
                  <a:solidFill>
                    <a:srgbClr val="9F958F">
                      <a:lumMod val="50000"/>
                    </a:srgbClr>
                  </a:solidFill>
                  <a:latin typeface="+mj-lt"/>
                </a:rPr>
                <a:t>Application Verification &amp; Validation</a:t>
              </a:r>
            </a:p>
            <a:p>
              <a:pPr marL="168275" indent="-168275">
                <a:spcAft>
                  <a:spcPts val="200"/>
                </a:spcAft>
                <a:buClr>
                  <a:schemeClr val="accent1"/>
                </a:buClr>
                <a:buFont typeface="Wingdings" pitchFamily="2" charset="2"/>
                <a:buChar char="§"/>
              </a:pPr>
              <a:r>
                <a:rPr lang="en-US" sz="1000" dirty="0">
                  <a:solidFill>
                    <a:srgbClr val="9F958F">
                      <a:lumMod val="50000"/>
                    </a:srgbClr>
                  </a:solidFill>
                  <a:latin typeface="+mj-lt"/>
                </a:rPr>
                <a:t>Testing to ensure that the changes meets the business requirements</a:t>
              </a:r>
            </a:p>
            <a:p>
              <a:pPr marL="168275" indent="-168275">
                <a:spcAft>
                  <a:spcPts val="200"/>
                </a:spcAft>
                <a:buClr>
                  <a:schemeClr val="accent1"/>
                </a:buClr>
                <a:buFont typeface="Wingdings" pitchFamily="2" charset="2"/>
                <a:buChar char="§"/>
              </a:pPr>
              <a:r>
                <a:rPr lang="en-US" sz="1000" dirty="0">
                  <a:solidFill>
                    <a:srgbClr val="9F958F">
                      <a:lumMod val="50000"/>
                    </a:srgbClr>
                  </a:solidFill>
                  <a:latin typeface="+mj-lt"/>
                </a:rPr>
                <a:t>Usage of manual and automated testing methods</a:t>
              </a:r>
            </a:p>
            <a:p>
              <a:pPr marL="168275" indent="-168275">
                <a:spcAft>
                  <a:spcPts val="200"/>
                </a:spcAft>
                <a:buClr>
                  <a:schemeClr val="accent1"/>
                </a:buClr>
                <a:buFont typeface="Wingdings" pitchFamily="2" charset="2"/>
                <a:buChar char="§"/>
              </a:pPr>
              <a:r>
                <a:rPr lang="en-US" sz="1000" dirty="0">
                  <a:solidFill>
                    <a:srgbClr val="9F958F">
                      <a:lumMod val="50000"/>
                    </a:srgbClr>
                  </a:solidFill>
                  <a:latin typeface="+mj-lt"/>
                </a:rPr>
                <a:t>App Store Certification</a:t>
              </a:r>
            </a:p>
            <a:p>
              <a:pPr marL="168275" indent="-168275">
                <a:spcAft>
                  <a:spcPts val="200"/>
                </a:spcAft>
                <a:buClr>
                  <a:schemeClr val="accent1"/>
                </a:buClr>
                <a:buFont typeface="Wingdings" pitchFamily="2" charset="2"/>
                <a:buChar char="§"/>
              </a:pPr>
              <a:r>
                <a:rPr lang="en-US" sz="1000" dirty="0">
                  <a:solidFill>
                    <a:srgbClr val="9F958F">
                      <a:lumMod val="50000"/>
                    </a:srgbClr>
                  </a:solidFill>
                  <a:latin typeface="+mj-lt"/>
                </a:rPr>
                <a:t>Pre-validation of app to determine compliance to app store policies</a:t>
              </a:r>
            </a:p>
            <a:p>
              <a:pPr marL="168275" indent="-168275">
                <a:spcAft>
                  <a:spcPts val="200"/>
                </a:spcAft>
                <a:buClr>
                  <a:schemeClr val="accent1"/>
                </a:buClr>
                <a:buFont typeface="Wingdings" pitchFamily="2" charset="2"/>
                <a:buChar char="§"/>
              </a:pPr>
              <a:r>
                <a:rPr lang="en-US" sz="1000" dirty="0">
                  <a:solidFill>
                    <a:srgbClr val="9F958F">
                      <a:lumMod val="50000"/>
                    </a:srgbClr>
                  </a:solidFill>
                  <a:latin typeface="+mj-lt"/>
                </a:rPr>
                <a:t>Regression Testing </a:t>
              </a:r>
            </a:p>
            <a:p>
              <a:pPr marL="168275" indent="-168275">
                <a:spcAft>
                  <a:spcPts val="200"/>
                </a:spcAft>
                <a:buClr>
                  <a:schemeClr val="accent1"/>
                </a:buClr>
                <a:buFont typeface="Wingdings" pitchFamily="2" charset="2"/>
                <a:buChar char="§"/>
              </a:pPr>
              <a:r>
                <a:rPr lang="en-US" sz="1000" dirty="0">
                  <a:solidFill>
                    <a:srgbClr val="9F958F">
                      <a:lumMod val="50000"/>
                    </a:srgbClr>
                  </a:solidFill>
                  <a:latin typeface="+mj-lt"/>
                </a:rPr>
                <a:t>Ensure that changes do not break existing functionality</a:t>
              </a:r>
            </a:p>
            <a:p>
              <a:pPr marL="168275" indent="-168275">
                <a:spcAft>
                  <a:spcPts val="200"/>
                </a:spcAft>
                <a:buClr>
                  <a:schemeClr val="accent1"/>
                </a:buClr>
                <a:buFont typeface="Wingdings" pitchFamily="2" charset="2"/>
                <a:buChar char="§"/>
              </a:pPr>
              <a:r>
                <a:rPr lang="en-US" sz="1000" dirty="0">
                  <a:solidFill>
                    <a:srgbClr val="9F958F">
                      <a:lumMod val="50000"/>
                    </a:srgbClr>
                  </a:solidFill>
                  <a:latin typeface="+mj-lt"/>
                </a:rPr>
                <a:t>Performance Testing</a:t>
              </a:r>
            </a:p>
            <a:p>
              <a:pPr marL="168275" indent="-168275">
                <a:spcAft>
                  <a:spcPts val="200"/>
                </a:spcAft>
                <a:buClr>
                  <a:schemeClr val="accent1"/>
                </a:buClr>
                <a:buFont typeface="Wingdings" pitchFamily="2" charset="2"/>
                <a:buChar char="§"/>
              </a:pPr>
              <a:r>
                <a:rPr lang="en-US" sz="1000" dirty="0">
                  <a:solidFill>
                    <a:srgbClr val="9F958F">
                      <a:lumMod val="50000"/>
                    </a:srgbClr>
                  </a:solidFill>
                  <a:latin typeface="+mj-lt"/>
                </a:rPr>
                <a:t>Verify that the app user experience is acceptable under  varying conditions</a:t>
              </a:r>
            </a:p>
            <a:p>
              <a:pPr marL="168275" indent="-168275">
                <a:spcAft>
                  <a:spcPts val="200"/>
                </a:spcAft>
                <a:buClr>
                  <a:schemeClr val="accent1"/>
                </a:buClr>
                <a:buFont typeface="Wingdings" pitchFamily="2" charset="2"/>
                <a:buChar char="§"/>
              </a:pPr>
              <a:r>
                <a:rPr lang="en-US" sz="1000" dirty="0">
                  <a:solidFill>
                    <a:srgbClr val="9F958F">
                      <a:lumMod val="50000"/>
                    </a:srgbClr>
                  </a:solidFill>
                  <a:latin typeface="+mj-lt"/>
                </a:rPr>
                <a:t>Testing on Devices / Simulators</a:t>
              </a:r>
            </a:p>
            <a:p>
              <a:pPr marL="168275" indent="-168275">
                <a:spcAft>
                  <a:spcPts val="200"/>
                </a:spcAft>
                <a:buClr>
                  <a:schemeClr val="accent1"/>
                </a:buClr>
                <a:buFont typeface="Wingdings" pitchFamily="2" charset="2"/>
                <a:buChar char="§"/>
              </a:pPr>
              <a:r>
                <a:rPr lang="en-US" sz="1000" dirty="0">
                  <a:solidFill>
                    <a:srgbClr val="9F958F">
                      <a:lumMod val="50000"/>
                    </a:srgbClr>
                  </a:solidFill>
                  <a:latin typeface="+mj-lt"/>
                </a:rPr>
                <a:t>Test app against various devices to simulate real world usage</a:t>
              </a:r>
            </a:p>
          </p:txBody>
        </p:sp>
        <p:sp>
          <p:nvSpPr>
            <p:cNvPr id="17" name="Half Frame 16"/>
            <p:cNvSpPr/>
            <p:nvPr/>
          </p:nvSpPr>
          <p:spPr>
            <a:xfrm rot="10800000">
              <a:off x="5499542" y="5833645"/>
              <a:ext cx="381000" cy="338554"/>
            </a:xfrm>
            <a:prstGeom prst="halfFrame">
              <a:avLst>
                <a:gd name="adj1" fmla="val 17006"/>
                <a:gd name="adj2" fmla="val 13946"/>
              </a:avLst>
            </a:prstGeom>
            <a:solidFill>
              <a:schemeClr val="accent1"/>
            </a:solidFill>
          </p:spPr>
          <p:txBody>
            <a:bodyPr wrap="square" rtlCol="0" anchor="ctr">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endParaRPr lang="en-GB" sz="1600" b="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ndParaRPr>
            </a:p>
          </p:txBody>
        </p:sp>
        <p:grpSp>
          <p:nvGrpSpPr>
            <p:cNvPr id="42" name="Group 52"/>
            <p:cNvGrpSpPr/>
            <p:nvPr/>
          </p:nvGrpSpPr>
          <p:grpSpPr>
            <a:xfrm>
              <a:off x="3915126" y="1516878"/>
              <a:ext cx="293530" cy="426223"/>
              <a:chOff x="2971800" y="4191000"/>
              <a:chExt cx="484632" cy="594360"/>
            </a:xfrm>
            <a:solidFill>
              <a:schemeClr val="accent2"/>
            </a:solidFill>
          </p:grpSpPr>
          <p:sp>
            <p:nvSpPr>
              <p:cNvPr id="43" name="Freeform 712"/>
              <p:cNvSpPr>
                <a:spLocks/>
              </p:cNvSpPr>
              <p:nvPr/>
            </p:nvSpPr>
            <p:spPr bwMode="auto">
              <a:xfrm>
                <a:off x="3291657" y="4693133"/>
                <a:ext cx="16964" cy="87105"/>
              </a:xfrm>
              <a:custGeom>
                <a:avLst/>
                <a:gdLst/>
                <a:ahLst/>
                <a:cxnLst>
                  <a:cxn ang="0">
                    <a:pos x="0" y="3"/>
                  </a:cxn>
                  <a:cxn ang="0">
                    <a:pos x="0" y="21"/>
                  </a:cxn>
                  <a:cxn ang="0">
                    <a:pos x="0" y="26"/>
                  </a:cxn>
                  <a:cxn ang="0">
                    <a:pos x="0" y="28"/>
                  </a:cxn>
                  <a:cxn ang="0">
                    <a:pos x="0" y="28"/>
                  </a:cxn>
                  <a:cxn ang="0">
                    <a:pos x="2" y="28"/>
                  </a:cxn>
                  <a:cxn ang="0">
                    <a:pos x="0" y="28"/>
                  </a:cxn>
                  <a:cxn ang="0">
                    <a:pos x="0" y="28"/>
                  </a:cxn>
                  <a:cxn ang="0">
                    <a:pos x="2" y="28"/>
                  </a:cxn>
                  <a:cxn ang="0">
                    <a:pos x="0" y="28"/>
                  </a:cxn>
                  <a:cxn ang="0">
                    <a:pos x="3" y="28"/>
                  </a:cxn>
                  <a:cxn ang="0">
                    <a:pos x="0" y="27"/>
                  </a:cxn>
                  <a:cxn ang="0">
                    <a:pos x="0" y="28"/>
                  </a:cxn>
                  <a:cxn ang="0">
                    <a:pos x="3" y="28"/>
                  </a:cxn>
                  <a:cxn ang="0">
                    <a:pos x="0" y="27"/>
                  </a:cxn>
                  <a:cxn ang="0">
                    <a:pos x="3" y="28"/>
                  </a:cxn>
                  <a:cxn ang="0">
                    <a:pos x="0" y="27"/>
                  </a:cxn>
                  <a:cxn ang="0">
                    <a:pos x="0" y="27"/>
                  </a:cxn>
                  <a:cxn ang="0">
                    <a:pos x="3" y="28"/>
                  </a:cxn>
                  <a:cxn ang="0">
                    <a:pos x="0" y="27"/>
                  </a:cxn>
                  <a:cxn ang="0">
                    <a:pos x="3" y="28"/>
                  </a:cxn>
                  <a:cxn ang="0">
                    <a:pos x="1" y="26"/>
                  </a:cxn>
                  <a:cxn ang="0">
                    <a:pos x="0" y="27"/>
                  </a:cxn>
                  <a:cxn ang="0">
                    <a:pos x="3" y="28"/>
                  </a:cxn>
                  <a:cxn ang="0">
                    <a:pos x="1" y="26"/>
                  </a:cxn>
                  <a:cxn ang="0">
                    <a:pos x="3" y="28"/>
                  </a:cxn>
                  <a:cxn ang="0">
                    <a:pos x="3" y="25"/>
                  </a:cxn>
                  <a:cxn ang="0">
                    <a:pos x="1" y="26"/>
                  </a:cxn>
                  <a:cxn ang="0">
                    <a:pos x="3" y="28"/>
                  </a:cxn>
                  <a:cxn ang="0">
                    <a:pos x="3" y="25"/>
                  </a:cxn>
                  <a:cxn ang="0">
                    <a:pos x="0" y="28"/>
                  </a:cxn>
                  <a:cxn ang="0">
                    <a:pos x="3" y="31"/>
                  </a:cxn>
                  <a:cxn ang="0">
                    <a:pos x="5" y="31"/>
                  </a:cxn>
                  <a:cxn ang="0">
                    <a:pos x="6" y="29"/>
                  </a:cxn>
                  <a:cxn ang="0">
                    <a:pos x="6" y="29"/>
                  </a:cxn>
                  <a:cxn ang="0">
                    <a:pos x="6" y="28"/>
                  </a:cxn>
                  <a:cxn ang="0">
                    <a:pos x="6" y="20"/>
                  </a:cxn>
                  <a:cxn ang="0">
                    <a:pos x="6" y="3"/>
                  </a:cxn>
                  <a:cxn ang="0">
                    <a:pos x="3" y="0"/>
                  </a:cxn>
                  <a:cxn ang="0">
                    <a:pos x="0" y="3"/>
                  </a:cxn>
                </a:cxnLst>
                <a:rect l="0" t="0" r="r" b="b"/>
                <a:pathLst>
                  <a:path w="6" h="31">
                    <a:moveTo>
                      <a:pt x="0" y="3"/>
                    </a:moveTo>
                    <a:cubicBezTo>
                      <a:pt x="0" y="11"/>
                      <a:pt x="0" y="17"/>
                      <a:pt x="0" y="21"/>
                    </a:cubicBezTo>
                    <a:cubicBezTo>
                      <a:pt x="0" y="24"/>
                      <a:pt x="0" y="25"/>
                      <a:pt x="0" y="26"/>
                    </a:cubicBezTo>
                    <a:cubicBezTo>
                      <a:pt x="0" y="27"/>
                      <a:pt x="0" y="27"/>
                      <a:pt x="0" y="28"/>
                    </a:cubicBezTo>
                    <a:cubicBezTo>
                      <a:pt x="0" y="28"/>
                      <a:pt x="0" y="28"/>
                      <a:pt x="0" y="28"/>
                    </a:cubicBezTo>
                    <a:cubicBezTo>
                      <a:pt x="2" y="28"/>
                      <a:pt x="2" y="28"/>
                      <a:pt x="2" y="28"/>
                    </a:cubicBezTo>
                    <a:cubicBezTo>
                      <a:pt x="0" y="28"/>
                      <a:pt x="0" y="28"/>
                      <a:pt x="0" y="28"/>
                    </a:cubicBezTo>
                    <a:cubicBezTo>
                      <a:pt x="0" y="28"/>
                      <a:pt x="0" y="28"/>
                      <a:pt x="0" y="28"/>
                    </a:cubicBezTo>
                    <a:cubicBezTo>
                      <a:pt x="2" y="28"/>
                      <a:pt x="2" y="28"/>
                      <a:pt x="2" y="28"/>
                    </a:cubicBezTo>
                    <a:cubicBezTo>
                      <a:pt x="0" y="28"/>
                      <a:pt x="0" y="28"/>
                      <a:pt x="0" y="28"/>
                    </a:cubicBezTo>
                    <a:cubicBezTo>
                      <a:pt x="3" y="28"/>
                      <a:pt x="3" y="28"/>
                      <a:pt x="3" y="28"/>
                    </a:cubicBezTo>
                    <a:cubicBezTo>
                      <a:pt x="0" y="27"/>
                      <a:pt x="0" y="27"/>
                      <a:pt x="0" y="27"/>
                    </a:cubicBezTo>
                    <a:cubicBezTo>
                      <a:pt x="0" y="28"/>
                      <a:pt x="0" y="28"/>
                      <a:pt x="0" y="28"/>
                    </a:cubicBezTo>
                    <a:cubicBezTo>
                      <a:pt x="3" y="28"/>
                      <a:pt x="3" y="28"/>
                      <a:pt x="3" y="28"/>
                    </a:cubicBezTo>
                    <a:cubicBezTo>
                      <a:pt x="0" y="27"/>
                      <a:pt x="0" y="27"/>
                      <a:pt x="0" y="27"/>
                    </a:cubicBezTo>
                    <a:cubicBezTo>
                      <a:pt x="3" y="28"/>
                      <a:pt x="3" y="28"/>
                      <a:pt x="3" y="28"/>
                    </a:cubicBezTo>
                    <a:cubicBezTo>
                      <a:pt x="0" y="27"/>
                      <a:pt x="0" y="27"/>
                      <a:pt x="0" y="27"/>
                    </a:cubicBezTo>
                    <a:cubicBezTo>
                      <a:pt x="0" y="27"/>
                      <a:pt x="0" y="27"/>
                      <a:pt x="0" y="27"/>
                    </a:cubicBezTo>
                    <a:cubicBezTo>
                      <a:pt x="3" y="28"/>
                      <a:pt x="3" y="28"/>
                      <a:pt x="3" y="28"/>
                    </a:cubicBezTo>
                    <a:cubicBezTo>
                      <a:pt x="0" y="27"/>
                      <a:pt x="0" y="27"/>
                      <a:pt x="0" y="27"/>
                    </a:cubicBezTo>
                    <a:cubicBezTo>
                      <a:pt x="3" y="28"/>
                      <a:pt x="3" y="28"/>
                      <a:pt x="3" y="28"/>
                    </a:cubicBezTo>
                    <a:cubicBezTo>
                      <a:pt x="1" y="26"/>
                      <a:pt x="1" y="26"/>
                      <a:pt x="1" y="26"/>
                    </a:cubicBezTo>
                    <a:cubicBezTo>
                      <a:pt x="0" y="26"/>
                      <a:pt x="0" y="26"/>
                      <a:pt x="0" y="27"/>
                    </a:cubicBezTo>
                    <a:cubicBezTo>
                      <a:pt x="3" y="28"/>
                      <a:pt x="3" y="28"/>
                      <a:pt x="3" y="28"/>
                    </a:cubicBezTo>
                    <a:cubicBezTo>
                      <a:pt x="1" y="26"/>
                      <a:pt x="1" y="26"/>
                      <a:pt x="1" y="26"/>
                    </a:cubicBezTo>
                    <a:cubicBezTo>
                      <a:pt x="3" y="28"/>
                      <a:pt x="3" y="28"/>
                      <a:pt x="3" y="28"/>
                    </a:cubicBezTo>
                    <a:cubicBezTo>
                      <a:pt x="3" y="25"/>
                      <a:pt x="3" y="25"/>
                      <a:pt x="3" y="25"/>
                    </a:cubicBezTo>
                    <a:cubicBezTo>
                      <a:pt x="2" y="25"/>
                      <a:pt x="1" y="25"/>
                      <a:pt x="1" y="26"/>
                    </a:cubicBezTo>
                    <a:cubicBezTo>
                      <a:pt x="3" y="28"/>
                      <a:pt x="3" y="28"/>
                      <a:pt x="3" y="28"/>
                    </a:cubicBezTo>
                    <a:cubicBezTo>
                      <a:pt x="3" y="25"/>
                      <a:pt x="3" y="25"/>
                      <a:pt x="3" y="25"/>
                    </a:cubicBezTo>
                    <a:cubicBezTo>
                      <a:pt x="1" y="25"/>
                      <a:pt x="0" y="26"/>
                      <a:pt x="0" y="28"/>
                    </a:cubicBezTo>
                    <a:cubicBezTo>
                      <a:pt x="0" y="30"/>
                      <a:pt x="1" y="31"/>
                      <a:pt x="3" y="31"/>
                    </a:cubicBezTo>
                    <a:cubicBezTo>
                      <a:pt x="4" y="31"/>
                      <a:pt x="5" y="31"/>
                      <a:pt x="5" y="31"/>
                    </a:cubicBezTo>
                    <a:cubicBezTo>
                      <a:pt x="6" y="30"/>
                      <a:pt x="6" y="30"/>
                      <a:pt x="6" y="29"/>
                    </a:cubicBezTo>
                    <a:cubicBezTo>
                      <a:pt x="6" y="29"/>
                      <a:pt x="6" y="29"/>
                      <a:pt x="6" y="29"/>
                    </a:cubicBezTo>
                    <a:cubicBezTo>
                      <a:pt x="6" y="28"/>
                      <a:pt x="6" y="28"/>
                      <a:pt x="6" y="28"/>
                    </a:cubicBezTo>
                    <a:cubicBezTo>
                      <a:pt x="6" y="27"/>
                      <a:pt x="6" y="25"/>
                      <a:pt x="6" y="20"/>
                    </a:cubicBezTo>
                    <a:cubicBezTo>
                      <a:pt x="6" y="16"/>
                      <a:pt x="6" y="10"/>
                      <a:pt x="6" y="3"/>
                    </a:cubicBezTo>
                    <a:cubicBezTo>
                      <a:pt x="6" y="1"/>
                      <a:pt x="5" y="0"/>
                      <a:pt x="3" y="0"/>
                    </a:cubicBezTo>
                    <a:cubicBezTo>
                      <a:pt x="1" y="0"/>
                      <a:pt x="0" y="1"/>
                      <a:pt x="0"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713"/>
              <p:cNvSpPr>
                <a:spLocks/>
              </p:cNvSpPr>
              <p:nvPr/>
            </p:nvSpPr>
            <p:spPr bwMode="auto">
              <a:xfrm>
                <a:off x="2971800" y="4191000"/>
                <a:ext cx="336819" cy="594360"/>
              </a:xfrm>
              <a:custGeom>
                <a:avLst/>
                <a:gdLst/>
                <a:ahLst/>
                <a:cxnLst>
                  <a:cxn ang="0">
                    <a:pos x="102" y="194"/>
                  </a:cxn>
                  <a:cxn ang="0">
                    <a:pos x="102" y="199"/>
                  </a:cxn>
                  <a:cxn ang="0">
                    <a:pos x="100" y="202"/>
                  </a:cxn>
                  <a:cxn ang="0">
                    <a:pos x="96" y="204"/>
                  </a:cxn>
                  <a:cxn ang="0">
                    <a:pos x="25" y="204"/>
                  </a:cxn>
                  <a:cxn ang="0">
                    <a:pos x="11" y="200"/>
                  </a:cxn>
                  <a:cxn ang="0">
                    <a:pos x="8" y="196"/>
                  </a:cxn>
                  <a:cxn ang="0">
                    <a:pos x="7" y="188"/>
                  </a:cxn>
                  <a:cxn ang="0">
                    <a:pos x="7" y="22"/>
                  </a:cxn>
                  <a:cxn ang="0">
                    <a:pos x="8" y="15"/>
                  </a:cxn>
                  <a:cxn ang="0">
                    <a:pos x="13" y="9"/>
                  </a:cxn>
                  <a:cxn ang="0">
                    <a:pos x="24" y="7"/>
                  </a:cxn>
                  <a:cxn ang="0">
                    <a:pos x="102" y="7"/>
                  </a:cxn>
                  <a:cxn ang="0">
                    <a:pos x="115" y="10"/>
                  </a:cxn>
                  <a:cxn ang="0">
                    <a:pos x="119" y="15"/>
                  </a:cxn>
                  <a:cxn ang="0">
                    <a:pos x="120" y="22"/>
                  </a:cxn>
                  <a:cxn ang="0">
                    <a:pos x="120" y="23"/>
                  </a:cxn>
                  <a:cxn ang="0">
                    <a:pos x="120" y="25"/>
                  </a:cxn>
                  <a:cxn ang="0">
                    <a:pos x="120" y="75"/>
                  </a:cxn>
                  <a:cxn ang="0">
                    <a:pos x="120" y="88"/>
                  </a:cxn>
                  <a:cxn ang="0">
                    <a:pos x="123" y="91"/>
                  </a:cxn>
                  <a:cxn ang="0">
                    <a:pos x="126" y="88"/>
                  </a:cxn>
                  <a:cxn ang="0">
                    <a:pos x="126" y="75"/>
                  </a:cxn>
                  <a:cxn ang="0">
                    <a:pos x="126" y="22"/>
                  </a:cxn>
                  <a:cxn ang="0">
                    <a:pos x="123" y="22"/>
                  </a:cxn>
                  <a:cxn ang="0">
                    <a:pos x="126" y="22"/>
                  </a:cxn>
                  <a:cxn ang="0">
                    <a:pos x="125" y="12"/>
                  </a:cxn>
                  <a:cxn ang="0">
                    <a:pos x="116" y="3"/>
                  </a:cxn>
                  <a:cxn ang="0">
                    <a:pos x="102" y="0"/>
                  </a:cxn>
                  <a:cxn ang="0">
                    <a:pos x="24" y="0"/>
                  </a:cxn>
                  <a:cxn ang="0">
                    <a:pos x="14" y="1"/>
                  </a:cxn>
                  <a:cxn ang="0">
                    <a:pos x="4" y="9"/>
                  </a:cxn>
                  <a:cxn ang="0">
                    <a:pos x="0" y="22"/>
                  </a:cxn>
                  <a:cxn ang="0">
                    <a:pos x="0" y="188"/>
                  </a:cxn>
                  <a:cxn ang="0">
                    <a:pos x="2" y="198"/>
                  </a:cxn>
                  <a:cxn ang="0">
                    <a:pos x="11" y="208"/>
                  </a:cxn>
                  <a:cxn ang="0">
                    <a:pos x="25" y="211"/>
                  </a:cxn>
                  <a:cxn ang="0">
                    <a:pos x="96" y="211"/>
                  </a:cxn>
                  <a:cxn ang="0">
                    <a:pos x="105" y="207"/>
                  </a:cxn>
                  <a:cxn ang="0">
                    <a:pos x="108" y="199"/>
                  </a:cxn>
                  <a:cxn ang="0">
                    <a:pos x="108" y="194"/>
                  </a:cxn>
                  <a:cxn ang="0">
                    <a:pos x="105" y="190"/>
                  </a:cxn>
                  <a:cxn ang="0">
                    <a:pos x="102" y="194"/>
                  </a:cxn>
                </a:cxnLst>
                <a:rect l="0" t="0" r="r" b="b"/>
                <a:pathLst>
                  <a:path w="126" h="211">
                    <a:moveTo>
                      <a:pt x="102" y="194"/>
                    </a:moveTo>
                    <a:cubicBezTo>
                      <a:pt x="102" y="199"/>
                      <a:pt x="102" y="199"/>
                      <a:pt x="102" y="199"/>
                    </a:cubicBezTo>
                    <a:cubicBezTo>
                      <a:pt x="102" y="200"/>
                      <a:pt x="101" y="201"/>
                      <a:pt x="100" y="202"/>
                    </a:cubicBezTo>
                    <a:cubicBezTo>
                      <a:pt x="99" y="203"/>
                      <a:pt x="97" y="204"/>
                      <a:pt x="96" y="204"/>
                    </a:cubicBezTo>
                    <a:cubicBezTo>
                      <a:pt x="25" y="204"/>
                      <a:pt x="25" y="204"/>
                      <a:pt x="25" y="204"/>
                    </a:cubicBezTo>
                    <a:cubicBezTo>
                      <a:pt x="18" y="204"/>
                      <a:pt x="14" y="203"/>
                      <a:pt x="11" y="200"/>
                    </a:cubicBezTo>
                    <a:cubicBezTo>
                      <a:pt x="10" y="199"/>
                      <a:pt x="9" y="198"/>
                      <a:pt x="8" y="196"/>
                    </a:cubicBezTo>
                    <a:cubicBezTo>
                      <a:pt x="7" y="194"/>
                      <a:pt x="7" y="191"/>
                      <a:pt x="7" y="188"/>
                    </a:cubicBezTo>
                    <a:cubicBezTo>
                      <a:pt x="7" y="22"/>
                      <a:pt x="7" y="22"/>
                      <a:pt x="7" y="22"/>
                    </a:cubicBezTo>
                    <a:cubicBezTo>
                      <a:pt x="7" y="19"/>
                      <a:pt x="7" y="17"/>
                      <a:pt x="8" y="15"/>
                    </a:cubicBezTo>
                    <a:cubicBezTo>
                      <a:pt x="9" y="12"/>
                      <a:pt x="11" y="10"/>
                      <a:pt x="13" y="9"/>
                    </a:cubicBezTo>
                    <a:cubicBezTo>
                      <a:pt x="15" y="7"/>
                      <a:pt x="19" y="7"/>
                      <a:pt x="24" y="7"/>
                    </a:cubicBezTo>
                    <a:cubicBezTo>
                      <a:pt x="102" y="7"/>
                      <a:pt x="102" y="7"/>
                      <a:pt x="102" y="7"/>
                    </a:cubicBezTo>
                    <a:cubicBezTo>
                      <a:pt x="108" y="7"/>
                      <a:pt x="113" y="8"/>
                      <a:pt x="115" y="10"/>
                    </a:cubicBezTo>
                    <a:cubicBezTo>
                      <a:pt x="117" y="11"/>
                      <a:pt x="118" y="13"/>
                      <a:pt x="119" y="15"/>
                    </a:cubicBezTo>
                    <a:cubicBezTo>
                      <a:pt x="119" y="17"/>
                      <a:pt x="120" y="19"/>
                      <a:pt x="120" y="22"/>
                    </a:cubicBezTo>
                    <a:cubicBezTo>
                      <a:pt x="120" y="23"/>
                      <a:pt x="120" y="23"/>
                      <a:pt x="120" y="23"/>
                    </a:cubicBezTo>
                    <a:cubicBezTo>
                      <a:pt x="120" y="23"/>
                      <a:pt x="120" y="23"/>
                      <a:pt x="120" y="25"/>
                    </a:cubicBezTo>
                    <a:cubicBezTo>
                      <a:pt x="120" y="30"/>
                      <a:pt x="120" y="44"/>
                      <a:pt x="120" y="75"/>
                    </a:cubicBezTo>
                    <a:cubicBezTo>
                      <a:pt x="120" y="79"/>
                      <a:pt x="120" y="83"/>
                      <a:pt x="120" y="88"/>
                    </a:cubicBezTo>
                    <a:cubicBezTo>
                      <a:pt x="120" y="90"/>
                      <a:pt x="121" y="91"/>
                      <a:pt x="123" y="91"/>
                    </a:cubicBezTo>
                    <a:cubicBezTo>
                      <a:pt x="125" y="91"/>
                      <a:pt x="126" y="90"/>
                      <a:pt x="126" y="88"/>
                    </a:cubicBezTo>
                    <a:cubicBezTo>
                      <a:pt x="126" y="83"/>
                      <a:pt x="126" y="79"/>
                      <a:pt x="126" y="75"/>
                    </a:cubicBezTo>
                    <a:cubicBezTo>
                      <a:pt x="126" y="33"/>
                      <a:pt x="126" y="22"/>
                      <a:pt x="126" y="22"/>
                    </a:cubicBezTo>
                    <a:cubicBezTo>
                      <a:pt x="123" y="22"/>
                      <a:pt x="123" y="22"/>
                      <a:pt x="123" y="22"/>
                    </a:cubicBezTo>
                    <a:cubicBezTo>
                      <a:pt x="126" y="22"/>
                      <a:pt x="126" y="22"/>
                      <a:pt x="126" y="22"/>
                    </a:cubicBezTo>
                    <a:cubicBezTo>
                      <a:pt x="126" y="19"/>
                      <a:pt x="126" y="15"/>
                      <a:pt x="125" y="12"/>
                    </a:cubicBezTo>
                    <a:cubicBezTo>
                      <a:pt x="123" y="8"/>
                      <a:pt x="120" y="5"/>
                      <a:pt x="116" y="3"/>
                    </a:cubicBezTo>
                    <a:cubicBezTo>
                      <a:pt x="112" y="1"/>
                      <a:pt x="107" y="0"/>
                      <a:pt x="102" y="0"/>
                    </a:cubicBezTo>
                    <a:cubicBezTo>
                      <a:pt x="24" y="0"/>
                      <a:pt x="24" y="0"/>
                      <a:pt x="24" y="0"/>
                    </a:cubicBezTo>
                    <a:cubicBezTo>
                      <a:pt x="20" y="0"/>
                      <a:pt x="17" y="0"/>
                      <a:pt x="14" y="1"/>
                    </a:cubicBezTo>
                    <a:cubicBezTo>
                      <a:pt x="10" y="2"/>
                      <a:pt x="6" y="5"/>
                      <a:pt x="4" y="9"/>
                    </a:cubicBezTo>
                    <a:cubicBezTo>
                      <a:pt x="1" y="12"/>
                      <a:pt x="0" y="17"/>
                      <a:pt x="0" y="22"/>
                    </a:cubicBezTo>
                    <a:cubicBezTo>
                      <a:pt x="0" y="188"/>
                      <a:pt x="0" y="188"/>
                      <a:pt x="0" y="188"/>
                    </a:cubicBezTo>
                    <a:cubicBezTo>
                      <a:pt x="0" y="192"/>
                      <a:pt x="1" y="195"/>
                      <a:pt x="2" y="198"/>
                    </a:cubicBezTo>
                    <a:cubicBezTo>
                      <a:pt x="4" y="203"/>
                      <a:pt x="7" y="206"/>
                      <a:pt x="11" y="208"/>
                    </a:cubicBezTo>
                    <a:cubicBezTo>
                      <a:pt x="15" y="210"/>
                      <a:pt x="20" y="211"/>
                      <a:pt x="25" y="211"/>
                    </a:cubicBezTo>
                    <a:cubicBezTo>
                      <a:pt x="96" y="211"/>
                      <a:pt x="96" y="211"/>
                      <a:pt x="96" y="211"/>
                    </a:cubicBezTo>
                    <a:cubicBezTo>
                      <a:pt x="99" y="211"/>
                      <a:pt x="102" y="209"/>
                      <a:pt x="105" y="207"/>
                    </a:cubicBezTo>
                    <a:cubicBezTo>
                      <a:pt x="107" y="205"/>
                      <a:pt x="108" y="202"/>
                      <a:pt x="108" y="199"/>
                    </a:cubicBezTo>
                    <a:cubicBezTo>
                      <a:pt x="108" y="194"/>
                      <a:pt x="108" y="194"/>
                      <a:pt x="108" y="194"/>
                    </a:cubicBezTo>
                    <a:cubicBezTo>
                      <a:pt x="108" y="192"/>
                      <a:pt x="107" y="190"/>
                      <a:pt x="105" y="190"/>
                    </a:cubicBezTo>
                    <a:cubicBezTo>
                      <a:pt x="103" y="190"/>
                      <a:pt x="102" y="192"/>
                      <a:pt x="10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714"/>
              <p:cNvSpPr>
                <a:spLocks/>
              </p:cNvSpPr>
              <p:nvPr/>
            </p:nvSpPr>
            <p:spPr bwMode="auto">
              <a:xfrm>
                <a:off x="3020264" y="4239678"/>
                <a:ext cx="239894" cy="473953"/>
              </a:xfrm>
              <a:custGeom>
                <a:avLst/>
                <a:gdLst/>
                <a:ahLst/>
                <a:cxnLst>
                  <a:cxn ang="0">
                    <a:pos x="27" y="161"/>
                  </a:cxn>
                  <a:cxn ang="0">
                    <a:pos x="30" y="167"/>
                  </a:cxn>
                  <a:cxn ang="0">
                    <a:pos x="36" y="169"/>
                  </a:cxn>
                  <a:cxn ang="0">
                    <a:pos x="55" y="169"/>
                  </a:cxn>
                  <a:cxn ang="0">
                    <a:pos x="61" y="167"/>
                  </a:cxn>
                  <a:cxn ang="0">
                    <a:pos x="64" y="161"/>
                  </a:cxn>
                  <a:cxn ang="0">
                    <a:pos x="64" y="151"/>
                  </a:cxn>
                  <a:cxn ang="0">
                    <a:pos x="61" y="145"/>
                  </a:cxn>
                  <a:cxn ang="0">
                    <a:pos x="55" y="143"/>
                  </a:cxn>
                  <a:cxn ang="0">
                    <a:pos x="12" y="143"/>
                  </a:cxn>
                  <a:cxn ang="0">
                    <a:pos x="8" y="141"/>
                  </a:cxn>
                  <a:cxn ang="0">
                    <a:pos x="7" y="138"/>
                  </a:cxn>
                  <a:cxn ang="0">
                    <a:pos x="7" y="11"/>
                  </a:cxn>
                  <a:cxn ang="0">
                    <a:pos x="8" y="8"/>
                  </a:cxn>
                  <a:cxn ang="0">
                    <a:pos x="12" y="6"/>
                  </a:cxn>
                  <a:cxn ang="0">
                    <a:pos x="78" y="6"/>
                  </a:cxn>
                  <a:cxn ang="0">
                    <a:pos x="82" y="8"/>
                  </a:cxn>
                  <a:cxn ang="0">
                    <a:pos x="84" y="11"/>
                  </a:cxn>
                  <a:cxn ang="0">
                    <a:pos x="84" y="102"/>
                  </a:cxn>
                  <a:cxn ang="0">
                    <a:pos x="87" y="105"/>
                  </a:cxn>
                  <a:cxn ang="0">
                    <a:pos x="90" y="102"/>
                  </a:cxn>
                  <a:cxn ang="0">
                    <a:pos x="90" y="11"/>
                  </a:cxn>
                  <a:cxn ang="0">
                    <a:pos x="87" y="3"/>
                  </a:cxn>
                  <a:cxn ang="0">
                    <a:pos x="78" y="0"/>
                  </a:cxn>
                  <a:cxn ang="0">
                    <a:pos x="12" y="0"/>
                  </a:cxn>
                  <a:cxn ang="0">
                    <a:pos x="4" y="3"/>
                  </a:cxn>
                  <a:cxn ang="0">
                    <a:pos x="0" y="11"/>
                  </a:cxn>
                  <a:cxn ang="0">
                    <a:pos x="0" y="138"/>
                  </a:cxn>
                  <a:cxn ang="0">
                    <a:pos x="4" y="146"/>
                  </a:cxn>
                  <a:cxn ang="0">
                    <a:pos x="12" y="149"/>
                  </a:cxn>
                  <a:cxn ang="0">
                    <a:pos x="55" y="149"/>
                  </a:cxn>
                  <a:cxn ang="0">
                    <a:pos x="57" y="150"/>
                  </a:cxn>
                  <a:cxn ang="0">
                    <a:pos x="57" y="151"/>
                  </a:cxn>
                  <a:cxn ang="0">
                    <a:pos x="57" y="161"/>
                  </a:cxn>
                  <a:cxn ang="0">
                    <a:pos x="57" y="162"/>
                  </a:cxn>
                  <a:cxn ang="0">
                    <a:pos x="55" y="163"/>
                  </a:cxn>
                  <a:cxn ang="0">
                    <a:pos x="36" y="163"/>
                  </a:cxn>
                  <a:cxn ang="0">
                    <a:pos x="34" y="162"/>
                  </a:cxn>
                  <a:cxn ang="0">
                    <a:pos x="33" y="161"/>
                  </a:cxn>
                  <a:cxn ang="0">
                    <a:pos x="30" y="158"/>
                  </a:cxn>
                  <a:cxn ang="0">
                    <a:pos x="27" y="161"/>
                  </a:cxn>
                </a:cxnLst>
                <a:rect l="0" t="0" r="r" b="b"/>
                <a:pathLst>
                  <a:path w="90" h="169">
                    <a:moveTo>
                      <a:pt x="27" y="161"/>
                    </a:moveTo>
                    <a:cubicBezTo>
                      <a:pt x="27" y="163"/>
                      <a:pt x="28" y="166"/>
                      <a:pt x="30" y="167"/>
                    </a:cubicBezTo>
                    <a:cubicBezTo>
                      <a:pt x="32" y="168"/>
                      <a:pt x="34" y="169"/>
                      <a:pt x="36" y="169"/>
                    </a:cubicBezTo>
                    <a:cubicBezTo>
                      <a:pt x="55" y="169"/>
                      <a:pt x="55" y="169"/>
                      <a:pt x="55" y="169"/>
                    </a:cubicBezTo>
                    <a:cubicBezTo>
                      <a:pt x="57" y="169"/>
                      <a:pt x="59" y="168"/>
                      <a:pt x="61" y="167"/>
                    </a:cubicBezTo>
                    <a:cubicBezTo>
                      <a:pt x="62" y="166"/>
                      <a:pt x="64" y="163"/>
                      <a:pt x="64" y="161"/>
                    </a:cubicBezTo>
                    <a:cubicBezTo>
                      <a:pt x="64" y="151"/>
                      <a:pt x="64" y="151"/>
                      <a:pt x="64" y="151"/>
                    </a:cubicBezTo>
                    <a:cubicBezTo>
                      <a:pt x="64" y="149"/>
                      <a:pt x="62" y="146"/>
                      <a:pt x="61" y="145"/>
                    </a:cubicBezTo>
                    <a:cubicBezTo>
                      <a:pt x="59" y="144"/>
                      <a:pt x="57" y="143"/>
                      <a:pt x="55" y="143"/>
                    </a:cubicBezTo>
                    <a:cubicBezTo>
                      <a:pt x="12" y="143"/>
                      <a:pt x="12" y="143"/>
                      <a:pt x="12" y="143"/>
                    </a:cubicBezTo>
                    <a:cubicBezTo>
                      <a:pt x="11" y="143"/>
                      <a:pt x="9" y="142"/>
                      <a:pt x="8" y="141"/>
                    </a:cubicBezTo>
                    <a:cubicBezTo>
                      <a:pt x="8" y="140"/>
                      <a:pt x="7" y="139"/>
                      <a:pt x="7" y="138"/>
                    </a:cubicBezTo>
                    <a:cubicBezTo>
                      <a:pt x="7" y="11"/>
                      <a:pt x="7" y="11"/>
                      <a:pt x="7" y="11"/>
                    </a:cubicBezTo>
                    <a:cubicBezTo>
                      <a:pt x="7" y="10"/>
                      <a:pt x="8" y="8"/>
                      <a:pt x="8" y="8"/>
                    </a:cubicBezTo>
                    <a:cubicBezTo>
                      <a:pt x="9" y="7"/>
                      <a:pt x="11" y="6"/>
                      <a:pt x="12" y="6"/>
                    </a:cubicBezTo>
                    <a:cubicBezTo>
                      <a:pt x="78" y="6"/>
                      <a:pt x="78" y="6"/>
                      <a:pt x="78" y="6"/>
                    </a:cubicBezTo>
                    <a:cubicBezTo>
                      <a:pt x="80" y="6"/>
                      <a:pt x="81" y="7"/>
                      <a:pt x="82" y="8"/>
                    </a:cubicBezTo>
                    <a:cubicBezTo>
                      <a:pt x="83" y="8"/>
                      <a:pt x="84" y="10"/>
                      <a:pt x="84" y="11"/>
                    </a:cubicBezTo>
                    <a:cubicBezTo>
                      <a:pt x="84" y="102"/>
                      <a:pt x="84" y="102"/>
                      <a:pt x="84" y="102"/>
                    </a:cubicBezTo>
                    <a:cubicBezTo>
                      <a:pt x="84" y="104"/>
                      <a:pt x="85" y="105"/>
                      <a:pt x="87" y="105"/>
                    </a:cubicBezTo>
                    <a:cubicBezTo>
                      <a:pt x="89" y="105"/>
                      <a:pt x="90" y="104"/>
                      <a:pt x="90" y="102"/>
                    </a:cubicBezTo>
                    <a:cubicBezTo>
                      <a:pt x="90" y="11"/>
                      <a:pt x="90" y="11"/>
                      <a:pt x="90" y="11"/>
                    </a:cubicBezTo>
                    <a:cubicBezTo>
                      <a:pt x="90" y="8"/>
                      <a:pt x="89" y="5"/>
                      <a:pt x="87" y="3"/>
                    </a:cubicBezTo>
                    <a:cubicBezTo>
                      <a:pt x="84" y="1"/>
                      <a:pt x="81" y="0"/>
                      <a:pt x="78" y="0"/>
                    </a:cubicBezTo>
                    <a:cubicBezTo>
                      <a:pt x="12" y="0"/>
                      <a:pt x="12" y="0"/>
                      <a:pt x="12" y="0"/>
                    </a:cubicBezTo>
                    <a:cubicBezTo>
                      <a:pt x="9" y="0"/>
                      <a:pt x="6" y="1"/>
                      <a:pt x="4" y="3"/>
                    </a:cubicBezTo>
                    <a:cubicBezTo>
                      <a:pt x="2" y="5"/>
                      <a:pt x="0" y="8"/>
                      <a:pt x="0" y="11"/>
                    </a:cubicBezTo>
                    <a:cubicBezTo>
                      <a:pt x="0" y="138"/>
                      <a:pt x="0" y="138"/>
                      <a:pt x="0" y="138"/>
                    </a:cubicBezTo>
                    <a:cubicBezTo>
                      <a:pt x="0" y="141"/>
                      <a:pt x="2" y="144"/>
                      <a:pt x="4" y="146"/>
                    </a:cubicBezTo>
                    <a:cubicBezTo>
                      <a:pt x="6" y="148"/>
                      <a:pt x="9" y="149"/>
                      <a:pt x="12" y="149"/>
                    </a:cubicBezTo>
                    <a:cubicBezTo>
                      <a:pt x="55" y="149"/>
                      <a:pt x="55" y="149"/>
                      <a:pt x="55" y="149"/>
                    </a:cubicBezTo>
                    <a:cubicBezTo>
                      <a:pt x="55" y="149"/>
                      <a:pt x="56" y="150"/>
                      <a:pt x="57" y="150"/>
                    </a:cubicBezTo>
                    <a:cubicBezTo>
                      <a:pt x="57" y="150"/>
                      <a:pt x="57" y="151"/>
                      <a:pt x="57" y="151"/>
                    </a:cubicBezTo>
                    <a:cubicBezTo>
                      <a:pt x="57" y="161"/>
                      <a:pt x="57" y="161"/>
                      <a:pt x="57" y="161"/>
                    </a:cubicBezTo>
                    <a:cubicBezTo>
                      <a:pt x="57" y="161"/>
                      <a:pt x="57" y="162"/>
                      <a:pt x="57" y="162"/>
                    </a:cubicBezTo>
                    <a:cubicBezTo>
                      <a:pt x="56" y="162"/>
                      <a:pt x="55" y="163"/>
                      <a:pt x="55" y="163"/>
                    </a:cubicBezTo>
                    <a:cubicBezTo>
                      <a:pt x="36" y="163"/>
                      <a:pt x="36" y="163"/>
                      <a:pt x="36" y="163"/>
                    </a:cubicBezTo>
                    <a:cubicBezTo>
                      <a:pt x="35" y="163"/>
                      <a:pt x="35" y="162"/>
                      <a:pt x="34" y="162"/>
                    </a:cubicBezTo>
                    <a:cubicBezTo>
                      <a:pt x="34" y="162"/>
                      <a:pt x="33" y="161"/>
                      <a:pt x="33" y="161"/>
                    </a:cubicBezTo>
                    <a:cubicBezTo>
                      <a:pt x="33" y="159"/>
                      <a:pt x="32" y="158"/>
                      <a:pt x="30" y="158"/>
                    </a:cubicBezTo>
                    <a:cubicBezTo>
                      <a:pt x="28" y="158"/>
                      <a:pt x="27" y="159"/>
                      <a:pt x="27"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715"/>
              <p:cNvSpPr>
                <a:spLocks/>
              </p:cNvSpPr>
              <p:nvPr/>
            </p:nvSpPr>
            <p:spPr bwMode="auto">
              <a:xfrm>
                <a:off x="3051765" y="4401076"/>
                <a:ext cx="138122" cy="171648"/>
              </a:xfrm>
              <a:custGeom>
                <a:avLst/>
                <a:gdLst/>
                <a:ahLst/>
                <a:cxnLst>
                  <a:cxn ang="0">
                    <a:pos x="42" y="29"/>
                  </a:cxn>
                  <a:cxn ang="0">
                    <a:pos x="41" y="25"/>
                  </a:cxn>
                  <a:cxn ang="0">
                    <a:pos x="34" y="16"/>
                  </a:cxn>
                  <a:cxn ang="0">
                    <a:pos x="33" y="10"/>
                  </a:cxn>
                  <a:cxn ang="0">
                    <a:pos x="33" y="3"/>
                  </a:cxn>
                  <a:cxn ang="0">
                    <a:pos x="26" y="1"/>
                  </a:cxn>
                  <a:cxn ang="0">
                    <a:pos x="22" y="25"/>
                  </a:cxn>
                  <a:cxn ang="0">
                    <a:pos x="23" y="25"/>
                  </a:cxn>
                  <a:cxn ang="0">
                    <a:pos x="23" y="25"/>
                  </a:cxn>
                  <a:cxn ang="0">
                    <a:pos x="23" y="24"/>
                  </a:cxn>
                  <a:cxn ang="0">
                    <a:pos x="23" y="24"/>
                  </a:cxn>
                  <a:cxn ang="0">
                    <a:pos x="23" y="24"/>
                  </a:cxn>
                  <a:cxn ang="0">
                    <a:pos x="24" y="24"/>
                  </a:cxn>
                  <a:cxn ang="0">
                    <a:pos x="24" y="24"/>
                  </a:cxn>
                  <a:cxn ang="0">
                    <a:pos x="8" y="24"/>
                  </a:cxn>
                  <a:cxn ang="0">
                    <a:pos x="2" y="26"/>
                  </a:cxn>
                  <a:cxn ang="0">
                    <a:pos x="4" y="36"/>
                  </a:cxn>
                  <a:cxn ang="0">
                    <a:pos x="8" y="32"/>
                  </a:cxn>
                  <a:cxn ang="0">
                    <a:pos x="1" y="35"/>
                  </a:cxn>
                  <a:cxn ang="0">
                    <a:pos x="8" y="46"/>
                  </a:cxn>
                  <a:cxn ang="0">
                    <a:pos x="5" y="42"/>
                  </a:cxn>
                  <a:cxn ang="0">
                    <a:pos x="3" y="51"/>
                  </a:cxn>
                  <a:cxn ang="0">
                    <a:pos x="10" y="51"/>
                  </a:cxn>
                  <a:cxn ang="0">
                    <a:pos x="5" y="51"/>
                  </a:cxn>
                  <a:cxn ang="0">
                    <a:pos x="11" y="61"/>
                  </a:cxn>
                  <a:cxn ang="0">
                    <a:pos x="42" y="58"/>
                  </a:cxn>
                  <a:cxn ang="0">
                    <a:pos x="39" y="55"/>
                  </a:cxn>
                  <a:cxn ang="0">
                    <a:pos x="37" y="56"/>
                  </a:cxn>
                  <a:cxn ang="0">
                    <a:pos x="37" y="56"/>
                  </a:cxn>
                  <a:cxn ang="0">
                    <a:pos x="37" y="56"/>
                  </a:cxn>
                  <a:cxn ang="0">
                    <a:pos x="9" y="54"/>
                  </a:cxn>
                  <a:cxn ang="0">
                    <a:pos x="10" y="54"/>
                  </a:cxn>
                  <a:cxn ang="0">
                    <a:pos x="10" y="54"/>
                  </a:cxn>
                  <a:cxn ang="0">
                    <a:pos x="10" y="54"/>
                  </a:cxn>
                  <a:cxn ang="0">
                    <a:pos x="7" y="48"/>
                  </a:cxn>
                  <a:cxn ang="0">
                    <a:pos x="7" y="47"/>
                  </a:cxn>
                  <a:cxn ang="0">
                    <a:pos x="8" y="46"/>
                  </a:cxn>
                  <a:cxn ang="0">
                    <a:pos x="8" y="46"/>
                  </a:cxn>
                  <a:cxn ang="0">
                    <a:pos x="10" y="43"/>
                  </a:cxn>
                  <a:cxn ang="0">
                    <a:pos x="5" y="39"/>
                  </a:cxn>
                  <a:cxn ang="0">
                    <a:pos x="8" y="37"/>
                  </a:cxn>
                  <a:cxn ang="0">
                    <a:pos x="8" y="37"/>
                  </a:cxn>
                  <a:cxn ang="0">
                    <a:pos x="8" y="34"/>
                  </a:cxn>
                  <a:cxn ang="0">
                    <a:pos x="6" y="31"/>
                  </a:cxn>
                  <a:cxn ang="0">
                    <a:pos x="7" y="29"/>
                  </a:cxn>
                  <a:cxn ang="0">
                    <a:pos x="8" y="28"/>
                  </a:cxn>
                  <a:cxn ang="0">
                    <a:pos x="22" y="28"/>
                  </a:cxn>
                  <a:cxn ang="0">
                    <a:pos x="27" y="25"/>
                  </a:cxn>
                  <a:cxn ang="0">
                    <a:pos x="27" y="24"/>
                  </a:cxn>
                  <a:cxn ang="0">
                    <a:pos x="27" y="3"/>
                  </a:cxn>
                  <a:cxn ang="0">
                    <a:pos x="29" y="5"/>
                  </a:cxn>
                  <a:cxn ang="0">
                    <a:pos x="29" y="5"/>
                  </a:cxn>
                  <a:cxn ang="0">
                    <a:pos x="29" y="4"/>
                  </a:cxn>
                  <a:cxn ang="0">
                    <a:pos x="29" y="4"/>
                  </a:cxn>
                  <a:cxn ang="0">
                    <a:pos x="29" y="4"/>
                  </a:cxn>
                  <a:cxn ang="0">
                    <a:pos x="29" y="4"/>
                  </a:cxn>
                  <a:cxn ang="0">
                    <a:pos x="29" y="5"/>
                  </a:cxn>
                  <a:cxn ang="0">
                    <a:pos x="29" y="5"/>
                  </a:cxn>
                  <a:cxn ang="0">
                    <a:pos x="29" y="5"/>
                  </a:cxn>
                  <a:cxn ang="0">
                    <a:pos x="31" y="14"/>
                  </a:cxn>
                  <a:cxn ang="0">
                    <a:pos x="38" y="29"/>
                  </a:cxn>
                  <a:cxn ang="0">
                    <a:pos x="42" y="31"/>
                  </a:cxn>
                  <a:cxn ang="0">
                    <a:pos x="49" y="27"/>
                  </a:cxn>
                </a:cxnLst>
                <a:rect l="0" t="0" r="r" b="b"/>
                <a:pathLst>
                  <a:path w="52" h="61">
                    <a:moveTo>
                      <a:pt x="49" y="27"/>
                    </a:moveTo>
                    <a:cubicBezTo>
                      <a:pt x="42" y="27"/>
                      <a:pt x="42" y="27"/>
                      <a:pt x="42" y="27"/>
                    </a:cubicBezTo>
                    <a:cubicBezTo>
                      <a:pt x="42" y="29"/>
                      <a:pt x="42" y="29"/>
                      <a:pt x="42" y="29"/>
                    </a:cubicBezTo>
                    <a:cubicBezTo>
                      <a:pt x="43" y="27"/>
                      <a:pt x="43" y="27"/>
                      <a:pt x="43" y="27"/>
                    </a:cubicBezTo>
                    <a:cubicBezTo>
                      <a:pt x="43" y="27"/>
                      <a:pt x="43" y="27"/>
                      <a:pt x="43" y="27"/>
                    </a:cubicBezTo>
                    <a:cubicBezTo>
                      <a:pt x="43" y="27"/>
                      <a:pt x="42" y="26"/>
                      <a:pt x="41" y="25"/>
                    </a:cubicBezTo>
                    <a:cubicBezTo>
                      <a:pt x="41" y="25"/>
                      <a:pt x="41" y="25"/>
                      <a:pt x="41" y="25"/>
                    </a:cubicBezTo>
                    <a:cubicBezTo>
                      <a:pt x="41" y="25"/>
                      <a:pt x="39" y="23"/>
                      <a:pt x="37" y="20"/>
                    </a:cubicBezTo>
                    <a:cubicBezTo>
                      <a:pt x="36" y="19"/>
                      <a:pt x="35" y="18"/>
                      <a:pt x="34" y="16"/>
                    </a:cubicBezTo>
                    <a:cubicBezTo>
                      <a:pt x="34" y="15"/>
                      <a:pt x="33" y="14"/>
                      <a:pt x="33" y="14"/>
                    </a:cubicBezTo>
                    <a:cubicBezTo>
                      <a:pt x="33" y="14"/>
                      <a:pt x="33" y="14"/>
                      <a:pt x="33" y="14"/>
                    </a:cubicBezTo>
                    <a:cubicBezTo>
                      <a:pt x="33" y="13"/>
                      <a:pt x="33" y="11"/>
                      <a:pt x="33" y="10"/>
                    </a:cubicBezTo>
                    <a:cubicBezTo>
                      <a:pt x="33" y="7"/>
                      <a:pt x="33" y="5"/>
                      <a:pt x="33" y="5"/>
                    </a:cubicBezTo>
                    <a:cubicBezTo>
                      <a:pt x="33" y="5"/>
                      <a:pt x="33" y="5"/>
                      <a:pt x="33" y="5"/>
                    </a:cubicBezTo>
                    <a:cubicBezTo>
                      <a:pt x="33" y="4"/>
                      <a:pt x="33" y="4"/>
                      <a:pt x="33" y="3"/>
                    </a:cubicBezTo>
                    <a:cubicBezTo>
                      <a:pt x="33" y="2"/>
                      <a:pt x="33" y="1"/>
                      <a:pt x="32" y="1"/>
                    </a:cubicBezTo>
                    <a:cubicBezTo>
                      <a:pt x="31" y="0"/>
                      <a:pt x="30" y="0"/>
                      <a:pt x="29" y="0"/>
                    </a:cubicBezTo>
                    <a:cubicBezTo>
                      <a:pt x="28" y="0"/>
                      <a:pt x="27" y="0"/>
                      <a:pt x="26" y="1"/>
                    </a:cubicBezTo>
                    <a:cubicBezTo>
                      <a:pt x="26" y="1"/>
                      <a:pt x="26" y="1"/>
                      <a:pt x="26" y="1"/>
                    </a:cubicBezTo>
                    <a:cubicBezTo>
                      <a:pt x="24" y="3"/>
                      <a:pt x="20" y="7"/>
                      <a:pt x="20" y="14"/>
                    </a:cubicBezTo>
                    <a:cubicBezTo>
                      <a:pt x="20" y="17"/>
                      <a:pt x="21" y="21"/>
                      <a:pt x="22" y="25"/>
                    </a:cubicBezTo>
                    <a:cubicBezTo>
                      <a:pt x="22" y="25"/>
                      <a:pt x="22" y="25"/>
                      <a:pt x="22" y="25"/>
                    </a:cubicBezTo>
                    <a:cubicBezTo>
                      <a:pt x="22" y="25"/>
                      <a:pt x="22" y="25"/>
                      <a:pt x="22" y="25"/>
                    </a:cubicBezTo>
                    <a:cubicBezTo>
                      <a:pt x="23" y="25"/>
                      <a:pt x="23" y="25"/>
                      <a:pt x="23" y="25"/>
                    </a:cubicBezTo>
                    <a:cubicBezTo>
                      <a:pt x="22" y="25"/>
                      <a:pt x="22" y="25"/>
                      <a:pt x="22" y="25"/>
                    </a:cubicBezTo>
                    <a:cubicBezTo>
                      <a:pt x="22" y="25"/>
                      <a:pt x="22" y="25"/>
                      <a:pt x="22" y="25"/>
                    </a:cubicBezTo>
                    <a:cubicBezTo>
                      <a:pt x="23" y="25"/>
                      <a:pt x="23" y="25"/>
                      <a:pt x="23" y="25"/>
                    </a:cubicBezTo>
                    <a:cubicBezTo>
                      <a:pt x="22" y="25"/>
                      <a:pt x="22" y="25"/>
                      <a:pt x="22" y="25"/>
                    </a:cubicBezTo>
                    <a:cubicBezTo>
                      <a:pt x="24" y="25"/>
                      <a:pt x="24" y="25"/>
                      <a:pt x="24" y="25"/>
                    </a:cubicBezTo>
                    <a:cubicBezTo>
                      <a:pt x="23" y="24"/>
                      <a:pt x="23" y="24"/>
                      <a:pt x="23" y="24"/>
                    </a:cubicBezTo>
                    <a:cubicBezTo>
                      <a:pt x="22" y="25"/>
                      <a:pt x="22" y="25"/>
                      <a:pt x="22" y="25"/>
                    </a:cubicBezTo>
                    <a:cubicBezTo>
                      <a:pt x="24" y="25"/>
                      <a:pt x="24" y="25"/>
                      <a:pt x="24" y="25"/>
                    </a:cubicBezTo>
                    <a:cubicBezTo>
                      <a:pt x="23" y="24"/>
                      <a:pt x="23" y="24"/>
                      <a:pt x="23" y="24"/>
                    </a:cubicBezTo>
                    <a:cubicBezTo>
                      <a:pt x="24" y="25"/>
                      <a:pt x="24" y="25"/>
                      <a:pt x="24" y="25"/>
                    </a:cubicBezTo>
                    <a:cubicBezTo>
                      <a:pt x="23" y="24"/>
                      <a:pt x="23" y="24"/>
                      <a:pt x="23" y="24"/>
                    </a:cubicBezTo>
                    <a:cubicBezTo>
                      <a:pt x="23" y="24"/>
                      <a:pt x="23" y="24"/>
                      <a:pt x="23" y="24"/>
                    </a:cubicBezTo>
                    <a:cubicBezTo>
                      <a:pt x="24" y="25"/>
                      <a:pt x="24" y="25"/>
                      <a:pt x="24" y="25"/>
                    </a:cubicBezTo>
                    <a:cubicBezTo>
                      <a:pt x="23" y="24"/>
                      <a:pt x="23" y="24"/>
                      <a:pt x="23" y="24"/>
                    </a:cubicBezTo>
                    <a:cubicBezTo>
                      <a:pt x="24" y="24"/>
                      <a:pt x="24" y="24"/>
                      <a:pt x="24" y="24"/>
                    </a:cubicBezTo>
                    <a:cubicBezTo>
                      <a:pt x="23" y="23"/>
                      <a:pt x="23" y="23"/>
                      <a:pt x="23" y="23"/>
                    </a:cubicBezTo>
                    <a:cubicBezTo>
                      <a:pt x="23" y="24"/>
                      <a:pt x="23" y="24"/>
                      <a:pt x="23" y="24"/>
                    </a:cubicBezTo>
                    <a:cubicBezTo>
                      <a:pt x="24" y="24"/>
                      <a:pt x="24" y="24"/>
                      <a:pt x="24" y="24"/>
                    </a:cubicBezTo>
                    <a:cubicBezTo>
                      <a:pt x="23" y="23"/>
                      <a:pt x="23" y="23"/>
                      <a:pt x="23" y="23"/>
                    </a:cubicBezTo>
                    <a:cubicBezTo>
                      <a:pt x="23" y="23"/>
                      <a:pt x="23" y="24"/>
                      <a:pt x="22" y="24"/>
                    </a:cubicBezTo>
                    <a:cubicBezTo>
                      <a:pt x="8" y="24"/>
                      <a:pt x="8" y="24"/>
                      <a:pt x="8" y="24"/>
                    </a:cubicBezTo>
                    <a:cubicBezTo>
                      <a:pt x="8" y="24"/>
                      <a:pt x="8" y="24"/>
                      <a:pt x="8" y="24"/>
                    </a:cubicBezTo>
                    <a:cubicBezTo>
                      <a:pt x="7" y="24"/>
                      <a:pt x="6" y="24"/>
                      <a:pt x="5" y="24"/>
                    </a:cubicBezTo>
                    <a:cubicBezTo>
                      <a:pt x="4" y="25"/>
                      <a:pt x="3" y="25"/>
                      <a:pt x="2" y="26"/>
                    </a:cubicBezTo>
                    <a:cubicBezTo>
                      <a:pt x="2" y="27"/>
                      <a:pt x="1" y="28"/>
                      <a:pt x="1" y="30"/>
                    </a:cubicBezTo>
                    <a:cubicBezTo>
                      <a:pt x="1" y="31"/>
                      <a:pt x="1" y="32"/>
                      <a:pt x="2" y="33"/>
                    </a:cubicBezTo>
                    <a:cubicBezTo>
                      <a:pt x="2" y="34"/>
                      <a:pt x="3" y="35"/>
                      <a:pt x="4" y="36"/>
                    </a:cubicBezTo>
                    <a:cubicBezTo>
                      <a:pt x="6" y="36"/>
                      <a:pt x="7" y="37"/>
                      <a:pt x="8" y="37"/>
                    </a:cubicBezTo>
                    <a:cubicBezTo>
                      <a:pt x="9" y="37"/>
                      <a:pt x="10" y="35"/>
                      <a:pt x="10" y="34"/>
                    </a:cubicBezTo>
                    <a:cubicBezTo>
                      <a:pt x="10" y="33"/>
                      <a:pt x="9" y="32"/>
                      <a:pt x="8" y="32"/>
                    </a:cubicBezTo>
                    <a:cubicBezTo>
                      <a:pt x="8" y="32"/>
                      <a:pt x="8" y="32"/>
                      <a:pt x="8" y="32"/>
                    </a:cubicBezTo>
                    <a:cubicBezTo>
                      <a:pt x="7" y="32"/>
                      <a:pt x="6" y="32"/>
                      <a:pt x="4" y="33"/>
                    </a:cubicBezTo>
                    <a:cubicBezTo>
                      <a:pt x="3" y="33"/>
                      <a:pt x="2" y="34"/>
                      <a:pt x="1" y="35"/>
                    </a:cubicBezTo>
                    <a:cubicBezTo>
                      <a:pt x="1" y="36"/>
                      <a:pt x="0" y="38"/>
                      <a:pt x="0" y="39"/>
                    </a:cubicBezTo>
                    <a:cubicBezTo>
                      <a:pt x="0" y="41"/>
                      <a:pt x="1" y="43"/>
                      <a:pt x="3" y="44"/>
                    </a:cubicBezTo>
                    <a:cubicBezTo>
                      <a:pt x="4" y="45"/>
                      <a:pt x="6" y="46"/>
                      <a:pt x="8" y="46"/>
                    </a:cubicBezTo>
                    <a:cubicBezTo>
                      <a:pt x="8" y="44"/>
                      <a:pt x="8" y="44"/>
                      <a:pt x="8" y="44"/>
                    </a:cubicBezTo>
                    <a:cubicBezTo>
                      <a:pt x="8" y="41"/>
                      <a:pt x="8" y="41"/>
                      <a:pt x="8" y="41"/>
                    </a:cubicBezTo>
                    <a:cubicBezTo>
                      <a:pt x="7" y="41"/>
                      <a:pt x="6" y="41"/>
                      <a:pt x="5" y="42"/>
                    </a:cubicBezTo>
                    <a:cubicBezTo>
                      <a:pt x="4" y="43"/>
                      <a:pt x="4" y="43"/>
                      <a:pt x="3" y="44"/>
                    </a:cubicBezTo>
                    <a:cubicBezTo>
                      <a:pt x="2" y="45"/>
                      <a:pt x="2" y="46"/>
                      <a:pt x="2" y="47"/>
                    </a:cubicBezTo>
                    <a:cubicBezTo>
                      <a:pt x="2" y="48"/>
                      <a:pt x="2" y="50"/>
                      <a:pt x="3" y="51"/>
                    </a:cubicBezTo>
                    <a:cubicBezTo>
                      <a:pt x="4" y="52"/>
                      <a:pt x="5" y="53"/>
                      <a:pt x="6" y="53"/>
                    </a:cubicBezTo>
                    <a:cubicBezTo>
                      <a:pt x="8" y="53"/>
                      <a:pt x="9" y="54"/>
                      <a:pt x="10" y="54"/>
                    </a:cubicBezTo>
                    <a:cubicBezTo>
                      <a:pt x="10" y="51"/>
                      <a:pt x="10" y="51"/>
                      <a:pt x="10" y="51"/>
                    </a:cubicBezTo>
                    <a:cubicBezTo>
                      <a:pt x="9" y="49"/>
                      <a:pt x="9" y="49"/>
                      <a:pt x="9" y="49"/>
                    </a:cubicBezTo>
                    <a:cubicBezTo>
                      <a:pt x="9" y="49"/>
                      <a:pt x="8" y="49"/>
                      <a:pt x="7" y="50"/>
                    </a:cubicBezTo>
                    <a:cubicBezTo>
                      <a:pt x="6" y="50"/>
                      <a:pt x="6" y="51"/>
                      <a:pt x="5" y="51"/>
                    </a:cubicBezTo>
                    <a:cubicBezTo>
                      <a:pt x="4" y="52"/>
                      <a:pt x="4" y="53"/>
                      <a:pt x="4" y="54"/>
                    </a:cubicBezTo>
                    <a:cubicBezTo>
                      <a:pt x="4" y="57"/>
                      <a:pt x="5" y="58"/>
                      <a:pt x="7" y="59"/>
                    </a:cubicBezTo>
                    <a:cubicBezTo>
                      <a:pt x="8" y="60"/>
                      <a:pt x="9" y="61"/>
                      <a:pt x="11" y="61"/>
                    </a:cubicBezTo>
                    <a:cubicBezTo>
                      <a:pt x="37" y="61"/>
                      <a:pt x="37" y="61"/>
                      <a:pt x="37" y="61"/>
                    </a:cubicBezTo>
                    <a:cubicBezTo>
                      <a:pt x="38" y="61"/>
                      <a:pt x="39" y="61"/>
                      <a:pt x="40" y="60"/>
                    </a:cubicBezTo>
                    <a:cubicBezTo>
                      <a:pt x="41" y="60"/>
                      <a:pt x="42" y="59"/>
                      <a:pt x="42" y="58"/>
                    </a:cubicBezTo>
                    <a:cubicBezTo>
                      <a:pt x="43" y="57"/>
                      <a:pt x="43" y="56"/>
                      <a:pt x="43" y="55"/>
                    </a:cubicBezTo>
                    <a:cubicBezTo>
                      <a:pt x="43" y="53"/>
                      <a:pt x="42" y="52"/>
                      <a:pt x="41" y="52"/>
                    </a:cubicBezTo>
                    <a:cubicBezTo>
                      <a:pt x="40" y="52"/>
                      <a:pt x="39" y="53"/>
                      <a:pt x="39" y="55"/>
                    </a:cubicBezTo>
                    <a:cubicBezTo>
                      <a:pt x="39" y="55"/>
                      <a:pt x="38" y="55"/>
                      <a:pt x="38" y="55"/>
                    </a:cubicBezTo>
                    <a:cubicBezTo>
                      <a:pt x="38" y="56"/>
                      <a:pt x="38" y="56"/>
                      <a:pt x="38" y="56"/>
                    </a:cubicBezTo>
                    <a:cubicBezTo>
                      <a:pt x="37" y="56"/>
                      <a:pt x="37" y="56"/>
                      <a:pt x="37" y="56"/>
                    </a:cubicBezTo>
                    <a:cubicBezTo>
                      <a:pt x="37" y="56"/>
                      <a:pt x="37" y="56"/>
                      <a:pt x="37" y="56"/>
                    </a:cubicBezTo>
                    <a:cubicBezTo>
                      <a:pt x="37" y="57"/>
                      <a:pt x="37" y="57"/>
                      <a:pt x="37" y="57"/>
                    </a:cubicBezTo>
                    <a:cubicBezTo>
                      <a:pt x="37" y="56"/>
                      <a:pt x="37" y="56"/>
                      <a:pt x="37" y="56"/>
                    </a:cubicBezTo>
                    <a:cubicBezTo>
                      <a:pt x="37" y="56"/>
                      <a:pt x="37" y="56"/>
                      <a:pt x="37" y="56"/>
                    </a:cubicBezTo>
                    <a:cubicBezTo>
                      <a:pt x="37" y="57"/>
                      <a:pt x="37" y="57"/>
                      <a:pt x="37" y="57"/>
                    </a:cubicBezTo>
                    <a:cubicBezTo>
                      <a:pt x="37" y="56"/>
                      <a:pt x="37" y="56"/>
                      <a:pt x="37" y="56"/>
                    </a:cubicBezTo>
                    <a:cubicBezTo>
                      <a:pt x="11" y="56"/>
                      <a:pt x="11" y="56"/>
                      <a:pt x="11" y="56"/>
                    </a:cubicBezTo>
                    <a:cubicBezTo>
                      <a:pt x="10" y="56"/>
                      <a:pt x="10" y="56"/>
                      <a:pt x="9" y="55"/>
                    </a:cubicBezTo>
                    <a:cubicBezTo>
                      <a:pt x="9" y="55"/>
                      <a:pt x="9" y="55"/>
                      <a:pt x="9" y="54"/>
                    </a:cubicBezTo>
                    <a:cubicBezTo>
                      <a:pt x="9" y="54"/>
                      <a:pt x="9" y="54"/>
                      <a:pt x="9" y="54"/>
                    </a:cubicBezTo>
                    <a:cubicBezTo>
                      <a:pt x="9" y="54"/>
                      <a:pt x="9" y="54"/>
                      <a:pt x="9" y="54"/>
                    </a:cubicBezTo>
                    <a:cubicBezTo>
                      <a:pt x="10" y="54"/>
                      <a:pt x="10" y="54"/>
                      <a:pt x="10" y="54"/>
                    </a:cubicBezTo>
                    <a:cubicBezTo>
                      <a:pt x="10" y="54"/>
                      <a:pt x="10" y="54"/>
                      <a:pt x="10" y="54"/>
                    </a:cubicBezTo>
                    <a:cubicBezTo>
                      <a:pt x="10" y="53"/>
                      <a:pt x="10" y="53"/>
                      <a:pt x="10" y="53"/>
                    </a:cubicBezTo>
                    <a:cubicBezTo>
                      <a:pt x="10" y="54"/>
                      <a:pt x="10" y="54"/>
                      <a:pt x="10" y="54"/>
                    </a:cubicBezTo>
                    <a:cubicBezTo>
                      <a:pt x="10" y="54"/>
                      <a:pt x="10" y="54"/>
                      <a:pt x="10" y="54"/>
                    </a:cubicBezTo>
                    <a:cubicBezTo>
                      <a:pt x="10" y="53"/>
                      <a:pt x="10" y="53"/>
                      <a:pt x="10" y="53"/>
                    </a:cubicBezTo>
                    <a:cubicBezTo>
                      <a:pt x="10" y="54"/>
                      <a:pt x="10" y="54"/>
                      <a:pt x="10" y="54"/>
                    </a:cubicBezTo>
                    <a:cubicBezTo>
                      <a:pt x="11" y="54"/>
                      <a:pt x="12" y="52"/>
                      <a:pt x="12" y="51"/>
                    </a:cubicBezTo>
                    <a:cubicBezTo>
                      <a:pt x="12" y="50"/>
                      <a:pt x="11" y="49"/>
                      <a:pt x="10" y="49"/>
                    </a:cubicBezTo>
                    <a:cubicBezTo>
                      <a:pt x="9" y="49"/>
                      <a:pt x="8" y="49"/>
                      <a:pt x="7" y="48"/>
                    </a:cubicBezTo>
                    <a:cubicBezTo>
                      <a:pt x="7" y="48"/>
                      <a:pt x="7" y="48"/>
                      <a:pt x="7" y="48"/>
                    </a:cubicBezTo>
                    <a:cubicBezTo>
                      <a:pt x="7" y="47"/>
                      <a:pt x="7" y="47"/>
                      <a:pt x="7" y="47"/>
                    </a:cubicBezTo>
                    <a:cubicBezTo>
                      <a:pt x="7" y="47"/>
                      <a:pt x="7" y="47"/>
                      <a:pt x="7" y="47"/>
                    </a:cubicBezTo>
                    <a:cubicBezTo>
                      <a:pt x="7" y="47"/>
                      <a:pt x="7" y="46"/>
                      <a:pt x="8" y="46"/>
                    </a:cubicBezTo>
                    <a:cubicBezTo>
                      <a:pt x="8" y="46"/>
                      <a:pt x="8" y="46"/>
                      <a:pt x="8" y="46"/>
                    </a:cubicBezTo>
                    <a:cubicBezTo>
                      <a:pt x="8" y="46"/>
                      <a:pt x="8" y="46"/>
                      <a:pt x="8" y="46"/>
                    </a:cubicBezTo>
                    <a:cubicBezTo>
                      <a:pt x="8" y="46"/>
                      <a:pt x="8" y="46"/>
                      <a:pt x="8" y="46"/>
                    </a:cubicBezTo>
                    <a:cubicBezTo>
                      <a:pt x="8" y="46"/>
                      <a:pt x="8" y="46"/>
                      <a:pt x="8" y="46"/>
                    </a:cubicBezTo>
                    <a:cubicBezTo>
                      <a:pt x="8" y="46"/>
                      <a:pt x="8" y="46"/>
                      <a:pt x="8" y="46"/>
                    </a:cubicBezTo>
                    <a:cubicBezTo>
                      <a:pt x="8" y="46"/>
                      <a:pt x="8" y="46"/>
                      <a:pt x="8" y="46"/>
                    </a:cubicBezTo>
                    <a:cubicBezTo>
                      <a:pt x="8" y="46"/>
                      <a:pt x="8" y="46"/>
                      <a:pt x="8" y="46"/>
                    </a:cubicBezTo>
                    <a:cubicBezTo>
                      <a:pt x="10" y="46"/>
                      <a:pt x="11" y="45"/>
                      <a:pt x="10" y="43"/>
                    </a:cubicBezTo>
                    <a:cubicBezTo>
                      <a:pt x="10" y="42"/>
                      <a:pt x="9" y="41"/>
                      <a:pt x="8" y="41"/>
                    </a:cubicBezTo>
                    <a:cubicBezTo>
                      <a:pt x="7" y="41"/>
                      <a:pt x="6" y="41"/>
                      <a:pt x="6" y="40"/>
                    </a:cubicBezTo>
                    <a:cubicBezTo>
                      <a:pt x="5" y="40"/>
                      <a:pt x="5" y="39"/>
                      <a:pt x="5" y="39"/>
                    </a:cubicBezTo>
                    <a:cubicBezTo>
                      <a:pt x="5" y="38"/>
                      <a:pt x="5" y="38"/>
                      <a:pt x="5" y="38"/>
                    </a:cubicBezTo>
                    <a:cubicBezTo>
                      <a:pt x="6" y="37"/>
                      <a:pt x="6" y="37"/>
                      <a:pt x="7" y="37"/>
                    </a:cubicBezTo>
                    <a:cubicBezTo>
                      <a:pt x="7" y="37"/>
                      <a:pt x="8" y="37"/>
                      <a:pt x="8" y="37"/>
                    </a:cubicBezTo>
                    <a:cubicBezTo>
                      <a:pt x="8" y="35"/>
                      <a:pt x="8" y="35"/>
                      <a:pt x="8" y="35"/>
                    </a:cubicBezTo>
                    <a:cubicBezTo>
                      <a:pt x="8" y="37"/>
                      <a:pt x="8" y="37"/>
                      <a:pt x="8" y="37"/>
                    </a:cubicBezTo>
                    <a:cubicBezTo>
                      <a:pt x="8" y="37"/>
                      <a:pt x="8" y="37"/>
                      <a:pt x="8" y="37"/>
                    </a:cubicBezTo>
                    <a:cubicBezTo>
                      <a:pt x="8" y="35"/>
                      <a:pt x="8" y="35"/>
                      <a:pt x="8" y="35"/>
                    </a:cubicBezTo>
                    <a:cubicBezTo>
                      <a:pt x="8" y="37"/>
                      <a:pt x="8" y="37"/>
                      <a:pt x="8" y="37"/>
                    </a:cubicBezTo>
                    <a:cubicBezTo>
                      <a:pt x="8" y="34"/>
                      <a:pt x="8" y="34"/>
                      <a:pt x="8" y="34"/>
                    </a:cubicBezTo>
                    <a:cubicBezTo>
                      <a:pt x="8" y="32"/>
                      <a:pt x="8" y="32"/>
                      <a:pt x="8" y="32"/>
                    </a:cubicBezTo>
                    <a:cubicBezTo>
                      <a:pt x="7" y="32"/>
                      <a:pt x="6" y="32"/>
                      <a:pt x="6" y="31"/>
                    </a:cubicBezTo>
                    <a:cubicBezTo>
                      <a:pt x="6" y="31"/>
                      <a:pt x="6" y="31"/>
                      <a:pt x="6" y="31"/>
                    </a:cubicBezTo>
                    <a:cubicBezTo>
                      <a:pt x="6" y="31"/>
                      <a:pt x="6" y="30"/>
                      <a:pt x="6" y="30"/>
                    </a:cubicBezTo>
                    <a:cubicBezTo>
                      <a:pt x="6" y="29"/>
                      <a:pt x="6" y="29"/>
                      <a:pt x="6" y="29"/>
                    </a:cubicBezTo>
                    <a:cubicBezTo>
                      <a:pt x="6" y="29"/>
                      <a:pt x="7" y="29"/>
                      <a:pt x="7" y="29"/>
                    </a:cubicBezTo>
                    <a:cubicBezTo>
                      <a:pt x="8" y="28"/>
                      <a:pt x="8" y="28"/>
                      <a:pt x="8" y="28"/>
                    </a:cubicBezTo>
                    <a:cubicBezTo>
                      <a:pt x="8" y="28"/>
                      <a:pt x="8" y="28"/>
                      <a:pt x="8" y="28"/>
                    </a:cubicBezTo>
                    <a:cubicBezTo>
                      <a:pt x="8" y="28"/>
                      <a:pt x="8" y="28"/>
                      <a:pt x="8" y="28"/>
                    </a:cubicBezTo>
                    <a:cubicBezTo>
                      <a:pt x="8" y="26"/>
                      <a:pt x="8" y="26"/>
                      <a:pt x="8" y="26"/>
                    </a:cubicBezTo>
                    <a:cubicBezTo>
                      <a:pt x="8" y="28"/>
                      <a:pt x="8" y="28"/>
                      <a:pt x="8" y="28"/>
                    </a:cubicBezTo>
                    <a:cubicBezTo>
                      <a:pt x="22" y="28"/>
                      <a:pt x="22" y="28"/>
                      <a:pt x="22" y="28"/>
                    </a:cubicBezTo>
                    <a:cubicBezTo>
                      <a:pt x="23" y="28"/>
                      <a:pt x="24" y="28"/>
                      <a:pt x="25" y="28"/>
                    </a:cubicBezTo>
                    <a:cubicBezTo>
                      <a:pt x="26" y="28"/>
                      <a:pt x="26" y="27"/>
                      <a:pt x="27" y="27"/>
                    </a:cubicBezTo>
                    <a:cubicBezTo>
                      <a:pt x="27" y="26"/>
                      <a:pt x="27" y="26"/>
                      <a:pt x="27" y="25"/>
                    </a:cubicBezTo>
                    <a:cubicBezTo>
                      <a:pt x="27" y="24"/>
                      <a:pt x="27" y="24"/>
                      <a:pt x="27" y="23"/>
                    </a:cubicBezTo>
                    <a:cubicBezTo>
                      <a:pt x="24" y="24"/>
                      <a:pt x="24" y="24"/>
                      <a:pt x="24" y="24"/>
                    </a:cubicBezTo>
                    <a:cubicBezTo>
                      <a:pt x="27" y="24"/>
                      <a:pt x="27" y="24"/>
                      <a:pt x="27" y="24"/>
                    </a:cubicBezTo>
                    <a:cubicBezTo>
                      <a:pt x="26" y="20"/>
                      <a:pt x="25" y="17"/>
                      <a:pt x="25" y="14"/>
                    </a:cubicBezTo>
                    <a:cubicBezTo>
                      <a:pt x="25" y="8"/>
                      <a:pt x="28" y="6"/>
                      <a:pt x="29" y="5"/>
                    </a:cubicBezTo>
                    <a:cubicBezTo>
                      <a:pt x="27" y="3"/>
                      <a:pt x="27" y="3"/>
                      <a:pt x="27" y="3"/>
                    </a:cubicBezTo>
                    <a:cubicBezTo>
                      <a:pt x="28" y="5"/>
                      <a:pt x="28" y="5"/>
                      <a:pt x="28" y="5"/>
                    </a:cubicBezTo>
                    <a:cubicBezTo>
                      <a:pt x="29" y="5"/>
                      <a:pt x="29" y="5"/>
                      <a:pt x="29" y="5"/>
                    </a:cubicBezTo>
                    <a:cubicBezTo>
                      <a:pt x="29" y="5"/>
                      <a:pt x="29" y="5"/>
                      <a:pt x="29" y="5"/>
                    </a:cubicBezTo>
                    <a:cubicBezTo>
                      <a:pt x="29" y="4"/>
                      <a:pt x="29" y="4"/>
                      <a:pt x="29" y="4"/>
                    </a:cubicBezTo>
                    <a:cubicBezTo>
                      <a:pt x="29" y="5"/>
                      <a:pt x="29" y="5"/>
                      <a:pt x="29" y="5"/>
                    </a:cubicBezTo>
                    <a:cubicBezTo>
                      <a:pt x="29" y="5"/>
                      <a:pt x="29" y="5"/>
                      <a:pt x="29" y="5"/>
                    </a:cubicBezTo>
                    <a:cubicBezTo>
                      <a:pt x="29" y="4"/>
                      <a:pt x="29" y="4"/>
                      <a:pt x="29" y="4"/>
                    </a:cubicBezTo>
                    <a:cubicBezTo>
                      <a:pt x="29" y="5"/>
                      <a:pt x="29" y="5"/>
                      <a:pt x="29" y="5"/>
                    </a:cubicBezTo>
                    <a:cubicBezTo>
                      <a:pt x="29" y="4"/>
                      <a:pt x="29" y="4"/>
                      <a:pt x="29" y="4"/>
                    </a:cubicBezTo>
                    <a:cubicBezTo>
                      <a:pt x="29" y="4"/>
                      <a:pt x="29" y="4"/>
                      <a:pt x="29" y="4"/>
                    </a:cubicBezTo>
                    <a:cubicBezTo>
                      <a:pt x="29" y="5"/>
                      <a:pt x="29" y="5"/>
                      <a:pt x="29" y="5"/>
                    </a:cubicBezTo>
                    <a:cubicBezTo>
                      <a:pt x="29" y="4"/>
                      <a:pt x="29" y="4"/>
                      <a:pt x="29" y="4"/>
                    </a:cubicBezTo>
                    <a:cubicBezTo>
                      <a:pt x="29" y="4"/>
                      <a:pt x="29" y="4"/>
                      <a:pt x="29" y="4"/>
                    </a:cubicBezTo>
                    <a:cubicBezTo>
                      <a:pt x="29" y="4"/>
                      <a:pt x="29" y="4"/>
                      <a:pt x="29" y="4"/>
                    </a:cubicBezTo>
                    <a:cubicBezTo>
                      <a:pt x="29" y="4"/>
                      <a:pt x="29" y="4"/>
                      <a:pt x="29" y="4"/>
                    </a:cubicBezTo>
                    <a:cubicBezTo>
                      <a:pt x="29" y="4"/>
                      <a:pt x="29" y="4"/>
                      <a:pt x="29" y="4"/>
                    </a:cubicBezTo>
                    <a:cubicBezTo>
                      <a:pt x="29" y="4"/>
                      <a:pt x="29" y="4"/>
                      <a:pt x="29" y="4"/>
                    </a:cubicBezTo>
                    <a:cubicBezTo>
                      <a:pt x="29" y="4"/>
                      <a:pt x="29" y="4"/>
                      <a:pt x="29" y="4"/>
                    </a:cubicBezTo>
                    <a:cubicBezTo>
                      <a:pt x="29" y="4"/>
                      <a:pt x="29" y="4"/>
                      <a:pt x="29" y="4"/>
                    </a:cubicBezTo>
                    <a:cubicBezTo>
                      <a:pt x="29" y="5"/>
                      <a:pt x="29" y="5"/>
                      <a:pt x="29" y="5"/>
                    </a:cubicBezTo>
                    <a:cubicBezTo>
                      <a:pt x="29" y="5"/>
                      <a:pt x="29" y="5"/>
                      <a:pt x="29" y="5"/>
                    </a:cubicBezTo>
                    <a:cubicBezTo>
                      <a:pt x="29" y="5"/>
                      <a:pt x="29" y="5"/>
                      <a:pt x="29" y="5"/>
                    </a:cubicBezTo>
                    <a:cubicBezTo>
                      <a:pt x="29" y="5"/>
                      <a:pt x="29" y="5"/>
                      <a:pt x="29" y="5"/>
                    </a:cubicBezTo>
                    <a:cubicBezTo>
                      <a:pt x="29" y="5"/>
                      <a:pt x="29" y="5"/>
                      <a:pt x="29" y="5"/>
                    </a:cubicBezTo>
                    <a:cubicBezTo>
                      <a:pt x="29" y="5"/>
                      <a:pt x="29" y="5"/>
                      <a:pt x="29" y="5"/>
                    </a:cubicBezTo>
                    <a:cubicBezTo>
                      <a:pt x="31" y="5"/>
                      <a:pt x="31" y="5"/>
                      <a:pt x="31" y="5"/>
                    </a:cubicBezTo>
                    <a:cubicBezTo>
                      <a:pt x="29" y="5"/>
                      <a:pt x="29" y="5"/>
                      <a:pt x="29" y="5"/>
                    </a:cubicBezTo>
                    <a:cubicBezTo>
                      <a:pt x="29" y="5"/>
                      <a:pt x="29" y="7"/>
                      <a:pt x="29" y="10"/>
                    </a:cubicBezTo>
                    <a:cubicBezTo>
                      <a:pt x="29" y="11"/>
                      <a:pt x="29" y="13"/>
                      <a:pt x="29" y="14"/>
                    </a:cubicBezTo>
                    <a:cubicBezTo>
                      <a:pt x="31" y="14"/>
                      <a:pt x="31" y="14"/>
                      <a:pt x="31" y="14"/>
                    </a:cubicBezTo>
                    <a:cubicBezTo>
                      <a:pt x="29" y="14"/>
                      <a:pt x="29" y="14"/>
                      <a:pt x="29" y="14"/>
                    </a:cubicBezTo>
                    <a:cubicBezTo>
                      <a:pt x="29" y="16"/>
                      <a:pt x="29" y="17"/>
                      <a:pt x="30" y="19"/>
                    </a:cubicBezTo>
                    <a:cubicBezTo>
                      <a:pt x="33" y="23"/>
                      <a:pt x="37" y="28"/>
                      <a:pt x="38" y="29"/>
                    </a:cubicBezTo>
                    <a:cubicBezTo>
                      <a:pt x="38" y="29"/>
                      <a:pt x="38" y="29"/>
                      <a:pt x="38" y="29"/>
                    </a:cubicBezTo>
                    <a:cubicBezTo>
                      <a:pt x="40" y="30"/>
                      <a:pt x="41" y="31"/>
                      <a:pt x="42" y="31"/>
                    </a:cubicBezTo>
                    <a:cubicBezTo>
                      <a:pt x="42" y="31"/>
                      <a:pt x="42" y="31"/>
                      <a:pt x="42" y="31"/>
                    </a:cubicBezTo>
                    <a:cubicBezTo>
                      <a:pt x="49" y="31"/>
                      <a:pt x="49" y="31"/>
                      <a:pt x="49" y="31"/>
                    </a:cubicBezTo>
                    <a:cubicBezTo>
                      <a:pt x="51" y="31"/>
                      <a:pt x="52" y="30"/>
                      <a:pt x="52" y="29"/>
                    </a:cubicBezTo>
                    <a:cubicBezTo>
                      <a:pt x="52" y="28"/>
                      <a:pt x="51" y="27"/>
                      <a:pt x="49" y="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716"/>
              <p:cNvSpPr>
                <a:spLocks/>
              </p:cNvSpPr>
              <p:nvPr/>
            </p:nvSpPr>
            <p:spPr bwMode="auto">
              <a:xfrm>
                <a:off x="3177769" y="4460000"/>
                <a:ext cx="53309" cy="112724"/>
              </a:xfrm>
              <a:custGeom>
                <a:avLst/>
                <a:gdLst/>
                <a:ahLst/>
                <a:cxnLst>
                  <a:cxn ang="0">
                    <a:pos x="17" y="0"/>
                  </a:cxn>
                  <a:cxn ang="0">
                    <a:pos x="7" y="0"/>
                  </a:cxn>
                  <a:cxn ang="0">
                    <a:pos x="4" y="1"/>
                  </a:cxn>
                  <a:cxn ang="0">
                    <a:pos x="1" y="3"/>
                  </a:cxn>
                  <a:cxn ang="0">
                    <a:pos x="0" y="7"/>
                  </a:cxn>
                  <a:cxn ang="0">
                    <a:pos x="0" y="34"/>
                  </a:cxn>
                  <a:cxn ang="0">
                    <a:pos x="1" y="35"/>
                  </a:cxn>
                  <a:cxn ang="0">
                    <a:pos x="2" y="37"/>
                  </a:cxn>
                  <a:cxn ang="0">
                    <a:pos x="4" y="39"/>
                  </a:cxn>
                  <a:cxn ang="0">
                    <a:pos x="7" y="40"/>
                  </a:cxn>
                  <a:cxn ang="0">
                    <a:pos x="17" y="40"/>
                  </a:cxn>
                  <a:cxn ang="0">
                    <a:pos x="20" y="37"/>
                  </a:cxn>
                  <a:cxn ang="0">
                    <a:pos x="17" y="35"/>
                  </a:cxn>
                  <a:cxn ang="0">
                    <a:pos x="7" y="35"/>
                  </a:cxn>
                  <a:cxn ang="0">
                    <a:pos x="7" y="36"/>
                  </a:cxn>
                  <a:cxn ang="0">
                    <a:pos x="7" y="35"/>
                  </a:cxn>
                  <a:cxn ang="0">
                    <a:pos x="7" y="35"/>
                  </a:cxn>
                  <a:cxn ang="0">
                    <a:pos x="7" y="36"/>
                  </a:cxn>
                  <a:cxn ang="0">
                    <a:pos x="7" y="35"/>
                  </a:cxn>
                  <a:cxn ang="0">
                    <a:pos x="6" y="35"/>
                  </a:cxn>
                  <a:cxn ang="0">
                    <a:pos x="5" y="33"/>
                  </a:cxn>
                  <a:cxn ang="0">
                    <a:pos x="5" y="33"/>
                  </a:cxn>
                  <a:cxn ang="0">
                    <a:pos x="5" y="33"/>
                  </a:cxn>
                  <a:cxn ang="0">
                    <a:pos x="5" y="33"/>
                  </a:cxn>
                  <a:cxn ang="0">
                    <a:pos x="3" y="34"/>
                  </a:cxn>
                  <a:cxn ang="0">
                    <a:pos x="5" y="34"/>
                  </a:cxn>
                  <a:cxn ang="0">
                    <a:pos x="5" y="7"/>
                  </a:cxn>
                  <a:cxn ang="0">
                    <a:pos x="5" y="6"/>
                  </a:cxn>
                  <a:cxn ang="0">
                    <a:pos x="6" y="5"/>
                  </a:cxn>
                  <a:cxn ang="0">
                    <a:pos x="7" y="5"/>
                  </a:cxn>
                  <a:cxn ang="0">
                    <a:pos x="7" y="5"/>
                  </a:cxn>
                  <a:cxn ang="0">
                    <a:pos x="7" y="5"/>
                  </a:cxn>
                  <a:cxn ang="0">
                    <a:pos x="7" y="4"/>
                  </a:cxn>
                  <a:cxn ang="0">
                    <a:pos x="7" y="5"/>
                  </a:cxn>
                  <a:cxn ang="0">
                    <a:pos x="7" y="5"/>
                  </a:cxn>
                  <a:cxn ang="0">
                    <a:pos x="7" y="4"/>
                  </a:cxn>
                  <a:cxn ang="0">
                    <a:pos x="7" y="5"/>
                  </a:cxn>
                  <a:cxn ang="0">
                    <a:pos x="17" y="5"/>
                  </a:cxn>
                  <a:cxn ang="0">
                    <a:pos x="20" y="3"/>
                  </a:cxn>
                  <a:cxn ang="0">
                    <a:pos x="17" y="0"/>
                  </a:cxn>
                </a:cxnLst>
                <a:rect l="0" t="0" r="r" b="b"/>
                <a:pathLst>
                  <a:path w="20" h="40">
                    <a:moveTo>
                      <a:pt x="17" y="0"/>
                    </a:moveTo>
                    <a:cubicBezTo>
                      <a:pt x="7" y="0"/>
                      <a:pt x="7" y="0"/>
                      <a:pt x="7" y="0"/>
                    </a:cubicBezTo>
                    <a:cubicBezTo>
                      <a:pt x="7" y="0"/>
                      <a:pt x="6" y="0"/>
                      <a:pt x="4" y="1"/>
                    </a:cubicBezTo>
                    <a:cubicBezTo>
                      <a:pt x="3" y="1"/>
                      <a:pt x="2" y="2"/>
                      <a:pt x="1" y="3"/>
                    </a:cubicBezTo>
                    <a:cubicBezTo>
                      <a:pt x="1" y="4"/>
                      <a:pt x="0" y="6"/>
                      <a:pt x="0" y="7"/>
                    </a:cubicBezTo>
                    <a:cubicBezTo>
                      <a:pt x="0" y="34"/>
                      <a:pt x="0" y="34"/>
                      <a:pt x="0" y="34"/>
                    </a:cubicBezTo>
                    <a:cubicBezTo>
                      <a:pt x="0" y="34"/>
                      <a:pt x="0" y="34"/>
                      <a:pt x="1" y="35"/>
                    </a:cubicBezTo>
                    <a:cubicBezTo>
                      <a:pt x="1" y="35"/>
                      <a:pt x="1" y="36"/>
                      <a:pt x="2" y="37"/>
                    </a:cubicBezTo>
                    <a:cubicBezTo>
                      <a:pt x="2" y="38"/>
                      <a:pt x="3" y="38"/>
                      <a:pt x="4" y="39"/>
                    </a:cubicBezTo>
                    <a:cubicBezTo>
                      <a:pt x="4" y="39"/>
                      <a:pt x="5" y="40"/>
                      <a:pt x="7" y="40"/>
                    </a:cubicBezTo>
                    <a:cubicBezTo>
                      <a:pt x="17" y="40"/>
                      <a:pt x="17" y="40"/>
                      <a:pt x="17" y="40"/>
                    </a:cubicBezTo>
                    <a:cubicBezTo>
                      <a:pt x="18" y="40"/>
                      <a:pt x="20" y="39"/>
                      <a:pt x="20" y="37"/>
                    </a:cubicBezTo>
                    <a:cubicBezTo>
                      <a:pt x="20" y="36"/>
                      <a:pt x="18" y="35"/>
                      <a:pt x="17" y="35"/>
                    </a:cubicBezTo>
                    <a:cubicBezTo>
                      <a:pt x="7" y="35"/>
                      <a:pt x="7" y="35"/>
                      <a:pt x="7" y="35"/>
                    </a:cubicBezTo>
                    <a:cubicBezTo>
                      <a:pt x="7" y="36"/>
                      <a:pt x="7" y="36"/>
                      <a:pt x="7" y="36"/>
                    </a:cubicBezTo>
                    <a:cubicBezTo>
                      <a:pt x="7" y="35"/>
                      <a:pt x="7" y="35"/>
                      <a:pt x="7" y="35"/>
                    </a:cubicBezTo>
                    <a:cubicBezTo>
                      <a:pt x="7" y="35"/>
                      <a:pt x="7" y="35"/>
                      <a:pt x="7" y="35"/>
                    </a:cubicBezTo>
                    <a:cubicBezTo>
                      <a:pt x="7" y="36"/>
                      <a:pt x="7" y="36"/>
                      <a:pt x="7" y="36"/>
                    </a:cubicBezTo>
                    <a:cubicBezTo>
                      <a:pt x="7" y="35"/>
                      <a:pt x="7" y="35"/>
                      <a:pt x="7" y="35"/>
                    </a:cubicBezTo>
                    <a:cubicBezTo>
                      <a:pt x="6" y="35"/>
                      <a:pt x="6" y="35"/>
                      <a:pt x="6" y="35"/>
                    </a:cubicBezTo>
                    <a:cubicBezTo>
                      <a:pt x="6" y="34"/>
                      <a:pt x="6" y="34"/>
                      <a:pt x="5" y="33"/>
                    </a:cubicBezTo>
                    <a:cubicBezTo>
                      <a:pt x="5" y="33"/>
                      <a:pt x="5" y="33"/>
                      <a:pt x="5" y="33"/>
                    </a:cubicBezTo>
                    <a:cubicBezTo>
                      <a:pt x="5" y="33"/>
                      <a:pt x="5" y="33"/>
                      <a:pt x="5" y="33"/>
                    </a:cubicBezTo>
                    <a:cubicBezTo>
                      <a:pt x="5" y="33"/>
                      <a:pt x="5" y="33"/>
                      <a:pt x="5" y="33"/>
                    </a:cubicBezTo>
                    <a:cubicBezTo>
                      <a:pt x="3" y="34"/>
                      <a:pt x="3" y="34"/>
                      <a:pt x="3" y="34"/>
                    </a:cubicBezTo>
                    <a:cubicBezTo>
                      <a:pt x="5" y="34"/>
                      <a:pt x="5" y="34"/>
                      <a:pt x="5" y="34"/>
                    </a:cubicBezTo>
                    <a:cubicBezTo>
                      <a:pt x="5" y="7"/>
                      <a:pt x="5" y="7"/>
                      <a:pt x="5" y="7"/>
                    </a:cubicBezTo>
                    <a:cubicBezTo>
                      <a:pt x="5" y="6"/>
                      <a:pt x="5" y="6"/>
                      <a:pt x="5" y="6"/>
                    </a:cubicBezTo>
                    <a:cubicBezTo>
                      <a:pt x="6" y="6"/>
                      <a:pt x="6" y="5"/>
                      <a:pt x="6" y="5"/>
                    </a:cubicBezTo>
                    <a:cubicBezTo>
                      <a:pt x="7" y="5"/>
                      <a:pt x="7" y="5"/>
                      <a:pt x="7" y="5"/>
                    </a:cubicBezTo>
                    <a:cubicBezTo>
                      <a:pt x="7" y="5"/>
                      <a:pt x="7" y="5"/>
                      <a:pt x="7" y="5"/>
                    </a:cubicBezTo>
                    <a:cubicBezTo>
                      <a:pt x="7" y="5"/>
                      <a:pt x="7" y="5"/>
                      <a:pt x="7" y="5"/>
                    </a:cubicBezTo>
                    <a:cubicBezTo>
                      <a:pt x="7" y="4"/>
                      <a:pt x="7" y="4"/>
                      <a:pt x="7" y="4"/>
                    </a:cubicBezTo>
                    <a:cubicBezTo>
                      <a:pt x="7" y="5"/>
                      <a:pt x="7" y="5"/>
                      <a:pt x="7" y="5"/>
                    </a:cubicBezTo>
                    <a:cubicBezTo>
                      <a:pt x="7" y="5"/>
                      <a:pt x="7" y="5"/>
                      <a:pt x="7" y="5"/>
                    </a:cubicBezTo>
                    <a:cubicBezTo>
                      <a:pt x="7" y="4"/>
                      <a:pt x="7" y="4"/>
                      <a:pt x="7" y="4"/>
                    </a:cubicBezTo>
                    <a:cubicBezTo>
                      <a:pt x="7" y="5"/>
                      <a:pt x="7" y="5"/>
                      <a:pt x="7" y="5"/>
                    </a:cubicBezTo>
                    <a:cubicBezTo>
                      <a:pt x="17" y="5"/>
                      <a:pt x="17" y="5"/>
                      <a:pt x="17" y="5"/>
                    </a:cubicBezTo>
                    <a:cubicBezTo>
                      <a:pt x="18" y="5"/>
                      <a:pt x="20" y="4"/>
                      <a:pt x="20" y="3"/>
                    </a:cubicBezTo>
                    <a:cubicBezTo>
                      <a:pt x="20" y="1"/>
                      <a:pt x="18" y="0"/>
                      <a:pt x="1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717"/>
              <p:cNvSpPr>
                <a:spLocks/>
              </p:cNvSpPr>
              <p:nvPr/>
            </p:nvSpPr>
            <p:spPr bwMode="auto">
              <a:xfrm>
                <a:off x="3194731" y="4334466"/>
                <a:ext cx="261701" cy="407344"/>
              </a:xfrm>
              <a:custGeom>
                <a:avLst/>
                <a:gdLst/>
                <a:ahLst/>
                <a:cxnLst>
                  <a:cxn ang="0">
                    <a:pos x="6" y="142"/>
                  </a:cxn>
                  <a:cxn ang="0">
                    <a:pos x="8" y="112"/>
                  </a:cxn>
                  <a:cxn ang="0">
                    <a:pos x="72" y="8"/>
                  </a:cxn>
                  <a:cxn ang="0">
                    <a:pos x="90" y="19"/>
                  </a:cxn>
                  <a:cxn ang="0">
                    <a:pos x="27" y="121"/>
                  </a:cxn>
                  <a:cxn ang="0">
                    <a:pos x="8" y="133"/>
                  </a:cxn>
                  <a:cxn ang="0">
                    <a:pos x="8" y="138"/>
                  </a:cxn>
                  <a:cxn ang="0">
                    <a:pos x="12" y="139"/>
                  </a:cxn>
                  <a:cxn ang="0">
                    <a:pos x="31" y="126"/>
                  </a:cxn>
                  <a:cxn ang="0">
                    <a:pos x="32" y="125"/>
                  </a:cxn>
                  <a:cxn ang="0">
                    <a:pos x="97" y="19"/>
                  </a:cxn>
                  <a:cxn ang="0">
                    <a:pos x="96" y="15"/>
                  </a:cxn>
                  <a:cxn ang="0">
                    <a:pos x="73" y="0"/>
                  </a:cxn>
                  <a:cxn ang="0">
                    <a:pos x="70" y="0"/>
                  </a:cxn>
                  <a:cxn ang="0">
                    <a:pos x="68" y="1"/>
                  </a:cxn>
                  <a:cxn ang="0">
                    <a:pos x="2" y="110"/>
                  </a:cxn>
                  <a:cxn ang="0">
                    <a:pos x="1" y="111"/>
                  </a:cxn>
                  <a:cxn ang="0">
                    <a:pos x="0" y="141"/>
                  </a:cxn>
                  <a:cxn ang="0">
                    <a:pos x="3" y="145"/>
                  </a:cxn>
                  <a:cxn ang="0">
                    <a:pos x="6" y="142"/>
                  </a:cxn>
                </a:cxnLst>
                <a:rect l="0" t="0" r="r" b="b"/>
                <a:pathLst>
                  <a:path w="98" h="145">
                    <a:moveTo>
                      <a:pt x="6" y="142"/>
                    </a:moveTo>
                    <a:cubicBezTo>
                      <a:pt x="8" y="112"/>
                      <a:pt x="8" y="112"/>
                      <a:pt x="8" y="112"/>
                    </a:cubicBezTo>
                    <a:cubicBezTo>
                      <a:pt x="72" y="8"/>
                      <a:pt x="72" y="8"/>
                      <a:pt x="72" y="8"/>
                    </a:cubicBezTo>
                    <a:cubicBezTo>
                      <a:pt x="90" y="19"/>
                      <a:pt x="90" y="19"/>
                      <a:pt x="90" y="19"/>
                    </a:cubicBezTo>
                    <a:cubicBezTo>
                      <a:pt x="27" y="121"/>
                      <a:pt x="27" y="121"/>
                      <a:pt x="27" y="121"/>
                    </a:cubicBezTo>
                    <a:cubicBezTo>
                      <a:pt x="8" y="133"/>
                      <a:pt x="8" y="133"/>
                      <a:pt x="8" y="133"/>
                    </a:cubicBezTo>
                    <a:cubicBezTo>
                      <a:pt x="7" y="134"/>
                      <a:pt x="7" y="136"/>
                      <a:pt x="8" y="138"/>
                    </a:cubicBezTo>
                    <a:cubicBezTo>
                      <a:pt x="8" y="139"/>
                      <a:pt x="11" y="140"/>
                      <a:pt x="12" y="139"/>
                    </a:cubicBezTo>
                    <a:cubicBezTo>
                      <a:pt x="31" y="126"/>
                      <a:pt x="31" y="126"/>
                      <a:pt x="31" y="126"/>
                    </a:cubicBezTo>
                    <a:cubicBezTo>
                      <a:pt x="31" y="126"/>
                      <a:pt x="32" y="126"/>
                      <a:pt x="32" y="125"/>
                    </a:cubicBezTo>
                    <a:cubicBezTo>
                      <a:pt x="97" y="19"/>
                      <a:pt x="97" y="19"/>
                      <a:pt x="97" y="19"/>
                    </a:cubicBezTo>
                    <a:cubicBezTo>
                      <a:pt x="98" y="18"/>
                      <a:pt x="98" y="16"/>
                      <a:pt x="96" y="15"/>
                    </a:cubicBezTo>
                    <a:cubicBezTo>
                      <a:pt x="73" y="0"/>
                      <a:pt x="73" y="0"/>
                      <a:pt x="73" y="0"/>
                    </a:cubicBezTo>
                    <a:cubicBezTo>
                      <a:pt x="72" y="0"/>
                      <a:pt x="71" y="0"/>
                      <a:pt x="70" y="0"/>
                    </a:cubicBezTo>
                    <a:cubicBezTo>
                      <a:pt x="69" y="0"/>
                      <a:pt x="69" y="1"/>
                      <a:pt x="68" y="1"/>
                    </a:cubicBezTo>
                    <a:cubicBezTo>
                      <a:pt x="2" y="110"/>
                      <a:pt x="2" y="110"/>
                      <a:pt x="2" y="110"/>
                    </a:cubicBezTo>
                    <a:cubicBezTo>
                      <a:pt x="1" y="110"/>
                      <a:pt x="1" y="111"/>
                      <a:pt x="1" y="111"/>
                    </a:cubicBezTo>
                    <a:cubicBezTo>
                      <a:pt x="0" y="141"/>
                      <a:pt x="0" y="141"/>
                      <a:pt x="0" y="141"/>
                    </a:cubicBezTo>
                    <a:cubicBezTo>
                      <a:pt x="0" y="143"/>
                      <a:pt x="1" y="145"/>
                      <a:pt x="3" y="145"/>
                    </a:cubicBezTo>
                    <a:cubicBezTo>
                      <a:pt x="5" y="145"/>
                      <a:pt x="6" y="144"/>
                      <a:pt x="6" y="1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718"/>
              <p:cNvSpPr>
                <a:spLocks/>
              </p:cNvSpPr>
              <p:nvPr/>
            </p:nvSpPr>
            <p:spPr bwMode="auto">
              <a:xfrm>
                <a:off x="3199576" y="4639333"/>
                <a:ext cx="79965" cy="56361"/>
              </a:xfrm>
              <a:custGeom>
                <a:avLst/>
                <a:gdLst/>
                <a:ahLst/>
                <a:cxnLst>
                  <a:cxn ang="0">
                    <a:pos x="2" y="6"/>
                  </a:cxn>
                  <a:cxn ang="0">
                    <a:pos x="25" y="19"/>
                  </a:cxn>
                  <a:cxn ang="0">
                    <a:pos x="29" y="18"/>
                  </a:cxn>
                  <a:cxn ang="0">
                    <a:pos x="28" y="14"/>
                  </a:cxn>
                  <a:cxn ang="0">
                    <a:pos x="5" y="0"/>
                  </a:cxn>
                  <a:cxn ang="0">
                    <a:pos x="1" y="2"/>
                  </a:cxn>
                  <a:cxn ang="0">
                    <a:pos x="2" y="6"/>
                  </a:cxn>
                </a:cxnLst>
                <a:rect l="0" t="0" r="r" b="b"/>
                <a:pathLst>
                  <a:path w="30" h="20">
                    <a:moveTo>
                      <a:pt x="2" y="6"/>
                    </a:moveTo>
                    <a:cubicBezTo>
                      <a:pt x="25" y="19"/>
                      <a:pt x="25" y="19"/>
                      <a:pt x="25" y="19"/>
                    </a:cubicBezTo>
                    <a:cubicBezTo>
                      <a:pt x="26" y="20"/>
                      <a:pt x="28" y="20"/>
                      <a:pt x="29" y="18"/>
                    </a:cubicBezTo>
                    <a:cubicBezTo>
                      <a:pt x="30" y="17"/>
                      <a:pt x="30" y="15"/>
                      <a:pt x="28" y="14"/>
                    </a:cubicBezTo>
                    <a:cubicBezTo>
                      <a:pt x="5" y="0"/>
                      <a:pt x="5" y="0"/>
                      <a:pt x="5" y="0"/>
                    </a:cubicBezTo>
                    <a:cubicBezTo>
                      <a:pt x="3" y="0"/>
                      <a:pt x="1" y="0"/>
                      <a:pt x="1" y="2"/>
                    </a:cubicBezTo>
                    <a:cubicBezTo>
                      <a:pt x="0" y="3"/>
                      <a:pt x="0" y="5"/>
                      <a:pt x="2" y="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4" name="Group 13"/>
          <p:cNvGrpSpPr/>
          <p:nvPr/>
        </p:nvGrpSpPr>
        <p:grpSpPr>
          <a:xfrm>
            <a:off x="8351118" y="1187305"/>
            <a:ext cx="2488012" cy="5099193"/>
            <a:chOff x="8351118" y="1428606"/>
            <a:chExt cx="2392619" cy="4743594"/>
          </a:xfrm>
        </p:grpSpPr>
        <p:sp>
          <p:nvSpPr>
            <p:cNvPr id="24" name="Rounded Rectangle 23"/>
            <p:cNvSpPr/>
            <p:nvPr/>
          </p:nvSpPr>
          <p:spPr>
            <a:xfrm>
              <a:off x="8678162" y="1450500"/>
              <a:ext cx="2065574" cy="576171"/>
            </a:xfrm>
            <a:prstGeom prst="roundRect">
              <a:avLst>
                <a:gd name="adj" fmla="val 789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84048" rIns="36000" rtlCol="0" anchor="ctr"/>
            <a:lstStyle/>
            <a:p>
              <a:r>
                <a:rPr lang="en-GB" sz="1400" b="1" dirty="0">
                  <a:solidFill>
                    <a:schemeClr val="bg1"/>
                  </a:solidFill>
                </a:rPr>
                <a:t>App Portfolio Management</a:t>
              </a:r>
            </a:p>
          </p:txBody>
        </p:sp>
        <p:sp>
          <p:nvSpPr>
            <p:cNvPr id="25" name="Oval 24"/>
            <p:cNvSpPr/>
            <p:nvPr/>
          </p:nvSpPr>
          <p:spPr>
            <a:xfrm>
              <a:off x="8351118" y="1428606"/>
              <a:ext cx="630000" cy="630000"/>
            </a:xfrm>
            <a:prstGeom prst="ellipse">
              <a:avLst/>
            </a:prstGeom>
          </p:spPr>
          <p:style>
            <a:lnRef idx="2">
              <a:schemeClr val="accent1"/>
            </a:lnRef>
            <a:fillRef idx="1">
              <a:schemeClr val="lt1"/>
            </a:fillRef>
            <a:effectRef idx="0">
              <a:schemeClr val="accent1"/>
            </a:effectRef>
            <a:fontRef idx="minor">
              <a:schemeClr val="dk1"/>
            </a:fontRef>
          </p:style>
          <p:txBody>
            <a:bodyPr wrap="square" rtlCol="0" anchor="ctr">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endParaRPr lang="en-GB" sz="1600" b="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ndParaRPr>
            </a:p>
          </p:txBody>
        </p:sp>
        <p:sp>
          <p:nvSpPr>
            <p:cNvPr id="26" name="Espace réservé du contenu 2"/>
            <p:cNvSpPr txBox="1">
              <a:spLocks/>
            </p:cNvSpPr>
            <p:nvPr/>
          </p:nvSpPr>
          <p:spPr>
            <a:xfrm>
              <a:off x="8351118" y="2130832"/>
              <a:ext cx="2392619" cy="4041368"/>
            </a:xfrm>
            <a:prstGeom prst="rect">
              <a:avLst/>
            </a:prstGeom>
            <a:solidFill>
              <a:schemeClr val="bg1">
                <a:lumMod val="95000"/>
              </a:schemeClr>
            </a:solidFill>
          </p:spPr>
          <p:txBody>
            <a:bodyPr vert="horz" wrap="square" lIns="91440" tIns="45720" rIns="91440" bIns="45720" rtlCol="0">
              <a:noAutofit/>
            </a:bodyPr>
            <a:lstStyle/>
            <a:p>
              <a:pPr>
                <a:spcAft>
                  <a:spcPts val="200"/>
                </a:spcAft>
                <a:buClr>
                  <a:schemeClr val="accent1"/>
                </a:buClr>
              </a:pPr>
              <a:r>
                <a:rPr lang="en-US" sz="1050" b="1" dirty="0">
                  <a:solidFill>
                    <a:srgbClr val="9F958F">
                      <a:lumMod val="50000"/>
                    </a:srgbClr>
                  </a:solidFill>
                  <a:latin typeface="+mj-lt"/>
                </a:rPr>
                <a:t>Technology Change Management </a:t>
              </a:r>
            </a:p>
            <a:p>
              <a:pPr marL="168275" indent="-168275">
                <a:spcAft>
                  <a:spcPts val="200"/>
                </a:spcAft>
                <a:buClr>
                  <a:schemeClr val="accent1"/>
                </a:buClr>
                <a:buFont typeface="Wingdings" pitchFamily="2" charset="2"/>
                <a:buChar char="§"/>
              </a:pPr>
              <a:r>
                <a:rPr lang="en-US" sz="1000" dirty="0">
                  <a:solidFill>
                    <a:srgbClr val="9F958F">
                      <a:lumMod val="50000"/>
                    </a:srgbClr>
                  </a:solidFill>
                  <a:latin typeface="+mj-lt"/>
                </a:rPr>
                <a:t>Awareness of technology trends</a:t>
              </a:r>
            </a:p>
            <a:p>
              <a:pPr marL="168275" indent="-168275">
                <a:spcAft>
                  <a:spcPts val="200"/>
                </a:spcAft>
                <a:buClr>
                  <a:schemeClr val="accent1"/>
                </a:buClr>
                <a:buFont typeface="Wingdings" pitchFamily="2" charset="2"/>
                <a:buChar char="§"/>
              </a:pPr>
              <a:r>
                <a:rPr lang="en-US" sz="1000" dirty="0">
                  <a:solidFill>
                    <a:srgbClr val="9F958F">
                      <a:lumMod val="50000"/>
                    </a:srgbClr>
                  </a:solidFill>
                  <a:latin typeface="+mj-lt"/>
                </a:rPr>
                <a:t>Preparing for new OS versions</a:t>
              </a:r>
            </a:p>
            <a:p>
              <a:pPr marL="168275" indent="-168275">
                <a:spcAft>
                  <a:spcPts val="200"/>
                </a:spcAft>
                <a:buClr>
                  <a:schemeClr val="accent1"/>
                </a:buClr>
                <a:buFont typeface="Wingdings" pitchFamily="2" charset="2"/>
                <a:buChar char="§"/>
              </a:pPr>
              <a:r>
                <a:rPr lang="en-US" sz="1000" dirty="0">
                  <a:solidFill>
                    <a:srgbClr val="9F958F">
                      <a:lumMod val="50000"/>
                    </a:srgbClr>
                  </a:solidFill>
                  <a:latin typeface="+mj-lt"/>
                </a:rPr>
                <a:t>Migration Planning to newer technologies</a:t>
              </a:r>
            </a:p>
            <a:p>
              <a:pPr marL="168275" indent="-168275">
                <a:spcAft>
                  <a:spcPts val="200"/>
                </a:spcAft>
                <a:buClr>
                  <a:schemeClr val="accent1"/>
                </a:buClr>
                <a:buFont typeface="Wingdings" pitchFamily="2" charset="2"/>
                <a:buChar char="§"/>
              </a:pPr>
              <a:r>
                <a:rPr lang="en-US" sz="1000" dirty="0">
                  <a:solidFill>
                    <a:srgbClr val="9F958F">
                      <a:lumMod val="50000"/>
                    </a:srgbClr>
                  </a:solidFill>
                  <a:latin typeface="+mj-lt"/>
                </a:rPr>
                <a:t>New devices/platforms to be supported</a:t>
              </a:r>
            </a:p>
            <a:p>
              <a:pPr marL="168275" indent="-168275">
                <a:spcAft>
                  <a:spcPts val="200"/>
                </a:spcAft>
                <a:buClr>
                  <a:schemeClr val="accent1"/>
                </a:buClr>
                <a:buFont typeface="Wingdings" pitchFamily="2" charset="2"/>
                <a:buChar char="§"/>
              </a:pPr>
              <a:r>
                <a:rPr lang="en-US" sz="1000" dirty="0">
                  <a:solidFill>
                    <a:srgbClr val="9F958F">
                      <a:lumMod val="50000"/>
                    </a:srgbClr>
                  </a:solidFill>
                  <a:latin typeface="+mj-lt"/>
                </a:rPr>
                <a:t>Mobile app architectures</a:t>
              </a:r>
            </a:p>
            <a:p>
              <a:pPr marL="168275" indent="-168275">
                <a:spcAft>
                  <a:spcPts val="200"/>
                </a:spcAft>
                <a:buClr>
                  <a:schemeClr val="accent1"/>
                </a:buClr>
                <a:buFont typeface="Wingdings" pitchFamily="2" charset="2"/>
                <a:buChar char="§"/>
              </a:pPr>
              <a:r>
                <a:rPr lang="en-US" sz="1000" dirty="0">
                  <a:solidFill>
                    <a:srgbClr val="9F958F">
                      <a:lumMod val="50000"/>
                    </a:srgbClr>
                  </a:solidFill>
                  <a:latin typeface="+mj-lt"/>
                </a:rPr>
                <a:t>Application Retirement planning</a:t>
              </a:r>
            </a:p>
            <a:p>
              <a:pPr marL="168275" indent="-168275">
                <a:spcAft>
                  <a:spcPts val="200"/>
                </a:spcAft>
                <a:buClr>
                  <a:schemeClr val="accent1"/>
                </a:buClr>
                <a:buFont typeface="Wingdings" pitchFamily="2" charset="2"/>
                <a:buChar char="§"/>
              </a:pPr>
              <a:r>
                <a:rPr lang="en-US" sz="1000" dirty="0">
                  <a:solidFill>
                    <a:srgbClr val="9F958F">
                      <a:lumMod val="50000"/>
                    </a:srgbClr>
                  </a:solidFill>
                  <a:latin typeface="+mj-lt"/>
                </a:rPr>
                <a:t>Stop support of old devices / OS</a:t>
              </a:r>
            </a:p>
            <a:p>
              <a:pPr marL="168275" indent="-168275">
                <a:spcAft>
                  <a:spcPts val="200"/>
                </a:spcAft>
                <a:buClr>
                  <a:schemeClr val="accent1"/>
                </a:buClr>
                <a:buFont typeface="Wingdings" pitchFamily="2" charset="2"/>
                <a:buChar char="§"/>
              </a:pPr>
              <a:r>
                <a:rPr lang="en-US" sz="1000" dirty="0">
                  <a:solidFill>
                    <a:srgbClr val="9F958F">
                      <a:lumMod val="50000"/>
                    </a:srgbClr>
                  </a:solidFill>
                  <a:latin typeface="+mj-lt"/>
                </a:rPr>
                <a:t>Phase out of app from production environment</a:t>
              </a:r>
            </a:p>
            <a:p>
              <a:pPr marL="168275" indent="-168275">
                <a:spcAft>
                  <a:spcPts val="200"/>
                </a:spcAft>
                <a:buClr>
                  <a:schemeClr val="accent1"/>
                </a:buClr>
                <a:buFont typeface="Wingdings" pitchFamily="2" charset="2"/>
                <a:buChar char="§"/>
              </a:pPr>
              <a:r>
                <a:rPr lang="en-US" sz="1000" dirty="0">
                  <a:solidFill>
                    <a:srgbClr val="9F958F">
                      <a:lumMod val="50000"/>
                    </a:srgbClr>
                  </a:solidFill>
                  <a:latin typeface="+mj-lt"/>
                </a:rPr>
                <a:t>Release Planning </a:t>
              </a:r>
            </a:p>
            <a:p>
              <a:pPr marL="168275" indent="-168275">
                <a:spcAft>
                  <a:spcPts val="200"/>
                </a:spcAft>
                <a:buClr>
                  <a:schemeClr val="accent1"/>
                </a:buClr>
                <a:buFont typeface="Wingdings" pitchFamily="2" charset="2"/>
                <a:buChar char="§"/>
              </a:pPr>
              <a:r>
                <a:rPr lang="en-US" sz="1000" dirty="0">
                  <a:solidFill>
                    <a:srgbClr val="9F958F">
                      <a:lumMod val="50000"/>
                    </a:srgbClr>
                  </a:solidFill>
                  <a:latin typeface="+mj-lt"/>
                </a:rPr>
                <a:t>Alignment to organization IT release calendar</a:t>
              </a:r>
            </a:p>
          </p:txBody>
        </p:sp>
        <p:sp>
          <p:nvSpPr>
            <p:cNvPr id="28" name="Half Frame 27"/>
            <p:cNvSpPr/>
            <p:nvPr/>
          </p:nvSpPr>
          <p:spPr>
            <a:xfrm rot="10800000">
              <a:off x="10362736" y="5833645"/>
              <a:ext cx="381000" cy="338554"/>
            </a:xfrm>
            <a:prstGeom prst="halfFrame">
              <a:avLst>
                <a:gd name="adj1" fmla="val 17006"/>
                <a:gd name="adj2" fmla="val 13946"/>
              </a:avLst>
            </a:prstGeom>
            <a:solidFill>
              <a:schemeClr val="accent1"/>
            </a:solidFill>
          </p:spPr>
          <p:txBody>
            <a:bodyPr wrap="square" rtlCol="0" anchor="ctr">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endParaRPr lang="en-GB" sz="1600" b="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ndParaRPr>
            </a:p>
          </p:txBody>
        </p:sp>
        <p:grpSp>
          <p:nvGrpSpPr>
            <p:cNvPr id="55" name="Group 32"/>
            <p:cNvGrpSpPr>
              <a:grpSpLocks noChangeAspect="1"/>
            </p:cNvGrpSpPr>
            <p:nvPr/>
          </p:nvGrpSpPr>
          <p:grpSpPr>
            <a:xfrm>
              <a:off x="8512970" y="1504716"/>
              <a:ext cx="283368" cy="433622"/>
              <a:chOff x="701675" y="1987550"/>
              <a:chExt cx="446088" cy="762001"/>
            </a:xfrm>
            <a:solidFill>
              <a:schemeClr val="bg1"/>
            </a:solidFill>
            <a:effectLst/>
          </p:grpSpPr>
          <p:sp>
            <p:nvSpPr>
              <p:cNvPr id="56" name="Freeform 10"/>
              <p:cNvSpPr>
                <a:spLocks/>
              </p:cNvSpPr>
              <p:nvPr/>
            </p:nvSpPr>
            <p:spPr bwMode="auto">
              <a:xfrm>
                <a:off x="701675" y="1987550"/>
                <a:ext cx="446088" cy="762000"/>
              </a:xfrm>
              <a:custGeom>
                <a:avLst/>
                <a:gdLst/>
                <a:ahLst/>
                <a:cxnLst>
                  <a:cxn ang="0">
                    <a:pos x="134" y="295"/>
                  </a:cxn>
                  <a:cxn ang="0">
                    <a:pos x="31" y="295"/>
                  </a:cxn>
                  <a:cxn ang="0">
                    <a:pos x="0" y="267"/>
                  </a:cxn>
                  <a:cxn ang="0">
                    <a:pos x="0" y="28"/>
                  </a:cxn>
                  <a:cxn ang="0">
                    <a:pos x="30" y="0"/>
                  </a:cxn>
                  <a:cxn ang="0">
                    <a:pos x="142" y="0"/>
                  </a:cxn>
                  <a:cxn ang="0">
                    <a:pos x="173" y="28"/>
                  </a:cxn>
                  <a:cxn ang="0">
                    <a:pos x="173" y="294"/>
                  </a:cxn>
                </a:cxnLst>
                <a:rect l="0" t="0" r="r" b="b"/>
                <a:pathLst>
                  <a:path w="173" h="295">
                    <a:moveTo>
                      <a:pt x="134" y="295"/>
                    </a:moveTo>
                    <a:cubicBezTo>
                      <a:pt x="31" y="295"/>
                      <a:pt x="31" y="295"/>
                      <a:pt x="31" y="295"/>
                    </a:cubicBezTo>
                    <a:cubicBezTo>
                      <a:pt x="10" y="295"/>
                      <a:pt x="0" y="287"/>
                      <a:pt x="0" y="267"/>
                    </a:cubicBezTo>
                    <a:cubicBezTo>
                      <a:pt x="0" y="28"/>
                      <a:pt x="0" y="28"/>
                      <a:pt x="0" y="28"/>
                    </a:cubicBezTo>
                    <a:cubicBezTo>
                      <a:pt x="0" y="8"/>
                      <a:pt x="8" y="0"/>
                      <a:pt x="30" y="0"/>
                    </a:cubicBezTo>
                    <a:cubicBezTo>
                      <a:pt x="142" y="0"/>
                      <a:pt x="142" y="0"/>
                      <a:pt x="142" y="0"/>
                    </a:cubicBezTo>
                    <a:cubicBezTo>
                      <a:pt x="164" y="0"/>
                      <a:pt x="173" y="8"/>
                      <a:pt x="173" y="28"/>
                    </a:cubicBezTo>
                    <a:cubicBezTo>
                      <a:pt x="173" y="294"/>
                      <a:pt x="173" y="294"/>
                      <a:pt x="173" y="294"/>
                    </a:cubicBezTo>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11"/>
              <p:cNvSpPr>
                <a:spLocks/>
              </p:cNvSpPr>
              <p:nvPr/>
            </p:nvSpPr>
            <p:spPr bwMode="auto">
              <a:xfrm>
                <a:off x="769938" y="2049463"/>
                <a:ext cx="311150" cy="700088"/>
              </a:xfrm>
              <a:custGeom>
                <a:avLst/>
                <a:gdLst/>
                <a:ahLst/>
                <a:cxnLst>
                  <a:cxn ang="0">
                    <a:pos x="64" y="207"/>
                  </a:cxn>
                  <a:cxn ang="0">
                    <a:pos x="12" y="207"/>
                  </a:cxn>
                  <a:cxn ang="0">
                    <a:pos x="0" y="195"/>
                  </a:cxn>
                  <a:cxn ang="0">
                    <a:pos x="0" y="12"/>
                  </a:cxn>
                  <a:cxn ang="0">
                    <a:pos x="12" y="0"/>
                  </a:cxn>
                  <a:cxn ang="0">
                    <a:pos x="107" y="0"/>
                  </a:cxn>
                  <a:cxn ang="0">
                    <a:pos x="120" y="12"/>
                  </a:cxn>
                  <a:cxn ang="0">
                    <a:pos x="120" y="259"/>
                  </a:cxn>
                  <a:cxn ang="0">
                    <a:pos x="107" y="271"/>
                  </a:cxn>
                </a:cxnLst>
                <a:rect l="0" t="0" r="r" b="b"/>
                <a:pathLst>
                  <a:path w="120" h="271">
                    <a:moveTo>
                      <a:pt x="64" y="207"/>
                    </a:moveTo>
                    <a:cubicBezTo>
                      <a:pt x="12" y="207"/>
                      <a:pt x="12" y="207"/>
                      <a:pt x="12" y="207"/>
                    </a:cubicBezTo>
                    <a:cubicBezTo>
                      <a:pt x="5" y="207"/>
                      <a:pt x="0" y="202"/>
                      <a:pt x="0" y="195"/>
                    </a:cubicBezTo>
                    <a:cubicBezTo>
                      <a:pt x="0" y="12"/>
                      <a:pt x="0" y="12"/>
                      <a:pt x="0" y="12"/>
                    </a:cubicBezTo>
                    <a:cubicBezTo>
                      <a:pt x="0" y="5"/>
                      <a:pt x="5" y="0"/>
                      <a:pt x="12" y="0"/>
                    </a:cubicBezTo>
                    <a:cubicBezTo>
                      <a:pt x="107" y="0"/>
                      <a:pt x="107" y="0"/>
                      <a:pt x="107" y="0"/>
                    </a:cubicBezTo>
                    <a:cubicBezTo>
                      <a:pt x="114" y="0"/>
                      <a:pt x="120" y="5"/>
                      <a:pt x="120" y="12"/>
                    </a:cubicBezTo>
                    <a:cubicBezTo>
                      <a:pt x="120" y="259"/>
                      <a:pt x="120" y="259"/>
                      <a:pt x="120" y="259"/>
                    </a:cubicBezTo>
                    <a:cubicBezTo>
                      <a:pt x="120" y="266"/>
                      <a:pt x="114" y="271"/>
                      <a:pt x="107" y="271"/>
                    </a:cubicBezTo>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12"/>
              <p:cNvSpPr>
                <a:spLocks/>
              </p:cNvSpPr>
              <p:nvPr/>
            </p:nvSpPr>
            <p:spPr bwMode="auto">
              <a:xfrm>
                <a:off x="868363" y="2584450"/>
                <a:ext cx="114300" cy="74613"/>
              </a:xfrm>
              <a:custGeom>
                <a:avLst/>
                <a:gdLst/>
                <a:ahLst/>
                <a:cxnLst>
                  <a:cxn ang="0">
                    <a:pos x="24" y="0"/>
                  </a:cxn>
                  <a:cxn ang="0">
                    <a:pos x="35" y="0"/>
                  </a:cxn>
                  <a:cxn ang="0">
                    <a:pos x="44" y="8"/>
                  </a:cxn>
                  <a:cxn ang="0">
                    <a:pos x="44" y="21"/>
                  </a:cxn>
                  <a:cxn ang="0">
                    <a:pos x="35" y="29"/>
                  </a:cxn>
                  <a:cxn ang="0">
                    <a:pos x="8" y="29"/>
                  </a:cxn>
                  <a:cxn ang="0">
                    <a:pos x="0" y="21"/>
                  </a:cxn>
                </a:cxnLst>
                <a:rect l="0" t="0" r="r" b="b"/>
                <a:pathLst>
                  <a:path w="44" h="29">
                    <a:moveTo>
                      <a:pt x="24" y="0"/>
                    </a:moveTo>
                    <a:cubicBezTo>
                      <a:pt x="35" y="0"/>
                      <a:pt x="35" y="0"/>
                      <a:pt x="35" y="0"/>
                    </a:cubicBezTo>
                    <a:cubicBezTo>
                      <a:pt x="40" y="0"/>
                      <a:pt x="44" y="4"/>
                      <a:pt x="44" y="8"/>
                    </a:cubicBezTo>
                    <a:cubicBezTo>
                      <a:pt x="44" y="21"/>
                      <a:pt x="44" y="21"/>
                      <a:pt x="44" y="21"/>
                    </a:cubicBezTo>
                    <a:cubicBezTo>
                      <a:pt x="44" y="26"/>
                      <a:pt x="40" y="29"/>
                      <a:pt x="35" y="29"/>
                    </a:cubicBezTo>
                    <a:cubicBezTo>
                      <a:pt x="8" y="29"/>
                      <a:pt x="8" y="29"/>
                      <a:pt x="8" y="29"/>
                    </a:cubicBezTo>
                    <a:cubicBezTo>
                      <a:pt x="4" y="29"/>
                      <a:pt x="0" y="26"/>
                      <a:pt x="0" y="21"/>
                    </a:cubicBezTo>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13"/>
              <p:cNvSpPr>
                <a:spLocks/>
              </p:cNvSpPr>
              <p:nvPr/>
            </p:nvSpPr>
            <p:spPr bwMode="auto">
              <a:xfrm>
                <a:off x="846138" y="2184400"/>
                <a:ext cx="153988" cy="288925"/>
              </a:xfrm>
              <a:custGeom>
                <a:avLst/>
                <a:gdLst/>
                <a:ahLst/>
                <a:cxnLst>
                  <a:cxn ang="0">
                    <a:pos x="57" y="99"/>
                  </a:cxn>
                  <a:cxn ang="0">
                    <a:pos x="57" y="88"/>
                  </a:cxn>
                  <a:cxn ang="0">
                    <a:pos x="44" y="66"/>
                  </a:cxn>
                  <a:cxn ang="0">
                    <a:pos x="43" y="65"/>
                  </a:cxn>
                  <a:cxn ang="0">
                    <a:pos x="33" y="48"/>
                  </a:cxn>
                  <a:cxn ang="0">
                    <a:pos x="33" y="47"/>
                  </a:cxn>
                  <a:cxn ang="0">
                    <a:pos x="34" y="47"/>
                  </a:cxn>
                  <a:cxn ang="0">
                    <a:pos x="36" y="47"/>
                  </a:cxn>
                  <a:cxn ang="0">
                    <a:pos x="37" y="47"/>
                  </a:cxn>
                  <a:cxn ang="0">
                    <a:pos x="38" y="47"/>
                  </a:cxn>
                  <a:cxn ang="0">
                    <a:pos x="41" y="50"/>
                  </a:cxn>
                  <a:cxn ang="0">
                    <a:pos x="48" y="55"/>
                  </a:cxn>
                  <a:cxn ang="0">
                    <a:pos x="52" y="53"/>
                  </a:cxn>
                  <a:cxn ang="0">
                    <a:pos x="56" y="40"/>
                  </a:cxn>
                  <a:cxn ang="0">
                    <a:pos x="48" y="28"/>
                  </a:cxn>
                  <a:cxn ang="0">
                    <a:pos x="39" y="17"/>
                  </a:cxn>
                  <a:cxn ang="0">
                    <a:pos x="28" y="10"/>
                  </a:cxn>
                  <a:cxn ang="0">
                    <a:pos x="23" y="4"/>
                  </a:cxn>
                  <a:cxn ang="0">
                    <a:pos x="21" y="3"/>
                  </a:cxn>
                  <a:cxn ang="0">
                    <a:pos x="19" y="1"/>
                  </a:cxn>
                  <a:cxn ang="0">
                    <a:pos x="16" y="0"/>
                  </a:cxn>
                  <a:cxn ang="0">
                    <a:pos x="14" y="1"/>
                  </a:cxn>
                  <a:cxn ang="0">
                    <a:pos x="14" y="6"/>
                  </a:cxn>
                  <a:cxn ang="0">
                    <a:pos x="14" y="9"/>
                  </a:cxn>
                  <a:cxn ang="0">
                    <a:pos x="14" y="11"/>
                  </a:cxn>
                  <a:cxn ang="0">
                    <a:pos x="9" y="17"/>
                  </a:cxn>
                  <a:cxn ang="0">
                    <a:pos x="1" y="39"/>
                  </a:cxn>
                  <a:cxn ang="0">
                    <a:pos x="2" y="62"/>
                  </a:cxn>
                  <a:cxn ang="0">
                    <a:pos x="5" y="73"/>
                  </a:cxn>
                  <a:cxn ang="0">
                    <a:pos x="8" y="85"/>
                  </a:cxn>
                  <a:cxn ang="0">
                    <a:pos x="8" y="96"/>
                  </a:cxn>
                  <a:cxn ang="0">
                    <a:pos x="8" y="99"/>
                  </a:cxn>
                  <a:cxn ang="0">
                    <a:pos x="4" y="105"/>
                  </a:cxn>
                  <a:cxn ang="0">
                    <a:pos x="9" y="112"/>
                  </a:cxn>
                  <a:cxn ang="0">
                    <a:pos x="56" y="112"/>
                  </a:cxn>
                  <a:cxn ang="0">
                    <a:pos x="60" y="105"/>
                  </a:cxn>
                  <a:cxn ang="0">
                    <a:pos x="57" y="99"/>
                  </a:cxn>
                </a:cxnLst>
                <a:rect l="0" t="0" r="r" b="b"/>
                <a:pathLst>
                  <a:path w="60" h="112">
                    <a:moveTo>
                      <a:pt x="57" y="99"/>
                    </a:moveTo>
                    <a:cubicBezTo>
                      <a:pt x="57" y="96"/>
                      <a:pt x="57" y="92"/>
                      <a:pt x="57" y="88"/>
                    </a:cubicBezTo>
                    <a:cubicBezTo>
                      <a:pt x="55" y="78"/>
                      <a:pt x="49" y="71"/>
                      <a:pt x="44" y="66"/>
                    </a:cubicBezTo>
                    <a:cubicBezTo>
                      <a:pt x="44" y="66"/>
                      <a:pt x="44" y="65"/>
                      <a:pt x="43" y="65"/>
                    </a:cubicBezTo>
                    <a:cubicBezTo>
                      <a:pt x="39" y="60"/>
                      <a:pt x="34" y="55"/>
                      <a:pt x="33" y="48"/>
                    </a:cubicBezTo>
                    <a:cubicBezTo>
                      <a:pt x="33" y="48"/>
                      <a:pt x="33" y="48"/>
                      <a:pt x="33" y="47"/>
                    </a:cubicBezTo>
                    <a:cubicBezTo>
                      <a:pt x="34" y="47"/>
                      <a:pt x="34" y="47"/>
                      <a:pt x="34" y="47"/>
                    </a:cubicBezTo>
                    <a:cubicBezTo>
                      <a:pt x="35" y="47"/>
                      <a:pt x="35" y="47"/>
                      <a:pt x="36" y="47"/>
                    </a:cubicBezTo>
                    <a:cubicBezTo>
                      <a:pt x="36" y="47"/>
                      <a:pt x="37" y="47"/>
                      <a:pt x="37" y="47"/>
                    </a:cubicBezTo>
                    <a:cubicBezTo>
                      <a:pt x="38" y="47"/>
                      <a:pt x="38" y="47"/>
                      <a:pt x="38" y="47"/>
                    </a:cubicBezTo>
                    <a:cubicBezTo>
                      <a:pt x="39" y="47"/>
                      <a:pt x="40" y="48"/>
                      <a:pt x="41" y="50"/>
                    </a:cubicBezTo>
                    <a:cubicBezTo>
                      <a:pt x="43" y="53"/>
                      <a:pt x="46" y="55"/>
                      <a:pt x="48" y="55"/>
                    </a:cubicBezTo>
                    <a:cubicBezTo>
                      <a:pt x="50" y="55"/>
                      <a:pt x="51" y="54"/>
                      <a:pt x="52" y="53"/>
                    </a:cubicBezTo>
                    <a:cubicBezTo>
                      <a:pt x="54" y="51"/>
                      <a:pt x="58" y="44"/>
                      <a:pt x="56" y="40"/>
                    </a:cubicBezTo>
                    <a:cubicBezTo>
                      <a:pt x="55" y="37"/>
                      <a:pt x="52" y="32"/>
                      <a:pt x="48" y="28"/>
                    </a:cubicBezTo>
                    <a:cubicBezTo>
                      <a:pt x="47" y="26"/>
                      <a:pt x="43" y="21"/>
                      <a:pt x="39" y="17"/>
                    </a:cubicBezTo>
                    <a:cubicBezTo>
                      <a:pt x="36" y="14"/>
                      <a:pt x="32" y="11"/>
                      <a:pt x="28" y="10"/>
                    </a:cubicBezTo>
                    <a:cubicBezTo>
                      <a:pt x="26" y="7"/>
                      <a:pt x="25" y="6"/>
                      <a:pt x="23" y="4"/>
                    </a:cubicBezTo>
                    <a:cubicBezTo>
                      <a:pt x="22" y="4"/>
                      <a:pt x="22" y="3"/>
                      <a:pt x="21" y="3"/>
                    </a:cubicBezTo>
                    <a:cubicBezTo>
                      <a:pt x="20" y="2"/>
                      <a:pt x="20" y="2"/>
                      <a:pt x="19" y="1"/>
                    </a:cubicBezTo>
                    <a:cubicBezTo>
                      <a:pt x="18" y="0"/>
                      <a:pt x="17" y="0"/>
                      <a:pt x="16" y="0"/>
                    </a:cubicBezTo>
                    <a:cubicBezTo>
                      <a:pt x="16" y="0"/>
                      <a:pt x="15" y="0"/>
                      <a:pt x="14" y="1"/>
                    </a:cubicBezTo>
                    <a:cubicBezTo>
                      <a:pt x="13" y="3"/>
                      <a:pt x="14" y="5"/>
                      <a:pt x="14" y="6"/>
                    </a:cubicBezTo>
                    <a:cubicBezTo>
                      <a:pt x="14" y="7"/>
                      <a:pt x="14" y="8"/>
                      <a:pt x="14" y="9"/>
                    </a:cubicBezTo>
                    <a:cubicBezTo>
                      <a:pt x="14" y="11"/>
                      <a:pt x="14" y="11"/>
                      <a:pt x="14" y="11"/>
                    </a:cubicBezTo>
                    <a:cubicBezTo>
                      <a:pt x="12" y="12"/>
                      <a:pt x="11" y="14"/>
                      <a:pt x="9" y="17"/>
                    </a:cubicBezTo>
                    <a:cubicBezTo>
                      <a:pt x="5" y="23"/>
                      <a:pt x="2" y="30"/>
                      <a:pt x="1" y="39"/>
                    </a:cubicBezTo>
                    <a:cubicBezTo>
                      <a:pt x="0" y="48"/>
                      <a:pt x="1" y="57"/>
                      <a:pt x="2" y="62"/>
                    </a:cubicBezTo>
                    <a:cubicBezTo>
                      <a:pt x="3" y="66"/>
                      <a:pt x="4" y="70"/>
                      <a:pt x="5" y="73"/>
                    </a:cubicBezTo>
                    <a:cubicBezTo>
                      <a:pt x="6" y="77"/>
                      <a:pt x="7" y="81"/>
                      <a:pt x="8" y="85"/>
                    </a:cubicBezTo>
                    <a:cubicBezTo>
                      <a:pt x="8" y="89"/>
                      <a:pt x="8" y="92"/>
                      <a:pt x="8" y="96"/>
                    </a:cubicBezTo>
                    <a:cubicBezTo>
                      <a:pt x="8" y="97"/>
                      <a:pt x="8" y="98"/>
                      <a:pt x="8" y="99"/>
                    </a:cubicBezTo>
                    <a:cubicBezTo>
                      <a:pt x="6" y="100"/>
                      <a:pt x="4" y="102"/>
                      <a:pt x="4" y="105"/>
                    </a:cubicBezTo>
                    <a:cubicBezTo>
                      <a:pt x="4" y="109"/>
                      <a:pt x="6" y="112"/>
                      <a:pt x="9" y="112"/>
                    </a:cubicBezTo>
                    <a:cubicBezTo>
                      <a:pt x="56" y="112"/>
                      <a:pt x="56" y="112"/>
                      <a:pt x="56" y="112"/>
                    </a:cubicBezTo>
                    <a:cubicBezTo>
                      <a:pt x="58" y="112"/>
                      <a:pt x="60" y="109"/>
                      <a:pt x="60" y="105"/>
                    </a:cubicBezTo>
                    <a:cubicBezTo>
                      <a:pt x="60" y="102"/>
                      <a:pt x="59" y="100"/>
                      <a:pt x="57" y="99"/>
                    </a:cubicBezTo>
                    <a:close/>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3" name="Group 12"/>
          <p:cNvGrpSpPr/>
          <p:nvPr/>
        </p:nvGrpSpPr>
        <p:grpSpPr>
          <a:xfrm>
            <a:off x="5712003" y="1187306"/>
            <a:ext cx="2454335" cy="5099194"/>
            <a:chOff x="5912716" y="1428606"/>
            <a:chExt cx="2392621" cy="4743594"/>
          </a:xfrm>
        </p:grpSpPr>
        <p:sp>
          <p:nvSpPr>
            <p:cNvPr id="5" name="Rounded Rectangle 4"/>
            <p:cNvSpPr/>
            <p:nvPr/>
          </p:nvSpPr>
          <p:spPr>
            <a:xfrm>
              <a:off x="6239762" y="1450500"/>
              <a:ext cx="2065574" cy="576171"/>
            </a:xfrm>
            <a:prstGeom prst="roundRect">
              <a:avLst>
                <a:gd name="adj" fmla="val 789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84048" rIns="36000" rtlCol="0" anchor="ctr"/>
            <a:lstStyle/>
            <a:p>
              <a:r>
                <a:rPr lang="en-GB" sz="1400" b="1" dirty="0">
                  <a:solidFill>
                    <a:schemeClr val="bg1"/>
                  </a:solidFill>
                </a:rPr>
                <a:t>App Support and Release</a:t>
              </a:r>
            </a:p>
          </p:txBody>
        </p:sp>
        <p:sp>
          <p:nvSpPr>
            <p:cNvPr id="8" name="Oval 7"/>
            <p:cNvSpPr/>
            <p:nvPr/>
          </p:nvSpPr>
          <p:spPr>
            <a:xfrm>
              <a:off x="5912718" y="1428606"/>
              <a:ext cx="630000" cy="630000"/>
            </a:xfrm>
            <a:prstGeom prst="ellipse">
              <a:avLst/>
            </a:prstGeom>
          </p:spPr>
          <p:style>
            <a:lnRef idx="2">
              <a:schemeClr val="accent1"/>
            </a:lnRef>
            <a:fillRef idx="1">
              <a:schemeClr val="lt1"/>
            </a:fillRef>
            <a:effectRef idx="0">
              <a:schemeClr val="accent1"/>
            </a:effectRef>
            <a:fontRef idx="minor">
              <a:schemeClr val="dk1"/>
            </a:fontRef>
          </p:style>
          <p:txBody>
            <a:bodyPr wrap="square" rtlCol="0" anchor="ctr">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endParaRPr lang="en-GB" sz="1600" b="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ndParaRPr>
            </a:p>
          </p:txBody>
        </p:sp>
        <p:sp>
          <p:nvSpPr>
            <p:cNvPr id="9" name="Espace réservé du contenu 2"/>
            <p:cNvSpPr txBox="1">
              <a:spLocks/>
            </p:cNvSpPr>
            <p:nvPr/>
          </p:nvSpPr>
          <p:spPr>
            <a:xfrm>
              <a:off x="5912716" y="2130832"/>
              <a:ext cx="2392621" cy="4041368"/>
            </a:xfrm>
            <a:prstGeom prst="rect">
              <a:avLst/>
            </a:prstGeom>
            <a:solidFill>
              <a:schemeClr val="bg1">
                <a:lumMod val="95000"/>
              </a:schemeClr>
            </a:solidFill>
          </p:spPr>
          <p:txBody>
            <a:bodyPr vert="horz" wrap="square" lIns="91440" tIns="45720" rIns="91440" bIns="45720" rtlCol="0">
              <a:noAutofit/>
            </a:bodyPr>
            <a:lstStyle/>
            <a:p>
              <a:pPr>
                <a:spcAft>
                  <a:spcPts val="200"/>
                </a:spcAft>
                <a:buClr>
                  <a:schemeClr val="accent1"/>
                </a:buClr>
              </a:pPr>
              <a:r>
                <a:rPr lang="en-GB" sz="1050" b="1" dirty="0">
                  <a:solidFill>
                    <a:srgbClr val="9F958F">
                      <a:lumMod val="50000"/>
                    </a:srgbClr>
                  </a:solidFill>
                  <a:latin typeface="+mj-lt"/>
                </a:rPr>
                <a:t>Issue Management </a:t>
              </a:r>
            </a:p>
            <a:p>
              <a:pPr marL="168275" indent="-168275">
                <a:spcAft>
                  <a:spcPts val="200"/>
                </a:spcAft>
                <a:buClr>
                  <a:schemeClr val="accent1"/>
                </a:buClr>
                <a:buFont typeface="Wingdings" pitchFamily="2" charset="2"/>
                <a:buChar char="§"/>
              </a:pPr>
              <a:r>
                <a:rPr lang="en-GB" sz="1000" dirty="0">
                  <a:solidFill>
                    <a:srgbClr val="9F958F">
                      <a:lumMod val="50000"/>
                    </a:srgbClr>
                  </a:solidFill>
                  <a:latin typeface="+mj-lt"/>
                </a:rPr>
                <a:t>Troubleshoot user issues with app functioning and provide resolution</a:t>
              </a:r>
            </a:p>
            <a:p>
              <a:pPr marL="168275" indent="-168275">
                <a:spcAft>
                  <a:spcPts val="200"/>
                </a:spcAft>
                <a:buClr>
                  <a:schemeClr val="accent1"/>
                </a:buClr>
                <a:buFont typeface="Wingdings" pitchFamily="2" charset="2"/>
                <a:buChar char="§"/>
              </a:pPr>
              <a:r>
                <a:rPr lang="en-GB" sz="1000" dirty="0">
                  <a:solidFill>
                    <a:srgbClr val="9F958F">
                      <a:lumMod val="50000"/>
                    </a:srgbClr>
                  </a:solidFill>
                  <a:latin typeface="+mj-lt"/>
                </a:rPr>
                <a:t>App store Deployment </a:t>
              </a:r>
            </a:p>
            <a:p>
              <a:pPr marL="168275" indent="-168275">
                <a:spcAft>
                  <a:spcPts val="200"/>
                </a:spcAft>
                <a:buClr>
                  <a:schemeClr val="accent1"/>
                </a:buClr>
                <a:buFont typeface="Wingdings" pitchFamily="2" charset="2"/>
                <a:buChar char="§"/>
              </a:pPr>
              <a:r>
                <a:rPr lang="en-GB" sz="1000" dirty="0">
                  <a:solidFill>
                    <a:srgbClr val="9F958F">
                      <a:lumMod val="50000"/>
                    </a:srgbClr>
                  </a:solidFill>
                  <a:latin typeface="+mj-lt"/>
                </a:rPr>
                <a:t>Deploying app to public app stores</a:t>
              </a:r>
            </a:p>
            <a:p>
              <a:pPr marL="168275" indent="-168275">
                <a:spcAft>
                  <a:spcPts val="200"/>
                </a:spcAft>
                <a:buClr>
                  <a:schemeClr val="accent1"/>
                </a:buClr>
                <a:buFont typeface="Wingdings" pitchFamily="2" charset="2"/>
                <a:buChar char="§"/>
              </a:pPr>
              <a:r>
                <a:rPr lang="en-GB" sz="1000" dirty="0">
                  <a:solidFill>
                    <a:srgbClr val="9F958F">
                      <a:lumMod val="50000"/>
                    </a:srgbClr>
                  </a:solidFill>
                  <a:latin typeface="+mj-lt"/>
                </a:rPr>
                <a:t>Deploying app to enterprise app stores</a:t>
              </a:r>
            </a:p>
            <a:p>
              <a:pPr marL="168275" indent="-168275">
                <a:spcAft>
                  <a:spcPts val="200"/>
                </a:spcAft>
                <a:buClr>
                  <a:schemeClr val="accent1"/>
                </a:buClr>
                <a:buFont typeface="Wingdings" pitchFamily="2" charset="2"/>
                <a:buChar char="§"/>
              </a:pPr>
              <a:r>
                <a:rPr lang="en-GB" sz="1000" dirty="0">
                  <a:solidFill>
                    <a:srgbClr val="9F958F">
                      <a:lumMod val="50000"/>
                    </a:srgbClr>
                  </a:solidFill>
                  <a:latin typeface="+mj-lt"/>
                </a:rPr>
                <a:t>Management of app rollout</a:t>
              </a:r>
            </a:p>
            <a:p>
              <a:pPr marL="168275" indent="-168275">
                <a:spcAft>
                  <a:spcPts val="200"/>
                </a:spcAft>
                <a:buClr>
                  <a:schemeClr val="accent1"/>
                </a:buClr>
                <a:buFont typeface="Wingdings" pitchFamily="2" charset="2"/>
                <a:buChar char="§"/>
              </a:pPr>
              <a:r>
                <a:rPr lang="en-GB" sz="1000" dirty="0">
                  <a:solidFill>
                    <a:srgbClr val="9F958F">
                      <a:lumMod val="50000"/>
                    </a:srgbClr>
                  </a:solidFill>
                  <a:latin typeface="+mj-lt"/>
                </a:rPr>
                <a:t>Service Desk</a:t>
              </a:r>
            </a:p>
            <a:p>
              <a:pPr marL="168275" indent="-168275">
                <a:spcAft>
                  <a:spcPts val="200"/>
                </a:spcAft>
                <a:buClr>
                  <a:schemeClr val="accent1"/>
                </a:buClr>
                <a:buFont typeface="Wingdings" pitchFamily="2" charset="2"/>
                <a:buChar char="§"/>
              </a:pPr>
              <a:r>
                <a:rPr lang="en-GB" sz="1000" dirty="0">
                  <a:solidFill>
                    <a:srgbClr val="9F958F">
                      <a:lumMod val="50000"/>
                    </a:srgbClr>
                  </a:solidFill>
                  <a:latin typeface="+mj-lt"/>
                </a:rPr>
                <a:t>Channel for users to get support for their issues</a:t>
              </a:r>
            </a:p>
            <a:p>
              <a:pPr marL="168275" indent="-168275">
                <a:spcAft>
                  <a:spcPts val="200"/>
                </a:spcAft>
                <a:buClr>
                  <a:schemeClr val="accent1"/>
                </a:buClr>
                <a:buFont typeface="Wingdings" pitchFamily="2" charset="2"/>
                <a:buChar char="§"/>
              </a:pPr>
              <a:r>
                <a:rPr lang="en-GB" sz="1000" dirty="0">
                  <a:solidFill>
                    <a:srgbClr val="9F958F">
                      <a:lumMod val="50000"/>
                    </a:srgbClr>
                  </a:solidFill>
                  <a:latin typeface="+mj-lt"/>
                </a:rPr>
                <a:t>Email/Telephone/Webchat options</a:t>
              </a:r>
            </a:p>
          </p:txBody>
        </p:sp>
        <p:sp>
          <p:nvSpPr>
            <p:cNvPr id="18" name="Half Frame 17"/>
            <p:cNvSpPr/>
            <p:nvPr/>
          </p:nvSpPr>
          <p:spPr>
            <a:xfrm rot="10800000">
              <a:off x="7924336" y="5833645"/>
              <a:ext cx="381000" cy="338554"/>
            </a:xfrm>
            <a:prstGeom prst="halfFrame">
              <a:avLst>
                <a:gd name="adj1" fmla="val 17006"/>
                <a:gd name="adj2" fmla="val 13946"/>
              </a:avLst>
            </a:prstGeom>
            <a:solidFill>
              <a:schemeClr val="accent1"/>
            </a:solidFill>
          </p:spPr>
          <p:txBody>
            <a:bodyPr wrap="square" rtlCol="0" anchor="ctr">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endParaRPr lang="en-GB" sz="1600" b="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ndParaRPr>
            </a:p>
          </p:txBody>
        </p:sp>
        <p:grpSp>
          <p:nvGrpSpPr>
            <p:cNvPr id="60" name="Group 59"/>
            <p:cNvGrpSpPr/>
            <p:nvPr/>
          </p:nvGrpSpPr>
          <p:grpSpPr>
            <a:xfrm>
              <a:off x="6014005" y="1580857"/>
              <a:ext cx="205028" cy="283330"/>
              <a:chOff x="3024847" y="1122363"/>
              <a:chExt cx="211868" cy="301752"/>
            </a:xfrm>
            <a:solidFill>
              <a:schemeClr val="bg1"/>
            </a:solidFill>
          </p:grpSpPr>
          <p:sp>
            <p:nvSpPr>
              <p:cNvPr id="61" name="Freeform 60"/>
              <p:cNvSpPr>
                <a:spLocks/>
              </p:cNvSpPr>
              <p:nvPr/>
            </p:nvSpPr>
            <p:spPr bwMode="auto">
              <a:xfrm>
                <a:off x="3077814" y="1126375"/>
                <a:ext cx="36114" cy="55375"/>
              </a:xfrm>
              <a:custGeom>
                <a:avLst/>
                <a:gdLst/>
                <a:ahLst/>
                <a:cxnLst>
                  <a:cxn ang="0">
                    <a:pos x="0" y="29"/>
                  </a:cxn>
                  <a:cxn ang="0">
                    <a:pos x="19" y="0"/>
                  </a:cxn>
                </a:cxnLst>
                <a:rect l="0" t="0" r="r" b="b"/>
                <a:pathLst>
                  <a:path w="19" h="29">
                    <a:moveTo>
                      <a:pt x="0" y="29"/>
                    </a:moveTo>
                    <a:cubicBezTo>
                      <a:pt x="1" y="15"/>
                      <a:pt x="9" y="4"/>
                      <a:pt x="19" y="0"/>
                    </a:cubicBezTo>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endParaRPr lang="en-US" dirty="0"/>
              </a:p>
            </p:txBody>
          </p:sp>
          <p:sp>
            <p:nvSpPr>
              <p:cNvPr id="62" name="Freeform 61"/>
              <p:cNvSpPr>
                <a:spLocks/>
              </p:cNvSpPr>
              <p:nvPr/>
            </p:nvSpPr>
            <p:spPr bwMode="auto">
              <a:xfrm>
                <a:off x="3024847" y="1181750"/>
                <a:ext cx="81056" cy="229525"/>
              </a:xfrm>
              <a:custGeom>
                <a:avLst/>
                <a:gdLst/>
                <a:ahLst/>
                <a:cxnLst>
                  <a:cxn ang="0">
                    <a:pos x="28" y="0"/>
                  </a:cxn>
                  <a:cxn ang="0">
                    <a:pos x="28" y="3"/>
                  </a:cxn>
                  <a:cxn ang="0">
                    <a:pos x="43" y="33"/>
                  </a:cxn>
                  <a:cxn ang="0">
                    <a:pos x="0" y="121"/>
                  </a:cxn>
                </a:cxnLst>
                <a:rect l="0" t="0" r="r" b="b"/>
                <a:pathLst>
                  <a:path w="43" h="121">
                    <a:moveTo>
                      <a:pt x="28" y="0"/>
                    </a:moveTo>
                    <a:cubicBezTo>
                      <a:pt x="28" y="1"/>
                      <a:pt x="28" y="2"/>
                      <a:pt x="28" y="3"/>
                    </a:cubicBezTo>
                    <a:cubicBezTo>
                      <a:pt x="28" y="14"/>
                      <a:pt x="37" y="27"/>
                      <a:pt x="43" y="33"/>
                    </a:cubicBezTo>
                    <a:cubicBezTo>
                      <a:pt x="11" y="43"/>
                      <a:pt x="0" y="78"/>
                      <a:pt x="0" y="121"/>
                    </a:cubicBezTo>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endParaRPr lang="en-US" dirty="0"/>
              </a:p>
            </p:txBody>
          </p:sp>
          <p:sp>
            <p:nvSpPr>
              <p:cNvPr id="63" name="Freeform 62"/>
              <p:cNvSpPr>
                <a:spLocks/>
              </p:cNvSpPr>
              <p:nvPr/>
            </p:nvSpPr>
            <p:spPr bwMode="auto">
              <a:xfrm>
                <a:off x="3087444" y="1270831"/>
                <a:ext cx="149271" cy="153284"/>
              </a:xfrm>
              <a:custGeom>
                <a:avLst/>
                <a:gdLst/>
                <a:ahLst/>
                <a:cxnLst>
                  <a:cxn ang="0">
                    <a:pos x="57" y="0"/>
                  </a:cxn>
                  <a:cxn ang="0">
                    <a:pos x="79" y="74"/>
                  </a:cxn>
                  <a:cxn ang="0">
                    <a:pos x="0" y="79"/>
                  </a:cxn>
                </a:cxnLst>
                <a:rect l="0" t="0" r="r" b="b"/>
                <a:pathLst>
                  <a:path w="79" h="81">
                    <a:moveTo>
                      <a:pt x="57" y="0"/>
                    </a:moveTo>
                    <a:cubicBezTo>
                      <a:pt x="73" y="16"/>
                      <a:pt x="79" y="43"/>
                      <a:pt x="79" y="74"/>
                    </a:cubicBezTo>
                    <a:cubicBezTo>
                      <a:pt x="79" y="79"/>
                      <a:pt x="33" y="81"/>
                      <a:pt x="0" y="79"/>
                    </a:cubicBezTo>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endParaRPr lang="en-US" dirty="0"/>
              </a:p>
            </p:txBody>
          </p:sp>
          <p:sp>
            <p:nvSpPr>
              <p:cNvPr id="64" name="Freeform 63"/>
              <p:cNvSpPr>
                <a:spLocks/>
              </p:cNvSpPr>
              <p:nvPr/>
            </p:nvSpPr>
            <p:spPr bwMode="auto">
              <a:xfrm>
                <a:off x="3113928" y="1122363"/>
                <a:ext cx="62597" cy="32904"/>
              </a:xfrm>
              <a:custGeom>
                <a:avLst/>
                <a:gdLst/>
                <a:ahLst/>
                <a:cxnLst>
                  <a:cxn ang="0">
                    <a:pos x="0" y="2"/>
                  </a:cxn>
                  <a:cxn ang="0">
                    <a:pos x="9" y="0"/>
                  </a:cxn>
                  <a:cxn ang="0">
                    <a:pos x="33" y="17"/>
                  </a:cxn>
                </a:cxnLst>
                <a:rect l="0" t="0" r="r" b="b"/>
                <a:pathLst>
                  <a:path w="33" h="17">
                    <a:moveTo>
                      <a:pt x="0" y="2"/>
                    </a:moveTo>
                    <a:cubicBezTo>
                      <a:pt x="3" y="1"/>
                      <a:pt x="6" y="0"/>
                      <a:pt x="9" y="0"/>
                    </a:cubicBezTo>
                    <a:cubicBezTo>
                      <a:pt x="19" y="0"/>
                      <a:pt x="28" y="6"/>
                      <a:pt x="33" y="17"/>
                    </a:cubicBezTo>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endParaRPr lang="en-US" dirty="0"/>
              </a:p>
            </p:txBody>
          </p:sp>
          <p:sp>
            <p:nvSpPr>
              <p:cNvPr id="65" name="Freeform 64"/>
              <p:cNvSpPr>
                <a:spLocks/>
              </p:cNvSpPr>
              <p:nvPr/>
            </p:nvSpPr>
            <p:spPr bwMode="auto">
              <a:xfrm>
                <a:off x="3153252" y="1155267"/>
                <a:ext cx="41732" cy="115565"/>
              </a:xfrm>
              <a:custGeom>
                <a:avLst/>
                <a:gdLst/>
                <a:ahLst/>
                <a:cxnLst>
                  <a:cxn ang="0">
                    <a:pos x="12" y="0"/>
                  </a:cxn>
                  <a:cxn ang="0">
                    <a:pos x="15" y="17"/>
                  </a:cxn>
                  <a:cxn ang="0">
                    <a:pos x="0" y="47"/>
                  </a:cxn>
                  <a:cxn ang="0">
                    <a:pos x="22" y="61"/>
                  </a:cxn>
                </a:cxnLst>
                <a:rect l="0" t="0" r="r" b="b"/>
                <a:pathLst>
                  <a:path w="22" h="61">
                    <a:moveTo>
                      <a:pt x="12" y="0"/>
                    </a:moveTo>
                    <a:cubicBezTo>
                      <a:pt x="14" y="4"/>
                      <a:pt x="15" y="10"/>
                      <a:pt x="15" y="17"/>
                    </a:cubicBezTo>
                    <a:cubicBezTo>
                      <a:pt x="15" y="28"/>
                      <a:pt x="7" y="41"/>
                      <a:pt x="0" y="47"/>
                    </a:cubicBezTo>
                    <a:cubicBezTo>
                      <a:pt x="9" y="50"/>
                      <a:pt x="16" y="55"/>
                      <a:pt x="22" y="61"/>
                    </a:cubicBezTo>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endParaRPr lang="en-US" dirty="0"/>
              </a:p>
            </p:txBody>
          </p:sp>
        </p:grpSp>
        <p:grpSp>
          <p:nvGrpSpPr>
            <p:cNvPr id="66" name="Group 65"/>
            <p:cNvGrpSpPr/>
            <p:nvPr/>
          </p:nvGrpSpPr>
          <p:grpSpPr>
            <a:xfrm>
              <a:off x="6218793" y="1573713"/>
              <a:ext cx="205028" cy="283330"/>
              <a:chOff x="3024847" y="1122363"/>
              <a:chExt cx="211868" cy="301752"/>
            </a:xfrm>
            <a:solidFill>
              <a:schemeClr val="bg1"/>
            </a:solidFill>
          </p:grpSpPr>
          <p:sp>
            <p:nvSpPr>
              <p:cNvPr id="67" name="Freeform 66"/>
              <p:cNvSpPr>
                <a:spLocks/>
              </p:cNvSpPr>
              <p:nvPr/>
            </p:nvSpPr>
            <p:spPr bwMode="auto">
              <a:xfrm>
                <a:off x="3077814" y="1126375"/>
                <a:ext cx="36114" cy="55375"/>
              </a:xfrm>
              <a:custGeom>
                <a:avLst/>
                <a:gdLst/>
                <a:ahLst/>
                <a:cxnLst>
                  <a:cxn ang="0">
                    <a:pos x="0" y="29"/>
                  </a:cxn>
                  <a:cxn ang="0">
                    <a:pos x="19" y="0"/>
                  </a:cxn>
                </a:cxnLst>
                <a:rect l="0" t="0" r="r" b="b"/>
                <a:pathLst>
                  <a:path w="19" h="29">
                    <a:moveTo>
                      <a:pt x="0" y="29"/>
                    </a:moveTo>
                    <a:cubicBezTo>
                      <a:pt x="1" y="15"/>
                      <a:pt x="9" y="4"/>
                      <a:pt x="19" y="0"/>
                    </a:cubicBezTo>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endParaRPr lang="en-US" dirty="0"/>
              </a:p>
            </p:txBody>
          </p:sp>
          <p:sp>
            <p:nvSpPr>
              <p:cNvPr id="68" name="Freeform 67"/>
              <p:cNvSpPr>
                <a:spLocks/>
              </p:cNvSpPr>
              <p:nvPr/>
            </p:nvSpPr>
            <p:spPr bwMode="auto">
              <a:xfrm>
                <a:off x="3024847" y="1181750"/>
                <a:ext cx="81056" cy="229525"/>
              </a:xfrm>
              <a:custGeom>
                <a:avLst/>
                <a:gdLst/>
                <a:ahLst/>
                <a:cxnLst>
                  <a:cxn ang="0">
                    <a:pos x="28" y="0"/>
                  </a:cxn>
                  <a:cxn ang="0">
                    <a:pos x="28" y="3"/>
                  </a:cxn>
                  <a:cxn ang="0">
                    <a:pos x="43" y="33"/>
                  </a:cxn>
                  <a:cxn ang="0">
                    <a:pos x="0" y="121"/>
                  </a:cxn>
                </a:cxnLst>
                <a:rect l="0" t="0" r="r" b="b"/>
                <a:pathLst>
                  <a:path w="43" h="121">
                    <a:moveTo>
                      <a:pt x="28" y="0"/>
                    </a:moveTo>
                    <a:cubicBezTo>
                      <a:pt x="28" y="1"/>
                      <a:pt x="28" y="2"/>
                      <a:pt x="28" y="3"/>
                    </a:cubicBezTo>
                    <a:cubicBezTo>
                      <a:pt x="28" y="14"/>
                      <a:pt x="37" y="27"/>
                      <a:pt x="43" y="33"/>
                    </a:cubicBezTo>
                    <a:cubicBezTo>
                      <a:pt x="11" y="43"/>
                      <a:pt x="0" y="78"/>
                      <a:pt x="0" y="121"/>
                    </a:cubicBezTo>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endParaRPr lang="en-US" dirty="0"/>
              </a:p>
            </p:txBody>
          </p:sp>
          <p:sp>
            <p:nvSpPr>
              <p:cNvPr id="69" name="Freeform 68"/>
              <p:cNvSpPr>
                <a:spLocks/>
              </p:cNvSpPr>
              <p:nvPr/>
            </p:nvSpPr>
            <p:spPr bwMode="auto">
              <a:xfrm>
                <a:off x="3087444" y="1270831"/>
                <a:ext cx="149271" cy="153284"/>
              </a:xfrm>
              <a:custGeom>
                <a:avLst/>
                <a:gdLst/>
                <a:ahLst/>
                <a:cxnLst>
                  <a:cxn ang="0">
                    <a:pos x="57" y="0"/>
                  </a:cxn>
                  <a:cxn ang="0">
                    <a:pos x="79" y="74"/>
                  </a:cxn>
                  <a:cxn ang="0">
                    <a:pos x="0" y="79"/>
                  </a:cxn>
                </a:cxnLst>
                <a:rect l="0" t="0" r="r" b="b"/>
                <a:pathLst>
                  <a:path w="79" h="81">
                    <a:moveTo>
                      <a:pt x="57" y="0"/>
                    </a:moveTo>
                    <a:cubicBezTo>
                      <a:pt x="73" y="16"/>
                      <a:pt x="79" y="43"/>
                      <a:pt x="79" y="74"/>
                    </a:cubicBezTo>
                    <a:cubicBezTo>
                      <a:pt x="79" y="79"/>
                      <a:pt x="33" y="81"/>
                      <a:pt x="0" y="79"/>
                    </a:cubicBezTo>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endParaRPr lang="en-US" dirty="0"/>
              </a:p>
            </p:txBody>
          </p:sp>
          <p:sp>
            <p:nvSpPr>
              <p:cNvPr id="70" name="Freeform 69"/>
              <p:cNvSpPr>
                <a:spLocks/>
              </p:cNvSpPr>
              <p:nvPr/>
            </p:nvSpPr>
            <p:spPr bwMode="auto">
              <a:xfrm>
                <a:off x="3113928" y="1122363"/>
                <a:ext cx="62597" cy="32904"/>
              </a:xfrm>
              <a:custGeom>
                <a:avLst/>
                <a:gdLst/>
                <a:ahLst/>
                <a:cxnLst>
                  <a:cxn ang="0">
                    <a:pos x="0" y="2"/>
                  </a:cxn>
                  <a:cxn ang="0">
                    <a:pos x="9" y="0"/>
                  </a:cxn>
                  <a:cxn ang="0">
                    <a:pos x="33" y="17"/>
                  </a:cxn>
                </a:cxnLst>
                <a:rect l="0" t="0" r="r" b="b"/>
                <a:pathLst>
                  <a:path w="33" h="17">
                    <a:moveTo>
                      <a:pt x="0" y="2"/>
                    </a:moveTo>
                    <a:cubicBezTo>
                      <a:pt x="3" y="1"/>
                      <a:pt x="6" y="0"/>
                      <a:pt x="9" y="0"/>
                    </a:cubicBezTo>
                    <a:cubicBezTo>
                      <a:pt x="19" y="0"/>
                      <a:pt x="28" y="6"/>
                      <a:pt x="33" y="17"/>
                    </a:cubicBezTo>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endParaRPr lang="en-US" dirty="0"/>
              </a:p>
            </p:txBody>
          </p:sp>
          <p:sp>
            <p:nvSpPr>
              <p:cNvPr id="71" name="Freeform 70"/>
              <p:cNvSpPr>
                <a:spLocks/>
              </p:cNvSpPr>
              <p:nvPr/>
            </p:nvSpPr>
            <p:spPr bwMode="auto">
              <a:xfrm>
                <a:off x="3153252" y="1155267"/>
                <a:ext cx="41732" cy="115565"/>
              </a:xfrm>
              <a:custGeom>
                <a:avLst/>
                <a:gdLst/>
                <a:ahLst/>
                <a:cxnLst>
                  <a:cxn ang="0">
                    <a:pos x="12" y="0"/>
                  </a:cxn>
                  <a:cxn ang="0">
                    <a:pos x="15" y="17"/>
                  </a:cxn>
                  <a:cxn ang="0">
                    <a:pos x="0" y="47"/>
                  </a:cxn>
                  <a:cxn ang="0">
                    <a:pos x="22" y="61"/>
                  </a:cxn>
                </a:cxnLst>
                <a:rect l="0" t="0" r="r" b="b"/>
                <a:pathLst>
                  <a:path w="22" h="61">
                    <a:moveTo>
                      <a:pt x="12" y="0"/>
                    </a:moveTo>
                    <a:cubicBezTo>
                      <a:pt x="14" y="4"/>
                      <a:pt x="15" y="10"/>
                      <a:pt x="15" y="17"/>
                    </a:cubicBezTo>
                    <a:cubicBezTo>
                      <a:pt x="15" y="28"/>
                      <a:pt x="7" y="41"/>
                      <a:pt x="0" y="47"/>
                    </a:cubicBezTo>
                    <a:cubicBezTo>
                      <a:pt x="9" y="50"/>
                      <a:pt x="16" y="55"/>
                      <a:pt x="22" y="61"/>
                    </a:cubicBezTo>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endParaRPr lang="en-US" dirty="0"/>
              </a:p>
            </p:txBody>
          </p:sp>
        </p:grpSp>
      </p:grpSp>
    </p:spTree>
    <p:extLst>
      <p:ext uri="{BB962C8B-B14F-4D97-AF65-F5344CB8AC3E}">
        <p14:creationId xmlns:p14="http://schemas.microsoft.com/office/powerpoint/2010/main" val="44885239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p:cNvSpPr/>
          <p:nvPr/>
        </p:nvSpPr>
        <p:spPr>
          <a:xfrm>
            <a:off x="1506847" y="1567544"/>
            <a:ext cx="3419856" cy="2989689"/>
          </a:xfrm>
          <a:prstGeom prst="rect">
            <a:avLst/>
          </a:prstGeom>
          <a:solidFill>
            <a:schemeClr val="bg1">
              <a:lumMod val="95000"/>
            </a:schemeClr>
          </a:solidFill>
          <a:ln w="9525" cap="flat" cmpd="sng" algn="ctr">
            <a:noFill/>
            <a:prstDash val="solid"/>
          </a:ln>
          <a:effectLst/>
        </p:spPr>
        <p:txBody>
          <a:bodyPr tIns="457200" rtlCol="0" anchor="t" anchorCtr="0"/>
          <a:lstStyle/>
          <a:p>
            <a:pPr marL="182880" indent="-182880">
              <a:spcBef>
                <a:spcPts val="200"/>
              </a:spcBef>
              <a:spcAft>
                <a:spcPts val="200"/>
              </a:spcAft>
              <a:buClr>
                <a:schemeClr val="accent1"/>
              </a:buClr>
              <a:buFont typeface="+mj-lt"/>
              <a:buAutoNum type="arabicPeriod"/>
            </a:pPr>
            <a:r>
              <a:rPr lang="en-US" sz="1100" b="1" kern="0" dirty="0">
                <a:solidFill>
                  <a:schemeClr val="tx2"/>
                </a:solidFill>
              </a:rPr>
              <a:t>Self-service</a:t>
            </a:r>
            <a:r>
              <a:rPr lang="en-US" sz="1100" kern="0" dirty="0">
                <a:solidFill>
                  <a:schemeClr val="tx2"/>
                </a:solidFill>
              </a:rPr>
              <a:t> portal for </a:t>
            </a:r>
            <a:r>
              <a:rPr lang="en-US" sz="1100" b="1" kern="0" dirty="0">
                <a:solidFill>
                  <a:schemeClr val="tx2"/>
                </a:solidFill>
              </a:rPr>
              <a:t>device enrolment</a:t>
            </a:r>
          </a:p>
          <a:p>
            <a:pPr marL="182880" indent="-182880">
              <a:spcBef>
                <a:spcPts val="200"/>
              </a:spcBef>
              <a:spcAft>
                <a:spcPts val="200"/>
              </a:spcAft>
              <a:buClr>
                <a:schemeClr val="accent1"/>
              </a:buClr>
              <a:buFont typeface="+mj-lt"/>
              <a:buAutoNum type="arabicPeriod"/>
            </a:pPr>
            <a:r>
              <a:rPr lang="en-US" sz="1100" kern="0" dirty="0">
                <a:solidFill>
                  <a:schemeClr val="tx2"/>
                </a:solidFill>
              </a:rPr>
              <a:t>Over-the-air </a:t>
            </a:r>
            <a:r>
              <a:rPr lang="en-US" sz="1100" b="1" kern="0" dirty="0">
                <a:solidFill>
                  <a:schemeClr val="tx2"/>
                </a:solidFill>
              </a:rPr>
              <a:t>device configuration </a:t>
            </a:r>
            <a:r>
              <a:rPr lang="en-US" sz="1100" kern="0" dirty="0">
                <a:solidFill>
                  <a:schemeClr val="tx2"/>
                </a:solidFill>
              </a:rPr>
              <a:t>(security policies, Wi-Fi access, VPN, certificate authentication, e-mail, data encryption, restricted access to 3rd party apps)</a:t>
            </a:r>
          </a:p>
          <a:p>
            <a:pPr marL="182880" indent="-182880">
              <a:spcBef>
                <a:spcPts val="200"/>
              </a:spcBef>
              <a:spcAft>
                <a:spcPts val="200"/>
              </a:spcAft>
              <a:buClr>
                <a:schemeClr val="accent1"/>
              </a:buClr>
              <a:buFont typeface="+mj-lt"/>
              <a:buAutoNum type="arabicPeriod"/>
            </a:pPr>
            <a:r>
              <a:rPr lang="en-US" sz="1100" b="1" kern="0" dirty="0">
                <a:solidFill>
                  <a:schemeClr val="tx2"/>
                </a:solidFill>
              </a:rPr>
              <a:t>Provisioning</a:t>
            </a:r>
            <a:r>
              <a:rPr lang="en-US" sz="1100" kern="0" dirty="0">
                <a:solidFill>
                  <a:schemeClr val="tx2"/>
                </a:solidFill>
              </a:rPr>
              <a:t> of (pre-configured) business apps based on the user’s business role </a:t>
            </a:r>
          </a:p>
          <a:p>
            <a:pPr marL="182880" indent="-182880">
              <a:spcBef>
                <a:spcPts val="200"/>
              </a:spcBef>
              <a:spcAft>
                <a:spcPts val="200"/>
              </a:spcAft>
              <a:buClr>
                <a:schemeClr val="accent1"/>
              </a:buClr>
              <a:buFont typeface="+mj-lt"/>
              <a:buAutoNum type="arabicPeriod"/>
            </a:pPr>
            <a:r>
              <a:rPr lang="en-US" sz="1100" kern="0" dirty="0">
                <a:solidFill>
                  <a:schemeClr val="tx2"/>
                </a:solidFill>
              </a:rPr>
              <a:t>Maintenance of device </a:t>
            </a:r>
            <a:r>
              <a:rPr lang="en-US" sz="1100" b="1" kern="0" dirty="0">
                <a:solidFill>
                  <a:schemeClr val="tx2"/>
                </a:solidFill>
              </a:rPr>
              <a:t>configurations</a:t>
            </a:r>
            <a:r>
              <a:rPr lang="en-US" sz="1100" kern="0" dirty="0">
                <a:solidFill>
                  <a:schemeClr val="tx2"/>
                </a:solidFill>
              </a:rPr>
              <a:t> and security policies</a:t>
            </a:r>
          </a:p>
          <a:p>
            <a:pPr marL="182880" indent="-182880">
              <a:spcBef>
                <a:spcPts val="200"/>
              </a:spcBef>
              <a:spcAft>
                <a:spcPts val="200"/>
              </a:spcAft>
              <a:buClr>
                <a:schemeClr val="accent1"/>
              </a:buClr>
              <a:buFont typeface="+mj-lt"/>
              <a:buAutoNum type="arabicPeriod"/>
            </a:pPr>
            <a:r>
              <a:rPr lang="en-US" sz="1100" kern="0" dirty="0">
                <a:solidFill>
                  <a:schemeClr val="tx2"/>
                </a:solidFill>
              </a:rPr>
              <a:t>Mobile </a:t>
            </a:r>
            <a:r>
              <a:rPr lang="en-US" sz="1100" b="1" kern="0" dirty="0">
                <a:solidFill>
                  <a:schemeClr val="tx2"/>
                </a:solidFill>
              </a:rPr>
              <a:t>App Management</a:t>
            </a:r>
          </a:p>
          <a:p>
            <a:pPr marL="182880" indent="-182880">
              <a:spcBef>
                <a:spcPts val="200"/>
              </a:spcBef>
              <a:spcAft>
                <a:spcPts val="200"/>
              </a:spcAft>
              <a:buClr>
                <a:schemeClr val="accent1"/>
              </a:buClr>
            </a:pPr>
            <a:endParaRPr lang="en-US" sz="1100" kern="0" dirty="0">
              <a:solidFill>
                <a:schemeClr val="tx2"/>
              </a:solidFill>
            </a:endParaRPr>
          </a:p>
        </p:txBody>
      </p:sp>
      <p:sp>
        <p:nvSpPr>
          <p:cNvPr id="71" name="Rectangle 70"/>
          <p:cNvSpPr/>
          <p:nvPr/>
        </p:nvSpPr>
        <p:spPr>
          <a:xfrm>
            <a:off x="7308932" y="1565886"/>
            <a:ext cx="3419856" cy="3017000"/>
          </a:xfrm>
          <a:prstGeom prst="rect">
            <a:avLst/>
          </a:prstGeom>
          <a:solidFill>
            <a:schemeClr val="bg1">
              <a:lumMod val="95000"/>
            </a:schemeClr>
          </a:solidFill>
          <a:ln w="9525" cap="flat" cmpd="sng" algn="ctr">
            <a:noFill/>
            <a:prstDash val="solid"/>
          </a:ln>
          <a:effectLst/>
        </p:spPr>
        <p:txBody>
          <a:bodyPr tIns="457200" rtlCol="0" anchor="t" anchorCtr="0"/>
          <a:lstStyle/>
          <a:p>
            <a:pPr marL="182880" indent="-182880">
              <a:spcBef>
                <a:spcPts val="200"/>
              </a:spcBef>
              <a:spcAft>
                <a:spcPts val="200"/>
              </a:spcAft>
              <a:buClr>
                <a:schemeClr val="accent1"/>
              </a:buClr>
              <a:buFont typeface="+mj-lt"/>
              <a:buAutoNum type="arabicPeriod"/>
            </a:pPr>
            <a:r>
              <a:rPr lang="en-US" sz="1100" b="1" kern="0" dirty="0">
                <a:solidFill>
                  <a:schemeClr val="tx2"/>
                </a:solidFill>
              </a:rPr>
              <a:t>Asset </a:t>
            </a:r>
            <a:r>
              <a:rPr lang="en-US" sz="1100" kern="0" dirty="0">
                <a:solidFill>
                  <a:schemeClr val="tx2"/>
                </a:solidFill>
              </a:rPr>
              <a:t>management</a:t>
            </a:r>
          </a:p>
          <a:p>
            <a:pPr marL="182880" indent="-182880">
              <a:spcBef>
                <a:spcPts val="200"/>
              </a:spcBef>
              <a:spcAft>
                <a:spcPts val="200"/>
              </a:spcAft>
              <a:buClr>
                <a:schemeClr val="accent1"/>
              </a:buClr>
              <a:buFont typeface="+mj-lt"/>
              <a:buAutoNum type="arabicPeriod"/>
            </a:pPr>
            <a:r>
              <a:rPr lang="en-US" sz="1100" kern="0" dirty="0">
                <a:solidFill>
                  <a:schemeClr val="tx2"/>
                </a:solidFill>
              </a:rPr>
              <a:t>Mobile </a:t>
            </a:r>
            <a:r>
              <a:rPr lang="en-US" sz="1100" b="1" kern="0" dirty="0">
                <a:solidFill>
                  <a:schemeClr val="tx2"/>
                </a:solidFill>
              </a:rPr>
              <a:t>software</a:t>
            </a:r>
            <a:r>
              <a:rPr lang="en-US" sz="1100" kern="0" dirty="0">
                <a:solidFill>
                  <a:schemeClr val="tx2"/>
                </a:solidFill>
              </a:rPr>
              <a:t> management (e.g. provisioning of new apps, de-provisioning of retired apps, firmware &amp; software updates)</a:t>
            </a:r>
          </a:p>
          <a:p>
            <a:pPr marL="182880" indent="-182880">
              <a:spcBef>
                <a:spcPts val="200"/>
              </a:spcBef>
              <a:spcAft>
                <a:spcPts val="200"/>
              </a:spcAft>
              <a:buClr>
                <a:schemeClr val="accent1"/>
              </a:buClr>
              <a:buFont typeface="+mj-lt"/>
              <a:buAutoNum type="arabicPeriod"/>
            </a:pPr>
            <a:r>
              <a:rPr lang="en-US" sz="1100" b="1" kern="0" dirty="0">
                <a:solidFill>
                  <a:schemeClr val="tx2"/>
                </a:solidFill>
              </a:rPr>
              <a:t>Security</a:t>
            </a:r>
            <a:r>
              <a:rPr lang="en-US" sz="1100" kern="0" dirty="0">
                <a:solidFill>
                  <a:schemeClr val="tx2"/>
                </a:solidFill>
              </a:rPr>
              <a:t> &amp; Compliance Monitoring &amp; Alerting</a:t>
            </a:r>
          </a:p>
          <a:p>
            <a:pPr marL="182880" indent="-182880">
              <a:spcBef>
                <a:spcPts val="200"/>
              </a:spcBef>
              <a:spcAft>
                <a:spcPts val="200"/>
              </a:spcAft>
              <a:buClr>
                <a:schemeClr val="accent1"/>
              </a:buClr>
              <a:buFont typeface="+mj-lt"/>
              <a:buAutoNum type="arabicPeriod"/>
            </a:pPr>
            <a:r>
              <a:rPr lang="en-US" sz="1100" b="1" kern="0" dirty="0">
                <a:solidFill>
                  <a:schemeClr val="tx2"/>
                </a:solidFill>
              </a:rPr>
              <a:t>Back-up</a:t>
            </a:r>
            <a:r>
              <a:rPr lang="en-US" sz="1100" kern="0" dirty="0">
                <a:solidFill>
                  <a:schemeClr val="tx2"/>
                </a:solidFill>
              </a:rPr>
              <a:t> / Restore</a:t>
            </a:r>
          </a:p>
          <a:p>
            <a:pPr marL="182880" indent="-182880">
              <a:spcBef>
                <a:spcPts val="200"/>
              </a:spcBef>
              <a:spcAft>
                <a:spcPts val="200"/>
              </a:spcAft>
              <a:buClr>
                <a:schemeClr val="accent1"/>
              </a:buClr>
              <a:buFont typeface="+mj-lt"/>
              <a:buAutoNum type="arabicPeriod"/>
            </a:pPr>
            <a:r>
              <a:rPr lang="en-US" sz="1100" b="1" kern="0" dirty="0">
                <a:solidFill>
                  <a:schemeClr val="tx2"/>
                </a:solidFill>
              </a:rPr>
              <a:t>Analytics </a:t>
            </a:r>
            <a:r>
              <a:rPr lang="en-US" sz="1100" kern="0" dirty="0">
                <a:solidFill>
                  <a:schemeClr val="tx2"/>
                </a:solidFill>
              </a:rPr>
              <a:t>&amp; Reporting</a:t>
            </a:r>
          </a:p>
          <a:p>
            <a:pPr marL="182880" indent="-182880">
              <a:spcBef>
                <a:spcPts val="200"/>
              </a:spcBef>
              <a:spcAft>
                <a:spcPts val="200"/>
              </a:spcAft>
              <a:buClr>
                <a:schemeClr val="accent1"/>
              </a:buClr>
              <a:buFont typeface="+mj-lt"/>
              <a:buAutoNum type="arabicPeriod"/>
            </a:pPr>
            <a:r>
              <a:rPr lang="en-US" sz="1100" kern="0" dirty="0">
                <a:solidFill>
                  <a:schemeClr val="tx2"/>
                </a:solidFill>
              </a:rPr>
              <a:t>Device </a:t>
            </a:r>
            <a:r>
              <a:rPr lang="en-US" sz="1100" b="1" kern="0" dirty="0">
                <a:solidFill>
                  <a:schemeClr val="tx2"/>
                </a:solidFill>
              </a:rPr>
              <a:t>de-provisioning</a:t>
            </a:r>
            <a:r>
              <a:rPr lang="en-US" sz="1100" kern="0" dirty="0">
                <a:solidFill>
                  <a:schemeClr val="tx2"/>
                </a:solidFill>
              </a:rPr>
              <a:t>, including remote lock, remote wipe, selective wipe, disabling access to corporate network and apps</a:t>
            </a:r>
          </a:p>
          <a:p>
            <a:pPr marL="182880" indent="-182880">
              <a:spcBef>
                <a:spcPts val="200"/>
              </a:spcBef>
              <a:spcAft>
                <a:spcPts val="200"/>
              </a:spcAft>
              <a:buClr>
                <a:schemeClr val="accent1"/>
              </a:buClr>
              <a:buFont typeface="+mj-lt"/>
              <a:buAutoNum type="arabicPeriod"/>
            </a:pPr>
            <a:r>
              <a:rPr lang="en-US" sz="1100" kern="0" dirty="0">
                <a:solidFill>
                  <a:schemeClr val="tx2"/>
                </a:solidFill>
              </a:rPr>
              <a:t>Mobile </a:t>
            </a:r>
            <a:r>
              <a:rPr lang="en-US" sz="1100" b="1" kern="0" dirty="0">
                <a:solidFill>
                  <a:schemeClr val="tx2"/>
                </a:solidFill>
              </a:rPr>
              <a:t>App Management</a:t>
            </a:r>
          </a:p>
        </p:txBody>
      </p:sp>
      <p:sp>
        <p:nvSpPr>
          <p:cNvPr id="2" name="Title 1"/>
          <p:cNvSpPr>
            <a:spLocks noGrp="1"/>
          </p:cNvSpPr>
          <p:nvPr>
            <p:ph type="title"/>
          </p:nvPr>
        </p:nvSpPr>
        <p:spPr/>
        <p:txBody>
          <a:bodyPr/>
          <a:lstStyle/>
          <a:p>
            <a:r>
              <a:rPr lang="en-GB" dirty="0"/>
              <a:t>Managed Mobility Service Offering</a:t>
            </a:r>
          </a:p>
        </p:txBody>
      </p:sp>
      <p:sp>
        <p:nvSpPr>
          <p:cNvPr id="3" name="Espace réservé du texte 16"/>
          <p:cNvSpPr txBox="1">
            <a:spLocks/>
          </p:cNvSpPr>
          <p:nvPr/>
        </p:nvSpPr>
        <p:spPr bwMode="auto">
          <a:xfrm>
            <a:off x="1502229" y="5682344"/>
            <a:ext cx="9229170" cy="581047"/>
          </a:xfrm>
          <a:prstGeom prst="rect">
            <a:avLst/>
          </a:prstGeom>
          <a:solidFill>
            <a:schemeClr val="accent1">
              <a:lumMod val="50000"/>
            </a:schemeClr>
          </a:solidFill>
          <a:ln w="9525">
            <a:noFill/>
            <a:miter lim="800000"/>
            <a:headEnd/>
            <a:tailEnd/>
          </a:ln>
        </p:spPr>
        <p:txBody>
          <a:bodyPr vert="horz" wrap="square" lIns="91440" tIns="91440" rIns="91440" bIns="91440" numCol="1" anchor="ctr" anchorCtr="0" compatLnSpc="1">
            <a:prstTxWarp prst="textNoShape">
              <a:avLst/>
            </a:prstTxWarp>
            <a:noAutofit/>
          </a:bodyPr>
          <a:lstStyle/>
          <a:p>
            <a:pPr algn="ctr" eaLnBrk="0" fontAlgn="base" hangingPunct="0">
              <a:lnSpc>
                <a:spcPct val="85000"/>
              </a:lnSpc>
              <a:spcBef>
                <a:spcPct val="0"/>
              </a:spcBef>
              <a:spcAft>
                <a:spcPct val="0"/>
              </a:spcAft>
            </a:pPr>
            <a:r>
              <a:rPr lang="en-US" sz="1400" dirty="0">
                <a:solidFill>
                  <a:prstClr val="white"/>
                </a:solidFill>
                <a:latin typeface="Calibri" pitchFamily="34" charset="0"/>
                <a:cs typeface="Arial" charset="0"/>
              </a:rPr>
              <a:t>Capgemini Mobile Secure offering combines our enterprise mobility consulting, application development, </a:t>
            </a:r>
            <a:br>
              <a:rPr lang="en-US" sz="1400" dirty="0">
                <a:solidFill>
                  <a:prstClr val="white"/>
                </a:solidFill>
                <a:latin typeface="Calibri" pitchFamily="34" charset="0"/>
                <a:cs typeface="Arial" charset="0"/>
              </a:rPr>
            </a:br>
            <a:r>
              <a:rPr lang="en-US" sz="1400" dirty="0">
                <a:solidFill>
                  <a:prstClr val="white"/>
                </a:solidFill>
                <a:latin typeface="Calibri" pitchFamily="34" charset="0"/>
                <a:cs typeface="Arial" charset="0"/>
              </a:rPr>
              <a:t>and systems integration expertise with AirWatch’s Mobile Device Management (MDM) and </a:t>
            </a:r>
            <a:br>
              <a:rPr lang="en-US" sz="1400" dirty="0">
                <a:solidFill>
                  <a:prstClr val="white"/>
                </a:solidFill>
                <a:latin typeface="Calibri" pitchFamily="34" charset="0"/>
                <a:cs typeface="Arial" charset="0"/>
              </a:rPr>
            </a:br>
            <a:r>
              <a:rPr lang="en-US" sz="1400" dirty="0">
                <a:solidFill>
                  <a:prstClr val="white"/>
                </a:solidFill>
                <a:latin typeface="Calibri" pitchFamily="34" charset="0"/>
                <a:cs typeface="Arial" charset="0"/>
              </a:rPr>
              <a:t>Mobile Application Management (MAM) expertise</a:t>
            </a:r>
          </a:p>
        </p:txBody>
      </p:sp>
      <p:grpSp>
        <p:nvGrpSpPr>
          <p:cNvPr id="4" name="Group 16"/>
          <p:cNvGrpSpPr/>
          <p:nvPr/>
        </p:nvGrpSpPr>
        <p:grpSpPr>
          <a:xfrm>
            <a:off x="5053610" y="1997529"/>
            <a:ext cx="2282245" cy="2317595"/>
            <a:chOff x="2500300" y="1479369"/>
            <a:chExt cx="4429156" cy="4575029"/>
          </a:xfrm>
        </p:grpSpPr>
        <p:grpSp>
          <p:nvGrpSpPr>
            <p:cNvPr id="5" name="Group 15"/>
            <p:cNvGrpSpPr/>
            <p:nvPr/>
          </p:nvGrpSpPr>
          <p:grpSpPr>
            <a:xfrm>
              <a:off x="2500300" y="1479369"/>
              <a:ext cx="4429156" cy="4575029"/>
              <a:chOff x="2500299" y="1479370"/>
              <a:chExt cx="4429156" cy="4575028"/>
            </a:xfrm>
          </p:grpSpPr>
          <p:sp>
            <p:nvSpPr>
              <p:cNvPr id="9" name="Freeform 3"/>
              <p:cNvSpPr>
                <a:spLocks/>
              </p:cNvSpPr>
              <p:nvPr>
                <p:custDataLst>
                  <p:tags r:id="rId4"/>
                </p:custDataLst>
              </p:nvPr>
            </p:nvSpPr>
            <p:spPr bwMode="auto">
              <a:xfrm>
                <a:off x="2547769" y="1479370"/>
                <a:ext cx="2348291" cy="2688509"/>
              </a:xfrm>
              <a:custGeom>
                <a:avLst/>
                <a:gdLst/>
                <a:ahLst/>
                <a:cxnLst>
                  <a:cxn ang="0">
                    <a:pos x="714" y="1599"/>
                  </a:cxn>
                  <a:cxn ang="0">
                    <a:pos x="676" y="1325"/>
                  </a:cxn>
                  <a:cxn ang="0">
                    <a:pos x="1266" y="780"/>
                  </a:cxn>
                  <a:cxn ang="0">
                    <a:pos x="1268" y="879"/>
                  </a:cxn>
                  <a:cxn ang="0">
                    <a:pos x="1484" y="438"/>
                  </a:cxn>
                  <a:cxn ang="0">
                    <a:pos x="1271" y="0"/>
                  </a:cxn>
                  <a:cxn ang="0">
                    <a:pos x="1270" y="107"/>
                  </a:cxn>
                  <a:cxn ang="0">
                    <a:pos x="4" y="1325"/>
                  </a:cxn>
                  <a:cxn ang="0">
                    <a:pos x="42" y="1699"/>
                  </a:cxn>
                  <a:cxn ang="0">
                    <a:pos x="372" y="1499"/>
                  </a:cxn>
                  <a:cxn ang="0">
                    <a:pos x="714" y="1599"/>
                  </a:cxn>
                </a:cxnLst>
                <a:rect l="0" t="0" r="r" b="b"/>
                <a:pathLst>
                  <a:path w="1484" h="1699">
                    <a:moveTo>
                      <a:pt x="714" y="1599"/>
                    </a:moveTo>
                    <a:cubicBezTo>
                      <a:pt x="672" y="1441"/>
                      <a:pt x="670" y="1423"/>
                      <a:pt x="676" y="1325"/>
                    </a:cubicBezTo>
                    <a:cubicBezTo>
                      <a:pt x="741" y="836"/>
                      <a:pt x="1163" y="776"/>
                      <a:pt x="1266" y="780"/>
                    </a:cubicBezTo>
                    <a:cubicBezTo>
                      <a:pt x="1266" y="832"/>
                      <a:pt x="1268" y="879"/>
                      <a:pt x="1268" y="879"/>
                    </a:cubicBezTo>
                    <a:lnTo>
                      <a:pt x="1484" y="438"/>
                    </a:lnTo>
                    <a:lnTo>
                      <a:pt x="1271" y="0"/>
                    </a:lnTo>
                    <a:lnTo>
                      <a:pt x="1270" y="107"/>
                    </a:lnTo>
                    <a:cubicBezTo>
                      <a:pt x="877" y="91"/>
                      <a:pt x="58" y="394"/>
                      <a:pt x="4" y="1325"/>
                    </a:cubicBezTo>
                    <a:cubicBezTo>
                      <a:pt x="0" y="1527"/>
                      <a:pt x="18" y="1579"/>
                      <a:pt x="42" y="1699"/>
                    </a:cubicBezTo>
                    <a:lnTo>
                      <a:pt x="372" y="1499"/>
                    </a:lnTo>
                    <a:lnTo>
                      <a:pt x="714" y="1599"/>
                    </a:lnTo>
                    <a:close/>
                  </a:path>
                </a:pathLst>
              </a:custGeom>
              <a:solidFill>
                <a:schemeClr val="accent2"/>
              </a:solidFill>
              <a:ln w="19050">
                <a:solidFill>
                  <a:sysClr val="window" lastClr="FFFFFF"/>
                </a:solidFill>
                <a:round/>
                <a:headEnd/>
                <a:tailEnd/>
              </a:ln>
              <a:effectLst/>
            </p:spPr>
            <p:txBody>
              <a:bodyPr wrap="none" anchor="ctr"/>
              <a:lstStyle/>
              <a:p>
                <a:pPr>
                  <a:defRPr/>
                </a:pPr>
                <a:endParaRPr lang="en-GB" sz="1400" kern="0" dirty="0">
                  <a:solidFill>
                    <a:srgbClr val="2E2E2E"/>
                  </a:solidFill>
                </a:endParaRPr>
              </a:p>
            </p:txBody>
          </p:sp>
          <p:sp>
            <p:nvSpPr>
              <p:cNvPr id="10" name="Freeform 5"/>
              <p:cNvSpPr>
                <a:spLocks/>
              </p:cNvSpPr>
              <p:nvPr>
                <p:custDataLst>
                  <p:tags r:id="rId5"/>
                </p:custDataLst>
              </p:nvPr>
            </p:nvSpPr>
            <p:spPr bwMode="auto">
              <a:xfrm>
                <a:off x="2500299" y="3840611"/>
                <a:ext cx="3604722" cy="2213787"/>
              </a:xfrm>
              <a:custGeom>
                <a:avLst/>
                <a:gdLst/>
                <a:ahLst/>
                <a:cxnLst>
                  <a:cxn ang="0">
                    <a:pos x="1748" y="276"/>
                  </a:cxn>
                  <a:cxn ang="0">
                    <a:pos x="1254" y="472"/>
                  </a:cxn>
                  <a:cxn ang="0">
                    <a:pos x="768" y="145"/>
                  </a:cxn>
                  <a:cxn ang="0">
                    <a:pos x="862" y="134"/>
                  </a:cxn>
                  <a:cxn ang="0">
                    <a:pos x="400" y="0"/>
                  </a:cxn>
                  <a:cxn ang="0">
                    <a:pos x="0" y="248"/>
                  </a:cxn>
                  <a:cxn ang="0">
                    <a:pos x="84" y="240"/>
                  </a:cxn>
                  <a:cxn ang="0">
                    <a:pos x="1819" y="1036"/>
                  </a:cxn>
                  <a:cxn ang="0">
                    <a:pos x="2278" y="688"/>
                  </a:cxn>
                  <a:cxn ang="0">
                    <a:pos x="1930" y="608"/>
                  </a:cxn>
                  <a:cxn ang="0">
                    <a:pos x="1748" y="276"/>
                  </a:cxn>
                </a:cxnLst>
                <a:rect l="0" t="0" r="r" b="b"/>
                <a:pathLst>
                  <a:path w="2278" h="1399">
                    <a:moveTo>
                      <a:pt x="1748" y="276"/>
                    </a:moveTo>
                    <a:cubicBezTo>
                      <a:pt x="1672" y="350"/>
                      <a:pt x="1518" y="496"/>
                      <a:pt x="1254" y="472"/>
                    </a:cubicBezTo>
                    <a:cubicBezTo>
                      <a:pt x="976" y="452"/>
                      <a:pt x="818" y="248"/>
                      <a:pt x="768" y="145"/>
                    </a:cubicBezTo>
                    <a:lnTo>
                      <a:pt x="862" y="134"/>
                    </a:lnTo>
                    <a:lnTo>
                      <a:pt x="400" y="0"/>
                    </a:lnTo>
                    <a:lnTo>
                      <a:pt x="0" y="248"/>
                    </a:lnTo>
                    <a:lnTo>
                      <a:pt x="84" y="240"/>
                    </a:lnTo>
                    <a:cubicBezTo>
                      <a:pt x="244" y="822"/>
                      <a:pt x="960" y="1399"/>
                      <a:pt x="1819" y="1036"/>
                    </a:cubicBezTo>
                    <a:cubicBezTo>
                      <a:pt x="2002" y="951"/>
                      <a:pt x="2182" y="814"/>
                      <a:pt x="2278" y="688"/>
                    </a:cubicBezTo>
                    <a:lnTo>
                      <a:pt x="1930" y="608"/>
                    </a:lnTo>
                    <a:lnTo>
                      <a:pt x="1748" y="276"/>
                    </a:lnTo>
                    <a:close/>
                  </a:path>
                </a:pathLst>
              </a:custGeom>
              <a:solidFill>
                <a:schemeClr val="accent3"/>
              </a:solidFill>
              <a:ln w="19050">
                <a:solidFill>
                  <a:sysClr val="window" lastClr="FFFFFF"/>
                </a:solidFill>
                <a:round/>
                <a:headEnd/>
                <a:tailEnd/>
              </a:ln>
              <a:effectLst/>
            </p:spPr>
            <p:txBody>
              <a:bodyPr wrap="none" anchor="ctr"/>
              <a:lstStyle/>
              <a:p>
                <a:pPr>
                  <a:defRPr/>
                </a:pPr>
                <a:endParaRPr lang="en-GB" sz="1600" b="1" kern="0" dirty="0">
                  <a:solidFill>
                    <a:prstClr val="white"/>
                  </a:solidFill>
                </a:endParaRPr>
              </a:p>
            </p:txBody>
          </p:sp>
          <p:sp>
            <p:nvSpPr>
              <p:cNvPr id="11" name="Freeform 4"/>
              <p:cNvSpPr>
                <a:spLocks/>
              </p:cNvSpPr>
              <p:nvPr>
                <p:custDataLst>
                  <p:tags r:id="rId6"/>
                </p:custDataLst>
              </p:nvPr>
            </p:nvSpPr>
            <p:spPr bwMode="auto">
              <a:xfrm>
                <a:off x="4630218" y="1645523"/>
                <a:ext cx="2299237" cy="3330966"/>
              </a:xfrm>
              <a:custGeom>
                <a:avLst/>
                <a:gdLst/>
                <a:ahLst/>
                <a:cxnLst>
                  <a:cxn ang="0">
                    <a:pos x="0" y="678"/>
                  </a:cxn>
                  <a:cxn ang="0">
                    <a:pos x="325" y="803"/>
                  </a:cxn>
                  <a:cxn ang="0">
                    <a:pos x="435" y="1625"/>
                  </a:cxn>
                  <a:cxn ang="0">
                    <a:pos x="358" y="1586"/>
                  </a:cxn>
                  <a:cxn ang="0">
                    <a:pos x="585" y="2000"/>
                  </a:cxn>
                  <a:cxn ang="0">
                    <a:pos x="1044" y="2105"/>
                  </a:cxn>
                  <a:cxn ang="0">
                    <a:pos x="963" y="2040"/>
                  </a:cxn>
                  <a:cxn ang="0">
                    <a:pos x="708" y="240"/>
                  </a:cxn>
                  <a:cxn ang="0">
                    <a:pos x="7" y="0"/>
                  </a:cxn>
                  <a:cxn ang="0">
                    <a:pos x="168" y="334"/>
                  </a:cxn>
                  <a:cxn ang="0">
                    <a:pos x="0" y="678"/>
                  </a:cxn>
                </a:cxnLst>
                <a:rect l="0" t="0" r="r" b="b"/>
                <a:pathLst>
                  <a:path w="1453" h="2105">
                    <a:moveTo>
                      <a:pt x="0" y="678"/>
                    </a:moveTo>
                    <a:cubicBezTo>
                      <a:pt x="117" y="684"/>
                      <a:pt x="246" y="744"/>
                      <a:pt x="325" y="803"/>
                    </a:cubicBezTo>
                    <a:cubicBezTo>
                      <a:pt x="708" y="1134"/>
                      <a:pt x="507" y="1550"/>
                      <a:pt x="435" y="1625"/>
                    </a:cubicBezTo>
                    <a:lnTo>
                      <a:pt x="358" y="1586"/>
                    </a:lnTo>
                    <a:lnTo>
                      <a:pt x="585" y="2000"/>
                    </a:lnTo>
                    <a:lnTo>
                      <a:pt x="1044" y="2105"/>
                    </a:lnTo>
                    <a:lnTo>
                      <a:pt x="963" y="2040"/>
                    </a:lnTo>
                    <a:cubicBezTo>
                      <a:pt x="1258" y="1676"/>
                      <a:pt x="1453" y="801"/>
                      <a:pt x="708" y="240"/>
                    </a:cubicBezTo>
                    <a:cubicBezTo>
                      <a:pt x="591" y="144"/>
                      <a:pt x="345" y="11"/>
                      <a:pt x="7" y="0"/>
                    </a:cubicBezTo>
                    <a:lnTo>
                      <a:pt x="168" y="334"/>
                    </a:lnTo>
                    <a:lnTo>
                      <a:pt x="0" y="678"/>
                    </a:lnTo>
                    <a:close/>
                  </a:path>
                </a:pathLst>
              </a:custGeom>
              <a:solidFill>
                <a:schemeClr val="accent4"/>
              </a:solidFill>
              <a:ln w="19050">
                <a:solidFill>
                  <a:sysClr val="window" lastClr="FFFFFF"/>
                </a:solidFill>
                <a:round/>
                <a:headEnd/>
                <a:tailEnd/>
              </a:ln>
              <a:effectLst/>
            </p:spPr>
            <p:txBody>
              <a:bodyPr wrap="none" anchor="ctr"/>
              <a:lstStyle/>
              <a:p>
                <a:pPr>
                  <a:defRPr/>
                </a:pPr>
                <a:endParaRPr lang="en-GB" sz="1400" kern="0" dirty="0">
                  <a:solidFill>
                    <a:srgbClr val="2E2E2E"/>
                  </a:solidFill>
                </a:endParaRPr>
              </a:p>
            </p:txBody>
          </p:sp>
        </p:grpSp>
        <p:sp>
          <p:nvSpPr>
            <p:cNvPr id="6" name="Rectangle 9"/>
            <p:cNvSpPr>
              <a:spLocks noChangeArrowheads="1"/>
            </p:cNvSpPr>
            <p:nvPr>
              <p:custDataLst>
                <p:tags r:id="rId1"/>
              </p:custDataLst>
            </p:nvPr>
          </p:nvSpPr>
          <p:spPr bwMode="auto">
            <a:xfrm rot="18947705">
              <a:off x="3125417" y="2417742"/>
              <a:ext cx="1464312" cy="935956"/>
            </a:xfrm>
            <a:prstGeom prst="rect">
              <a:avLst/>
            </a:prstGeom>
            <a:noFill/>
            <a:ln w="9525">
              <a:noFill/>
              <a:miter lim="800000"/>
              <a:headEnd/>
              <a:tailEnd/>
            </a:ln>
            <a:effectLst/>
          </p:spPr>
          <p:txBody>
            <a:bodyPr spcFirstLastPara="1" wrap="none" lIns="92075" tIns="46037" rIns="92075" bIns="46037" numCol="1">
              <a:prstTxWarp prst="textArchUp">
                <a:avLst/>
              </a:prstTxWarp>
              <a:spAutoFit/>
            </a:bodyPr>
            <a:lstStyle/>
            <a:p>
              <a:pPr algn="ctr" eaLnBrk="0" hangingPunct="0">
                <a:tabLst>
                  <a:tab pos="6464300" algn="r"/>
                </a:tabLst>
                <a:defRPr/>
              </a:pPr>
              <a:r>
                <a:rPr lang="en-GB" sz="1600" b="1" kern="0" dirty="0">
                  <a:solidFill>
                    <a:prstClr val="white"/>
                  </a:solidFill>
                </a:rPr>
                <a:t>Provision</a:t>
              </a:r>
            </a:p>
          </p:txBody>
        </p:sp>
        <p:sp>
          <p:nvSpPr>
            <p:cNvPr id="7" name="Rectangle 9"/>
            <p:cNvSpPr>
              <a:spLocks noChangeArrowheads="1"/>
            </p:cNvSpPr>
            <p:nvPr>
              <p:custDataLst>
                <p:tags r:id="rId2"/>
              </p:custDataLst>
            </p:nvPr>
          </p:nvSpPr>
          <p:spPr bwMode="auto">
            <a:xfrm rot="1216570">
              <a:off x="3146402" y="4210321"/>
              <a:ext cx="2245842" cy="920148"/>
            </a:xfrm>
            <a:prstGeom prst="rect">
              <a:avLst/>
            </a:prstGeom>
            <a:noFill/>
            <a:ln w="9525">
              <a:noFill/>
              <a:miter lim="800000"/>
              <a:headEnd/>
              <a:tailEnd/>
            </a:ln>
            <a:effectLst/>
          </p:spPr>
          <p:txBody>
            <a:bodyPr spcFirstLastPara="1" wrap="none" lIns="92075" tIns="46037" rIns="92075" bIns="46037" numCol="1">
              <a:prstTxWarp prst="textArchDown">
                <a:avLst/>
              </a:prstTxWarp>
              <a:spAutoFit/>
            </a:bodyPr>
            <a:lstStyle/>
            <a:p>
              <a:pPr algn="ctr" eaLnBrk="0" hangingPunct="0">
                <a:tabLst>
                  <a:tab pos="6464300" algn="r"/>
                </a:tabLst>
                <a:defRPr/>
              </a:pPr>
              <a:r>
                <a:rPr lang="en-GB" sz="1600" b="1" kern="0" dirty="0">
                  <a:solidFill>
                    <a:prstClr val="white"/>
                  </a:solidFill>
                </a:rPr>
                <a:t>Decommission</a:t>
              </a:r>
            </a:p>
          </p:txBody>
        </p:sp>
        <p:sp>
          <p:nvSpPr>
            <p:cNvPr id="8" name="Rectangle 9"/>
            <p:cNvSpPr>
              <a:spLocks noChangeArrowheads="1"/>
            </p:cNvSpPr>
            <p:nvPr>
              <p:custDataLst>
                <p:tags r:id="rId3"/>
              </p:custDataLst>
            </p:nvPr>
          </p:nvSpPr>
          <p:spPr bwMode="auto">
            <a:xfrm rot="4284064">
              <a:off x="4492642" y="2719637"/>
              <a:ext cx="1712328" cy="1269099"/>
            </a:xfrm>
            <a:prstGeom prst="rect">
              <a:avLst/>
            </a:prstGeom>
            <a:noFill/>
            <a:ln w="9525">
              <a:noFill/>
              <a:miter lim="800000"/>
              <a:headEnd/>
              <a:tailEnd/>
            </a:ln>
            <a:effectLst/>
          </p:spPr>
          <p:txBody>
            <a:bodyPr spcFirstLastPara="1" wrap="none" lIns="92075" tIns="46037" rIns="92075" bIns="46037" numCol="1">
              <a:prstTxWarp prst="textArchUp">
                <a:avLst/>
              </a:prstTxWarp>
              <a:spAutoFit/>
            </a:bodyPr>
            <a:lstStyle/>
            <a:p>
              <a:pPr algn="ctr" eaLnBrk="0" hangingPunct="0">
                <a:tabLst>
                  <a:tab pos="6464300" algn="r"/>
                </a:tabLst>
                <a:defRPr/>
              </a:pPr>
              <a:r>
                <a:rPr lang="en-GB" sz="1600" b="1" kern="0" dirty="0">
                  <a:solidFill>
                    <a:srgbClr val="FFFFFF"/>
                  </a:solidFill>
                </a:rPr>
                <a:t>Production</a:t>
              </a:r>
            </a:p>
          </p:txBody>
        </p:sp>
      </p:grpSp>
      <p:grpSp>
        <p:nvGrpSpPr>
          <p:cNvPr id="12" name="Group 11"/>
          <p:cNvGrpSpPr/>
          <p:nvPr/>
        </p:nvGrpSpPr>
        <p:grpSpPr>
          <a:xfrm>
            <a:off x="1506847" y="1366818"/>
            <a:ext cx="3421284" cy="603496"/>
            <a:chOff x="298532" y="1486560"/>
            <a:chExt cx="9308936" cy="774542"/>
          </a:xfrm>
        </p:grpSpPr>
        <p:sp>
          <p:nvSpPr>
            <p:cNvPr id="13" name="Right Brace 12"/>
            <p:cNvSpPr/>
            <p:nvPr/>
          </p:nvSpPr>
          <p:spPr>
            <a:xfrm rot="5400000">
              <a:off x="4816313" y="-650616"/>
              <a:ext cx="273374" cy="5550062"/>
            </a:xfrm>
            <a:prstGeom prst="rightBrace">
              <a:avLst>
                <a:gd name="adj1" fmla="val 33390"/>
                <a:gd name="adj2" fmla="val 50000"/>
              </a:avLst>
            </a:prstGeom>
            <a:solidFill>
              <a:schemeClr val="bg1">
                <a:lumMod val="65000"/>
              </a:schemeClr>
            </a:solidFill>
            <a:ln w="6350" cap="flat" cmpd="sng" algn="ctr">
              <a:noFill/>
              <a:prstDash val="solid"/>
              <a:round/>
              <a:headEnd type="none" w="med" len="med"/>
              <a:tailEnd type="none" w="med" len="med"/>
            </a:ln>
            <a:effectLst/>
          </p:spPr>
          <p:txBody>
            <a:bodyPr rtlCol="0" anchor="ctr"/>
            <a:lstStyle/>
            <a:p>
              <a:pPr algn="ctr"/>
              <a:endParaRPr lang="en-GB" dirty="0">
                <a:latin typeface="Calibri" pitchFamily="34" charset="0"/>
                <a:sym typeface="Calibri"/>
              </a:endParaRPr>
            </a:p>
          </p:txBody>
        </p:sp>
        <p:sp>
          <p:nvSpPr>
            <p:cNvPr id="14" name="Rounded Rectangle 13"/>
            <p:cNvSpPr/>
            <p:nvPr/>
          </p:nvSpPr>
          <p:spPr bwMode="auto">
            <a:xfrm>
              <a:off x="298532" y="1486560"/>
              <a:ext cx="9308936" cy="542842"/>
            </a:xfrm>
            <a:prstGeom prst="roundRect">
              <a:avLst/>
            </a:prstGeom>
            <a:solidFill>
              <a:schemeClr val="accent1"/>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296" eaLnBrk="0" fontAlgn="base" hangingPunct="0">
                <a:spcBef>
                  <a:spcPct val="0"/>
                </a:spcBef>
                <a:spcAft>
                  <a:spcPct val="0"/>
                </a:spcAft>
              </a:pPr>
              <a:r>
                <a:rPr lang="en-GB" sz="1600" b="1" dirty="0">
                  <a:solidFill>
                    <a:prstClr val="white"/>
                  </a:solidFill>
                  <a:latin typeface="Calibri" pitchFamily="34" charset="0"/>
                  <a:cs typeface="Arial" charset="0"/>
                  <a:sym typeface="Calibri"/>
                </a:rPr>
                <a:t> Provision Capabilities</a:t>
              </a:r>
            </a:p>
          </p:txBody>
        </p:sp>
      </p:grpSp>
      <p:grpSp>
        <p:nvGrpSpPr>
          <p:cNvPr id="15" name="Group 14"/>
          <p:cNvGrpSpPr/>
          <p:nvPr/>
        </p:nvGrpSpPr>
        <p:grpSpPr>
          <a:xfrm>
            <a:off x="7308932" y="1366818"/>
            <a:ext cx="3421284" cy="603496"/>
            <a:chOff x="298532" y="1486560"/>
            <a:chExt cx="9308936" cy="774542"/>
          </a:xfrm>
        </p:grpSpPr>
        <p:sp>
          <p:nvSpPr>
            <p:cNvPr id="16" name="Right Brace 15"/>
            <p:cNvSpPr/>
            <p:nvPr/>
          </p:nvSpPr>
          <p:spPr>
            <a:xfrm rot="5400000">
              <a:off x="4816313" y="-650616"/>
              <a:ext cx="273374" cy="5550062"/>
            </a:xfrm>
            <a:prstGeom prst="rightBrace">
              <a:avLst>
                <a:gd name="adj1" fmla="val 33390"/>
                <a:gd name="adj2" fmla="val 50000"/>
              </a:avLst>
            </a:prstGeom>
            <a:solidFill>
              <a:schemeClr val="bg1">
                <a:lumMod val="65000"/>
              </a:schemeClr>
            </a:solidFill>
            <a:ln w="6350" cap="flat" cmpd="sng" algn="ctr">
              <a:noFill/>
              <a:prstDash val="solid"/>
              <a:round/>
              <a:headEnd type="none" w="med" len="med"/>
              <a:tailEnd type="none" w="med" len="med"/>
            </a:ln>
            <a:effectLst/>
          </p:spPr>
          <p:txBody>
            <a:bodyPr rtlCol="0" anchor="ctr"/>
            <a:lstStyle/>
            <a:p>
              <a:pPr algn="ctr"/>
              <a:endParaRPr lang="en-GB" dirty="0">
                <a:latin typeface="Calibri" pitchFamily="34" charset="0"/>
                <a:sym typeface="Calibri"/>
              </a:endParaRPr>
            </a:p>
          </p:txBody>
        </p:sp>
        <p:sp>
          <p:nvSpPr>
            <p:cNvPr id="17" name="Rounded Rectangle 16"/>
            <p:cNvSpPr/>
            <p:nvPr/>
          </p:nvSpPr>
          <p:spPr bwMode="auto">
            <a:xfrm>
              <a:off x="298532" y="1486560"/>
              <a:ext cx="9308936" cy="542842"/>
            </a:xfrm>
            <a:prstGeom prst="roundRect">
              <a:avLst/>
            </a:prstGeom>
            <a:solidFill>
              <a:schemeClr val="accent1"/>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spcAft>
                  <a:spcPts val="300"/>
                </a:spcAft>
              </a:pPr>
              <a:r>
                <a:rPr lang="en-US" sz="1600" b="1" kern="0" dirty="0">
                  <a:solidFill>
                    <a:prstClr val="white"/>
                  </a:solidFill>
                </a:rPr>
                <a:t> Production Capabilities</a:t>
              </a:r>
            </a:p>
          </p:txBody>
        </p:sp>
      </p:grpSp>
      <p:grpSp>
        <p:nvGrpSpPr>
          <p:cNvPr id="18" name="Group 80"/>
          <p:cNvGrpSpPr>
            <a:grpSpLocks noChangeAspect="1"/>
          </p:cNvGrpSpPr>
          <p:nvPr/>
        </p:nvGrpSpPr>
        <p:grpSpPr>
          <a:xfrm>
            <a:off x="5752311" y="2794723"/>
            <a:ext cx="713356" cy="699592"/>
            <a:chOff x="4492391" y="2632063"/>
            <a:chExt cx="2778075" cy="2650460"/>
          </a:xfrm>
        </p:grpSpPr>
        <p:grpSp>
          <p:nvGrpSpPr>
            <p:cNvPr id="19" name="Group 55"/>
            <p:cNvGrpSpPr>
              <a:grpSpLocks/>
            </p:cNvGrpSpPr>
            <p:nvPr/>
          </p:nvGrpSpPr>
          <p:grpSpPr bwMode="auto">
            <a:xfrm>
              <a:off x="4637513" y="2632063"/>
              <a:ext cx="2320095" cy="1673918"/>
              <a:chOff x="1713651" y="1441059"/>
              <a:chExt cx="5736082" cy="4143330"/>
            </a:xfrm>
          </p:grpSpPr>
          <p:grpSp>
            <p:nvGrpSpPr>
              <p:cNvPr id="38" name="Group 20"/>
              <p:cNvGrpSpPr/>
              <p:nvPr/>
            </p:nvGrpSpPr>
            <p:grpSpPr>
              <a:xfrm>
                <a:off x="1926237" y="3567659"/>
                <a:ext cx="5426440" cy="2016730"/>
                <a:chOff x="2009634" y="3480052"/>
                <a:chExt cx="5178151" cy="1924453"/>
              </a:xfrm>
              <a:effectLst>
                <a:reflection blurRad="6350" stA="52000" endA="300" endPos="35000" dir="5400000" sy="-100000" algn="bl" rotWithShape="0"/>
              </a:effectLst>
            </p:grpSpPr>
            <p:pic>
              <p:nvPicPr>
                <p:cNvPr id="42" name="Picture 4" descr="\\.psf\Host\Users\eric\Graphic Tank\iPad Large.tif"/>
                <p:cNvPicPr>
                  <a:picLocks noChangeAspect="1" noChangeArrowheads="1"/>
                </p:cNvPicPr>
                <p:nvPr/>
              </p:nvPicPr>
              <p:blipFill>
                <a:blip r:embed="rId9" cstate="screen"/>
                <a:srcRect/>
                <a:stretch>
                  <a:fillRect/>
                </a:stretch>
              </p:blipFill>
              <p:spPr bwMode="auto">
                <a:xfrm rot="16200000">
                  <a:off x="3636484" y="1853204"/>
                  <a:ext cx="1924451" cy="5178151"/>
                </a:xfrm>
                <a:prstGeom prst="rect">
                  <a:avLst/>
                </a:prstGeom>
                <a:noFill/>
                <a:ln>
                  <a:noFill/>
                </a:ln>
              </p:spPr>
            </p:pic>
            <p:pic>
              <p:nvPicPr>
                <p:cNvPr id="43" name="Picture 5" descr="\\.psf\Host\Users\eric\Graphic Tank\Sybase on iPad.PNG"/>
                <p:cNvPicPr>
                  <a:picLocks noChangeAspect="1" noChangeArrowheads="1"/>
                </p:cNvPicPr>
                <p:nvPr/>
              </p:nvPicPr>
              <p:blipFill>
                <a:blip r:embed="rId10" cstate="screen"/>
                <a:srcRect/>
                <a:stretch>
                  <a:fillRect/>
                </a:stretch>
              </p:blipFill>
              <p:spPr bwMode="auto">
                <a:xfrm rot="16200000">
                  <a:off x="3888932" y="2139764"/>
                  <a:ext cx="1451709" cy="4132286"/>
                </a:xfrm>
                <a:prstGeom prst="rect">
                  <a:avLst/>
                </a:prstGeom>
                <a:noFill/>
                <a:ln>
                  <a:noFill/>
                </a:ln>
              </p:spPr>
            </p:pic>
          </p:grpSp>
          <p:grpSp>
            <p:nvGrpSpPr>
              <p:cNvPr id="39" name="Group 23"/>
              <p:cNvGrpSpPr>
                <a:grpSpLocks/>
              </p:cNvGrpSpPr>
              <p:nvPr/>
            </p:nvGrpSpPr>
            <p:grpSpPr bwMode="auto">
              <a:xfrm>
                <a:off x="1713651" y="1441059"/>
                <a:ext cx="5736082" cy="3670112"/>
                <a:chOff x="1806776" y="1450756"/>
                <a:chExt cx="5473626" cy="3502185"/>
              </a:xfrm>
            </p:grpSpPr>
            <p:pic>
              <p:nvPicPr>
                <p:cNvPr id="40" name="Picture 4" descr="\\.psf\Host\Users\eric\Graphic Tank\iPad Large.tif"/>
                <p:cNvPicPr>
                  <a:picLocks noChangeAspect="1" noChangeArrowheads="1"/>
                </p:cNvPicPr>
                <p:nvPr/>
              </p:nvPicPr>
              <p:blipFill>
                <a:blip r:embed="rId11" cstate="screen"/>
                <a:stretch>
                  <a:fillRect/>
                </a:stretch>
              </p:blipFill>
              <p:spPr bwMode="auto">
                <a:xfrm>
                  <a:off x="1806776" y="1450756"/>
                  <a:ext cx="5473626" cy="3502185"/>
                </a:xfrm>
                <a:prstGeom prst="rect">
                  <a:avLst/>
                </a:prstGeom>
                <a:noFill/>
                <a:ln>
                  <a:noFill/>
                </a:ln>
              </p:spPr>
            </p:pic>
            <p:pic>
              <p:nvPicPr>
                <p:cNvPr id="41" name="Picture 5" descr="\\.psf\Host\Users\eric\Graphic Tank\Sybase on iPad.PNG"/>
                <p:cNvPicPr>
                  <a:picLocks noChangeAspect="1" noChangeArrowheads="1"/>
                </p:cNvPicPr>
                <p:nvPr/>
              </p:nvPicPr>
              <p:blipFill>
                <a:blip r:embed="rId12" cstate="screen"/>
                <a:srcRect/>
                <a:stretch>
                  <a:fillRect/>
                </a:stretch>
              </p:blipFill>
              <p:spPr bwMode="auto">
                <a:xfrm rot="16200000">
                  <a:off x="3061431" y="1312264"/>
                  <a:ext cx="3106711" cy="4132286"/>
                </a:xfrm>
                <a:prstGeom prst="rect">
                  <a:avLst/>
                </a:prstGeom>
                <a:noFill/>
                <a:ln>
                  <a:noFill/>
                </a:ln>
              </p:spPr>
            </p:pic>
          </p:grpSp>
        </p:grpSp>
        <p:grpSp>
          <p:nvGrpSpPr>
            <p:cNvPr id="20" name="Group 39"/>
            <p:cNvGrpSpPr>
              <a:grpSpLocks/>
            </p:cNvGrpSpPr>
            <p:nvPr/>
          </p:nvGrpSpPr>
          <p:grpSpPr bwMode="auto">
            <a:xfrm>
              <a:off x="4492391" y="3040056"/>
              <a:ext cx="822583" cy="1779000"/>
              <a:chOff x="470890" y="2439247"/>
              <a:chExt cx="1795015" cy="3886598"/>
            </a:xfrm>
          </p:grpSpPr>
          <p:pic>
            <p:nvPicPr>
              <p:cNvPr id="35" name="Picture 3" descr="\\.psf\Host\Users\eric\Graphic Tank\SmartPhone Blackberry.tif"/>
              <p:cNvPicPr>
                <a:picLocks noChangeAspect="1" noChangeArrowheads="1"/>
              </p:cNvPicPr>
              <p:nvPr/>
            </p:nvPicPr>
            <p:blipFill>
              <a:blip r:embed="rId13" cstate="screen"/>
              <a:stretch>
                <a:fillRect/>
              </a:stretch>
            </p:blipFill>
            <p:spPr bwMode="auto">
              <a:xfrm>
                <a:off x="470890" y="2439247"/>
                <a:ext cx="1795015" cy="3886598"/>
              </a:xfrm>
              <a:prstGeom prst="rect">
                <a:avLst/>
              </a:prstGeom>
              <a:noFill/>
              <a:ln>
                <a:noFill/>
              </a:ln>
            </p:spPr>
          </p:pic>
          <p:pic>
            <p:nvPicPr>
              <p:cNvPr id="36" name="Picture 3"/>
              <p:cNvPicPr>
                <a:picLocks noChangeAspect="1" noChangeArrowheads="1"/>
              </p:cNvPicPr>
              <p:nvPr/>
            </p:nvPicPr>
            <p:blipFill>
              <a:blip r:embed="rId14" cstate="screen"/>
              <a:srcRect/>
              <a:stretch>
                <a:fillRect/>
              </a:stretch>
            </p:blipFill>
            <p:spPr bwMode="auto">
              <a:xfrm>
                <a:off x="644610" y="3131806"/>
                <a:ext cx="1330252" cy="1004929"/>
              </a:xfrm>
              <a:prstGeom prst="rect">
                <a:avLst/>
              </a:prstGeom>
              <a:noFill/>
              <a:ln>
                <a:noFill/>
              </a:ln>
            </p:spPr>
          </p:pic>
          <p:pic>
            <p:nvPicPr>
              <p:cNvPr id="37" name="Picture 3"/>
              <p:cNvPicPr>
                <a:picLocks noChangeAspect="1" noChangeArrowheads="1"/>
              </p:cNvPicPr>
              <p:nvPr/>
            </p:nvPicPr>
            <p:blipFill>
              <a:blip r:embed="rId15" cstate="screen"/>
              <a:srcRect/>
              <a:stretch>
                <a:fillRect/>
              </a:stretch>
            </p:blipFill>
            <p:spPr bwMode="auto">
              <a:xfrm>
                <a:off x="644610" y="4033705"/>
                <a:ext cx="1330252" cy="420596"/>
              </a:xfrm>
              <a:prstGeom prst="rect">
                <a:avLst/>
              </a:prstGeom>
              <a:noFill/>
              <a:ln>
                <a:noFill/>
              </a:ln>
            </p:spPr>
          </p:pic>
        </p:grpSp>
        <p:grpSp>
          <p:nvGrpSpPr>
            <p:cNvPr id="21" name="Group 71"/>
            <p:cNvGrpSpPr>
              <a:grpSpLocks/>
            </p:cNvGrpSpPr>
            <p:nvPr/>
          </p:nvGrpSpPr>
          <p:grpSpPr bwMode="auto">
            <a:xfrm>
              <a:off x="6400800" y="2971800"/>
              <a:ext cx="869666" cy="1643669"/>
              <a:chOff x="2388950" y="2354986"/>
              <a:chExt cx="1156624" cy="2188564"/>
            </a:xfrm>
          </p:grpSpPr>
          <p:pic>
            <p:nvPicPr>
              <p:cNvPr id="33" name="Picture 6" descr="\\.psf\Host\Users\eric\Graphic Tank\iPhone.tif"/>
              <p:cNvPicPr>
                <a:picLocks noChangeAspect="1" noChangeArrowheads="1"/>
              </p:cNvPicPr>
              <p:nvPr/>
            </p:nvPicPr>
            <p:blipFill>
              <a:blip r:embed="rId16" cstate="screen"/>
              <a:stretch>
                <a:fillRect/>
              </a:stretch>
            </p:blipFill>
            <p:spPr bwMode="auto">
              <a:xfrm>
                <a:off x="2388950" y="2354986"/>
                <a:ext cx="1156624" cy="2188564"/>
              </a:xfrm>
              <a:prstGeom prst="rect">
                <a:avLst/>
              </a:prstGeom>
              <a:noFill/>
              <a:ln>
                <a:noFill/>
              </a:ln>
            </p:spPr>
          </p:pic>
          <p:pic>
            <p:nvPicPr>
              <p:cNvPr id="34" name="Picture 75" descr="IMG_0044.PNG"/>
              <p:cNvPicPr>
                <a:picLocks noChangeAspect="1"/>
              </p:cNvPicPr>
              <p:nvPr/>
            </p:nvPicPr>
            <p:blipFill>
              <a:blip r:embed="rId17" cstate="screen"/>
              <a:srcRect/>
              <a:stretch>
                <a:fillRect/>
              </a:stretch>
            </p:blipFill>
            <p:spPr bwMode="auto">
              <a:xfrm>
                <a:off x="2499315" y="2751131"/>
                <a:ext cx="935911" cy="1407961"/>
              </a:xfrm>
              <a:prstGeom prst="rect">
                <a:avLst/>
              </a:prstGeom>
              <a:noFill/>
              <a:ln>
                <a:noFill/>
              </a:ln>
            </p:spPr>
          </p:pic>
        </p:grpSp>
        <p:grpSp>
          <p:nvGrpSpPr>
            <p:cNvPr id="22" name="Group 91"/>
            <p:cNvGrpSpPr>
              <a:grpSpLocks/>
            </p:cNvGrpSpPr>
            <p:nvPr/>
          </p:nvGrpSpPr>
          <p:grpSpPr bwMode="auto">
            <a:xfrm>
              <a:off x="6019800" y="3429001"/>
              <a:ext cx="886270" cy="1580161"/>
              <a:chOff x="6911464" y="1296648"/>
              <a:chExt cx="642434" cy="1146749"/>
            </a:xfrm>
          </p:grpSpPr>
          <p:grpSp>
            <p:nvGrpSpPr>
              <p:cNvPr id="27" name="Group 88"/>
              <p:cNvGrpSpPr/>
              <p:nvPr/>
            </p:nvGrpSpPr>
            <p:grpSpPr>
              <a:xfrm>
                <a:off x="6911464" y="1896256"/>
                <a:ext cx="642434" cy="547141"/>
                <a:chOff x="7526062" y="1821305"/>
                <a:chExt cx="642434" cy="547141"/>
              </a:xfrm>
              <a:effectLst>
                <a:reflection blurRad="6350" stA="52000" endA="300" endPos="35000" dir="5400000" sy="-100000" algn="bl" rotWithShape="0"/>
              </a:effectLst>
            </p:grpSpPr>
            <p:pic>
              <p:nvPicPr>
                <p:cNvPr id="31" name="Picture 7" descr="\\.psf\Host\Users\eric\Graphic Tank\SmartPhone 2.tif"/>
                <p:cNvPicPr>
                  <a:picLocks noChangeAspect="1" noChangeArrowheads="1"/>
                </p:cNvPicPr>
                <p:nvPr/>
              </p:nvPicPr>
              <p:blipFill>
                <a:blip r:embed="rId18" cstate="screen"/>
                <a:srcRect/>
                <a:stretch>
                  <a:fillRect/>
                </a:stretch>
              </p:blipFill>
              <p:spPr bwMode="auto">
                <a:xfrm>
                  <a:off x="7526062" y="1843790"/>
                  <a:ext cx="642434" cy="524656"/>
                </a:xfrm>
                <a:prstGeom prst="rect">
                  <a:avLst/>
                </a:prstGeom>
                <a:noFill/>
                <a:ln>
                  <a:noFill/>
                </a:ln>
              </p:spPr>
            </p:pic>
            <p:pic>
              <p:nvPicPr>
                <p:cNvPr id="32" name="Picture 8" descr="AnalyticsChart"/>
                <p:cNvPicPr>
                  <a:picLocks noChangeAspect="1" noChangeArrowheads="1"/>
                </p:cNvPicPr>
                <p:nvPr/>
              </p:nvPicPr>
              <p:blipFill>
                <a:blip r:embed="rId19" cstate="screen"/>
                <a:srcRect/>
                <a:stretch>
                  <a:fillRect/>
                </a:stretch>
              </p:blipFill>
              <p:spPr bwMode="auto">
                <a:xfrm>
                  <a:off x="7593504" y="1821305"/>
                  <a:ext cx="501186" cy="305409"/>
                </a:xfrm>
                <a:prstGeom prst="rect">
                  <a:avLst/>
                </a:prstGeom>
                <a:noFill/>
                <a:ln>
                  <a:noFill/>
                </a:ln>
              </p:spPr>
            </p:pic>
          </p:grpSp>
          <p:grpSp>
            <p:nvGrpSpPr>
              <p:cNvPr id="28" name="Group 85"/>
              <p:cNvGrpSpPr>
                <a:grpSpLocks/>
              </p:cNvGrpSpPr>
              <p:nvPr/>
            </p:nvGrpSpPr>
            <p:grpSpPr bwMode="auto">
              <a:xfrm>
                <a:off x="6911464" y="1296648"/>
                <a:ext cx="642434" cy="1146749"/>
                <a:chOff x="7526062" y="1221697"/>
                <a:chExt cx="642434" cy="1146749"/>
              </a:xfrm>
            </p:grpSpPr>
            <p:pic>
              <p:nvPicPr>
                <p:cNvPr id="29" name="Picture 7" descr="\\.psf\Host\Users\eric\Graphic Tank\SmartPhone 2.tif"/>
                <p:cNvPicPr>
                  <a:picLocks noChangeAspect="1" noChangeArrowheads="1"/>
                </p:cNvPicPr>
                <p:nvPr/>
              </p:nvPicPr>
              <p:blipFill>
                <a:blip r:embed="rId20" cstate="screen"/>
                <a:srcRect/>
                <a:stretch>
                  <a:fillRect/>
                </a:stretch>
              </p:blipFill>
              <p:spPr bwMode="auto">
                <a:xfrm>
                  <a:off x="7526062" y="1221697"/>
                  <a:ext cx="642434" cy="1146749"/>
                </a:xfrm>
                <a:prstGeom prst="rect">
                  <a:avLst/>
                </a:prstGeom>
                <a:noFill/>
                <a:ln>
                  <a:noFill/>
                </a:ln>
              </p:spPr>
            </p:pic>
            <p:pic>
              <p:nvPicPr>
                <p:cNvPr id="30" name="Picture 8" descr="AnalyticsChart"/>
                <p:cNvPicPr>
                  <a:picLocks noChangeAspect="1" noChangeArrowheads="1"/>
                </p:cNvPicPr>
                <p:nvPr/>
              </p:nvPicPr>
              <p:blipFill>
                <a:blip r:embed="rId21" cstate="screen"/>
                <a:srcRect/>
                <a:stretch>
                  <a:fillRect/>
                </a:stretch>
              </p:blipFill>
              <p:spPr bwMode="auto">
                <a:xfrm>
                  <a:off x="7593504" y="1397742"/>
                  <a:ext cx="501186" cy="728972"/>
                </a:xfrm>
                <a:prstGeom prst="rect">
                  <a:avLst/>
                </a:prstGeom>
                <a:noFill/>
                <a:ln>
                  <a:noFill/>
                </a:ln>
              </p:spPr>
            </p:pic>
          </p:grpSp>
        </p:grpSp>
        <p:grpSp>
          <p:nvGrpSpPr>
            <p:cNvPr id="23" name="Group 80"/>
            <p:cNvGrpSpPr>
              <a:grpSpLocks/>
            </p:cNvGrpSpPr>
            <p:nvPr/>
          </p:nvGrpSpPr>
          <p:grpSpPr bwMode="auto">
            <a:xfrm>
              <a:off x="5101680" y="3604276"/>
              <a:ext cx="841920" cy="1678247"/>
              <a:chOff x="7027610" y="2434983"/>
              <a:chExt cx="1837521" cy="3667097"/>
            </a:xfrm>
          </p:grpSpPr>
          <p:pic>
            <p:nvPicPr>
              <p:cNvPr id="24" name="Picture 2" descr="\\.psf\Host\Users\eric\Graphic Tank\SmartPhone Devices.tif"/>
              <p:cNvPicPr>
                <a:picLocks noChangeAspect="1" noChangeArrowheads="1"/>
              </p:cNvPicPr>
              <p:nvPr/>
            </p:nvPicPr>
            <p:blipFill>
              <a:blip r:embed="rId22" cstate="screen"/>
              <a:stretch>
                <a:fillRect/>
              </a:stretch>
            </p:blipFill>
            <p:spPr bwMode="auto">
              <a:xfrm>
                <a:off x="7027610" y="2434983"/>
                <a:ext cx="1837521" cy="3667097"/>
              </a:xfrm>
              <a:prstGeom prst="rect">
                <a:avLst/>
              </a:prstGeom>
              <a:noFill/>
              <a:ln>
                <a:noFill/>
              </a:ln>
            </p:spPr>
          </p:pic>
          <p:pic>
            <p:nvPicPr>
              <p:cNvPr id="25" name="Picture 24" descr="Travel Request2"/>
              <p:cNvPicPr>
                <a:picLocks noChangeAspect="1" noChangeArrowheads="1"/>
              </p:cNvPicPr>
              <p:nvPr/>
            </p:nvPicPr>
            <p:blipFill>
              <a:blip r:embed="rId23" cstate="screen"/>
              <a:srcRect/>
              <a:stretch>
                <a:fillRect/>
              </a:stretch>
            </p:blipFill>
            <p:spPr bwMode="auto">
              <a:xfrm>
                <a:off x="7226738" y="2878110"/>
                <a:ext cx="1459200" cy="1969415"/>
              </a:xfrm>
              <a:prstGeom prst="rect">
                <a:avLst/>
              </a:prstGeom>
              <a:noFill/>
              <a:ln>
                <a:noFill/>
              </a:ln>
            </p:spPr>
          </p:pic>
          <p:pic>
            <p:nvPicPr>
              <p:cNvPr id="26" name="Picture 25" descr="Travel Request2"/>
              <p:cNvPicPr>
                <a:picLocks noChangeAspect="1" noChangeArrowheads="1"/>
              </p:cNvPicPr>
              <p:nvPr/>
            </p:nvPicPr>
            <p:blipFill>
              <a:blip r:embed="rId24" cstate="screen"/>
              <a:srcRect/>
              <a:stretch>
                <a:fillRect/>
              </a:stretch>
            </p:blipFill>
            <p:spPr bwMode="auto">
              <a:xfrm>
                <a:off x="7226738" y="4362218"/>
                <a:ext cx="1459200" cy="686581"/>
              </a:xfrm>
              <a:prstGeom prst="rect">
                <a:avLst/>
              </a:prstGeom>
              <a:noFill/>
              <a:ln>
                <a:noFill/>
              </a:ln>
            </p:spPr>
          </p:pic>
        </p:grpSp>
      </p:grpSp>
      <p:sp>
        <p:nvSpPr>
          <p:cNvPr id="72" name="Rectangle 71"/>
          <p:cNvSpPr/>
          <p:nvPr/>
        </p:nvSpPr>
        <p:spPr>
          <a:xfrm>
            <a:off x="1491262" y="4781264"/>
            <a:ext cx="2194560" cy="764346"/>
          </a:xfrm>
          <a:prstGeom prst="rect">
            <a:avLst/>
          </a:prstGeom>
          <a:solidFill>
            <a:schemeClr val="bg1"/>
          </a:solidFill>
          <a:ln w="9525" cap="flat" cmpd="sng" algn="ctr">
            <a:solidFill>
              <a:schemeClr val="tx1"/>
            </a:solidFill>
            <a:prstDash val="sysDash"/>
          </a:ln>
          <a:effectLst/>
        </p:spPr>
        <p:txBody>
          <a:bodyPr rtlCol="0" anchor="ctr"/>
          <a:lstStyle/>
          <a:p>
            <a:pPr algn="ctr">
              <a:defRPr/>
            </a:pPr>
            <a:endParaRPr lang="en-US" sz="2400" kern="0" dirty="0">
              <a:solidFill>
                <a:srgbClr val="9F958F">
                  <a:lumMod val="50000"/>
                </a:srgbClr>
              </a:solidFill>
              <a:latin typeface="Arial"/>
            </a:endParaRPr>
          </a:p>
        </p:txBody>
      </p:sp>
      <p:sp>
        <p:nvSpPr>
          <p:cNvPr id="73" name="Rectangle 72"/>
          <p:cNvSpPr/>
          <p:nvPr/>
        </p:nvSpPr>
        <p:spPr>
          <a:xfrm>
            <a:off x="3802271" y="4781264"/>
            <a:ext cx="2194560" cy="764346"/>
          </a:xfrm>
          <a:prstGeom prst="rect">
            <a:avLst/>
          </a:prstGeom>
          <a:solidFill>
            <a:schemeClr val="bg1"/>
          </a:solidFill>
          <a:ln w="9525" cap="flat" cmpd="sng" algn="ctr">
            <a:solidFill>
              <a:schemeClr val="tx1"/>
            </a:solidFill>
            <a:prstDash val="sysDash"/>
          </a:ln>
          <a:effectLst/>
        </p:spPr>
        <p:txBody>
          <a:bodyPr rtlCol="0" anchor="ctr"/>
          <a:lstStyle/>
          <a:p>
            <a:pPr algn="ctr">
              <a:defRPr/>
            </a:pPr>
            <a:endParaRPr lang="en-US" sz="2400" kern="0" dirty="0">
              <a:solidFill>
                <a:srgbClr val="9F958F">
                  <a:lumMod val="50000"/>
                </a:srgbClr>
              </a:solidFill>
              <a:latin typeface="Arial"/>
            </a:endParaRPr>
          </a:p>
        </p:txBody>
      </p:sp>
      <p:sp>
        <p:nvSpPr>
          <p:cNvPr id="74" name="Rectangle 73"/>
          <p:cNvSpPr/>
          <p:nvPr/>
        </p:nvSpPr>
        <p:spPr>
          <a:xfrm>
            <a:off x="6113280" y="4781264"/>
            <a:ext cx="2194560" cy="764346"/>
          </a:xfrm>
          <a:prstGeom prst="rect">
            <a:avLst/>
          </a:prstGeom>
          <a:solidFill>
            <a:schemeClr val="bg1"/>
          </a:solidFill>
          <a:ln w="9525" cap="flat" cmpd="sng" algn="ctr">
            <a:solidFill>
              <a:schemeClr val="tx1"/>
            </a:solidFill>
            <a:prstDash val="sysDash"/>
          </a:ln>
          <a:effectLst/>
        </p:spPr>
        <p:txBody>
          <a:bodyPr rtlCol="0" anchor="ctr"/>
          <a:lstStyle/>
          <a:p>
            <a:pPr algn="ctr">
              <a:defRPr/>
            </a:pPr>
            <a:endParaRPr lang="en-US" sz="2400" kern="0" dirty="0">
              <a:solidFill>
                <a:srgbClr val="9F958F">
                  <a:lumMod val="50000"/>
                </a:srgbClr>
              </a:solidFill>
              <a:latin typeface="Arial"/>
            </a:endParaRPr>
          </a:p>
        </p:txBody>
      </p:sp>
      <p:sp>
        <p:nvSpPr>
          <p:cNvPr id="75" name="Rectangle 74"/>
          <p:cNvSpPr/>
          <p:nvPr/>
        </p:nvSpPr>
        <p:spPr>
          <a:xfrm>
            <a:off x="8424290" y="4781264"/>
            <a:ext cx="2194560" cy="764346"/>
          </a:xfrm>
          <a:prstGeom prst="rect">
            <a:avLst/>
          </a:prstGeom>
          <a:solidFill>
            <a:schemeClr val="bg1"/>
          </a:solidFill>
          <a:ln w="9525" cap="flat" cmpd="sng" algn="ctr">
            <a:solidFill>
              <a:schemeClr val="tx1"/>
            </a:solidFill>
            <a:prstDash val="sysDash"/>
          </a:ln>
          <a:effectLst/>
        </p:spPr>
        <p:txBody>
          <a:bodyPr rtlCol="0" anchor="ctr"/>
          <a:lstStyle/>
          <a:p>
            <a:pPr algn="ctr">
              <a:defRPr/>
            </a:pPr>
            <a:endParaRPr lang="en-US" sz="2400" kern="0" dirty="0">
              <a:solidFill>
                <a:srgbClr val="9F958F">
                  <a:lumMod val="50000"/>
                </a:srgbClr>
              </a:solidFill>
              <a:latin typeface="Arial"/>
            </a:endParaRPr>
          </a:p>
        </p:txBody>
      </p:sp>
      <p:pic>
        <p:nvPicPr>
          <p:cNvPr id="76" name="Picture 4" descr="http://emea.bestinbizawards.com/files/2013/03/AirWatch-logo.png"/>
          <p:cNvPicPr>
            <a:picLocks noChangeAspect="1" noChangeArrowheads="1"/>
          </p:cNvPicPr>
          <p:nvPr/>
        </p:nvPicPr>
        <p:blipFill>
          <a:blip r:embed="rId25" cstate="print"/>
          <a:srcRect t="15120" b="13064"/>
          <a:stretch>
            <a:fillRect/>
          </a:stretch>
        </p:blipFill>
        <p:spPr bwMode="auto">
          <a:xfrm>
            <a:off x="4289953" y="4863422"/>
            <a:ext cx="1219199" cy="583715"/>
          </a:xfrm>
          <a:prstGeom prst="rect">
            <a:avLst/>
          </a:prstGeom>
          <a:noFill/>
          <a:ln>
            <a:noFill/>
          </a:ln>
          <a:effectLst/>
        </p:spPr>
      </p:pic>
      <p:pic>
        <p:nvPicPr>
          <p:cNvPr id="77" name="Picture 4" descr="\\DUCK\Marketing\Graphics\_Final_logos\MobiControlNewLogo\MCv11\mcv11logo_white.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8605399" y="5078007"/>
            <a:ext cx="1832345" cy="326486"/>
          </a:xfrm>
          <a:prstGeom prst="rect">
            <a:avLst/>
          </a:prstGeom>
          <a:solidFill>
            <a:srgbClr val="00264A">
              <a:lumMod val="75000"/>
              <a:lumOff val="25000"/>
            </a:srgbClr>
          </a:solidFill>
          <a:ln>
            <a:noFill/>
          </a:ln>
          <a:effectLst/>
          <a:extLst/>
        </p:spPr>
      </p:pic>
      <p:pic>
        <p:nvPicPr>
          <p:cNvPr id="78" name="Picture 2" descr="MobileIron supports Windows 8.1 for phones, tablets and PCs"/>
          <p:cNvPicPr>
            <a:picLocks noChangeAspect="1" noChangeArrowheads="1"/>
          </p:cNvPicPr>
          <p:nvPr/>
        </p:nvPicPr>
        <p:blipFill rotWithShape="1">
          <a:blip r:embed="rId27" cstate="print"/>
          <a:srcRect t="27491" b="25729"/>
          <a:stretch/>
        </p:blipFill>
        <p:spPr bwMode="auto">
          <a:xfrm>
            <a:off x="6415185" y="5056711"/>
            <a:ext cx="1590750" cy="422032"/>
          </a:xfrm>
          <a:prstGeom prst="rect">
            <a:avLst/>
          </a:prstGeom>
          <a:noFill/>
          <a:ln>
            <a:noFill/>
          </a:ln>
          <a:effectLst/>
        </p:spPr>
      </p:pic>
      <p:pic>
        <p:nvPicPr>
          <p:cNvPr id="79" name="Picture 2" descr="D:\Users\analin\Desktop\Picture1.jpg"/>
          <p:cNvPicPr>
            <a:picLocks noChangeAspect="1" noChangeArrowheads="1"/>
          </p:cNvPicPr>
          <p:nvPr/>
        </p:nvPicPr>
        <p:blipFill rotWithShape="1">
          <a:blip r:embed="rId28" cstate="print"/>
          <a:srcRect b="24331"/>
          <a:stretch/>
        </p:blipFill>
        <p:spPr bwMode="auto">
          <a:xfrm>
            <a:off x="1609056" y="4987779"/>
            <a:ext cx="1958975" cy="476897"/>
          </a:xfrm>
          <a:prstGeom prst="rect">
            <a:avLst/>
          </a:prstGeom>
          <a:noFill/>
          <a:ln>
            <a:noFill/>
          </a:ln>
          <a:effectLst/>
        </p:spPr>
      </p:pic>
    </p:spTree>
    <p:extLst>
      <p:ext uri="{BB962C8B-B14F-4D97-AF65-F5344CB8AC3E}">
        <p14:creationId xmlns:p14="http://schemas.microsoft.com/office/powerpoint/2010/main" val="59219211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a:t>
            </a:r>
            <a:endParaRPr lang="en-US" dirty="0"/>
          </a:p>
        </p:txBody>
      </p:sp>
    </p:spTree>
    <p:extLst>
      <p:ext uri="{BB962C8B-B14F-4D97-AF65-F5344CB8AC3E}">
        <p14:creationId xmlns:p14="http://schemas.microsoft.com/office/powerpoint/2010/main" val="14365953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420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15" name="TextBox 14"/>
          <p:cNvSpPr txBox="1"/>
          <p:nvPr/>
        </p:nvSpPr>
        <p:spPr>
          <a:xfrm>
            <a:off x="5156616" y="1364105"/>
            <a:ext cx="5411450" cy="3416320"/>
          </a:xfrm>
          <a:prstGeom prst="rect">
            <a:avLst/>
          </a:prstGeom>
          <a:noFill/>
        </p:spPr>
        <p:txBody>
          <a:bodyPr wrap="square" rtlCol="0">
            <a:spAutoFit/>
          </a:bodyPr>
          <a:lstStyle/>
          <a:p>
            <a:pPr marL="285750" indent="-285750">
              <a:buFont typeface="Arial" charset="0"/>
              <a:buChar char="•"/>
            </a:pPr>
            <a:r>
              <a:rPr lang="en-US" dirty="0" smtClean="0">
                <a:solidFill>
                  <a:schemeClr val="accent1"/>
                </a:solidFill>
              </a:rPr>
              <a:t>Introduction to DCX</a:t>
            </a:r>
          </a:p>
          <a:p>
            <a:pPr marL="742950" lvl="1" indent="-285750">
              <a:buFont typeface="Arial" charset="0"/>
              <a:buChar char="•"/>
            </a:pPr>
            <a:r>
              <a:rPr lang="en-US" dirty="0" smtClean="0">
                <a:solidFill>
                  <a:schemeClr val="accent1"/>
                </a:solidFill>
              </a:rPr>
              <a:t>Digital Customer Experience</a:t>
            </a:r>
          </a:p>
          <a:p>
            <a:pPr marL="742950" lvl="1" indent="-285750">
              <a:buFont typeface="Arial" charset="0"/>
              <a:buChar char="•"/>
            </a:pPr>
            <a:r>
              <a:rPr lang="en-US" dirty="0" smtClean="0">
                <a:solidFill>
                  <a:schemeClr val="accent1"/>
                </a:solidFill>
              </a:rPr>
              <a:t>Mobility</a:t>
            </a:r>
          </a:p>
          <a:p>
            <a:pPr marL="285750" indent="-285750">
              <a:buFont typeface="Arial" charset="0"/>
              <a:buChar char="•"/>
            </a:pPr>
            <a:endParaRPr lang="en-US" dirty="0">
              <a:solidFill>
                <a:schemeClr val="accent1"/>
              </a:solidFill>
            </a:endParaRPr>
          </a:p>
          <a:p>
            <a:pPr marL="285750" indent="-285750">
              <a:buFont typeface="Arial" charset="0"/>
              <a:buChar char="•"/>
            </a:pPr>
            <a:r>
              <a:rPr lang="en-US" dirty="0" smtClean="0">
                <a:solidFill>
                  <a:schemeClr val="accent1"/>
                </a:solidFill>
              </a:rPr>
              <a:t>Introduction to I&amp;D</a:t>
            </a:r>
          </a:p>
          <a:p>
            <a:pPr marL="285750" indent="-285750">
              <a:buFont typeface="Arial" charset="0"/>
              <a:buChar char="•"/>
            </a:pPr>
            <a:endParaRPr lang="en-US" dirty="0">
              <a:solidFill>
                <a:schemeClr val="accent1"/>
              </a:solidFill>
            </a:endParaRPr>
          </a:p>
          <a:p>
            <a:pPr marL="285750" indent="-285750">
              <a:buFont typeface="Arial" charset="0"/>
              <a:buChar char="•"/>
            </a:pPr>
            <a:r>
              <a:rPr lang="en-US" dirty="0" smtClean="0">
                <a:solidFill>
                  <a:schemeClr val="accent1"/>
                </a:solidFill>
              </a:rPr>
              <a:t>Workshop</a:t>
            </a:r>
          </a:p>
          <a:p>
            <a:pPr marL="742950" lvl="1" indent="-285750">
              <a:buFont typeface="Arial" charset="0"/>
              <a:buChar char="•"/>
            </a:pPr>
            <a:r>
              <a:rPr lang="en-US" dirty="0" smtClean="0">
                <a:solidFill>
                  <a:schemeClr val="accent1"/>
                </a:solidFill>
              </a:rPr>
              <a:t>Mobile App development</a:t>
            </a:r>
          </a:p>
          <a:p>
            <a:pPr marL="742950" lvl="1" indent="-285750">
              <a:buFont typeface="Arial" charset="0"/>
              <a:buChar char="•"/>
            </a:pPr>
            <a:r>
              <a:rPr lang="en-US" dirty="0" smtClean="0">
                <a:solidFill>
                  <a:schemeClr val="accent1"/>
                </a:solidFill>
              </a:rPr>
              <a:t>Analytics overview</a:t>
            </a:r>
          </a:p>
          <a:p>
            <a:pPr marL="285750" indent="-285750">
              <a:buFont typeface="Arial" charset="0"/>
              <a:buChar char="•"/>
            </a:pPr>
            <a:endParaRPr lang="en-US" dirty="0">
              <a:solidFill>
                <a:schemeClr val="accent1"/>
              </a:solidFill>
            </a:endParaRPr>
          </a:p>
          <a:p>
            <a:pPr marL="285750" indent="-285750">
              <a:buFont typeface="Arial" charset="0"/>
              <a:buChar char="•"/>
            </a:pPr>
            <a:r>
              <a:rPr lang="en-US" dirty="0" smtClean="0">
                <a:solidFill>
                  <a:schemeClr val="accent1"/>
                </a:solidFill>
              </a:rPr>
              <a:t>Interactive discussion</a:t>
            </a:r>
          </a:p>
          <a:p>
            <a:pPr marL="742950" lvl="1" indent="-285750">
              <a:buFont typeface="Arial" charset="0"/>
              <a:buChar char="•"/>
            </a:pPr>
            <a:r>
              <a:rPr lang="en-US" dirty="0" smtClean="0">
                <a:solidFill>
                  <a:schemeClr val="accent1"/>
                </a:solidFill>
              </a:rPr>
              <a:t>Q &amp; A</a:t>
            </a:r>
            <a:endParaRPr lang="en-US" dirty="0">
              <a:solidFill>
                <a:schemeClr val="accent1"/>
              </a:solidFill>
            </a:endParaRPr>
          </a:p>
        </p:txBody>
      </p:sp>
    </p:spTree>
    <p:extLst>
      <p:ext uri="{BB962C8B-B14F-4D97-AF65-F5344CB8AC3E}">
        <p14:creationId xmlns:p14="http://schemas.microsoft.com/office/powerpoint/2010/main" val="13226583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title"/>
          </p:nvPr>
        </p:nvSpPr>
        <p:spPr/>
        <p:txBody>
          <a:bodyPr/>
          <a:lstStyle/>
          <a:p>
            <a:r>
              <a:rPr lang="en-US" sz="2800" dirty="0"/>
              <a:t>Digital has radically modified people’s behavior and </a:t>
            </a:r>
            <a:r>
              <a:rPr lang="en-US" sz="2800" dirty="0" smtClean="0"/>
              <a:t>expectations</a:t>
            </a:r>
            <a:r>
              <a:rPr lang="mr-IN" sz="2800" dirty="0" smtClean="0"/>
              <a:t>…</a:t>
            </a:r>
            <a:endParaRPr lang="en-US" sz="2800" dirty="0"/>
          </a:p>
        </p:txBody>
      </p:sp>
      <p:sp>
        <p:nvSpPr>
          <p:cNvPr id="3" name="ZoneTexte 11"/>
          <p:cNvSpPr txBox="1"/>
          <p:nvPr/>
        </p:nvSpPr>
        <p:spPr>
          <a:xfrm>
            <a:off x="4847179" y="1463522"/>
            <a:ext cx="5247669" cy="1569276"/>
          </a:xfrm>
          <a:prstGeom prst="rect">
            <a:avLst/>
          </a:prstGeom>
          <a:noFill/>
        </p:spPr>
        <p:txBody>
          <a:bodyPr wrap="square" rtlCol="0">
            <a:spAutoFit/>
          </a:bodyPr>
          <a:lstStyle/>
          <a:p>
            <a:pPr defTabSz="957612"/>
            <a:r>
              <a:rPr lang="en-US" sz="3199" kern="0" dirty="0">
                <a:solidFill>
                  <a:srgbClr val="691E7C"/>
                </a:solidFill>
              </a:rPr>
              <a:t>New </a:t>
            </a:r>
            <a:r>
              <a:rPr lang="en-US" sz="3199" b="1" kern="0" dirty="0">
                <a:solidFill>
                  <a:srgbClr val="691E7C"/>
                </a:solidFill>
              </a:rPr>
              <a:t>consumers</a:t>
            </a:r>
            <a:r>
              <a:rPr lang="en-US" sz="3199" kern="0" dirty="0">
                <a:solidFill>
                  <a:srgbClr val="691E7C"/>
                </a:solidFill>
              </a:rPr>
              <a:t>…</a:t>
            </a:r>
          </a:p>
          <a:p>
            <a:pPr defTabSz="957612"/>
            <a:r>
              <a:rPr lang="en-US" sz="3199" kern="0" dirty="0">
                <a:solidFill>
                  <a:srgbClr val="691E7C"/>
                </a:solidFill>
              </a:rPr>
              <a:t>…as well as new </a:t>
            </a:r>
            <a:r>
              <a:rPr lang="en-US" sz="3199" b="1" kern="0" dirty="0">
                <a:solidFill>
                  <a:srgbClr val="691E7C"/>
                </a:solidFill>
              </a:rPr>
              <a:t>employees</a:t>
            </a:r>
            <a:r>
              <a:rPr lang="en-US" sz="3199" kern="0" dirty="0">
                <a:solidFill>
                  <a:srgbClr val="691E7C"/>
                </a:solidFill>
              </a:rPr>
              <a:t> !</a:t>
            </a:r>
          </a:p>
        </p:txBody>
      </p:sp>
      <p:sp>
        <p:nvSpPr>
          <p:cNvPr id="5" name="TextBox 31"/>
          <p:cNvSpPr txBox="1"/>
          <p:nvPr/>
        </p:nvSpPr>
        <p:spPr>
          <a:xfrm>
            <a:off x="1190247" y="1869347"/>
            <a:ext cx="2061646" cy="369263"/>
          </a:xfrm>
          <a:prstGeom prst="rect">
            <a:avLst/>
          </a:prstGeom>
          <a:noFill/>
        </p:spPr>
        <p:txBody>
          <a:bodyPr wrap="none" lIns="91372" tIns="45686" rIns="91372" bIns="45686" rtlCol="0" anchor="ctr">
            <a:spAutoFit/>
          </a:bodyPr>
          <a:lstStyle>
            <a:defPPr>
              <a:defRPr lang="de-DE"/>
            </a:defPPr>
            <a:lvl1pPr>
              <a:defRPr sz="1800">
                <a:solidFill>
                  <a:schemeClr val="tx1">
                    <a:lumMod val="50000"/>
                  </a:schemeClr>
                </a:solidFill>
                <a:latin typeface="Calibri" pitchFamily="34" charset="0"/>
              </a:defRPr>
            </a:lvl1pPr>
          </a:lstStyle>
          <a:p>
            <a:pPr defTabSz="956959">
              <a:defRPr/>
            </a:pPr>
            <a:r>
              <a:rPr lang="en-US" b="1" kern="0" dirty="0">
                <a:solidFill>
                  <a:srgbClr val="263147"/>
                </a:solidFill>
              </a:rPr>
              <a:t>Anywhere, anytime</a:t>
            </a:r>
          </a:p>
        </p:txBody>
      </p:sp>
      <p:sp>
        <p:nvSpPr>
          <p:cNvPr id="6" name="TextBox 33"/>
          <p:cNvSpPr txBox="1"/>
          <p:nvPr/>
        </p:nvSpPr>
        <p:spPr>
          <a:xfrm>
            <a:off x="1190248" y="2648293"/>
            <a:ext cx="1250526" cy="369263"/>
          </a:xfrm>
          <a:prstGeom prst="rect">
            <a:avLst/>
          </a:prstGeom>
          <a:noFill/>
        </p:spPr>
        <p:txBody>
          <a:bodyPr wrap="none" lIns="91372" tIns="45686" rIns="91372" bIns="45686" rtlCol="0" anchor="ctr">
            <a:spAutoFit/>
          </a:bodyPr>
          <a:lstStyle>
            <a:defPPr>
              <a:defRPr lang="de-DE"/>
            </a:defPPr>
            <a:lvl1pPr>
              <a:defRPr sz="1800">
                <a:solidFill>
                  <a:schemeClr val="tx1">
                    <a:lumMod val="50000"/>
                  </a:schemeClr>
                </a:solidFill>
                <a:latin typeface="Calibri" pitchFamily="34" charset="0"/>
              </a:defRPr>
            </a:lvl1pPr>
          </a:lstStyle>
          <a:p>
            <a:pPr defTabSz="956959">
              <a:defRPr/>
            </a:pPr>
            <a:r>
              <a:rPr lang="en-US" b="1" kern="0" dirty="0">
                <a:solidFill>
                  <a:srgbClr val="263147"/>
                </a:solidFill>
              </a:rPr>
              <a:t>Easy to use</a:t>
            </a:r>
          </a:p>
        </p:txBody>
      </p:sp>
      <p:sp>
        <p:nvSpPr>
          <p:cNvPr id="7" name="TextBox 34"/>
          <p:cNvSpPr txBox="1"/>
          <p:nvPr/>
        </p:nvSpPr>
        <p:spPr>
          <a:xfrm>
            <a:off x="1190248" y="3427240"/>
            <a:ext cx="971604" cy="369263"/>
          </a:xfrm>
          <a:prstGeom prst="rect">
            <a:avLst/>
          </a:prstGeom>
          <a:noFill/>
        </p:spPr>
        <p:txBody>
          <a:bodyPr wrap="none" lIns="91372" tIns="45686" rIns="91372" bIns="45686" rtlCol="0" anchor="ctr">
            <a:spAutoFit/>
          </a:bodyPr>
          <a:lstStyle>
            <a:defPPr>
              <a:defRPr lang="de-DE"/>
            </a:defPPr>
            <a:lvl1pPr>
              <a:defRPr sz="1800">
                <a:solidFill>
                  <a:schemeClr val="tx1">
                    <a:lumMod val="50000"/>
                  </a:schemeClr>
                </a:solidFill>
                <a:latin typeface="Calibri" pitchFamily="34" charset="0"/>
              </a:defRPr>
            </a:lvl1pPr>
          </a:lstStyle>
          <a:p>
            <a:pPr defTabSz="956959">
              <a:defRPr/>
            </a:pPr>
            <a:r>
              <a:rPr lang="en-US" b="1" kern="0" dirty="0">
                <a:solidFill>
                  <a:srgbClr val="263147"/>
                </a:solidFill>
              </a:rPr>
              <a:t>Efficient</a:t>
            </a:r>
          </a:p>
        </p:txBody>
      </p:sp>
      <p:sp>
        <p:nvSpPr>
          <p:cNvPr id="8" name="TextBox 54"/>
          <p:cNvSpPr txBox="1"/>
          <p:nvPr/>
        </p:nvSpPr>
        <p:spPr>
          <a:xfrm>
            <a:off x="1190248" y="4206186"/>
            <a:ext cx="1399605" cy="369263"/>
          </a:xfrm>
          <a:prstGeom prst="rect">
            <a:avLst/>
          </a:prstGeom>
          <a:noFill/>
        </p:spPr>
        <p:txBody>
          <a:bodyPr wrap="none" lIns="91372" tIns="45686" rIns="91372" bIns="45686" rtlCol="0" anchor="ctr">
            <a:spAutoFit/>
          </a:bodyPr>
          <a:lstStyle>
            <a:defPPr>
              <a:defRPr lang="de-DE"/>
            </a:defPPr>
            <a:lvl1pPr>
              <a:defRPr sz="1800">
                <a:solidFill>
                  <a:schemeClr val="tx1">
                    <a:lumMod val="50000"/>
                  </a:schemeClr>
                </a:solidFill>
                <a:latin typeface="Calibri" pitchFamily="34" charset="0"/>
              </a:defRPr>
            </a:lvl1pPr>
          </a:lstStyle>
          <a:p>
            <a:pPr defTabSz="956959">
              <a:defRPr/>
            </a:pPr>
            <a:r>
              <a:rPr lang="en-US" b="1" kern="0" dirty="0">
                <a:solidFill>
                  <a:srgbClr val="263147"/>
                </a:solidFill>
              </a:rPr>
              <a:t>Personalized</a:t>
            </a:r>
          </a:p>
        </p:txBody>
      </p:sp>
      <p:sp>
        <p:nvSpPr>
          <p:cNvPr id="9" name="TextBox 54"/>
          <p:cNvSpPr txBox="1"/>
          <p:nvPr/>
        </p:nvSpPr>
        <p:spPr>
          <a:xfrm>
            <a:off x="1190248" y="4985131"/>
            <a:ext cx="1292204" cy="369263"/>
          </a:xfrm>
          <a:prstGeom prst="rect">
            <a:avLst/>
          </a:prstGeom>
          <a:noFill/>
        </p:spPr>
        <p:txBody>
          <a:bodyPr wrap="none" lIns="91372" tIns="45686" rIns="91372" bIns="45686" rtlCol="0" anchor="ctr">
            <a:spAutoFit/>
          </a:bodyPr>
          <a:lstStyle>
            <a:defPPr>
              <a:defRPr lang="de-DE"/>
            </a:defPPr>
            <a:lvl1pPr>
              <a:defRPr sz="1800">
                <a:solidFill>
                  <a:schemeClr val="tx1">
                    <a:lumMod val="50000"/>
                  </a:schemeClr>
                </a:solidFill>
                <a:latin typeface="Calibri" pitchFamily="34" charset="0"/>
              </a:defRPr>
            </a:lvl1pPr>
          </a:lstStyle>
          <a:p>
            <a:pPr defTabSz="956959">
              <a:defRPr/>
            </a:pPr>
            <a:r>
              <a:rPr lang="en-US" b="1" kern="0" dirty="0">
                <a:solidFill>
                  <a:srgbClr val="263147"/>
                </a:solidFill>
              </a:rPr>
              <a:t>Anticipated</a:t>
            </a:r>
          </a:p>
        </p:txBody>
      </p:sp>
      <p:sp>
        <p:nvSpPr>
          <p:cNvPr id="10" name="Freeform 9"/>
          <p:cNvSpPr/>
          <p:nvPr/>
        </p:nvSpPr>
        <p:spPr>
          <a:xfrm>
            <a:off x="671714" y="1847847"/>
            <a:ext cx="487175" cy="412261"/>
          </a:xfrm>
          <a:custGeom>
            <a:avLst/>
            <a:gdLst>
              <a:gd name="connsiteX0" fmla="*/ 414678 w 468485"/>
              <a:gd name="connsiteY0" fmla="*/ 18311 h 396648"/>
              <a:gd name="connsiteX1" fmla="*/ 430736 w 468485"/>
              <a:gd name="connsiteY1" fmla="*/ 25072 h 396648"/>
              <a:gd name="connsiteX2" fmla="*/ 461724 w 468485"/>
              <a:gd name="connsiteY2" fmla="*/ 56060 h 396648"/>
              <a:gd name="connsiteX3" fmla="*/ 468485 w 468485"/>
              <a:gd name="connsiteY3" fmla="*/ 72118 h 396648"/>
              <a:gd name="connsiteX4" fmla="*/ 461724 w 468485"/>
              <a:gd name="connsiteY4" fmla="*/ 88175 h 396648"/>
              <a:gd name="connsiteX5" fmla="*/ 232412 w 468485"/>
              <a:gd name="connsiteY5" fmla="*/ 317487 h 396648"/>
              <a:gd name="connsiteX6" fmla="*/ 216354 w 468485"/>
              <a:gd name="connsiteY6" fmla="*/ 324249 h 396648"/>
              <a:gd name="connsiteX7" fmla="*/ 200297 w 468485"/>
              <a:gd name="connsiteY7" fmla="*/ 317487 h 396648"/>
              <a:gd name="connsiteX8" fmla="*/ 79161 w 468485"/>
              <a:gd name="connsiteY8" fmla="*/ 196352 h 396648"/>
              <a:gd name="connsiteX9" fmla="*/ 72400 w 468485"/>
              <a:gd name="connsiteY9" fmla="*/ 180295 h 396648"/>
              <a:gd name="connsiteX10" fmla="*/ 79161 w 468485"/>
              <a:gd name="connsiteY10" fmla="*/ 164237 h 396648"/>
              <a:gd name="connsiteX11" fmla="*/ 110149 w 468485"/>
              <a:gd name="connsiteY11" fmla="*/ 133249 h 396648"/>
              <a:gd name="connsiteX12" fmla="*/ 126207 w 468485"/>
              <a:gd name="connsiteY12" fmla="*/ 126488 h 396648"/>
              <a:gd name="connsiteX13" fmla="*/ 142264 w 468485"/>
              <a:gd name="connsiteY13" fmla="*/ 133249 h 396648"/>
              <a:gd name="connsiteX14" fmla="*/ 216354 w 468485"/>
              <a:gd name="connsiteY14" fmla="*/ 207339 h 396648"/>
              <a:gd name="connsiteX15" fmla="*/ 398621 w 468485"/>
              <a:gd name="connsiteY15" fmla="*/ 25072 h 396648"/>
              <a:gd name="connsiteX16" fmla="*/ 414678 w 468485"/>
              <a:gd name="connsiteY16" fmla="*/ 18311 h 396648"/>
              <a:gd name="connsiteX17" fmla="*/ 81132 w 468485"/>
              <a:gd name="connsiteY17" fmla="*/ 0 h 396648"/>
              <a:gd name="connsiteX18" fmla="*/ 315515 w 468485"/>
              <a:gd name="connsiteY18" fmla="*/ 0 h 396648"/>
              <a:gd name="connsiteX19" fmla="*/ 348476 w 468485"/>
              <a:gd name="connsiteY19" fmla="*/ 7043 h 396648"/>
              <a:gd name="connsiteX20" fmla="*/ 353546 w 468485"/>
              <a:gd name="connsiteY20" fmla="*/ 13522 h 396648"/>
              <a:gd name="connsiteX21" fmla="*/ 351011 w 468485"/>
              <a:gd name="connsiteY21" fmla="*/ 21692 h 396648"/>
              <a:gd name="connsiteX22" fmla="*/ 337207 w 468485"/>
              <a:gd name="connsiteY22" fmla="*/ 35495 h 396648"/>
              <a:gd name="connsiteX23" fmla="*/ 330728 w 468485"/>
              <a:gd name="connsiteY23" fmla="*/ 38313 h 396648"/>
              <a:gd name="connsiteX24" fmla="*/ 328192 w 468485"/>
              <a:gd name="connsiteY24" fmla="*/ 37749 h 396648"/>
              <a:gd name="connsiteX25" fmla="*/ 315515 w 468485"/>
              <a:gd name="connsiteY25" fmla="*/ 36059 h 396648"/>
              <a:gd name="connsiteX26" fmla="*/ 81132 w 468485"/>
              <a:gd name="connsiteY26" fmla="*/ 36059 h 396648"/>
              <a:gd name="connsiteX27" fmla="*/ 49299 w 468485"/>
              <a:gd name="connsiteY27" fmla="*/ 49299 h 396648"/>
              <a:gd name="connsiteX28" fmla="*/ 36058 w 468485"/>
              <a:gd name="connsiteY28" fmla="*/ 81132 h 396648"/>
              <a:gd name="connsiteX29" fmla="*/ 36058 w 468485"/>
              <a:gd name="connsiteY29" fmla="*/ 315515 h 396648"/>
              <a:gd name="connsiteX30" fmla="*/ 49299 w 468485"/>
              <a:gd name="connsiteY30" fmla="*/ 347349 h 396648"/>
              <a:gd name="connsiteX31" fmla="*/ 81132 w 468485"/>
              <a:gd name="connsiteY31" fmla="*/ 360589 h 396648"/>
              <a:gd name="connsiteX32" fmla="*/ 315515 w 468485"/>
              <a:gd name="connsiteY32" fmla="*/ 360589 h 396648"/>
              <a:gd name="connsiteX33" fmla="*/ 347348 w 468485"/>
              <a:gd name="connsiteY33" fmla="*/ 347349 h 396648"/>
              <a:gd name="connsiteX34" fmla="*/ 360589 w 468485"/>
              <a:gd name="connsiteY34" fmla="*/ 315515 h 396648"/>
              <a:gd name="connsiteX35" fmla="*/ 360589 w 468485"/>
              <a:gd name="connsiteY35" fmla="*/ 243961 h 396648"/>
              <a:gd name="connsiteX36" fmla="*/ 363124 w 468485"/>
              <a:gd name="connsiteY36" fmla="*/ 237764 h 396648"/>
              <a:gd name="connsiteX37" fmla="*/ 381154 w 468485"/>
              <a:gd name="connsiteY37" fmla="*/ 219734 h 396648"/>
              <a:gd name="connsiteX38" fmla="*/ 387633 w 468485"/>
              <a:gd name="connsiteY38" fmla="*/ 216917 h 396648"/>
              <a:gd name="connsiteX39" fmla="*/ 391014 w 468485"/>
              <a:gd name="connsiteY39" fmla="*/ 217762 h 396648"/>
              <a:gd name="connsiteX40" fmla="*/ 396648 w 468485"/>
              <a:gd name="connsiteY40" fmla="*/ 225932 h 396648"/>
              <a:gd name="connsiteX41" fmla="*/ 396648 w 468485"/>
              <a:gd name="connsiteY41" fmla="*/ 315515 h 396648"/>
              <a:gd name="connsiteX42" fmla="*/ 372843 w 468485"/>
              <a:gd name="connsiteY42" fmla="*/ 372844 h 396648"/>
              <a:gd name="connsiteX43" fmla="*/ 315515 w 468485"/>
              <a:gd name="connsiteY43" fmla="*/ 396648 h 396648"/>
              <a:gd name="connsiteX44" fmla="*/ 81132 w 468485"/>
              <a:gd name="connsiteY44" fmla="*/ 396648 h 396648"/>
              <a:gd name="connsiteX45" fmla="*/ 23804 w 468485"/>
              <a:gd name="connsiteY45" fmla="*/ 372844 h 396648"/>
              <a:gd name="connsiteX46" fmla="*/ 0 w 468485"/>
              <a:gd name="connsiteY46" fmla="*/ 315515 h 396648"/>
              <a:gd name="connsiteX47" fmla="*/ 0 w 468485"/>
              <a:gd name="connsiteY47" fmla="*/ 81132 h 396648"/>
              <a:gd name="connsiteX48" fmla="*/ 23804 w 468485"/>
              <a:gd name="connsiteY48" fmla="*/ 23804 h 396648"/>
              <a:gd name="connsiteX49" fmla="*/ 81132 w 468485"/>
              <a:gd name="connsiteY49" fmla="*/ 0 h 3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68485" h="396648">
                <a:moveTo>
                  <a:pt x="414678" y="18311"/>
                </a:moveTo>
                <a:cubicBezTo>
                  <a:pt x="420876" y="18311"/>
                  <a:pt x="426229" y="20565"/>
                  <a:pt x="430736" y="25072"/>
                </a:cubicBezTo>
                <a:lnTo>
                  <a:pt x="461724" y="56060"/>
                </a:lnTo>
                <a:cubicBezTo>
                  <a:pt x="466231" y="60568"/>
                  <a:pt x="468485" y="65920"/>
                  <a:pt x="468485" y="72118"/>
                </a:cubicBezTo>
                <a:cubicBezTo>
                  <a:pt x="468485" y="78315"/>
                  <a:pt x="466231" y="83668"/>
                  <a:pt x="461724" y="88175"/>
                </a:cubicBezTo>
                <a:lnTo>
                  <a:pt x="232412" y="317487"/>
                </a:lnTo>
                <a:cubicBezTo>
                  <a:pt x="227904" y="321995"/>
                  <a:pt x="222552" y="324249"/>
                  <a:pt x="216354" y="324249"/>
                </a:cubicBezTo>
                <a:cubicBezTo>
                  <a:pt x="210156" y="324249"/>
                  <a:pt x="204804" y="321995"/>
                  <a:pt x="200297" y="317487"/>
                </a:cubicBezTo>
                <a:lnTo>
                  <a:pt x="79161" y="196352"/>
                </a:lnTo>
                <a:cubicBezTo>
                  <a:pt x="74654" y="191845"/>
                  <a:pt x="72400" y="186492"/>
                  <a:pt x="72400" y="180295"/>
                </a:cubicBezTo>
                <a:cubicBezTo>
                  <a:pt x="72400" y="174097"/>
                  <a:pt x="74654" y="168744"/>
                  <a:pt x="79161" y="164237"/>
                </a:cubicBezTo>
                <a:lnTo>
                  <a:pt x="110149" y="133249"/>
                </a:lnTo>
                <a:cubicBezTo>
                  <a:pt x="114657" y="128742"/>
                  <a:pt x="120009" y="126488"/>
                  <a:pt x="126207" y="126488"/>
                </a:cubicBezTo>
                <a:cubicBezTo>
                  <a:pt x="132405" y="126488"/>
                  <a:pt x="137757" y="128742"/>
                  <a:pt x="142264" y="133249"/>
                </a:cubicBezTo>
                <a:lnTo>
                  <a:pt x="216354" y="207339"/>
                </a:lnTo>
                <a:lnTo>
                  <a:pt x="398621" y="25072"/>
                </a:lnTo>
                <a:cubicBezTo>
                  <a:pt x="403128" y="20565"/>
                  <a:pt x="408481" y="18311"/>
                  <a:pt x="414678" y="18311"/>
                </a:cubicBezTo>
                <a:close/>
                <a:moveTo>
                  <a:pt x="81132" y="0"/>
                </a:moveTo>
                <a:lnTo>
                  <a:pt x="315515" y="0"/>
                </a:lnTo>
                <a:cubicBezTo>
                  <a:pt x="327347" y="0"/>
                  <a:pt x="338334" y="2348"/>
                  <a:pt x="348476" y="7043"/>
                </a:cubicBezTo>
                <a:cubicBezTo>
                  <a:pt x="351293" y="8357"/>
                  <a:pt x="352983" y="10517"/>
                  <a:pt x="353546" y="13522"/>
                </a:cubicBezTo>
                <a:cubicBezTo>
                  <a:pt x="354110" y="16715"/>
                  <a:pt x="353264" y="19438"/>
                  <a:pt x="351011" y="21692"/>
                </a:cubicBezTo>
                <a:lnTo>
                  <a:pt x="337207" y="35495"/>
                </a:lnTo>
                <a:cubicBezTo>
                  <a:pt x="335329" y="37373"/>
                  <a:pt x="333169" y="38313"/>
                  <a:pt x="330728" y="38313"/>
                </a:cubicBezTo>
                <a:cubicBezTo>
                  <a:pt x="330164" y="38313"/>
                  <a:pt x="329319" y="38125"/>
                  <a:pt x="328192" y="37749"/>
                </a:cubicBezTo>
                <a:cubicBezTo>
                  <a:pt x="323873" y="36622"/>
                  <a:pt x="319647" y="36059"/>
                  <a:pt x="315515" y="36059"/>
                </a:cubicBezTo>
                <a:lnTo>
                  <a:pt x="81132" y="36059"/>
                </a:lnTo>
                <a:cubicBezTo>
                  <a:pt x="68737" y="36059"/>
                  <a:pt x="58126" y="40472"/>
                  <a:pt x="49299" y="49299"/>
                </a:cubicBezTo>
                <a:cubicBezTo>
                  <a:pt x="40472" y="58126"/>
                  <a:pt x="36058" y="68737"/>
                  <a:pt x="36058" y="81132"/>
                </a:cubicBezTo>
                <a:lnTo>
                  <a:pt x="36058" y="315515"/>
                </a:lnTo>
                <a:cubicBezTo>
                  <a:pt x="36058" y="327911"/>
                  <a:pt x="40472" y="338522"/>
                  <a:pt x="49299" y="347349"/>
                </a:cubicBezTo>
                <a:cubicBezTo>
                  <a:pt x="58126" y="356176"/>
                  <a:pt x="68737" y="360589"/>
                  <a:pt x="81132" y="360589"/>
                </a:cubicBezTo>
                <a:lnTo>
                  <a:pt x="315515" y="360589"/>
                </a:lnTo>
                <a:cubicBezTo>
                  <a:pt x="327911" y="360589"/>
                  <a:pt x="338522" y="356176"/>
                  <a:pt x="347348" y="347349"/>
                </a:cubicBezTo>
                <a:cubicBezTo>
                  <a:pt x="356175" y="338522"/>
                  <a:pt x="360589" y="327911"/>
                  <a:pt x="360589" y="315515"/>
                </a:cubicBezTo>
                <a:lnTo>
                  <a:pt x="360589" y="243961"/>
                </a:lnTo>
                <a:cubicBezTo>
                  <a:pt x="360589" y="241520"/>
                  <a:pt x="361434" y="239454"/>
                  <a:pt x="363124" y="237764"/>
                </a:cubicBezTo>
                <a:lnTo>
                  <a:pt x="381154" y="219734"/>
                </a:lnTo>
                <a:cubicBezTo>
                  <a:pt x="383032" y="217856"/>
                  <a:pt x="385192" y="216917"/>
                  <a:pt x="387633" y="216917"/>
                </a:cubicBezTo>
                <a:cubicBezTo>
                  <a:pt x="388760" y="216917"/>
                  <a:pt x="389887" y="217198"/>
                  <a:pt x="391014" y="217762"/>
                </a:cubicBezTo>
                <a:cubicBezTo>
                  <a:pt x="394770" y="219264"/>
                  <a:pt x="396648" y="221988"/>
                  <a:pt x="396648" y="225932"/>
                </a:cubicBezTo>
                <a:lnTo>
                  <a:pt x="396648" y="315515"/>
                </a:lnTo>
                <a:cubicBezTo>
                  <a:pt x="396648" y="337865"/>
                  <a:pt x="388713" y="356974"/>
                  <a:pt x="372843" y="372844"/>
                </a:cubicBezTo>
                <a:cubicBezTo>
                  <a:pt x="356974" y="388713"/>
                  <a:pt x="337864" y="396648"/>
                  <a:pt x="315515" y="396648"/>
                </a:cubicBezTo>
                <a:lnTo>
                  <a:pt x="81132" y="396648"/>
                </a:lnTo>
                <a:cubicBezTo>
                  <a:pt x="58783" y="396648"/>
                  <a:pt x="39674" y="388713"/>
                  <a:pt x="23804" y="372844"/>
                </a:cubicBezTo>
                <a:cubicBezTo>
                  <a:pt x="7935" y="356974"/>
                  <a:pt x="0" y="337865"/>
                  <a:pt x="0" y="315515"/>
                </a:cubicBezTo>
                <a:lnTo>
                  <a:pt x="0" y="81132"/>
                </a:lnTo>
                <a:cubicBezTo>
                  <a:pt x="0" y="58783"/>
                  <a:pt x="7935" y="39674"/>
                  <a:pt x="23804" y="23804"/>
                </a:cubicBezTo>
                <a:cubicBezTo>
                  <a:pt x="39674" y="7935"/>
                  <a:pt x="58783" y="0"/>
                  <a:pt x="81132"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63"/>
            <a:endParaRPr lang="en-US" sz="1400" dirty="0">
              <a:solidFill>
                <a:prstClr val="white"/>
              </a:solidFill>
            </a:endParaRPr>
          </a:p>
        </p:txBody>
      </p:sp>
      <p:sp>
        <p:nvSpPr>
          <p:cNvPr id="11" name="Freeform 10"/>
          <p:cNvSpPr/>
          <p:nvPr/>
        </p:nvSpPr>
        <p:spPr>
          <a:xfrm>
            <a:off x="671714" y="4963632"/>
            <a:ext cx="487175" cy="412261"/>
          </a:xfrm>
          <a:custGeom>
            <a:avLst/>
            <a:gdLst>
              <a:gd name="connsiteX0" fmla="*/ 414678 w 468485"/>
              <a:gd name="connsiteY0" fmla="*/ 18311 h 396648"/>
              <a:gd name="connsiteX1" fmla="*/ 430736 w 468485"/>
              <a:gd name="connsiteY1" fmla="*/ 25072 h 396648"/>
              <a:gd name="connsiteX2" fmla="*/ 461724 w 468485"/>
              <a:gd name="connsiteY2" fmla="*/ 56060 h 396648"/>
              <a:gd name="connsiteX3" fmla="*/ 468485 w 468485"/>
              <a:gd name="connsiteY3" fmla="*/ 72118 h 396648"/>
              <a:gd name="connsiteX4" fmla="*/ 461724 w 468485"/>
              <a:gd name="connsiteY4" fmla="*/ 88175 h 396648"/>
              <a:gd name="connsiteX5" fmla="*/ 232412 w 468485"/>
              <a:gd name="connsiteY5" fmla="*/ 317487 h 396648"/>
              <a:gd name="connsiteX6" fmla="*/ 216354 w 468485"/>
              <a:gd name="connsiteY6" fmla="*/ 324249 h 396648"/>
              <a:gd name="connsiteX7" fmla="*/ 200297 w 468485"/>
              <a:gd name="connsiteY7" fmla="*/ 317487 h 396648"/>
              <a:gd name="connsiteX8" fmla="*/ 79161 w 468485"/>
              <a:gd name="connsiteY8" fmla="*/ 196352 h 396648"/>
              <a:gd name="connsiteX9" fmla="*/ 72400 w 468485"/>
              <a:gd name="connsiteY9" fmla="*/ 180295 h 396648"/>
              <a:gd name="connsiteX10" fmla="*/ 79161 w 468485"/>
              <a:gd name="connsiteY10" fmla="*/ 164237 h 396648"/>
              <a:gd name="connsiteX11" fmla="*/ 110149 w 468485"/>
              <a:gd name="connsiteY11" fmla="*/ 133249 h 396648"/>
              <a:gd name="connsiteX12" fmla="*/ 126207 w 468485"/>
              <a:gd name="connsiteY12" fmla="*/ 126488 h 396648"/>
              <a:gd name="connsiteX13" fmla="*/ 142264 w 468485"/>
              <a:gd name="connsiteY13" fmla="*/ 133249 h 396648"/>
              <a:gd name="connsiteX14" fmla="*/ 216354 w 468485"/>
              <a:gd name="connsiteY14" fmla="*/ 207339 h 396648"/>
              <a:gd name="connsiteX15" fmla="*/ 398621 w 468485"/>
              <a:gd name="connsiteY15" fmla="*/ 25072 h 396648"/>
              <a:gd name="connsiteX16" fmla="*/ 414678 w 468485"/>
              <a:gd name="connsiteY16" fmla="*/ 18311 h 396648"/>
              <a:gd name="connsiteX17" fmla="*/ 81132 w 468485"/>
              <a:gd name="connsiteY17" fmla="*/ 0 h 396648"/>
              <a:gd name="connsiteX18" fmla="*/ 315515 w 468485"/>
              <a:gd name="connsiteY18" fmla="*/ 0 h 396648"/>
              <a:gd name="connsiteX19" fmla="*/ 348476 w 468485"/>
              <a:gd name="connsiteY19" fmla="*/ 7043 h 396648"/>
              <a:gd name="connsiteX20" fmla="*/ 353546 w 468485"/>
              <a:gd name="connsiteY20" fmla="*/ 13522 h 396648"/>
              <a:gd name="connsiteX21" fmla="*/ 351011 w 468485"/>
              <a:gd name="connsiteY21" fmla="*/ 21692 h 396648"/>
              <a:gd name="connsiteX22" fmla="*/ 337207 w 468485"/>
              <a:gd name="connsiteY22" fmla="*/ 35495 h 396648"/>
              <a:gd name="connsiteX23" fmla="*/ 330728 w 468485"/>
              <a:gd name="connsiteY23" fmla="*/ 38313 h 396648"/>
              <a:gd name="connsiteX24" fmla="*/ 328192 w 468485"/>
              <a:gd name="connsiteY24" fmla="*/ 37749 h 396648"/>
              <a:gd name="connsiteX25" fmla="*/ 315515 w 468485"/>
              <a:gd name="connsiteY25" fmla="*/ 36059 h 396648"/>
              <a:gd name="connsiteX26" fmla="*/ 81132 w 468485"/>
              <a:gd name="connsiteY26" fmla="*/ 36059 h 396648"/>
              <a:gd name="connsiteX27" fmla="*/ 49299 w 468485"/>
              <a:gd name="connsiteY27" fmla="*/ 49299 h 396648"/>
              <a:gd name="connsiteX28" fmla="*/ 36058 w 468485"/>
              <a:gd name="connsiteY28" fmla="*/ 81132 h 396648"/>
              <a:gd name="connsiteX29" fmla="*/ 36058 w 468485"/>
              <a:gd name="connsiteY29" fmla="*/ 315515 h 396648"/>
              <a:gd name="connsiteX30" fmla="*/ 49299 w 468485"/>
              <a:gd name="connsiteY30" fmla="*/ 347349 h 396648"/>
              <a:gd name="connsiteX31" fmla="*/ 81132 w 468485"/>
              <a:gd name="connsiteY31" fmla="*/ 360589 h 396648"/>
              <a:gd name="connsiteX32" fmla="*/ 315515 w 468485"/>
              <a:gd name="connsiteY32" fmla="*/ 360589 h 396648"/>
              <a:gd name="connsiteX33" fmla="*/ 347348 w 468485"/>
              <a:gd name="connsiteY33" fmla="*/ 347349 h 396648"/>
              <a:gd name="connsiteX34" fmla="*/ 360589 w 468485"/>
              <a:gd name="connsiteY34" fmla="*/ 315515 h 396648"/>
              <a:gd name="connsiteX35" fmla="*/ 360589 w 468485"/>
              <a:gd name="connsiteY35" fmla="*/ 243961 h 396648"/>
              <a:gd name="connsiteX36" fmla="*/ 363124 w 468485"/>
              <a:gd name="connsiteY36" fmla="*/ 237764 h 396648"/>
              <a:gd name="connsiteX37" fmla="*/ 381154 w 468485"/>
              <a:gd name="connsiteY37" fmla="*/ 219734 h 396648"/>
              <a:gd name="connsiteX38" fmla="*/ 387633 w 468485"/>
              <a:gd name="connsiteY38" fmla="*/ 216917 h 396648"/>
              <a:gd name="connsiteX39" fmla="*/ 391014 w 468485"/>
              <a:gd name="connsiteY39" fmla="*/ 217762 h 396648"/>
              <a:gd name="connsiteX40" fmla="*/ 396648 w 468485"/>
              <a:gd name="connsiteY40" fmla="*/ 225932 h 396648"/>
              <a:gd name="connsiteX41" fmla="*/ 396648 w 468485"/>
              <a:gd name="connsiteY41" fmla="*/ 315515 h 396648"/>
              <a:gd name="connsiteX42" fmla="*/ 372843 w 468485"/>
              <a:gd name="connsiteY42" fmla="*/ 372844 h 396648"/>
              <a:gd name="connsiteX43" fmla="*/ 315515 w 468485"/>
              <a:gd name="connsiteY43" fmla="*/ 396648 h 396648"/>
              <a:gd name="connsiteX44" fmla="*/ 81132 w 468485"/>
              <a:gd name="connsiteY44" fmla="*/ 396648 h 396648"/>
              <a:gd name="connsiteX45" fmla="*/ 23804 w 468485"/>
              <a:gd name="connsiteY45" fmla="*/ 372844 h 396648"/>
              <a:gd name="connsiteX46" fmla="*/ 0 w 468485"/>
              <a:gd name="connsiteY46" fmla="*/ 315515 h 396648"/>
              <a:gd name="connsiteX47" fmla="*/ 0 w 468485"/>
              <a:gd name="connsiteY47" fmla="*/ 81132 h 396648"/>
              <a:gd name="connsiteX48" fmla="*/ 23804 w 468485"/>
              <a:gd name="connsiteY48" fmla="*/ 23804 h 396648"/>
              <a:gd name="connsiteX49" fmla="*/ 81132 w 468485"/>
              <a:gd name="connsiteY49" fmla="*/ 0 h 3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68485" h="396648">
                <a:moveTo>
                  <a:pt x="414678" y="18311"/>
                </a:moveTo>
                <a:cubicBezTo>
                  <a:pt x="420876" y="18311"/>
                  <a:pt x="426229" y="20565"/>
                  <a:pt x="430736" y="25072"/>
                </a:cubicBezTo>
                <a:lnTo>
                  <a:pt x="461724" y="56060"/>
                </a:lnTo>
                <a:cubicBezTo>
                  <a:pt x="466231" y="60568"/>
                  <a:pt x="468485" y="65920"/>
                  <a:pt x="468485" y="72118"/>
                </a:cubicBezTo>
                <a:cubicBezTo>
                  <a:pt x="468485" y="78315"/>
                  <a:pt x="466231" y="83668"/>
                  <a:pt x="461724" y="88175"/>
                </a:cubicBezTo>
                <a:lnTo>
                  <a:pt x="232412" y="317487"/>
                </a:lnTo>
                <a:cubicBezTo>
                  <a:pt x="227904" y="321995"/>
                  <a:pt x="222552" y="324249"/>
                  <a:pt x="216354" y="324249"/>
                </a:cubicBezTo>
                <a:cubicBezTo>
                  <a:pt x="210156" y="324249"/>
                  <a:pt x="204804" y="321995"/>
                  <a:pt x="200297" y="317487"/>
                </a:cubicBezTo>
                <a:lnTo>
                  <a:pt x="79161" y="196352"/>
                </a:lnTo>
                <a:cubicBezTo>
                  <a:pt x="74654" y="191845"/>
                  <a:pt x="72400" y="186492"/>
                  <a:pt x="72400" y="180295"/>
                </a:cubicBezTo>
                <a:cubicBezTo>
                  <a:pt x="72400" y="174097"/>
                  <a:pt x="74654" y="168744"/>
                  <a:pt x="79161" y="164237"/>
                </a:cubicBezTo>
                <a:lnTo>
                  <a:pt x="110149" y="133249"/>
                </a:lnTo>
                <a:cubicBezTo>
                  <a:pt x="114657" y="128742"/>
                  <a:pt x="120009" y="126488"/>
                  <a:pt x="126207" y="126488"/>
                </a:cubicBezTo>
                <a:cubicBezTo>
                  <a:pt x="132405" y="126488"/>
                  <a:pt x="137757" y="128742"/>
                  <a:pt x="142264" y="133249"/>
                </a:cubicBezTo>
                <a:lnTo>
                  <a:pt x="216354" y="207339"/>
                </a:lnTo>
                <a:lnTo>
                  <a:pt x="398621" y="25072"/>
                </a:lnTo>
                <a:cubicBezTo>
                  <a:pt x="403128" y="20565"/>
                  <a:pt x="408481" y="18311"/>
                  <a:pt x="414678" y="18311"/>
                </a:cubicBezTo>
                <a:close/>
                <a:moveTo>
                  <a:pt x="81132" y="0"/>
                </a:moveTo>
                <a:lnTo>
                  <a:pt x="315515" y="0"/>
                </a:lnTo>
                <a:cubicBezTo>
                  <a:pt x="327347" y="0"/>
                  <a:pt x="338334" y="2348"/>
                  <a:pt x="348476" y="7043"/>
                </a:cubicBezTo>
                <a:cubicBezTo>
                  <a:pt x="351293" y="8357"/>
                  <a:pt x="352983" y="10517"/>
                  <a:pt x="353546" y="13522"/>
                </a:cubicBezTo>
                <a:cubicBezTo>
                  <a:pt x="354110" y="16715"/>
                  <a:pt x="353264" y="19438"/>
                  <a:pt x="351011" y="21692"/>
                </a:cubicBezTo>
                <a:lnTo>
                  <a:pt x="337207" y="35495"/>
                </a:lnTo>
                <a:cubicBezTo>
                  <a:pt x="335329" y="37373"/>
                  <a:pt x="333169" y="38313"/>
                  <a:pt x="330728" y="38313"/>
                </a:cubicBezTo>
                <a:cubicBezTo>
                  <a:pt x="330164" y="38313"/>
                  <a:pt x="329319" y="38125"/>
                  <a:pt x="328192" y="37749"/>
                </a:cubicBezTo>
                <a:cubicBezTo>
                  <a:pt x="323873" y="36622"/>
                  <a:pt x="319647" y="36059"/>
                  <a:pt x="315515" y="36059"/>
                </a:cubicBezTo>
                <a:lnTo>
                  <a:pt x="81132" y="36059"/>
                </a:lnTo>
                <a:cubicBezTo>
                  <a:pt x="68737" y="36059"/>
                  <a:pt x="58126" y="40472"/>
                  <a:pt x="49299" y="49299"/>
                </a:cubicBezTo>
                <a:cubicBezTo>
                  <a:pt x="40472" y="58126"/>
                  <a:pt x="36058" y="68737"/>
                  <a:pt x="36058" y="81132"/>
                </a:cubicBezTo>
                <a:lnTo>
                  <a:pt x="36058" y="315515"/>
                </a:lnTo>
                <a:cubicBezTo>
                  <a:pt x="36058" y="327911"/>
                  <a:pt x="40472" y="338522"/>
                  <a:pt x="49299" y="347349"/>
                </a:cubicBezTo>
                <a:cubicBezTo>
                  <a:pt x="58126" y="356176"/>
                  <a:pt x="68737" y="360589"/>
                  <a:pt x="81132" y="360589"/>
                </a:cubicBezTo>
                <a:lnTo>
                  <a:pt x="315515" y="360589"/>
                </a:lnTo>
                <a:cubicBezTo>
                  <a:pt x="327911" y="360589"/>
                  <a:pt x="338522" y="356176"/>
                  <a:pt x="347348" y="347349"/>
                </a:cubicBezTo>
                <a:cubicBezTo>
                  <a:pt x="356175" y="338522"/>
                  <a:pt x="360589" y="327911"/>
                  <a:pt x="360589" y="315515"/>
                </a:cubicBezTo>
                <a:lnTo>
                  <a:pt x="360589" y="243961"/>
                </a:lnTo>
                <a:cubicBezTo>
                  <a:pt x="360589" y="241520"/>
                  <a:pt x="361434" y="239454"/>
                  <a:pt x="363124" y="237764"/>
                </a:cubicBezTo>
                <a:lnTo>
                  <a:pt x="381154" y="219734"/>
                </a:lnTo>
                <a:cubicBezTo>
                  <a:pt x="383032" y="217856"/>
                  <a:pt x="385192" y="216917"/>
                  <a:pt x="387633" y="216917"/>
                </a:cubicBezTo>
                <a:cubicBezTo>
                  <a:pt x="388760" y="216917"/>
                  <a:pt x="389887" y="217198"/>
                  <a:pt x="391014" y="217762"/>
                </a:cubicBezTo>
                <a:cubicBezTo>
                  <a:pt x="394770" y="219264"/>
                  <a:pt x="396648" y="221988"/>
                  <a:pt x="396648" y="225932"/>
                </a:cubicBezTo>
                <a:lnTo>
                  <a:pt x="396648" y="315515"/>
                </a:lnTo>
                <a:cubicBezTo>
                  <a:pt x="396648" y="337865"/>
                  <a:pt x="388713" y="356974"/>
                  <a:pt x="372843" y="372844"/>
                </a:cubicBezTo>
                <a:cubicBezTo>
                  <a:pt x="356974" y="388713"/>
                  <a:pt x="337864" y="396648"/>
                  <a:pt x="315515" y="396648"/>
                </a:cubicBezTo>
                <a:lnTo>
                  <a:pt x="81132" y="396648"/>
                </a:lnTo>
                <a:cubicBezTo>
                  <a:pt x="58783" y="396648"/>
                  <a:pt x="39674" y="388713"/>
                  <a:pt x="23804" y="372844"/>
                </a:cubicBezTo>
                <a:cubicBezTo>
                  <a:pt x="7935" y="356974"/>
                  <a:pt x="0" y="337865"/>
                  <a:pt x="0" y="315515"/>
                </a:cubicBezTo>
                <a:lnTo>
                  <a:pt x="0" y="81132"/>
                </a:lnTo>
                <a:cubicBezTo>
                  <a:pt x="0" y="58783"/>
                  <a:pt x="7935" y="39674"/>
                  <a:pt x="23804" y="23804"/>
                </a:cubicBezTo>
                <a:cubicBezTo>
                  <a:pt x="39674" y="7935"/>
                  <a:pt x="58783" y="0"/>
                  <a:pt x="81132"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63"/>
            <a:endParaRPr lang="en-US" sz="1400" dirty="0">
              <a:solidFill>
                <a:prstClr val="white"/>
              </a:solidFill>
            </a:endParaRPr>
          </a:p>
        </p:txBody>
      </p:sp>
      <p:sp>
        <p:nvSpPr>
          <p:cNvPr id="12" name="Freeform 11"/>
          <p:cNvSpPr/>
          <p:nvPr/>
        </p:nvSpPr>
        <p:spPr>
          <a:xfrm>
            <a:off x="671714" y="4184687"/>
            <a:ext cx="487175" cy="412261"/>
          </a:xfrm>
          <a:custGeom>
            <a:avLst/>
            <a:gdLst>
              <a:gd name="connsiteX0" fmla="*/ 414678 w 468485"/>
              <a:gd name="connsiteY0" fmla="*/ 18311 h 396648"/>
              <a:gd name="connsiteX1" fmla="*/ 430736 w 468485"/>
              <a:gd name="connsiteY1" fmla="*/ 25072 h 396648"/>
              <a:gd name="connsiteX2" fmla="*/ 461724 w 468485"/>
              <a:gd name="connsiteY2" fmla="*/ 56060 h 396648"/>
              <a:gd name="connsiteX3" fmla="*/ 468485 w 468485"/>
              <a:gd name="connsiteY3" fmla="*/ 72118 h 396648"/>
              <a:gd name="connsiteX4" fmla="*/ 461724 w 468485"/>
              <a:gd name="connsiteY4" fmla="*/ 88175 h 396648"/>
              <a:gd name="connsiteX5" fmla="*/ 232412 w 468485"/>
              <a:gd name="connsiteY5" fmla="*/ 317487 h 396648"/>
              <a:gd name="connsiteX6" fmla="*/ 216354 w 468485"/>
              <a:gd name="connsiteY6" fmla="*/ 324249 h 396648"/>
              <a:gd name="connsiteX7" fmla="*/ 200297 w 468485"/>
              <a:gd name="connsiteY7" fmla="*/ 317487 h 396648"/>
              <a:gd name="connsiteX8" fmla="*/ 79161 w 468485"/>
              <a:gd name="connsiteY8" fmla="*/ 196352 h 396648"/>
              <a:gd name="connsiteX9" fmla="*/ 72400 w 468485"/>
              <a:gd name="connsiteY9" fmla="*/ 180295 h 396648"/>
              <a:gd name="connsiteX10" fmla="*/ 79161 w 468485"/>
              <a:gd name="connsiteY10" fmla="*/ 164237 h 396648"/>
              <a:gd name="connsiteX11" fmla="*/ 110149 w 468485"/>
              <a:gd name="connsiteY11" fmla="*/ 133249 h 396648"/>
              <a:gd name="connsiteX12" fmla="*/ 126207 w 468485"/>
              <a:gd name="connsiteY12" fmla="*/ 126488 h 396648"/>
              <a:gd name="connsiteX13" fmla="*/ 142264 w 468485"/>
              <a:gd name="connsiteY13" fmla="*/ 133249 h 396648"/>
              <a:gd name="connsiteX14" fmla="*/ 216354 w 468485"/>
              <a:gd name="connsiteY14" fmla="*/ 207339 h 396648"/>
              <a:gd name="connsiteX15" fmla="*/ 398621 w 468485"/>
              <a:gd name="connsiteY15" fmla="*/ 25072 h 396648"/>
              <a:gd name="connsiteX16" fmla="*/ 414678 w 468485"/>
              <a:gd name="connsiteY16" fmla="*/ 18311 h 396648"/>
              <a:gd name="connsiteX17" fmla="*/ 81132 w 468485"/>
              <a:gd name="connsiteY17" fmla="*/ 0 h 396648"/>
              <a:gd name="connsiteX18" fmla="*/ 315515 w 468485"/>
              <a:gd name="connsiteY18" fmla="*/ 0 h 396648"/>
              <a:gd name="connsiteX19" fmla="*/ 348476 w 468485"/>
              <a:gd name="connsiteY19" fmla="*/ 7043 h 396648"/>
              <a:gd name="connsiteX20" fmla="*/ 353546 w 468485"/>
              <a:gd name="connsiteY20" fmla="*/ 13522 h 396648"/>
              <a:gd name="connsiteX21" fmla="*/ 351011 w 468485"/>
              <a:gd name="connsiteY21" fmla="*/ 21692 h 396648"/>
              <a:gd name="connsiteX22" fmla="*/ 337207 w 468485"/>
              <a:gd name="connsiteY22" fmla="*/ 35495 h 396648"/>
              <a:gd name="connsiteX23" fmla="*/ 330728 w 468485"/>
              <a:gd name="connsiteY23" fmla="*/ 38313 h 396648"/>
              <a:gd name="connsiteX24" fmla="*/ 328192 w 468485"/>
              <a:gd name="connsiteY24" fmla="*/ 37749 h 396648"/>
              <a:gd name="connsiteX25" fmla="*/ 315515 w 468485"/>
              <a:gd name="connsiteY25" fmla="*/ 36059 h 396648"/>
              <a:gd name="connsiteX26" fmla="*/ 81132 w 468485"/>
              <a:gd name="connsiteY26" fmla="*/ 36059 h 396648"/>
              <a:gd name="connsiteX27" fmla="*/ 49299 w 468485"/>
              <a:gd name="connsiteY27" fmla="*/ 49299 h 396648"/>
              <a:gd name="connsiteX28" fmla="*/ 36058 w 468485"/>
              <a:gd name="connsiteY28" fmla="*/ 81132 h 396648"/>
              <a:gd name="connsiteX29" fmla="*/ 36058 w 468485"/>
              <a:gd name="connsiteY29" fmla="*/ 315515 h 396648"/>
              <a:gd name="connsiteX30" fmla="*/ 49299 w 468485"/>
              <a:gd name="connsiteY30" fmla="*/ 347349 h 396648"/>
              <a:gd name="connsiteX31" fmla="*/ 81132 w 468485"/>
              <a:gd name="connsiteY31" fmla="*/ 360589 h 396648"/>
              <a:gd name="connsiteX32" fmla="*/ 315515 w 468485"/>
              <a:gd name="connsiteY32" fmla="*/ 360589 h 396648"/>
              <a:gd name="connsiteX33" fmla="*/ 347348 w 468485"/>
              <a:gd name="connsiteY33" fmla="*/ 347349 h 396648"/>
              <a:gd name="connsiteX34" fmla="*/ 360589 w 468485"/>
              <a:gd name="connsiteY34" fmla="*/ 315515 h 396648"/>
              <a:gd name="connsiteX35" fmla="*/ 360589 w 468485"/>
              <a:gd name="connsiteY35" fmla="*/ 243961 h 396648"/>
              <a:gd name="connsiteX36" fmla="*/ 363124 w 468485"/>
              <a:gd name="connsiteY36" fmla="*/ 237764 h 396648"/>
              <a:gd name="connsiteX37" fmla="*/ 381154 w 468485"/>
              <a:gd name="connsiteY37" fmla="*/ 219734 h 396648"/>
              <a:gd name="connsiteX38" fmla="*/ 387633 w 468485"/>
              <a:gd name="connsiteY38" fmla="*/ 216917 h 396648"/>
              <a:gd name="connsiteX39" fmla="*/ 391014 w 468485"/>
              <a:gd name="connsiteY39" fmla="*/ 217762 h 396648"/>
              <a:gd name="connsiteX40" fmla="*/ 396648 w 468485"/>
              <a:gd name="connsiteY40" fmla="*/ 225932 h 396648"/>
              <a:gd name="connsiteX41" fmla="*/ 396648 w 468485"/>
              <a:gd name="connsiteY41" fmla="*/ 315515 h 396648"/>
              <a:gd name="connsiteX42" fmla="*/ 372843 w 468485"/>
              <a:gd name="connsiteY42" fmla="*/ 372844 h 396648"/>
              <a:gd name="connsiteX43" fmla="*/ 315515 w 468485"/>
              <a:gd name="connsiteY43" fmla="*/ 396648 h 396648"/>
              <a:gd name="connsiteX44" fmla="*/ 81132 w 468485"/>
              <a:gd name="connsiteY44" fmla="*/ 396648 h 396648"/>
              <a:gd name="connsiteX45" fmla="*/ 23804 w 468485"/>
              <a:gd name="connsiteY45" fmla="*/ 372844 h 396648"/>
              <a:gd name="connsiteX46" fmla="*/ 0 w 468485"/>
              <a:gd name="connsiteY46" fmla="*/ 315515 h 396648"/>
              <a:gd name="connsiteX47" fmla="*/ 0 w 468485"/>
              <a:gd name="connsiteY47" fmla="*/ 81132 h 396648"/>
              <a:gd name="connsiteX48" fmla="*/ 23804 w 468485"/>
              <a:gd name="connsiteY48" fmla="*/ 23804 h 396648"/>
              <a:gd name="connsiteX49" fmla="*/ 81132 w 468485"/>
              <a:gd name="connsiteY49" fmla="*/ 0 h 3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68485" h="396648">
                <a:moveTo>
                  <a:pt x="414678" y="18311"/>
                </a:moveTo>
                <a:cubicBezTo>
                  <a:pt x="420876" y="18311"/>
                  <a:pt x="426229" y="20565"/>
                  <a:pt x="430736" y="25072"/>
                </a:cubicBezTo>
                <a:lnTo>
                  <a:pt x="461724" y="56060"/>
                </a:lnTo>
                <a:cubicBezTo>
                  <a:pt x="466231" y="60568"/>
                  <a:pt x="468485" y="65920"/>
                  <a:pt x="468485" y="72118"/>
                </a:cubicBezTo>
                <a:cubicBezTo>
                  <a:pt x="468485" y="78315"/>
                  <a:pt x="466231" y="83668"/>
                  <a:pt x="461724" y="88175"/>
                </a:cubicBezTo>
                <a:lnTo>
                  <a:pt x="232412" y="317487"/>
                </a:lnTo>
                <a:cubicBezTo>
                  <a:pt x="227904" y="321995"/>
                  <a:pt x="222552" y="324249"/>
                  <a:pt x="216354" y="324249"/>
                </a:cubicBezTo>
                <a:cubicBezTo>
                  <a:pt x="210156" y="324249"/>
                  <a:pt x="204804" y="321995"/>
                  <a:pt x="200297" y="317487"/>
                </a:cubicBezTo>
                <a:lnTo>
                  <a:pt x="79161" y="196352"/>
                </a:lnTo>
                <a:cubicBezTo>
                  <a:pt x="74654" y="191845"/>
                  <a:pt x="72400" y="186492"/>
                  <a:pt x="72400" y="180295"/>
                </a:cubicBezTo>
                <a:cubicBezTo>
                  <a:pt x="72400" y="174097"/>
                  <a:pt x="74654" y="168744"/>
                  <a:pt x="79161" y="164237"/>
                </a:cubicBezTo>
                <a:lnTo>
                  <a:pt x="110149" y="133249"/>
                </a:lnTo>
                <a:cubicBezTo>
                  <a:pt x="114657" y="128742"/>
                  <a:pt x="120009" y="126488"/>
                  <a:pt x="126207" y="126488"/>
                </a:cubicBezTo>
                <a:cubicBezTo>
                  <a:pt x="132405" y="126488"/>
                  <a:pt x="137757" y="128742"/>
                  <a:pt x="142264" y="133249"/>
                </a:cubicBezTo>
                <a:lnTo>
                  <a:pt x="216354" y="207339"/>
                </a:lnTo>
                <a:lnTo>
                  <a:pt x="398621" y="25072"/>
                </a:lnTo>
                <a:cubicBezTo>
                  <a:pt x="403128" y="20565"/>
                  <a:pt x="408481" y="18311"/>
                  <a:pt x="414678" y="18311"/>
                </a:cubicBezTo>
                <a:close/>
                <a:moveTo>
                  <a:pt x="81132" y="0"/>
                </a:moveTo>
                <a:lnTo>
                  <a:pt x="315515" y="0"/>
                </a:lnTo>
                <a:cubicBezTo>
                  <a:pt x="327347" y="0"/>
                  <a:pt x="338334" y="2348"/>
                  <a:pt x="348476" y="7043"/>
                </a:cubicBezTo>
                <a:cubicBezTo>
                  <a:pt x="351293" y="8357"/>
                  <a:pt x="352983" y="10517"/>
                  <a:pt x="353546" y="13522"/>
                </a:cubicBezTo>
                <a:cubicBezTo>
                  <a:pt x="354110" y="16715"/>
                  <a:pt x="353264" y="19438"/>
                  <a:pt x="351011" y="21692"/>
                </a:cubicBezTo>
                <a:lnTo>
                  <a:pt x="337207" y="35495"/>
                </a:lnTo>
                <a:cubicBezTo>
                  <a:pt x="335329" y="37373"/>
                  <a:pt x="333169" y="38313"/>
                  <a:pt x="330728" y="38313"/>
                </a:cubicBezTo>
                <a:cubicBezTo>
                  <a:pt x="330164" y="38313"/>
                  <a:pt x="329319" y="38125"/>
                  <a:pt x="328192" y="37749"/>
                </a:cubicBezTo>
                <a:cubicBezTo>
                  <a:pt x="323873" y="36622"/>
                  <a:pt x="319647" y="36059"/>
                  <a:pt x="315515" y="36059"/>
                </a:cubicBezTo>
                <a:lnTo>
                  <a:pt x="81132" y="36059"/>
                </a:lnTo>
                <a:cubicBezTo>
                  <a:pt x="68737" y="36059"/>
                  <a:pt x="58126" y="40472"/>
                  <a:pt x="49299" y="49299"/>
                </a:cubicBezTo>
                <a:cubicBezTo>
                  <a:pt x="40472" y="58126"/>
                  <a:pt x="36058" y="68737"/>
                  <a:pt x="36058" y="81132"/>
                </a:cubicBezTo>
                <a:lnTo>
                  <a:pt x="36058" y="315515"/>
                </a:lnTo>
                <a:cubicBezTo>
                  <a:pt x="36058" y="327911"/>
                  <a:pt x="40472" y="338522"/>
                  <a:pt x="49299" y="347349"/>
                </a:cubicBezTo>
                <a:cubicBezTo>
                  <a:pt x="58126" y="356176"/>
                  <a:pt x="68737" y="360589"/>
                  <a:pt x="81132" y="360589"/>
                </a:cubicBezTo>
                <a:lnTo>
                  <a:pt x="315515" y="360589"/>
                </a:lnTo>
                <a:cubicBezTo>
                  <a:pt x="327911" y="360589"/>
                  <a:pt x="338522" y="356176"/>
                  <a:pt x="347348" y="347349"/>
                </a:cubicBezTo>
                <a:cubicBezTo>
                  <a:pt x="356175" y="338522"/>
                  <a:pt x="360589" y="327911"/>
                  <a:pt x="360589" y="315515"/>
                </a:cubicBezTo>
                <a:lnTo>
                  <a:pt x="360589" y="243961"/>
                </a:lnTo>
                <a:cubicBezTo>
                  <a:pt x="360589" y="241520"/>
                  <a:pt x="361434" y="239454"/>
                  <a:pt x="363124" y="237764"/>
                </a:cubicBezTo>
                <a:lnTo>
                  <a:pt x="381154" y="219734"/>
                </a:lnTo>
                <a:cubicBezTo>
                  <a:pt x="383032" y="217856"/>
                  <a:pt x="385192" y="216917"/>
                  <a:pt x="387633" y="216917"/>
                </a:cubicBezTo>
                <a:cubicBezTo>
                  <a:pt x="388760" y="216917"/>
                  <a:pt x="389887" y="217198"/>
                  <a:pt x="391014" y="217762"/>
                </a:cubicBezTo>
                <a:cubicBezTo>
                  <a:pt x="394770" y="219264"/>
                  <a:pt x="396648" y="221988"/>
                  <a:pt x="396648" y="225932"/>
                </a:cubicBezTo>
                <a:lnTo>
                  <a:pt x="396648" y="315515"/>
                </a:lnTo>
                <a:cubicBezTo>
                  <a:pt x="396648" y="337865"/>
                  <a:pt x="388713" y="356974"/>
                  <a:pt x="372843" y="372844"/>
                </a:cubicBezTo>
                <a:cubicBezTo>
                  <a:pt x="356974" y="388713"/>
                  <a:pt x="337864" y="396648"/>
                  <a:pt x="315515" y="396648"/>
                </a:cubicBezTo>
                <a:lnTo>
                  <a:pt x="81132" y="396648"/>
                </a:lnTo>
                <a:cubicBezTo>
                  <a:pt x="58783" y="396648"/>
                  <a:pt x="39674" y="388713"/>
                  <a:pt x="23804" y="372844"/>
                </a:cubicBezTo>
                <a:cubicBezTo>
                  <a:pt x="7935" y="356974"/>
                  <a:pt x="0" y="337865"/>
                  <a:pt x="0" y="315515"/>
                </a:cubicBezTo>
                <a:lnTo>
                  <a:pt x="0" y="81132"/>
                </a:lnTo>
                <a:cubicBezTo>
                  <a:pt x="0" y="58783"/>
                  <a:pt x="7935" y="39674"/>
                  <a:pt x="23804" y="23804"/>
                </a:cubicBezTo>
                <a:cubicBezTo>
                  <a:pt x="39674" y="7935"/>
                  <a:pt x="58783" y="0"/>
                  <a:pt x="81132"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63"/>
            <a:endParaRPr lang="en-US" sz="1400" dirty="0">
              <a:solidFill>
                <a:prstClr val="white"/>
              </a:solidFill>
            </a:endParaRPr>
          </a:p>
        </p:txBody>
      </p:sp>
      <p:sp>
        <p:nvSpPr>
          <p:cNvPr id="13" name="Freeform 12"/>
          <p:cNvSpPr/>
          <p:nvPr/>
        </p:nvSpPr>
        <p:spPr>
          <a:xfrm>
            <a:off x="671714" y="3405740"/>
            <a:ext cx="487175" cy="412261"/>
          </a:xfrm>
          <a:custGeom>
            <a:avLst/>
            <a:gdLst>
              <a:gd name="connsiteX0" fmla="*/ 414678 w 468485"/>
              <a:gd name="connsiteY0" fmla="*/ 18311 h 396648"/>
              <a:gd name="connsiteX1" fmla="*/ 430736 w 468485"/>
              <a:gd name="connsiteY1" fmla="*/ 25072 h 396648"/>
              <a:gd name="connsiteX2" fmla="*/ 461724 w 468485"/>
              <a:gd name="connsiteY2" fmla="*/ 56060 h 396648"/>
              <a:gd name="connsiteX3" fmla="*/ 468485 w 468485"/>
              <a:gd name="connsiteY3" fmla="*/ 72118 h 396648"/>
              <a:gd name="connsiteX4" fmla="*/ 461724 w 468485"/>
              <a:gd name="connsiteY4" fmla="*/ 88175 h 396648"/>
              <a:gd name="connsiteX5" fmla="*/ 232412 w 468485"/>
              <a:gd name="connsiteY5" fmla="*/ 317487 h 396648"/>
              <a:gd name="connsiteX6" fmla="*/ 216354 w 468485"/>
              <a:gd name="connsiteY6" fmla="*/ 324249 h 396648"/>
              <a:gd name="connsiteX7" fmla="*/ 200297 w 468485"/>
              <a:gd name="connsiteY7" fmla="*/ 317487 h 396648"/>
              <a:gd name="connsiteX8" fmla="*/ 79161 w 468485"/>
              <a:gd name="connsiteY8" fmla="*/ 196352 h 396648"/>
              <a:gd name="connsiteX9" fmla="*/ 72400 w 468485"/>
              <a:gd name="connsiteY9" fmla="*/ 180295 h 396648"/>
              <a:gd name="connsiteX10" fmla="*/ 79161 w 468485"/>
              <a:gd name="connsiteY10" fmla="*/ 164237 h 396648"/>
              <a:gd name="connsiteX11" fmla="*/ 110149 w 468485"/>
              <a:gd name="connsiteY11" fmla="*/ 133249 h 396648"/>
              <a:gd name="connsiteX12" fmla="*/ 126207 w 468485"/>
              <a:gd name="connsiteY12" fmla="*/ 126488 h 396648"/>
              <a:gd name="connsiteX13" fmla="*/ 142264 w 468485"/>
              <a:gd name="connsiteY13" fmla="*/ 133249 h 396648"/>
              <a:gd name="connsiteX14" fmla="*/ 216354 w 468485"/>
              <a:gd name="connsiteY14" fmla="*/ 207339 h 396648"/>
              <a:gd name="connsiteX15" fmla="*/ 398621 w 468485"/>
              <a:gd name="connsiteY15" fmla="*/ 25072 h 396648"/>
              <a:gd name="connsiteX16" fmla="*/ 414678 w 468485"/>
              <a:gd name="connsiteY16" fmla="*/ 18311 h 396648"/>
              <a:gd name="connsiteX17" fmla="*/ 81132 w 468485"/>
              <a:gd name="connsiteY17" fmla="*/ 0 h 396648"/>
              <a:gd name="connsiteX18" fmla="*/ 315515 w 468485"/>
              <a:gd name="connsiteY18" fmla="*/ 0 h 396648"/>
              <a:gd name="connsiteX19" fmla="*/ 348476 w 468485"/>
              <a:gd name="connsiteY19" fmla="*/ 7043 h 396648"/>
              <a:gd name="connsiteX20" fmla="*/ 353546 w 468485"/>
              <a:gd name="connsiteY20" fmla="*/ 13522 h 396648"/>
              <a:gd name="connsiteX21" fmla="*/ 351011 w 468485"/>
              <a:gd name="connsiteY21" fmla="*/ 21692 h 396648"/>
              <a:gd name="connsiteX22" fmla="*/ 337207 w 468485"/>
              <a:gd name="connsiteY22" fmla="*/ 35495 h 396648"/>
              <a:gd name="connsiteX23" fmla="*/ 330728 w 468485"/>
              <a:gd name="connsiteY23" fmla="*/ 38313 h 396648"/>
              <a:gd name="connsiteX24" fmla="*/ 328192 w 468485"/>
              <a:gd name="connsiteY24" fmla="*/ 37749 h 396648"/>
              <a:gd name="connsiteX25" fmla="*/ 315515 w 468485"/>
              <a:gd name="connsiteY25" fmla="*/ 36059 h 396648"/>
              <a:gd name="connsiteX26" fmla="*/ 81132 w 468485"/>
              <a:gd name="connsiteY26" fmla="*/ 36059 h 396648"/>
              <a:gd name="connsiteX27" fmla="*/ 49299 w 468485"/>
              <a:gd name="connsiteY27" fmla="*/ 49299 h 396648"/>
              <a:gd name="connsiteX28" fmla="*/ 36058 w 468485"/>
              <a:gd name="connsiteY28" fmla="*/ 81132 h 396648"/>
              <a:gd name="connsiteX29" fmla="*/ 36058 w 468485"/>
              <a:gd name="connsiteY29" fmla="*/ 315515 h 396648"/>
              <a:gd name="connsiteX30" fmla="*/ 49299 w 468485"/>
              <a:gd name="connsiteY30" fmla="*/ 347349 h 396648"/>
              <a:gd name="connsiteX31" fmla="*/ 81132 w 468485"/>
              <a:gd name="connsiteY31" fmla="*/ 360589 h 396648"/>
              <a:gd name="connsiteX32" fmla="*/ 315515 w 468485"/>
              <a:gd name="connsiteY32" fmla="*/ 360589 h 396648"/>
              <a:gd name="connsiteX33" fmla="*/ 347348 w 468485"/>
              <a:gd name="connsiteY33" fmla="*/ 347349 h 396648"/>
              <a:gd name="connsiteX34" fmla="*/ 360589 w 468485"/>
              <a:gd name="connsiteY34" fmla="*/ 315515 h 396648"/>
              <a:gd name="connsiteX35" fmla="*/ 360589 w 468485"/>
              <a:gd name="connsiteY35" fmla="*/ 243961 h 396648"/>
              <a:gd name="connsiteX36" fmla="*/ 363124 w 468485"/>
              <a:gd name="connsiteY36" fmla="*/ 237764 h 396648"/>
              <a:gd name="connsiteX37" fmla="*/ 381154 w 468485"/>
              <a:gd name="connsiteY37" fmla="*/ 219734 h 396648"/>
              <a:gd name="connsiteX38" fmla="*/ 387633 w 468485"/>
              <a:gd name="connsiteY38" fmla="*/ 216917 h 396648"/>
              <a:gd name="connsiteX39" fmla="*/ 391014 w 468485"/>
              <a:gd name="connsiteY39" fmla="*/ 217762 h 396648"/>
              <a:gd name="connsiteX40" fmla="*/ 396648 w 468485"/>
              <a:gd name="connsiteY40" fmla="*/ 225932 h 396648"/>
              <a:gd name="connsiteX41" fmla="*/ 396648 w 468485"/>
              <a:gd name="connsiteY41" fmla="*/ 315515 h 396648"/>
              <a:gd name="connsiteX42" fmla="*/ 372843 w 468485"/>
              <a:gd name="connsiteY42" fmla="*/ 372844 h 396648"/>
              <a:gd name="connsiteX43" fmla="*/ 315515 w 468485"/>
              <a:gd name="connsiteY43" fmla="*/ 396648 h 396648"/>
              <a:gd name="connsiteX44" fmla="*/ 81132 w 468485"/>
              <a:gd name="connsiteY44" fmla="*/ 396648 h 396648"/>
              <a:gd name="connsiteX45" fmla="*/ 23804 w 468485"/>
              <a:gd name="connsiteY45" fmla="*/ 372844 h 396648"/>
              <a:gd name="connsiteX46" fmla="*/ 0 w 468485"/>
              <a:gd name="connsiteY46" fmla="*/ 315515 h 396648"/>
              <a:gd name="connsiteX47" fmla="*/ 0 w 468485"/>
              <a:gd name="connsiteY47" fmla="*/ 81132 h 396648"/>
              <a:gd name="connsiteX48" fmla="*/ 23804 w 468485"/>
              <a:gd name="connsiteY48" fmla="*/ 23804 h 396648"/>
              <a:gd name="connsiteX49" fmla="*/ 81132 w 468485"/>
              <a:gd name="connsiteY49" fmla="*/ 0 h 3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68485" h="396648">
                <a:moveTo>
                  <a:pt x="414678" y="18311"/>
                </a:moveTo>
                <a:cubicBezTo>
                  <a:pt x="420876" y="18311"/>
                  <a:pt x="426229" y="20565"/>
                  <a:pt x="430736" y="25072"/>
                </a:cubicBezTo>
                <a:lnTo>
                  <a:pt x="461724" y="56060"/>
                </a:lnTo>
                <a:cubicBezTo>
                  <a:pt x="466231" y="60568"/>
                  <a:pt x="468485" y="65920"/>
                  <a:pt x="468485" y="72118"/>
                </a:cubicBezTo>
                <a:cubicBezTo>
                  <a:pt x="468485" y="78315"/>
                  <a:pt x="466231" y="83668"/>
                  <a:pt x="461724" y="88175"/>
                </a:cubicBezTo>
                <a:lnTo>
                  <a:pt x="232412" y="317487"/>
                </a:lnTo>
                <a:cubicBezTo>
                  <a:pt x="227904" y="321995"/>
                  <a:pt x="222552" y="324249"/>
                  <a:pt x="216354" y="324249"/>
                </a:cubicBezTo>
                <a:cubicBezTo>
                  <a:pt x="210156" y="324249"/>
                  <a:pt x="204804" y="321995"/>
                  <a:pt x="200297" y="317487"/>
                </a:cubicBezTo>
                <a:lnTo>
                  <a:pt x="79161" y="196352"/>
                </a:lnTo>
                <a:cubicBezTo>
                  <a:pt x="74654" y="191845"/>
                  <a:pt x="72400" y="186492"/>
                  <a:pt x="72400" y="180295"/>
                </a:cubicBezTo>
                <a:cubicBezTo>
                  <a:pt x="72400" y="174097"/>
                  <a:pt x="74654" y="168744"/>
                  <a:pt x="79161" y="164237"/>
                </a:cubicBezTo>
                <a:lnTo>
                  <a:pt x="110149" y="133249"/>
                </a:lnTo>
                <a:cubicBezTo>
                  <a:pt x="114657" y="128742"/>
                  <a:pt x="120009" y="126488"/>
                  <a:pt x="126207" y="126488"/>
                </a:cubicBezTo>
                <a:cubicBezTo>
                  <a:pt x="132405" y="126488"/>
                  <a:pt x="137757" y="128742"/>
                  <a:pt x="142264" y="133249"/>
                </a:cubicBezTo>
                <a:lnTo>
                  <a:pt x="216354" y="207339"/>
                </a:lnTo>
                <a:lnTo>
                  <a:pt x="398621" y="25072"/>
                </a:lnTo>
                <a:cubicBezTo>
                  <a:pt x="403128" y="20565"/>
                  <a:pt x="408481" y="18311"/>
                  <a:pt x="414678" y="18311"/>
                </a:cubicBezTo>
                <a:close/>
                <a:moveTo>
                  <a:pt x="81132" y="0"/>
                </a:moveTo>
                <a:lnTo>
                  <a:pt x="315515" y="0"/>
                </a:lnTo>
                <a:cubicBezTo>
                  <a:pt x="327347" y="0"/>
                  <a:pt x="338334" y="2348"/>
                  <a:pt x="348476" y="7043"/>
                </a:cubicBezTo>
                <a:cubicBezTo>
                  <a:pt x="351293" y="8357"/>
                  <a:pt x="352983" y="10517"/>
                  <a:pt x="353546" y="13522"/>
                </a:cubicBezTo>
                <a:cubicBezTo>
                  <a:pt x="354110" y="16715"/>
                  <a:pt x="353264" y="19438"/>
                  <a:pt x="351011" y="21692"/>
                </a:cubicBezTo>
                <a:lnTo>
                  <a:pt x="337207" y="35495"/>
                </a:lnTo>
                <a:cubicBezTo>
                  <a:pt x="335329" y="37373"/>
                  <a:pt x="333169" y="38313"/>
                  <a:pt x="330728" y="38313"/>
                </a:cubicBezTo>
                <a:cubicBezTo>
                  <a:pt x="330164" y="38313"/>
                  <a:pt x="329319" y="38125"/>
                  <a:pt x="328192" y="37749"/>
                </a:cubicBezTo>
                <a:cubicBezTo>
                  <a:pt x="323873" y="36622"/>
                  <a:pt x="319647" y="36059"/>
                  <a:pt x="315515" y="36059"/>
                </a:cubicBezTo>
                <a:lnTo>
                  <a:pt x="81132" y="36059"/>
                </a:lnTo>
                <a:cubicBezTo>
                  <a:pt x="68737" y="36059"/>
                  <a:pt x="58126" y="40472"/>
                  <a:pt x="49299" y="49299"/>
                </a:cubicBezTo>
                <a:cubicBezTo>
                  <a:pt x="40472" y="58126"/>
                  <a:pt x="36058" y="68737"/>
                  <a:pt x="36058" y="81132"/>
                </a:cubicBezTo>
                <a:lnTo>
                  <a:pt x="36058" y="315515"/>
                </a:lnTo>
                <a:cubicBezTo>
                  <a:pt x="36058" y="327911"/>
                  <a:pt x="40472" y="338522"/>
                  <a:pt x="49299" y="347349"/>
                </a:cubicBezTo>
                <a:cubicBezTo>
                  <a:pt x="58126" y="356176"/>
                  <a:pt x="68737" y="360589"/>
                  <a:pt x="81132" y="360589"/>
                </a:cubicBezTo>
                <a:lnTo>
                  <a:pt x="315515" y="360589"/>
                </a:lnTo>
                <a:cubicBezTo>
                  <a:pt x="327911" y="360589"/>
                  <a:pt x="338522" y="356176"/>
                  <a:pt x="347348" y="347349"/>
                </a:cubicBezTo>
                <a:cubicBezTo>
                  <a:pt x="356175" y="338522"/>
                  <a:pt x="360589" y="327911"/>
                  <a:pt x="360589" y="315515"/>
                </a:cubicBezTo>
                <a:lnTo>
                  <a:pt x="360589" y="243961"/>
                </a:lnTo>
                <a:cubicBezTo>
                  <a:pt x="360589" y="241520"/>
                  <a:pt x="361434" y="239454"/>
                  <a:pt x="363124" y="237764"/>
                </a:cubicBezTo>
                <a:lnTo>
                  <a:pt x="381154" y="219734"/>
                </a:lnTo>
                <a:cubicBezTo>
                  <a:pt x="383032" y="217856"/>
                  <a:pt x="385192" y="216917"/>
                  <a:pt x="387633" y="216917"/>
                </a:cubicBezTo>
                <a:cubicBezTo>
                  <a:pt x="388760" y="216917"/>
                  <a:pt x="389887" y="217198"/>
                  <a:pt x="391014" y="217762"/>
                </a:cubicBezTo>
                <a:cubicBezTo>
                  <a:pt x="394770" y="219264"/>
                  <a:pt x="396648" y="221988"/>
                  <a:pt x="396648" y="225932"/>
                </a:cubicBezTo>
                <a:lnTo>
                  <a:pt x="396648" y="315515"/>
                </a:lnTo>
                <a:cubicBezTo>
                  <a:pt x="396648" y="337865"/>
                  <a:pt x="388713" y="356974"/>
                  <a:pt x="372843" y="372844"/>
                </a:cubicBezTo>
                <a:cubicBezTo>
                  <a:pt x="356974" y="388713"/>
                  <a:pt x="337864" y="396648"/>
                  <a:pt x="315515" y="396648"/>
                </a:cubicBezTo>
                <a:lnTo>
                  <a:pt x="81132" y="396648"/>
                </a:lnTo>
                <a:cubicBezTo>
                  <a:pt x="58783" y="396648"/>
                  <a:pt x="39674" y="388713"/>
                  <a:pt x="23804" y="372844"/>
                </a:cubicBezTo>
                <a:cubicBezTo>
                  <a:pt x="7935" y="356974"/>
                  <a:pt x="0" y="337865"/>
                  <a:pt x="0" y="315515"/>
                </a:cubicBezTo>
                <a:lnTo>
                  <a:pt x="0" y="81132"/>
                </a:lnTo>
                <a:cubicBezTo>
                  <a:pt x="0" y="58783"/>
                  <a:pt x="7935" y="39674"/>
                  <a:pt x="23804" y="23804"/>
                </a:cubicBezTo>
                <a:cubicBezTo>
                  <a:pt x="39674" y="7935"/>
                  <a:pt x="58783" y="0"/>
                  <a:pt x="81132"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63"/>
            <a:endParaRPr lang="en-US" sz="1400" dirty="0">
              <a:solidFill>
                <a:prstClr val="white"/>
              </a:solidFill>
            </a:endParaRPr>
          </a:p>
        </p:txBody>
      </p:sp>
      <p:sp>
        <p:nvSpPr>
          <p:cNvPr id="14" name="Freeform 13"/>
          <p:cNvSpPr/>
          <p:nvPr/>
        </p:nvSpPr>
        <p:spPr>
          <a:xfrm>
            <a:off x="671714" y="2626793"/>
            <a:ext cx="487175" cy="412261"/>
          </a:xfrm>
          <a:custGeom>
            <a:avLst/>
            <a:gdLst>
              <a:gd name="connsiteX0" fmla="*/ 414678 w 468485"/>
              <a:gd name="connsiteY0" fmla="*/ 18311 h 396648"/>
              <a:gd name="connsiteX1" fmla="*/ 430736 w 468485"/>
              <a:gd name="connsiteY1" fmla="*/ 25072 h 396648"/>
              <a:gd name="connsiteX2" fmla="*/ 461724 w 468485"/>
              <a:gd name="connsiteY2" fmla="*/ 56060 h 396648"/>
              <a:gd name="connsiteX3" fmla="*/ 468485 w 468485"/>
              <a:gd name="connsiteY3" fmla="*/ 72118 h 396648"/>
              <a:gd name="connsiteX4" fmla="*/ 461724 w 468485"/>
              <a:gd name="connsiteY4" fmla="*/ 88175 h 396648"/>
              <a:gd name="connsiteX5" fmla="*/ 232412 w 468485"/>
              <a:gd name="connsiteY5" fmla="*/ 317487 h 396648"/>
              <a:gd name="connsiteX6" fmla="*/ 216354 w 468485"/>
              <a:gd name="connsiteY6" fmla="*/ 324249 h 396648"/>
              <a:gd name="connsiteX7" fmla="*/ 200297 w 468485"/>
              <a:gd name="connsiteY7" fmla="*/ 317487 h 396648"/>
              <a:gd name="connsiteX8" fmla="*/ 79161 w 468485"/>
              <a:gd name="connsiteY8" fmla="*/ 196352 h 396648"/>
              <a:gd name="connsiteX9" fmla="*/ 72400 w 468485"/>
              <a:gd name="connsiteY9" fmla="*/ 180295 h 396648"/>
              <a:gd name="connsiteX10" fmla="*/ 79161 w 468485"/>
              <a:gd name="connsiteY10" fmla="*/ 164237 h 396648"/>
              <a:gd name="connsiteX11" fmla="*/ 110149 w 468485"/>
              <a:gd name="connsiteY11" fmla="*/ 133249 h 396648"/>
              <a:gd name="connsiteX12" fmla="*/ 126207 w 468485"/>
              <a:gd name="connsiteY12" fmla="*/ 126488 h 396648"/>
              <a:gd name="connsiteX13" fmla="*/ 142264 w 468485"/>
              <a:gd name="connsiteY13" fmla="*/ 133249 h 396648"/>
              <a:gd name="connsiteX14" fmla="*/ 216354 w 468485"/>
              <a:gd name="connsiteY14" fmla="*/ 207339 h 396648"/>
              <a:gd name="connsiteX15" fmla="*/ 398621 w 468485"/>
              <a:gd name="connsiteY15" fmla="*/ 25072 h 396648"/>
              <a:gd name="connsiteX16" fmla="*/ 414678 w 468485"/>
              <a:gd name="connsiteY16" fmla="*/ 18311 h 396648"/>
              <a:gd name="connsiteX17" fmla="*/ 81132 w 468485"/>
              <a:gd name="connsiteY17" fmla="*/ 0 h 396648"/>
              <a:gd name="connsiteX18" fmla="*/ 315515 w 468485"/>
              <a:gd name="connsiteY18" fmla="*/ 0 h 396648"/>
              <a:gd name="connsiteX19" fmla="*/ 348476 w 468485"/>
              <a:gd name="connsiteY19" fmla="*/ 7043 h 396648"/>
              <a:gd name="connsiteX20" fmla="*/ 353546 w 468485"/>
              <a:gd name="connsiteY20" fmla="*/ 13522 h 396648"/>
              <a:gd name="connsiteX21" fmla="*/ 351011 w 468485"/>
              <a:gd name="connsiteY21" fmla="*/ 21692 h 396648"/>
              <a:gd name="connsiteX22" fmla="*/ 337207 w 468485"/>
              <a:gd name="connsiteY22" fmla="*/ 35495 h 396648"/>
              <a:gd name="connsiteX23" fmla="*/ 330728 w 468485"/>
              <a:gd name="connsiteY23" fmla="*/ 38313 h 396648"/>
              <a:gd name="connsiteX24" fmla="*/ 328192 w 468485"/>
              <a:gd name="connsiteY24" fmla="*/ 37749 h 396648"/>
              <a:gd name="connsiteX25" fmla="*/ 315515 w 468485"/>
              <a:gd name="connsiteY25" fmla="*/ 36059 h 396648"/>
              <a:gd name="connsiteX26" fmla="*/ 81132 w 468485"/>
              <a:gd name="connsiteY26" fmla="*/ 36059 h 396648"/>
              <a:gd name="connsiteX27" fmla="*/ 49299 w 468485"/>
              <a:gd name="connsiteY27" fmla="*/ 49299 h 396648"/>
              <a:gd name="connsiteX28" fmla="*/ 36058 w 468485"/>
              <a:gd name="connsiteY28" fmla="*/ 81132 h 396648"/>
              <a:gd name="connsiteX29" fmla="*/ 36058 w 468485"/>
              <a:gd name="connsiteY29" fmla="*/ 315515 h 396648"/>
              <a:gd name="connsiteX30" fmla="*/ 49299 w 468485"/>
              <a:gd name="connsiteY30" fmla="*/ 347349 h 396648"/>
              <a:gd name="connsiteX31" fmla="*/ 81132 w 468485"/>
              <a:gd name="connsiteY31" fmla="*/ 360589 h 396648"/>
              <a:gd name="connsiteX32" fmla="*/ 315515 w 468485"/>
              <a:gd name="connsiteY32" fmla="*/ 360589 h 396648"/>
              <a:gd name="connsiteX33" fmla="*/ 347348 w 468485"/>
              <a:gd name="connsiteY33" fmla="*/ 347349 h 396648"/>
              <a:gd name="connsiteX34" fmla="*/ 360589 w 468485"/>
              <a:gd name="connsiteY34" fmla="*/ 315515 h 396648"/>
              <a:gd name="connsiteX35" fmla="*/ 360589 w 468485"/>
              <a:gd name="connsiteY35" fmla="*/ 243961 h 396648"/>
              <a:gd name="connsiteX36" fmla="*/ 363124 w 468485"/>
              <a:gd name="connsiteY36" fmla="*/ 237764 h 396648"/>
              <a:gd name="connsiteX37" fmla="*/ 381154 w 468485"/>
              <a:gd name="connsiteY37" fmla="*/ 219734 h 396648"/>
              <a:gd name="connsiteX38" fmla="*/ 387633 w 468485"/>
              <a:gd name="connsiteY38" fmla="*/ 216917 h 396648"/>
              <a:gd name="connsiteX39" fmla="*/ 391014 w 468485"/>
              <a:gd name="connsiteY39" fmla="*/ 217762 h 396648"/>
              <a:gd name="connsiteX40" fmla="*/ 396648 w 468485"/>
              <a:gd name="connsiteY40" fmla="*/ 225932 h 396648"/>
              <a:gd name="connsiteX41" fmla="*/ 396648 w 468485"/>
              <a:gd name="connsiteY41" fmla="*/ 315515 h 396648"/>
              <a:gd name="connsiteX42" fmla="*/ 372843 w 468485"/>
              <a:gd name="connsiteY42" fmla="*/ 372844 h 396648"/>
              <a:gd name="connsiteX43" fmla="*/ 315515 w 468485"/>
              <a:gd name="connsiteY43" fmla="*/ 396648 h 396648"/>
              <a:gd name="connsiteX44" fmla="*/ 81132 w 468485"/>
              <a:gd name="connsiteY44" fmla="*/ 396648 h 396648"/>
              <a:gd name="connsiteX45" fmla="*/ 23804 w 468485"/>
              <a:gd name="connsiteY45" fmla="*/ 372844 h 396648"/>
              <a:gd name="connsiteX46" fmla="*/ 0 w 468485"/>
              <a:gd name="connsiteY46" fmla="*/ 315515 h 396648"/>
              <a:gd name="connsiteX47" fmla="*/ 0 w 468485"/>
              <a:gd name="connsiteY47" fmla="*/ 81132 h 396648"/>
              <a:gd name="connsiteX48" fmla="*/ 23804 w 468485"/>
              <a:gd name="connsiteY48" fmla="*/ 23804 h 396648"/>
              <a:gd name="connsiteX49" fmla="*/ 81132 w 468485"/>
              <a:gd name="connsiteY49" fmla="*/ 0 h 3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68485" h="396648">
                <a:moveTo>
                  <a:pt x="414678" y="18311"/>
                </a:moveTo>
                <a:cubicBezTo>
                  <a:pt x="420876" y="18311"/>
                  <a:pt x="426229" y="20565"/>
                  <a:pt x="430736" y="25072"/>
                </a:cubicBezTo>
                <a:lnTo>
                  <a:pt x="461724" y="56060"/>
                </a:lnTo>
                <a:cubicBezTo>
                  <a:pt x="466231" y="60568"/>
                  <a:pt x="468485" y="65920"/>
                  <a:pt x="468485" y="72118"/>
                </a:cubicBezTo>
                <a:cubicBezTo>
                  <a:pt x="468485" y="78315"/>
                  <a:pt x="466231" y="83668"/>
                  <a:pt x="461724" y="88175"/>
                </a:cubicBezTo>
                <a:lnTo>
                  <a:pt x="232412" y="317487"/>
                </a:lnTo>
                <a:cubicBezTo>
                  <a:pt x="227904" y="321995"/>
                  <a:pt x="222552" y="324249"/>
                  <a:pt x="216354" y="324249"/>
                </a:cubicBezTo>
                <a:cubicBezTo>
                  <a:pt x="210156" y="324249"/>
                  <a:pt x="204804" y="321995"/>
                  <a:pt x="200297" y="317487"/>
                </a:cubicBezTo>
                <a:lnTo>
                  <a:pt x="79161" y="196352"/>
                </a:lnTo>
                <a:cubicBezTo>
                  <a:pt x="74654" y="191845"/>
                  <a:pt x="72400" y="186492"/>
                  <a:pt x="72400" y="180295"/>
                </a:cubicBezTo>
                <a:cubicBezTo>
                  <a:pt x="72400" y="174097"/>
                  <a:pt x="74654" y="168744"/>
                  <a:pt x="79161" y="164237"/>
                </a:cubicBezTo>
                <a:lnTo>
                  <a:pt x="110149" y="133249"/>
                </a:lnTo>
                <a:cubicBezTo>
                  <a:pt x="114657" y="128742"/>
                  <a:pt x="120009" y="126488"/>
                  <a:pt x="126207" y="126488"/>
                </a:cubicBezTo>
                <a:cubicBezTo>
                  <a:pt x="132405" y="126488"/>
                  <a:pt x="137757" y="128742"/>
                  <a:pt x="142264" y="133249"/>
                </a:cubicBezTo>
                <a:lnTo>
                  <a:pt x="216354" y="207339"/>
                </a:lnTo>
                <a:lnTo>
                  <a:pt x="398621" y="25072"/>
                </a:lnTo>
                <a:cubicBezTo>
                  <a:pt x="403128" y="20565"/>
                  <a:pt x="408481" y="18311"/>
                  <a:pt x="414678" y="18311"/>
                </a:cubicBezTo>
                <a:close/>
                <a:moveTo>
                  <a:pt x="81132" y="0"/>
                </a:moveTo>
                <a:lnTo>
                  <a:pt x="315515" y="0"/>
                </a:lnTo>
                <a:cubicBezTo>
                  <a:pt x="327347" y="0"/>
                  <a:pt x="338334" y="2348"/>
                  <a:pt x="348476" y="7043"/>
                </a:cubicBezTo>
                <a:cubicBezTo>
                  <a:pt x="351293" y="8357"/>
                  <a:pt x="352983" y="10517"/>
                  <a:pt x="353546" y="13522"/>
                </a:cubicBezTo>
                <a:cubicBezTo>
                  <a:pt x="354110" y="16715"/>
                  <a:pt x="353264" y="19438"/>
                  <a:pt x="351011" y="21692"/>
                </a:cubicBezTo>
                <a:lnTo>
                  <a:pt x="337207" y="35495"/>
                </a:lnTo>
                <a:cubicBezTo>
                  <a:pt x="335329" y="37373"/>
                  <a:pt x="333169" y="38313"/>
                  <a:pt x="330728" y="38313"/>
                </a:cubicBezTo>
                <a:cubicBezTo>
                  <a:pt x="330164" y="38313"/>
                  <a:pt x="329319" y="38125"/>
                  <a:pt x="328192" y="37749"/>
                </a:cubicBezTo>
                <a:cubicBezTo>
                  <a:pt x="323873" y="36622"/>
                  <a:pt x="319647" y="36059"/>
                  <a:pt x="315515" y="36059"/>
                </a:cubicBezTo>
                <a:lnTo>
                  <a:pt x="81132" y="36059"/>
                </a:lnTo>
                <a:cubicBezTo>
                  <a:pt x="68737" y="36059"/>
                  <a:pt x="58126" y="40472"/>
                  <a:pt x="49299" y="49299"/>
                </a:cubicBezTo>
                <a:cubicBezTo>
                  <a:pt x="40472" y="58126"/>
                  <a:pt x="36058" y="68737"/>
                  <a:pt x="36058" y="81132"/>
                </a:cubicBezTo>
                <a:lnTo>
                  <a:pt x="36058" y="315515"/>
                </a:lnTo>
                <a:cubicBezTo>
                  <a:pt x="36058" y="327911"/>
                  <a:pt x="40472" y="338522"/>
                  <a:pt x="49299" y="347349"/>
                </a:cubicBezTo>
                <a:cubicBezTo>
                  <a:pt x="58126" y="356176"/>
                  <a:pt x="68737" y="360589"/>
                  <a:pt x="81132" y="360589"/>
                </a:cubicBezTo>
                <a:lnTo>
                  <a:pt x="315515" y="360589"/>
                </a:lnTo>
                <a:cubicBezTo>
                  <a:pt x="327911" y="360589"/>
                  <a:pt x="338522" y="356176"/>
                  <a:pt x="347348" y="347349"/>
                </a:cubicBezTo>
                <a:cubicBezTo>
                  <a:pt x="356175" y="338522"/>
                  <a:pt x="360589" y="327911"/>
                  <a:pt x="360589" y="315515"/>
                </a:cubicBezTo>
                <a:lnTo>
                  <a:pt x="360589" y="243961"/>
                </a:lnTo>
                <a:cubicBezTo>
                  <a:pt x="360589" y="241520"/>
                  <a:pt x="361434" y="239454"/>
                  <a:pt x="363124" y="237764"/>
                </a:cubicBezTo>
                <a:lnTo>
                  <a:pt x="381154" y="219734"/>
                </a:lnTo>
                <a:cubicBezTo>
                  <a:pt x="383032" y="217856"/>
                  <a:pt x="385192" y="216917"/>
                  <a:pt x="387633" y="216917"/>
                </a:cubicBezTo>
                <a:cubicBezTo>
                  <a:pt x="388760" y="216917"/>
                  <a:pt x="389887" y="217198"/>
                  <a:pt x="391014" y="217762"/>
                </a:cubicBezTo>
                <a:cubicBezTo>
                  <a:pt x="394770" y="219264"/>
                  <a:pt x="396648" y="221988"/>
                  <a:pt x="396648" y="225932"/>
                </a:cubicBezTo>
                <a:lnTo>
                  <a:pt x="396648" y="315515"/>
                </a:lnTo>
                <a:cubicBezTo>
                  <a:pt x="396648" y="337865"/>
                  <a:pt x="388713" y="356974"/>
                  <a:pt x="372843" y="372844"/>
                </a:cubicBezTo>
                <a:cubicBezTo>
                  <a:pt x="356974" y="388713"/>
                  <a:pt x="337864" y="396648"/>
                  <a:pt x="315515" y="396648"/>
                </a:cubicBezTo>
                <a:lnTo>
                  <a:pt x="81132" y="396648"/>
                </a:lnTo>
                <a:cubicBezTo>
                  <a:pt x="58783" y="396648"/>
                  <a:pt x="39674" y="388713"/>
                  <a:pt x="23804" y="372844"/>
                </a:cubicBezTo>
                <a:cubicBezTo>
                  <a:pt x="7935" y="356974"/>
                  <a:pt x="0" y="337865"/>
                  <a:pt x="0" y="315515"/>
                </a:cubicBezTo>
                <a:lnTo>
                  <a:pt x="0" y="81132"/>
                </a:lnTo>
                <a:cubicBezTo>
                  <a:pt x="0" y="58783"/>
                  <a:pt x="7935" y="39674"/>
                  <a:pt x="23804" y="23804"/>
                </a:cubicBezTo>
                <a:cubicBezTo>
                  <a:pt x="39674" y="7935"/>
                  <a:pt x="58783" y="0"/>
                  <a:pt x="81132"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63"/>
            <a:endParaRPr lang="en-US" sz="1400" dirty="0">
              <a:solidFill>
                <a:prstClr val="white"/>
              </a:solidFill>
            </a:endParaRPr>
          </a:p>
        </p:txBody>
      </p:sp>
    </p:spTree>
    <p:extLst>
      <p:ext uri="{BB962C8B-B14F-4D97-AF65-F5344CB8AC3E}">
        <p14:creationId xmlns:p14="http://schemas.microsoft.com/office/powerpoint/2010/main" val="33864776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 y="5"/>
            <a:ext cx="11226799" cy="754299"/>
          </a:xfrm>
        </p:spPr>
        <p:txBody>
          <a:bodyPr/>
          <a:lstStyle/>
          <a:p>
            <a:r>
              <a:rPr lang="en-US" sz="2000" dirty="0"/>
              <a:t>Companies need to face customer’s expectations through a deep transformation that will impact their strategy, their organization, their systems…</a:t>
            </a:r>
            <a:endParaRPr lang="en-GB" sz="2000" dirty="0"/>
          </a:p>
        </p:txBody>
      </p:sp>
      <p:sp>
        <p:nvSpPr>
          <p:cNvPr id="38" name="Rectangle 37"/>
          <p:cNvSpPr/>
          <p:nvPr/>
        </p:nvSpPr>
        <p:spPr>
          <a:xfrm>
            <a:off x="643603" y="4866827"/>
            <a:ext cx="6602092" cy="1200260"/>
          </a:xfrm>
          <a:prstGeom prst="rect">
            <a:avLst/>
          </a:prstGeom>
        </p:spPr>
        <p:txBody>
          <a:bodyPr wrap="square" lIns="91372" tIns="45686" rIns="91372" bIns="45686">
            <a:spAutoFit/>
          </a:bodyPr>
          <a:lstStyle/>
          <a:p>
            <a:pPr defTabSz="913640">
              <a:spcAft>
                <a:spcPts val="1200"/>
              </a:spcAft>
            </a:pPr>
            <a:r>
              <a:rPr lang="en-US" sz="2400" b="1" kern="0" dirty="0">
                <a:solidFill>
                  <a:srgbClr val="0098C7"/>
                </a:solidFill>
                <a:cs typeface="Calibri" pitchFamily="34" charset="0"/>
              </a:rPr>
              <a:t>Customer experience is the single biggest catalyst for digital transformation</a:t>
            </a:r>
            <a:endParaRPr lang="en-US" sz="1200" b="1" dirty="0">
              <a:solidFill>
                <a:srgbClr val="0098C7"/>
              </a:solidFill>
              <a:cs typeface="Calibri"/>
            </a:endParaRPr>
          </a:p>
          <a:p>
            <a:pPr marL="12690" algn="r" defTabSz="914263"/>
            <a:r>
              <a:rPr lang="en-US" sz="1200" b="1" dirty="0">
                <a:solidFill>
                  <a:srgbClr val="0098C7"/>
                </a:solidFill>
                <a:cs typeface="Calibri"/>
              </a:rPr>
              <a:t>Brian Solis – Altimeter</a:t>
            </a:r>
            <a:r>
              <a:rPr lang="en-US" sz="1200" dirty="0">
                <a:solidFill>
                  <a:srgbClr val="0098C7"/>
                </a:solidFill>
                <a:cs typeface="Calibri"/>
              </a:rPr>
              <a:t>. (September 2015)</a:t>
            </a:r>
          </a:p>
        </p:txBody>
      </p:sp>
      <p:sp>
        <p:nvSpPr>
          <p:cNvPr id="39" name="TextBox 42"/>
          <p:cNvSpPr txBox="1"/>
          <p:nvPr/>
        </p:nvSpPr>
        <p:spPr>
          <a:xfrm>
            <a:off x="76506" y="4409135"/>
            <a:ext cx="594897" cy="1569592"/>
          </a:xfrm>
          <a:prstGeom prst="rect">
            <a:avLst/>
          </a:prstGeom>
          <a:noFill/>
        </p:spPr>
        <p:txBody>
          <a:bodyPr wrap="none" lIns="91372" tIns="45686" rIns="91372" bIns="45686" rtlCol="0">
            <a:spAutoFit/>
          </a:bodyPr>
          <a:lstStyle/>
          <a:p>
            <a:pPr defTabSz="913640">
              <a:defRPr/>
            </a:pPr>
            <a:r>
              <a:rPr lang="en-US" sz="9600" kern="0" dirty="0">
                <a:solidFill>
                  <a:srgbClr val="0098C7"/>
                </a:solidFill>
              </a:rPr>
              <a:t>“</a:t>
            </a:r>
          </a:p>
        </p:txBody>
      </p:sp>
      <p:sp>
        <p:nvSpPr>
          <p:cNvPr id="40" name="TextBox 43"/>
          <p:cNvSpPr txBox="1"/>
          <p:nvPr/>
        </p:nvSpPr>
        <p:spPr>
          <a:xfrm rot="10800000">
            <a:off x="5735843" y="4346022"/>
            <a:ext cx="675048" cy="1861659"/>
          </a:xfrm>
          <a:prstGeom prst="rect">
            <a:avLst/>
          </a:prstGeom>
          <a:noFill/>
        </p:spPr>
        <p:txBody>
          <a:bodyPr wrap="none" lIns="91372" tIns="45686" rIns="91372" bIns="45686" rtlCol="0">
            <a:spAutoFit/>
          </a:bodyPr>
          <a:lstStyle/>
          <a:p>
            <a:pPr defTabSz="913640">
              <a:defRPr/>
            </a:pPr>
            <a:r>
              <a:rPr lang="en-US" sz="11498" kern="0" dirty="0">
                <a:solidFill>
                  <a:srgbClr val="0098C7"/>
                </a:solidFill>
              </a:rPr>
              <a:t>“</a:t>
            </a:r>
          </a:p>
        </p:txBody>
      </p:sp>
      <p:sp>
        <p:nvSpPr>
          <p:cNvPr id="47" name="Isosceles Triangle 46"/>
          <p:cNvSpPr/>
          <p:nvPr/>
        </p:nvSpPr>
        <p:spPr>
          <a:xfrm flipV="1">
            <a:off x="1423508" y="3975283"/>
            <a:ext cx="4792649" cy="312398"/>
          </a:xfrm>
          <a:prstGeom prst="triangle">
            <a:avLst>
              <a:gd name="adj" fmla="val 4896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3"/>
            <a:endParaRPr lang="en-US" sz="900" dirty="0">
              <a:solidFill>
                <a:srgbClr val="998C85">
                  <a:lumMod val="50000"/>
                </a:srgbClr>
              </a:solidFill>
            </a:endParaRPr>
          </a:p>
        </p:txBody>
      </p:sp>
      <p:sp>
        <p:nvSpPr>
          <p:cNvPr id="49" name="Rectangle 48"/>
          <p:cNvSpPr/>
          <p:nvPr/>
        </p:nvSpPr>
        <p:spPr>
          <a:xfrm>
            <a:off x="411769" y="4326762"/>
            <a:ext cx="6797352" cy="338554"/>
          </a:xfrm>
          <a:prstGeom prst="rect">
            <a:avLst/>
          </a:prstGeom>
        </p:spPr>
        <p:txBody>
          <a:bodyPr wrap="square">
            <a:spAutoFit/>
          </a:bodyPr>
          <a:lstStyle/>
          <a:p>
            <a:pPr defTabSz="914263"/>
            <a:r>
              <a:rPr lang="en-US" sz="1600" b="1" i="1" dirty="0">
                <a:solidFill>
                  <a:srgbClr val="0098C7">
                    <a:lumMod val="75000"/>
                  </a:srgbClr>
                </a:solidFill>
              </a:rPr>
              <a:t>The major question is : how to engage such a wide transformation ? </a:t>
            </a:r>
          </a:p>
        </p:txBody>
      </p:sp>
      <p:sp>
        <p:nvSpPr>
          <p:cNvPr id="41" name="Rectangle 40"/>
          <p:cNvSpPr/>
          <p:nvPr/>
        </p:nvSpPr>
        <p:spPr>
          <a:xfrm>
            <a:off x="342645" y="2127400"/>
            <a:ext cx="4381825" cy="830997"/>
          </a:xfrm>
          <a:prstGeom prst="rect">
            <a:avLst/>
          </a:prstGeom>
        </p:spPr>
        <p:txBody>
          <a:bodyPr wrap="square">
            <a:spAutoFit/>
          </a:bodyPr>
          <a:lstStyle/>
          <a:p>
            <a:pPr algn="ctr" defTabSz="914263"/>
            <a:r>
              <a:rPr lang="en-US" sz="1600" b="1" dirty="0">
                <a:solidFill>
                  <a:srgbClr val="263147"/>
                </a:solidFill>
              </a:rPr>
              <a:t>The Digital proliferation has radically modified people’s behavior and expectations</a:t>
            </a:r>
          </a:p>
        </p:txBody>
      </p:sp>
      <p:sp>
        <p:nvSpPr>
          <p:cNvPr id="48" name="Rectangle 47"/>
          <p:cNvSpPr/>
          <p:nvPr/>
        </p:nvSpPr>
        <p:spPr>
          <a:xfrm>
            <a:off x="533682" y="3225235"/>
            <a:ext cx="3162686" cy="584775"/>
          </a:xfrm>
          <a:prstGeom prst="rect">
            <a:avLst/>
          </a:prstGeom>
        </p:spPr>
        <p:txBody>
          <a:bodyPr wrap="square">
            <a:spAutoFit/>
          </a:bodyPr>
          <a:lstStyle/>
          <a:p>
            <a:pPr defTabSz="914263"/>
            <a:r>
              <a:rPr lang="en-US" sz="1600" i="1" dirty="0">
                <a:solidFill>
                  <a:srgbClr val="762C7C"/>
                </a:solidFill>
              </a:rPr>
              <a:t>New</a:t>
            </a:r>
            <a:r>
              <a:rPr lang="en-US" sz="1600" i="1" kern="0" dirty="0">
                <a:solidFill>
                  <a:srgbClr val="762C7C"/>
                </a:solidFill>
              </a:rPr>
              <a:t> </a:t>
            </a:r>
            <a:r>
              <a:rPr lang="en-US" sz="1600" b="1" i="1" kern="0" dirty="0">
                <a:solidFill>
                  <a:srgbClr val="762C7C"/>
                </a:solidFill>
              </a:rPr>
              <a:t>consumers</a:t>
            </a:r>
            <a:r>
              <a:rPr lang="en-US" sz="1600" i="1" kern="0" dirty="0">
                <a:solidFill>
                  <a:srgbClr val="762C7C"/>
                </a:solidFill>
              </a:rPr>
              <a:t>…</a:t>
            </a:r>
          </a:p>
          <a:p>
            <a:pPr defTabSz="914263"/>
            <a:r>
              <a:rPr lang="en-US" sz="1600" i="1" kern="0" dirty="0">
                <a:solidFill>
                  <a:srgbClr val="762C7C"/>
                </a:solidFill>
              </a:rPr>
              <a:t>…as well as new </a:t>
            </a:r>
            <a:r>
              <a:rPr lang="en-US" sz="1600" b="1" i="1" kern="0" dirty="0">
                <a:solidFill>
                  <a:srgbClr val="762C7C"/>
                </a:solidFill>
              </a:rPr>
              <a:t>employees</a:t>
            </a:r>
            <a:r>
              <a:rPr lang="en-US" sz="1600" i="1" kern="0" dirty="0">
                <a:solidFill>
                  <a:srgbClr val="762C7C"/>
                </a:solidFill>
              </a:rPr>
              <a:t> !</a:t>
            </a:r>
          </a:p>
        </p:txBody>
      </p:sp>
      <p:grpSp>
        <p:nvGrpSpPr>
          <p:cNvPr id="5" name="Group 4"/>
          <p:cNvGrpSpPr/>
          <p:nvPr/>
        </p:nvGrpSpPr>
        <p:grpSpPr>
          <a:xfrm>
            <a:off x="5036970" y="1580728"/>
            <a:ext cx="2172235" cy="2118635"/>
            <a:chOff x="5638800" y="1580634"/>
            <a:chExt cx="2172346" cy="2118743"/>
          </a:xfrm>
        </p:grpSpPr>
        <p:sp>
          <p:nvSpPr>
            <p:cNvPr id="42" name="TextBox 31"/>
            <p:cNvSpPr txBox="1"/>
            <p:nvPr/>
          </p:nvSpPr>
          <p:spPr>
            <a:xfrm>
              <a:off x="5952987" y="1580634"/>
              <a:ext cx="1858159" cy="338503"/>
            </a:xfrm>
            <a:prstGeom prst="rect">
              <a:avLst/>
            </a:prstGeom>
            <a:noFill/>
          </p:spPr>
          <p:txBody>
            <a:bodyPr wrap="none" lIns="91372" tIns="45686" rIns="91372" bIns="45686" rtlCol="0" anchor="ctr">
              <a:spAutoFit/>
            </a:bodyPr>
            <a:lstStyle>
              <a:defPPr>
                <a:defRPr lang="de-DE"/>
              </a:defPPr>
              <a:lvl1pPr>
                <a:defRPr sz="1800">
                  <a:solidFill>
                    <a:schemeClr val="tx1">
                      <a:lumMod val="50000"/>
                    </a:schemeClr>
                  </a:solidFill>
                  <a:latin typeface="Calibri" pitchFamily="34" charset="0"/>
                </a:defRPr>
              </a:lvl1pPr>
            </a:lstStyle>
            <a:p>
              <a:pPr defTabSz="956959">
                <a:defRPr/>
              </a:pPr>
              <a:r>
                <a:rPr lang="en-US" sz="1600" b="1" kern="0" dirty="0">
                  <a:solidFill>
                    <a:srgbClr val="263147"/>
                  </a:solidFill>
                </a:rPr>
                <a:t>Anywhere, anytime</a:t>
              </a:r>
            </a:p>
          </p:txBody>
        </p:sp>
        <p:sp>
          <p:nvSpPr>
            <p:cNvPr id="43" name="TextBox 33"/>
            <p:cNvSpPr txBox="1"/>
            <p:nvPr/>
          </p:nvSpPr>
          <p:spPr>
            <a:xfrm>
              <a:off x="5952987" y="2025695"/>
              <a:ext cx="1133564" cy="338503"/>
            </a:xfrm>
            <a:prstGeom prst="rect">
              <a:avLst/>
            </a:prstGeom>
            <a:noFill/>
          </p:spPr>
          <p:txBody>
            <a:bodyPr wrap="none" lIns="91372" tIns="45686" rIns="91372" bIns="45686" rtlCol="0" anchor="ctr">
              <a:spAutoFit/>
            </a:bodyPr>
            <a:lstStyle>
              <a:defPPr>
                <a:defRPr lang="de-DE"/>
              </a:defPPr>
              <a:lvl1pPr>
                <a:defRPr sz="1800">
                  <a:solidFill>
                    <a:schemeClr val="tx1">
                      <a:lumMod val="50000"/>
                    </a:schemeClr>
                  </a:solidFill>
                  <a:latin typeface="Calibri" pitchFamily="34" charset="0"/>
                </a:defRPr>
              </a:lvl1pPr>
            </a:lstStyle>
            <a:p>
              <a:pPr defTabSz="956959">
                <a:defRPr/>
              </a:pPr>
              <a:r>
                <a:rPr lang="en-US" sz="1600" b="1" kern="0" dirty="0">
                  <a:solidFill>
                    <a:srgbClr val="263147"/>
                  </a:solidFill>
                </a:rPr>
                <a:t>Easy to use</a:t>
              </a:r>
            </a:p>
          </p:txBody>
        </p:sp>
        <p:sp>
          <p:nvSpPr>
            <p:cNvPr id="44" name="TextBox 34"/>
            <p:cNvSpPr txBox="1"/>
            <p:nvPr/>
          </p:nvSpPr>
          <p:spPr>
            <a:xfrm>
              <a:off x="5952987" y="2470755"/>
              <a:ext cx="885086" cy="338503"/>
            </a:xfrm>
            <a:prstGeom prst="rect">
              <a:avLst/>
            </a:prstGeom>
            <a:noFill/>
          </p:spPr>
          <p:txBody>
            <a:bodyPr wrap="none" lIns="91372" tIns="45686" rIns="91372" bIns="45686" rtlCol="0" anchor="ctr">
              <a:spAutoFit/>
            </a:bodyPr>
            <a:lstStyle>
              <a:defPPr>
                <a:defRPr lang="de-DE"/>
              </a:defPPr>
              <a:lvl1pPr>
                <a:defRPr sz="1800">
                  <a:solidFill>
                    <a:schemeClr val="tx1">
                      <a:lumMod val="50000"/>
                    </a:schemeClr>
                  </a:solidFill>
                  <a:latin typeface="Calibri" pitchFamily="34" charset="0"/>
                </a:defRPr>
              </a:lvl1pPr>
            </a:lstStyle>
            <a:p>
              <a:pPr defTabSz="956959">
                <a:defRPr/>
              </a:pPr>
              <a:r>
                <a:rPr lang="en-US" sz="1600" b="1" kern="0" dirty="0">
                  <a:solidFill>
                    <a:srgbClr val="263147"/>
                  </a:solidFill>
                </a:rPr>
                <a:t>Efficient</a:t>
              </a:r>
            </a:p>
          </p:txBody>
        </p:sp>
        <p:sp>
          <p:nvSpPr>
            <p:cNvPr id="45" name="TextBox 54"/>
            <p:cNvSpPr txBox="1"/>
            <p:nvPr/>
          </p:nvSpPr>
          <p:spPr>
            <a:xfrm>
              <a:off x="5952987" y="2915815"/>
              <a:ext cx="1268224" cy="338503"/>
            </a:xfrm>
            <a:prstGeom prst="rect">
              <a:avLst/>
            </a:prstGeom>
            <a:noFill/>
          </p:spPr>
          <p:txBody>
            <a:bodyPr wrap="none" lIns="91372" tIns="45686" rIns="91372" bIns="45686" rtlCol="0" anchor="ctr">
              <a:spAutoFit/>
            </a:bodyPr>
            <a:lstStyle>
              <a:defPPr>
                <a:defRPr lang="de-DE"/>
              </a:defPPr>
              <a:lvl1pPr>
                <a:defRPr sz="1800">
                  <a:solidFill>
                    <a:schemeClr val="tx1">
                      <a:lumMod val="50000"/>
                    </a:schemeClr>
                  </a:solidFill>
                  <a:latin typeface="Calibri" pitchFamily="34" charset="0"/>
                </a:defRPr>
              </a:lvl1pPr>
            </a:lstStyle>
            <a:p>
              <a:pPr defTabSz="956959">
                <a:defRPr/>
              </a:pPr>
              <a:r>
                <a:rPr lang="en-US" sz="1600" b="1" kern="0" dirty="0">
                  <a:solidFill>
                    <a:srgbClr val="263147"/>
                  </a:solidFill>
                </a:rPr>
                <a:t>Personalized</a:t>
              </a:r>
            </a:p>
          </p:txBody>
        </p:sp>
        <p:sp>
          <p:nvSpPr>
            <p:cNvPr id="46" name="TextBox 54"/>
            <p:cNvSpPr txBox="1"/>
            <p:nvPr/>
          </p:nvSpPr>
          <p:spPr>
            <a:xfrm>
              <a:off x="5952987" y="3360874"/>
              <a:ext cx="1172038" cy="338503"/>
            </a:xfrm>
            <a:prstGeom prst="rect">
              <a:avLst/>
            </a:prstGeom>
            <a:noFill/>
          </p:spPr>
          <p:txBody>
            <a:bodyPr wrap="none" lIns="91372" tIns="45686" rIns="91372" bIns="45686" rtlCol="0" anchor="ctr">
              <a:spAutoFit/>
            </a:bodyPr>
            <a:lstStyle>
              <a:defPPr>
                <a:defRPr lang="de-DE"/>
              </a:defPPr>
              <a:lvl1pPr>
                <a:defRPr sz="1800">
                  <a:solidFill>
                    <a:schemeClr val="tx1">
                      <a:lumMod val="50000"/>
                    </a:schemeClr>
                  </a:solidFill>
                  <a:latin typeface="Calibri" pitchFamily="34" charset="0"/>
                </a:defRPr>
              </a:lvl1pPr>
            </a:lstStyle>
            <a:p>
              <a:pPr defTabSz="956959">
                <a:defRPr/>
              </a:pPr>
              <a:r>
                <a:rPr lang="en-US" sz="1600" b="1" kern="0" dirty="0">
                  <a:solidFill>
                    <a:srgbClr val="263147"/>
                  </a:solidFill>
                </a:rPr>
                <a:t>Anticipated</a:t>
              </a:r>
            </a:p>
          </p:txBody>
        </p:sp>
        <p:sp>
          <p:nvSpPr>
            <p:cNvPr id="57" name="Freeform 56"/>
            <p:cNvSpPr/>
            <p:nvPr/>
          </p:nvSpPr>
          <p:spPr>
            <a:xfrm>
              <a:off x="5638800" y="1616949"/>
              <a:ext cx="314187" cy="265874"/>
            </a:xfrm>
            <a:custGeom>
              <a:avLst/>
              <a:gdLst>
                <a:gd name="connsiteX0" fmla="*/ 414678 w 468485"/>
                <a:gd name="connsiteY0" fmla="*/ 18311 h 396648"/>
                <a:gd name="connsiteX1" fmla="*/ 430736 w 468485"/>
                <a:gd name="connsiteY1" fmla="*/ 25072 h 396648"/>
                <a:gd name="connsiteX2" fmla="*/ 461724 w 468485"/>
                <a:gd name="connsiteY2" fmla="*/ 56060 h 396648"/>
                <a:gd name="connsiteX3" fmla="*/ 468485 w 468485"/>
                <a:gd name="connsiteY3" fmla="*/ 72118 h 396648"/>
                <a:gd name="connsiteX4" fmla="*/ 461724 w 468485"/>
                <a:gd name="connsiteY4" fmla="*/ 88175 h 396648"/>
                <a:gd name="connsiteX5" fmla="*/ 232412 w 468485"/>
                <a:gd name="connsiteY5" fmla="*/ 317487 h 396648"/>
                <a:gd name="connsiteX6" fmla="*/ 216354 w 468485"/>
                <a:gd name="connsiteY6" fmla="*/ 324249 h 396648"/>
                <a:gd name="connsiteX7" fmla="*/ 200297 w 468485"/>
                <a:gd name="connsiteY7" fmla="*/ 317487 h 396648"/>
                <a:gd name="connsiteX8" fmla="*/ 79161 w 468485"/>
                <a:gd name="connsiteY8" fmla="*/ 196352 h 396648"/>
                <a:gd name="connsiteX9" fmla="*/ 72400 w 468485"/>
                <a:gd name="connsiteY9" fmla="*/ 180295 h 396648"/>
                <a:gd name="connsiteX10" fmla="*/ 79161 w 468485"/>
                <a:gd name="connsiteY10" fmla="*/ 164237 h 396648"/>
                <a:gd name="connsiteX11" fmla="*/ 110149 w 468485"/>
                <a:gd name="connsiteY11" fmla="*/ 133249 h 396648"/>
                <a:gd name="connsiteX12" fmla="*/ 126207 w 468485"/>
                <a:gd name="connsiteY12" fmla="*/ 126488 h 396648"/>
                <a:gd name="connsiteX13" fmla="*/ 142264 w 468485"/>
                <a:gd name="connsiteY13" fmla="*/ 133249 h 396648"/>
                <a:gd name="connsiteX14" fmla="*/ 216354 w 468485"/>
                <a:gd name="connsiteY14" fmla="*/ 207339 h 396648"/>
                <a:gd name="connsiteX15" fmla="*/ 398621 w 468485"/>
                <a:gd name="connsiteY15" fmla="*/ 25072 h 396648"/>
                <a:gd name="connsiteX16" fmla="*/ 414678 w 468485"/>
                <a:gd name="connsiteY16" fmla="*/ 18311 h 396648"/>
                <a:gd name="connsiteX17" fmla="*/ 81132 w 468485"/>
                <a:gd name="connsiteY17" fmla="*/ 0 h 396648"/>
                <a:gd name="connsiteX18" fmla="*/ 315515 w 468485"/>
                <a:gd name="connsiteY18" fmla="*/ 0 h 396648"/>
                <a:gd name="connsiteX19" fmla="*/ 348476 w 468485"/>
                <a:gd name="connsiteY19" fmla="*/ 7043 h 396648"/>
                <a:gd name="connsiteX20" fmla="*/ 353546 w 468485"/>
                <a:gd name="connsiteY20" fmla="*/ 13522 h 396648"/>
                <a:gd name="connsiteX21" fmla="*/ 351011 w 468485"/>
                <a:gd name="connsiteY21" fmla="*/ 21692 h 396648"/>
                <a:gd name="connsiteX22" fmla="*/ 337207 w 468485"/>
                <a:gd name="connsiteY22" fmla="*/ 35495 h 396648"/>
                <a:gd name="connsiteX23" fmla="*/ 330728 w 468485"/>
                <a:gd name="connsiteY23" fmla="*/ 38313 h 396648"/>
                <a:gd name="connsiteX24" fmla="*/ 328192 w 468485"/>
                <a:gd name="connsiteY24" fmla="*/ 37749 h 396648"/>
                <a:gd name="connsiteX25" fmla="*/ 315515 w 468485"/>
                <a:gd name="connsiteY25" fmla="*/ 36059 h 396648"/>
                <a:gd name="connsiteX26" fmla="*/ 81132 w 468485"/>
                <a:gd name="connsiteY26" fmla="*/ 36059 h 396648"/>
                <a:gd name="connsiteX27" fmla="*/ 49299 w 468485"/>
                <a:gd name="connsiteY27" fmla="*/ 49299 h 396648"/>
                <a:gd name="connsiteX28" fmla="*/ 36058 w 468485"/>
                <a:gd name="connsiteY28" fmla="*/ 81132 h 396648"/>
                <a:gd name="connsiteX29" fmla="*/ 36058 w 468485"/>
                <a:gd name="connsiteY29" fmla="*/ 315515 h 396648"/>
                <a:gd name="connsiteX30" fmla="*/ 49299 w 468485"/>
                <a:gd name="connsiteY30" fmla="*/ 347349 h 396648"/>
                <a:gd name="connsiteX31" fmla="*/ 81132 w 468485"/>
                <a:gd name="connsiteY31" fmla="*/ 360589 h 396648"/>
                <a:gd name="connsiteX32" fmla="*/ 315515 w 468485"/>
                <a:gd name="connsiteY32" fmla="*/ 360589 h 396648"/>
                <a:gd name="connsiteX33" fmla="*/ 347348 w 468485"/>
                <a:gd name="connsiteY33" fmla="*/ 347349 h 396648"/>
                <a:gd name="connsiteX34" fmla="*/ 360589 w 468485"/>
                <a:gd name="connsiteY34" fmla="*/ 315515 h 396648"/>
                <a:gd name="connsiteX35" fmla="*/ 360589 w 468485"/>
                <a:gd name="connsiteY35" fmla="*/ 243961 h 396648"/>
                <a:gd name="connsiteX36" fmla="*/ 363124 w 468485"/>
                <a:gd name="connsiteY36" fmla="*/ 237764 h 396648"/>
                <a:gd name="connsiteX37" fmla="*/ 381154 w 468485"/>
                <a:gd name="connsiteY37" fmla="*/ 219734 h 396648"/>
                <a:gd name="connsiteX38" fmla="*/ 387633 w 468485"/>
                <a:gd name="connsiteY38" fmla="*/ 216917 h 396648"/>
                <a:gd name="connsiteX39" fmla="*/ 391014 w 468485"/>
                <a:gd name="connsiteY39" fmla="*/ 217762 h 396648"/>
                <a:gd name="connsiteX40" fmla="*/ 396648 w 468485"/>
                <a:gd name="connsiteY40" fmla="*/ 225932 h 396648"/>
                <a:gd name="connsiteX41" fmla="*/ 396648 w 468485"/>
                <a:gd name="connsiteY41" fmla="*/ 315515 h 396648"/>
                <a:gd name="connsiteX42" fmla="*/ 372843 w 468485"/>
                <a:gd name="connsiteY42" fmla="*/ 372844 h 396648"/>
                <a:gd name="connsiteX43" fmla="*/ 315515 w 468485"/>
                <a:gd name="connsiteY43" fmla="*/ 396648 h 396648"/>
                <a:gd name="connsiteX44" fmla="*/ 81132 w 468485"/>
                <a:gd name="connsiteY44" fmla="*/ 396648 h 396648"/>
                <a:gd name="connsiteX45" fmla="*/ 23804 w 468485"/>
                <a:gd name="connsiteY45" fmla="*/ 372844 h 396648"/>
                <a:gd name="connsiteX46" fmla="*/ 0 w 468485"/>
                <a:gd name="connsiteY46" fmla="*/ 315515 h 396648"/>
                <a:gd name="connsiteX47" fmla="*/ 0 w 468485"/>
                <a:gd name="connsiteY47" fmla="*/ 81132 h 396648"/>
                <a:gd name="connsiteX48" fmla="*/ 23804 w 468485"/>
                <a:gd name="connsiteY48" fmla="*/ 23804 h 396648"/>
                <a:gd name="connsiteX49" fmla="*/ 81132 w 468485"/>
                <a:gd name="connsiteY49" fmla="*/ 0 h 3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68485" h="396648">
                  <a:moveTo>
                    <a:pt x="414678" y="18311"/>
                  </a:moveTo>
                  <a:cubicBezTo>
                    <a:pt x="420876" y="18311"/>
                    <a:pt x="426229" y="20565"/>
                    <a:pt x="430736" y="25072"/>
                  </a:cubicBezTo>
                  <a:lnTo>
                    <a:pt x="461724" y="56060"/>
                  </a:lnTo>
                  <a:cubicBezTo>
                    <a:pt x="466231" y="60568"/>
                    <a:pt x="468485" y="65920"/>
                    <a:pt x="468485" y="72118"/>
                  </a:cubicBezTo>
                  <a:cubicBezTo>
                    <a:pt x="468485" y="78315"/>
                    <a:pt x="466231" y="83668"/>
                    <a:pt x="461724" y="88175"/>
                  </a:cubicBezTo>
                  <a:lnTo>
                    <a:pt x="232412" y="317487"/>
                  </a:lnTo>
                  <a:cubicBezTo>
                    <a:pt x="227904" y="321995"/>
                    <a:pt x="222552" y="324249"/>
                    <a:pt x="216354" y="324249"/>
                  </a:cubicBezTo>
                  <a:cubicBezTo>
                    <a:pt x="210156" y="324249"/>
                    <a:pt x="204804" y="321995"/>
                    <a:pt x="200297" y="317487"/>
                  </a:cubicBezTo>
                  <a:lnTo>
                    <a:pt x="79161" y="196352"/>
                  </a:lnTo>
                  <a:cubicBezTo>
                    <a:pt x="74654" y="191845"/>
                    <a:pt x="72400" y="186492"/>
                    <a:pt x="72400" y="180295"/>
                  </a:cubicBezTo>
                  <a:cubicBezTo>
                    <a:pt x="72400" y="174097"/>
                    <a:pt x="74654" y="168744"/>
                    <a:pt x="79161" y="164237"/>
                  </a:cubicBezTo>
                  <a:lnTo>
                    <a:pt x="110149" y="133249"/>
                  </a:lnTo>
                  <a:cubicBezTo>
                    <a:pt x="114657" y="128742"/>
                    <a:pt x="120009" y="126488"/>
                    <a:pt x="126207" y="126488"/>
                  </a:cubicBezTo>
                  <a:cubicBezTo>
                    <a:pt x="132405" y="126488"/>
                    <a:pt x="137757" y="128742"/>
                    <a:pt x="142264" y="133249"/>
                  </a:cubicBezTo>
                  <a:lnTo>
                    <a:pt x="216354" y="207339"/>
                  </a:lnTo>
                  <a:lnTo>
                    <a:pt x="398621" y="25072"/>
                  </a:lnTo>
                  <a:cubicBezTo>
                    <a:pt x="403128" y="20565"/>
                    <a:pt x="408481" y="18311"/>
                    <a:pt x="414678" y="18311"/>
                  </a:cubicBezTo>
                  <a:close/>
                  <a:moveTo>
                    <a:pt x="81132" y="0"/>
                  </a:moveTo>
                  <a:lnTo>
                    <a:pt x="315515" y="0"/>
                  </a:lnTo>
                  <a:cubicBezTo>
                    <a:pt x="327347" y="0"/>
                    <a:pt x="338334" y="2348"/>
                    <a:pt x="348476" y="7043"/>
                  </a:cubicBezTo>
                  <a:cubicBezTo>
                    <a:pt x="351293" y="8357"/>
                    <a:pt x="352983" y="10517"/>
                    <a:pt x="353546" y="13522"/>
                  </a:cubicBezTo>
                  <a:cubicBezTo>
                    <a:pt x="354110" y="16715"/>
                    <a:pt x="353264" y="19438"/>
                    <a:pt x="351011" y="21692"/>
                  </a:cubicBezTo>
                  <a:lnTo>
                    <a:pt x="337207" y="35495"/>
                  </a:lnTo>
                  <a:cubicBezTo>
                    <a:pt x="335329" y="37373"/>
                    <a:pt x="333169" y="38313"/>
                    <a:pt x="330728" y="38313"/>
                  </a:cubicBezTo>
                  <a:cubicBezTo>
                    <a:pt x="330164" y="38313"/>
                    <a:pt x="329319" y="38125"/>
                    <a:pt x="328192" y="37749"/>
                  </a:cubicBezTo>
                  <a:cubicBezTo>
                    <a:pt x="323873" y="36622"/>
                    <a:pt x="319647" y="36059"/>
                    <a:pt x="315515" y="36059"/>
                  </a:cubicBezTo>
                  <a:lnTo>
                    <a:pt x="81132" y="36059"/>
                  </a:lnTo>
                  <a:cubicBezTo>
                    <a:pt x="68737" y="36059"/>
                    <a:pt x="58126" y="40472"/>
                    <a:pt x="49299" y="49299"/>
                  </a:cubicBezTo>
                  <a:cubicBezTo>
                    <a:pt x="40472" y="58126"/>
                    <a:pt x="36058" y="68737"/>
                    <a:pt x="36058" y="81132"/>
                  </a:cubicBezTo>
                  <a:lnTo>
                    <a:pt x="36058" y="315515"/>
                  </a:lnTo>
                  <a:cubicBezTo>
                    <a:pt x="36058" y="327911"/>
                    <a:pt x="40472" y="338522"/>
                    <a:pt x="49299" y="347349"/>
                  </a:cubicBezTo>
                  <a:cubicBezTo>
                    <a:pt x="58126" y="356176"/>
                    <a:pt x="68737" y="360589"/>
                    <a:pt x="81132" y="360589"/>
                  </a:cubicBezTo>
                  <a:lnTo>
                    <a:pt x="315515" y="360589"/>
                  </a:lnTo>
                  <a:cubicBezTo>
                    <a:pt x="327911" y="360589"/>
                    <a:pt x="338522" y="356176"/>
                    <a:pt x="347348" y="347349"/>
                  </a:cubicBezTo>
                  <a:cubicBezTo>
                    <a:pt x="356175" y="338522"/>
                    <a:pt x="360589" y="327911"/>
                    <a:pt x="360589" y="315515"/>
                  </a:cubicBezTo>
                  <a:lnTo>
                    <a:pt x="360589" y="243961"/>
                  </a:lnTo>
                  <a:cubicBezTo>
                    <a:pt x="360589" y="241520"/>
                    <a:pt x="361434" y="239454"/>
                    <a:pt x="363124" y="237764"/>
                  </a:cubicBezTo>
                  <a:lnTo>
                    <a:pt x="381154" y="219734"/>
                  </a:lnTo>
                  <a:cubicBezTo>
                    <a:pt x="383032" y="217856"/>
                    <a:pt x="385192" y="216917"/>
                    <a:pt x="387633" y="216917"/>
                  </a:cubicBezTo>
                  <a:cubicBezTo>
                    <a:pt x="388760" y="216917"/>
                    <a:pt x="389887" y="217198"/>
                    <a:pt x="391014" y="217762"/>
                  </a:cubicBezTo>
                  <a:cubicBezTo>
                    <a:pt x="394770" y="219264"/>
                    <a:pt x="396648" y="221988"/>
                    <a:pt x="396648" y="225932"/>
                  </a:cubicBezTo>
                  <a:lnTo>
                    <a:pt x="396648" y="315515"/>
                  </a:lnTo>
                  <a:cubicBezTo>
                    <a:pt x="396648" y="337865"/>
                    <a:pt x="388713" y="356974"/>
                    <a:pt x="372843" y="372844"/>
                  </a:cubicBezTo>
                  <a:cubicBezTo>
                    <a:pt x="356974" y="388713"/>
                    <a:pt x="337864" y="396648"/>
                    <a:pt x="315515" y="396648"/>
                  </a:cubicBezTo>
                  <a:lnTo>
                    <a:pt x="81132" y="396648"/>
                  </a:lnTo>
                  <a:cubicBezTo>
                    <a:pt x="58783" y="396648"/>
                    <a:pt x="39674" y="388713"/>
                    <a:pt x="23804" y="372844"/>
                  </a:cubicBezTo>
                  <a:cubicBezTo>
                    <a:pt x="7935" y="356974"/>
                    <a:pt x="0" y="337865"/>
                    <a:pt x="0" y="315515"/>
                  </a:cubicBezTo>
                  <a:lnTo>
                    <a:pt x="0" y="81132"/>
                  </a:lnTo>
                  <a:cubicBezTo>
                    <a:pt x="0" y="58783"/>
                    <a:pt x="7935" y="39674"/>
                    <a:pt x="23804" y="23804"/>
                  </a:cubicBezTo>
                  <a:cubicBezTo>
                    <a:pt x="39674" y="7935"/>
                    <a:pt x="58783" y="0"/>
                    <a:pt x="81132"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63"/>
              <a:endParaRPr lang="en-US" sz="1350" dirty="0">
                <a:solidFill>
                  <a:prstClr val="white"/>
                </a:solidFill>
              </a:endParaRPr>
            </a:p>
          </p:txBody>
        </p:sp>
        <p:sp>
          <p:nvSpPr>
            <p:cNvPr id="58" name="Freeform 57"/>
            <p:cNvSpPr/>
            <p:nvPr/>
          </p:nvSpPr>
          <p:spPr>
            <a:xfrm>
              <a:off x="5638800" y="3397188"/>
              <a:ext cx="314187" cy="265874"/>
            </a:xfrm>
            <a:custGeom>
              <a:avLst/>
              <a:gdLst>
                <a:gd name="connsiteX0" fmla="*/ 414678 w 468485"/>
                <a:gd name="connsiteY0" fmla="*/ 18311 h 396648"/>
                <a:gd name="connsiteX1" fmla="*/ 430736 w 468485"/>
                <a:gd name="connsiteY1" fmla="*/ 25072 h 396648"/>
                <a:gd name="connsiteX2" fmla="*/ 461724 w 468485"/>
                <a:gd name="connsiteY2" fmla="*/ 56060 h 396648"/>
                <a:gd name="connsiteX3" fmla="*/ 468485 w 468485"/>
                <a:gd name="connsiteY3" fmla="*/ 72118 h 396648"/>
                <a:gd name="connsiteX4" fmla="*/ 461724 w 468485"/>
                <a:gd name="connsiteY4" fmla="*/ 88175 h 396648"/>
                <a:gd name="connsiteX5" fmla="*/ 232412 w 468485"/>
                <a:gd name="connsiteY5" fmla="*/ 317487 h 396648"/>
                <a:gd name="connsiteX6" fmla="*/ 216354 w 468485"/>
                <a:gd name="connsiteY6" fmla="*/ 324249 h 396648"/>
                <a:gd name="connsiteX7" fmla="*/ 200297 w 468485"/>
                <a:gd name="connsiteY7" fmla="*/ 317487 h 396648"/>
                <a:gd name="connsiteX8" fmla="*/ 79161 w 468485"/>
                <a:gd name="connsiteY8" fmla="*/ 196352 h 396648"/>
                <a:gd name="connsiteX9" fmla="*/ 72400 w 468485"/>
                <a:gd name="connsiteY9" fmla="*/ 180295 h 396648"/>
                <a:gd name="connsiteX10" fmla="*/ 79161 w 468485"/>
                <a:gd name="connsiteY10" fmla="*/ 164237 h 396648"/>
                <a:gd name="connsiteX11" fmla="*/ 110149 w 468485"/>
                <a:gd name="connsiteY11" fmla="*/ 133249 h 396648"/>
                <a:gd name="connsiteX12" fmla="*/ 126207 w 468485"/>
                <a:gd name="connsiteY12" fmla="*/ 126488 h 396648"/>
                <a:gd name="connsiteX13" fmla="*/ 142264 w 468485"/>
                <a:gd name="connsiteY13" fmla="*/ 133249 h 396648"/>
                <a:gd name="connsiteX14" fmla="*/ 216354 w 468485"/>
                <a:gd name="connsiteY14" fmla="*/ 207339 h 396648"/>
                <a:gd name="connsiteX15" fmla="*/ 398621 w 468485"/>
                <a:gd name="connsiteY15" fmla="*/ 25072 h 396648"/>
                <a:gd name="connsiteX16" fmla="*/ 414678 w 468485"/>
                <a:gd name="connsiteY16" fmla="*/ 18311 h 396648"/>
                <a:gd name="connsiteX17" fmla="*/ 81132 w 468485"/>
                <a:gd name="connsiteY17" fmla="*/ 0 h 396648"/>
                <a:gd name="connsiteX18" fmla="*/ 315515 w 468485"/>
                <a:gd name="connsiteY18" fmla="*/ 0 h 396648"/>
                <a:gd name="connsiteX19" fmla="*/ 348476 w 468485"/>
                <a:gd name="connsiteY19" fmla="*/ 7043 h 396648"/>
                <a:gd name="connsiteX20" fmla="*/ 353546 w 468485"/>
                <a:gd name="connsiteY20" fmla="*/ 13522 h 396648"/>
                <a:gd name="connsiteX21" fmla="*/ 351011 w 468485"/>
                <a:gd name="connsiteY21" fmla="*/ 21692 h 396648"/>
                <a:gd name="connsiteX22" fmla="*/ 337207 w 468485"/>
                <a:gd name="connsiteY22" fmla="*/ 35495 h 396648"/>
                <a:gd name="connsiteX23" fmla="*/ 330728 w 468485"/>
                <a:gd name="connsiteY23" fmla="*/ 38313 h 396648"/>
                <a:gd name="connsiteX24" fmla="*/ 328192 w 468485"/>
                <a:gd name="connsiteY24" fmla="*/ 37749 h 396648"/>
                <a:gd name="connsiteX25" fmla="*/ 315515 w 468485"/>
                <a:gd name="connsiteY25" fmla="*/ 36059 h 396648"/>
                <a:gd name="connsiteX26" fmla="*/ 81132 w 468485"/>
                <a:gd name="connsiteY26" fmla="*/ 36059 h 396648"/>
                <a:gd name="connsiteX27" fmla="*/ 49299 w 468485"/>
                <a:gd name="connsiteY27" fmla="*/ 49299 h 396648"/>
                <a:gd name="connsiteX28" fmla="*/ 36058 w 468485"/>
                <a:gd name="connsiteY28" fmla="*/ 81132 h 396648"/>
                <a:gd name="connsiteX29" fmla="*/ 36058 w 468485"/>
                <a:gd name="connsiteY29" fmla="*/ 315515 h 396648"/>
                <a:gd name="connsiteX30" fmla="*/ 49299 w 468485"/>
                <a:gd name="connsiteY30" fmla="*/ 347349 h 396648"/>
                <a:gd name="connsiteX31" fmla="*/ 81132 w 468485"/>
                <a:gd name="connsiteY31" fmla="*/ 360589 h 396648"/>
                <a:gd name="connsiteX32" fmla="*/ 315515 w 468485"/>
                <a:gd name="connsiteY32" fmla="*/ 360589 h 396648"/>
                <a:gd name="connsiteX33" fmla="*/ 347348 w 468485"/>
                <a:gd name="connsiteY33" fmla="*/ 347349 h 396648"/>
                <a:gd name="connsiteX34" fmla="*/ 360589 w 468485"/>
                <a:gd name="connsiteY34" fmla="*/ 315515 h 396648"/>
                <a:gd name="connsiteX35" fmla="*/ 360589 w 468485"/>
                <a:gd name="connsiteY35" fmla="*/ 243961 h 396648"/>
                <a:gd name="connsiteX36" fmla="*/ 363124 w 468485"/>
                <a:gd name="connsiteY36" fmla="*/ 237764 h 396648"/>
                <a:gd name="connsiteX37" fmla="*/ 381154 w 468485"/>
                <a:gd name="connsiteY37" fmla="*/ 219734 h 396648"/>
                <a:gd name="connsiteX38" fmla="*/ 387633 w 468485"/>
                <a:gd name="connsiteY38" fmla="*/ 216917 h 396648"/>
                <a:gd name="connsiteX39" fmla="*/ 391014 w 468485"/>
                <a:gd name="connsiteY39" fmla="*/ 217762 h 396648"/>
                <a:gd name="connsiteX40" fmla="*/ 396648 w 468485"/>
                <a:gd name="connsiteY40" fmla="*/ 225932 h 396648"/>
                <a:gd name="connsiteX41" fmla="*/ 396648 w 468485"/>
                <a:gd name="connsiteY41" fmla="*/ 315515 h 396648"/>
                <a:gd name="connsiteX42" fmla="*/ 372843 w 468485"/>
                <a:gd name="connsiteY42" fmla="*/ 372844 h 396648"/>
                <a:gd name="connsiteX43" fmla="*/ 315515 w 468485"/>
                <a:gd name="connsiteY43" fmla="*/ 396648 h 396648"/>
                <a:gd name="connsiteX44" fmla="*/ 81132 w 468485"/>
                <a:gd name="connsiteY44" fmla="*/ 396648 h 396648"/>
                <a:gd name="connsiteX45" fmla="*/ 23804 w 468485"/>
                <a:gd name="connsiteY45" fmla="*/ 372844 h 396648"/>
                <a:gd name="connsiteX46" fmla="*/ 0 w 468485"/>
                <a:gd name="connsiteY46" fmla="*/ 315515 h 396648"/>
                <a:gd name="connsiteX47" fmla="*/ 0 w 468485"/>
                <a:gd name="connsiteY47" fmla="*/ 81132 h 396648"/>
                <a:gd name="connsiteX48" fmla="*/ 23804 w 468485"/>
                <a:gd name="connsiteY48" fmla="*/ 23804 h 396648"/>
                <a:gd name="connsiteX49" fmla="*/ 81132 w 468485"/>
                <a:gd name="connsiteY49" fmla="*/ 0 h 3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68485" h="396648">
                  <a:moveTo>
                    <a:pt x="414678" y="18311"/>
                  </a:moveTo>
                  <a:cubicBezTo>
                    <a:pt x="420876" y="18311"/>
                    <a:pt x="426229" y="20565"/>
                    <a:pt x="430736" y="25072"/>
                  </a:cubicBezTo>
                  <a:lnTo>
                    <a:pt x="461724" y="56060"/>
                  </a:lnTo>
                  <a:cubicBezTo>
                    <a:pt x="466231" y="60568"/>
                    <a:pt x="468485" y="65920"/>
                    <a:pt x="468485" y="72118"/>
                  </a:cubicBezTo>
                  <a:cubicBezTo>
                    <a:pt x="468485" y="78315"/>
                    <a:pt x="466231" y="83668"/>
                    <a:pt x="461724" y="88175"/>
                  </a:cubicBezTo>
                  <a:lnTo>
                    <a:pt x="232412" y="317487"/>
                  </a:lnTo>
                  <a:cubicBezTo>
                    <a:pt x="227904" y="321995"/>
                    <a:pt x="222552" y="324249"/>
                    <a:pt x="216354" y="324249"/>
                  </a:cubicBezTo>
                  <a:cubicBezTo>
                    <a:pt x="210156" y="324249"/>
                    <a:pt x="204804" y="321995"/>
                    <a:pt x="200297" y="317487"/>
                  </a:cubicBezTo>
                  <a:lnTo>
                    <a:pt x="79161" y="196352"/>
                  </a:lnTo>
                  <a:cubicBezTo>
                    <a:pt x="74654" y="191845"/>
                    <a:pt x="72400" y="186492"/>
                    <a:pt x="72400" y="180295"/>
                  </a:cubicBezTo>
                  <a:cubicBezTo>
                    <a:pt x="72400" y="174097"/>
                    <a:pt x="74654" y="168744"/>
                    <a:pt x="79161" y="164237"/>
                  </a:cubicBezTo>
                  <a:lnTo>
                    <a:pt x="110149" y="133249"/>
                  </a:lnTo>
                  <a:cubicBezTo>
                    <a:pt x="114657" y="128742"/>
                    <a:pt x="120009" y="126488"/>
                    <a:pt x="126207" y="126488"/>
                  </a:cubicBezTo>
                  <a:cubicBezTo>
                    <a:pt x="132405" y="126488"/>
                    <a:pt x="137757" y="128742"/>
                    <a:pt x="142264" y="133249"/>
                  </a:cubicBezTo>
                  <a:lnTo>
                    <a:pt x="216354" y="207339"/>
                  </a:lnTo>
                  <a:lnTo>
                    <a:pt x="398621" y="25072"/>
                  </a:lnTo>
                  <a:cubicBezTo>
                    <a:pt x="403128" y="20565"/>
                    <a:pt x="408481" y="18311"/>
                    <a:pt x="414678" y="18311"/>
                  </a:cubicBezTo>
                  <a:close/>
                  <a:moveTo>
                    <a:pt x="81132" y="0"/>
                  </a:moveTo>
                  <a:lnTo>
                    <a:pt x="315515" y="0"/>
                  </a:lnTo>
                  <a:cubicBezTo>
                    <a:pt x="327347" y="0"/>
                    <a:pt x="338334" y="2348"/>
                    <a:pt x="348476" y="7043"/>
                  </a:cubicBezTo>
                  <a:cubicBezTo>
                    <a:pt x="351293" y="8357"/>
                    <a:pt x="352983" y="10517"/>
                    <a:pt x="353546" y="13522"/>
                  </a:cubicBezTo>
                  <a:cubicBezTo>
                    <a:pt x="354110" y="16715"/>
                    <a:pt x="353264" y="19438"/>
                    <a:pt x="351011" y="21692"/>
                  </a:cubicBezTo>
                  <a:lnTo>
                    <a:pt x="337207" y="35495"/>
                  </a:lnTo>
                  <a:cubicBezTo>
                    <a:pt x="335329" y="37373"/>
                    <a:pt x="333169" y="38313"/>
                    <a:pt x="330728" y="38313"/>
                  </a:cubicBezTo>
                  <a:cubicBezTo>
                    <a:pt x="330164" y="38313"/>
                    <a:pt x="329319" y="38125"/>
                    <a:pt x="328192" y="37749"/>
                  </a:cubicBezTo>
                  <a:cubicBezTo>
                    <a:pt x="323873" y="36622"/>
                    <a:pt x="319647" y="36059"/>
                    <a:pt x="315515" y="36059"/>
                  </a:cubicBezTo>
                  <a:lnTo>
                    <a:pt x="81132" y="36059"/>
                  </a:lnTo>
                  <a:cubicBezTo>
                    <a:pt x="68737" y="36059"/>
                    <a:pt x="58126" y="40472"/>
                    <a:pt x="49299" y="49299"/>
                  </a:cubicBezTo>
                  <a:cubicBezTo>
                    <a:pt x="40472" y="58126"/>
                    <a:pt x="36058" y="68737"/>
                    <a:pt x="36058" y="81132"/>
                  </a:cubicBezTo>
                  <a:lnTo>
                    <a:pt x="36058" y="315515"/>
                  </a:lnTo>
                  <a:cubicBezTo>
                    <a:pt x="36058" y="327911"/>
                    <a:pt x="40472" y="338522"/>
                    <a:pt x="49299" y="347349"/>
                  </a:cubicBezTo>
                  <a:cubicBezTo>
                    <a:pt x="58126" y="356176"/>
                    <a:pt x="68737" y="360589"/>
                    <a:pt x="81132" y="360589"/>
                  </a:cubicBezTo>
                  <a:lnTo>
                    <a:pt x="315515" y="360589"/>
                  </a:lnTo>
                  <a:cubicBezTo>
                    <a:pt x="327911" y="360589"/>
                    <a:pt x="338522" y="356176"/>
                    <a:pt x="347348" y="347349"/>
                  </a:cubicBezTo>
                  <a:cubicBezTo>
                    <a:pt x="356175" y="338522"/>
                    <a:pt x="360589" y="327911"/>
                    <a:pt x="360589" y="315515"/>
                  </a:cubicBezTo>
                  <a:lnTo>
                    <a:pt x="360589" y="243961"/>
                  </a:lnTo>
                  <a:cubicBezTo>
                    <a:pt x="360589" y="241520"/>
                    <a:pt x="361434" y="239454"/>
                    <a:pt x="363124" y="237764"/>
                  </a:cubicBezTo>
                  <a:lnTo>
                    <a:pt x="381154" y="219734"/>
                  </a:lnTo>
                  <a:cubicBezTo>
                    <a:pt x="383032" y="217856"/>
                    <a:pt x="385192" y="216917"/>
                    <a:pt x="387633" y="216917"/>
                  </a:cubicBezTo>
                  <a:cubicBezTo>
                    <a:pt x="388760" y="216917"/>
                    <a:pt x="389887" y="217198"/>
                    <a:pt x="391014" y="217762"/>
                  </a:cubicBezTo>
                  <a:cubicBezTo>
                    <a:pt x="394770" y="219264"/>
                    <a:pt x="396648" y="221988"/>
                    <a:pt x="396648" y="225932"/>
                  </a:cubicBezTo>
                  <a:lnTo>
                    <a:pt x="396648" y="315515"/>
                  </a:lnTo>
                  <a:cubicBezTo>
                    <a:pt x="396648" y="337865"/>
                    <a:pt x="388713" y="356974"/>
                    <a:pt x="372843" y="372844"/>
                  </a:cubicBezTo>
                  <a:cubicBezTo>
                    <a:pt x="356974" y="388713"/>
                    <a:pt x="337864" y="396648"/>
                    <a:pt x="315515" y="396648"/>
                  </a:cubicBezTo>
                  <a:lnTo>
                    <a:pt x="81132" y="396648"/>
                  </a:lnTo>
                  <a:cubicBezTo>
                    <a:pt x="58783" y="396648"/>
                    <a:pt x="39674" y="388713"/>
                    <a:pt x="23804" y="372844"/>
                  </a:cubicBezTo>
                  <a:cubicBezTo>
                    <a:pt x="7935" y="356974"/>
                    <a:pt x="0" y="337865"/>
                    <a:pt x="0" y="315515"/>
                  </a:cubicBezTo>
                  <a:lnTo>
                    <a:pt x="0" y="81132"/>
                  </a:lnTo>
                  <a:cubicBezTo>
                    <a:pt x="0" y="58783"/>
                    <a:pt x="7935" y="39674"/>
                    <a:pt x="23804" y="23804"/>
                  </a:cubicBezTo>
                  <a:cubicBezTo>
                    <a:pt x="39674" y="7935"/>
                    <a:pt x="58783" y="0"/>
                    <a:pt x="81132"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63"/>
              <a:endParaRPr lang="en-US" sz="1350" dirty="0">
                <a:solidFill>
                  <a:prstClr val="white"/>
                </a:solidFill>
              </a:endParaRPr>
            </a:p>
          </p:txBody>
        </p:sp>
        <p:sp>
          <p:nvSpPr>
            <p:cNvPr id="59" name="Freeform 58"/>
            <p:cNvSpPr/>
            <p:nvPr/>
          </p:nvSpPr>
          <p:spPr>
            <a:xfrm>
              <a:off x="5638800" y="2952129"/>
              <a:ext cx="314187" cy="265874"/>
            </a:xfrm>
            <a:custGeom>
              <a:avLst/>
              <a:gdLst>
                <a:gd name="connsiteX0" fmla="*/ 414678 w 468485"/>
                <a:gd name="connsiteY0" fmla="*/ 18311 h 396648"/>
                <a:gd name="connsiteX1" fmla="*/ 430736 w 468485"/>
                <a:gd name="connsiteY1" fmla="*/ 25072 h 396648"/>
                <a:gd name="connsiteX2" fmla="*/ 461724 w 468485"/>
                <a:gd name="connsiteY2" fmla="*/ 56060 h 396648"/>
                <a:gd name="connsiteX3" fmla="*/ 468485 w 468485"/>
                <a:gd name="connsiteY3" fmla="*/ 72118 h 396648"/>
                <a:gd name="connsiteX4" fmla="*/ 461724 w 468485"/>
                <a:gd name="connsiteY4" fmla="*/ 88175 h 396648"/>
                <a:gd name="connsiteX5" fmla="*/ 232412 w 468485"/>
                <a:gd name="connsiteY5" fmla="*/ 317487 h 396648"/>
                <a:gd name="connsiteX6" fmla="*/ 216354 w 468485"/>
                <a:gd name="connsiteY6" fmla="*/ 324249 h 396648"/>
                <a:gd name="connsiteX7" fmla="*/ 200297 w 468485"/>
                <a:gd name="connsiteY7" fmla="*/ 317487 h 396648"/>
                <a:gd name="connsiteX8" fmla="*/ 79161 w 468485"/>
                <a:gd name="connsiteY8" fmla="*/ 196352 h 396648"/>
                <a:gd name="connsiteX9" fmla="*/ 72400 w 468485"/>
                <a:gd name="connsiteY9" fmla="*/ 180295 h 396648"/>
                <a:gd name="connsiteX10" fmla="*/ 79161 w 468485"/>
                <a:gd name="connsiteY10" fmla="*/ 164237 h 396648"/>
                <a:gd name="connsiteX11" fmla="*/ 110149 w 468485"/>
                <a:gd name="connsiteY11" fmla="*/ 133249 h 396648"/>
                <a:gd name="connsiteX12" fmla="*/ 126207 w 468485"/>
                <a:gd name="connsiteY12" fmla="*/ 126488 h 396648"/>
                <a:gd name="connsiteX13" fmla="*/ 142264 w 468485"/>
                <a:gd name="connsiteY13" fmla="*/ 133249 h 396648"/>
                <a:gd name="connsiteX14" fmla="*/ 216354 w 468485"/>
                <a:gd name="connsiteY14" fmla="*/ 207339 h 396648"/>
                <a:gd name="connsiteX15" fmla="*/ 398621 w 468485"/>
                <a:gd name="connsiteY15" fmla="*/ 25072 h 396648"/>
                <a:gd name="connsiteX16" fmla="*/ 414678 w 468485"/>
                <a:gd name="connsiteY16" fmla="*/ 18311 h 396648"/>
                <a:gd name="connsiteX17" fmla="*/ 81132 w 468485"/>
                <a:gd name="connsiteY17" fmla="*/ 0 h 396648"/>
                <a:gd name="connsiteX18" fmla="*/ 315515 w 468485"/>
                <a:gd name="connsiteY18" fmla="*/ 0 h 396648"/>
                <a:gd name="connsiteX19" fmla="*/ 348476 w 468485"/>
                <a:gd name="connsiteY19" fmla="*/ 7043 h 396648"/>
                <a:gd name="connsiteX20" fmla="*/ 353546 w 468485"/>
                <a:gd name="connsiteY20" fmla="*/ 13522 h 396648"/>
                <a:gd name="connsiteX21" fmla="*/ 351011 w 468485"/>
                <a:gd name="connsiteY21" fmla="*/ 21692 h 396648"/>
                <a:gd name="connsiteX22" fmla="*/ 337207 w 468485"/>
                <a:gd name="connsiteY22" fmla="*/ 35495 h 396648"/>
                <a:gd name="connsiteX23" fmla="*/ 330728 w 468485"/>
                <a:gd name="connsiteY23" fmla="*/ 38313 h 396648"/>
                <a:gd name="connsiteX24" fmla="*/ 328192 w 468485"/>
                <a:gd name="connsiteY24" fmla="*/ 37749 h 396648"/>
                <a:gd name="connsiteX25" fmla="*/ 315515 w 468485"/>
                <a:gd name="connsiteY25" fmla="*/ 36059 h 396648"/>
                <a:gd name="connsiteX26" fmla="*/ 81132 w 468485"/>
                <a:gd name="connsiteY26" fmla="*/ 36059 h 396648"/>
                <a:gd name="connsiteX27" fmla="*/ 49299 w 468485"/>
                <a:gd name="connsiteY27" fmla="*/ 49299 h 396648"/>
                <a:gd name="connsiteX28" fmla="*/ 36058 w 468485"/>
                <a:gd name="connsiteY28" fmla="*/ 81132 h 396648"/>
                <a:gd name="connsiteX29" fmla="*/ 36058 w 468485"/>
                <a:gd name="connsiteY29" fmla="*/ 315515 h 396648"/>
                <a:gd name="connsiteX30" fmla="*/ 49299 w 468485"/>
                <a:gd name="connsiteY30" fmla="*/ 347349 h 396648"/>
                <a:gd name="connsiteX31" fmla="*/ 81132 w 468485"/>
                <a:gd name="connsiteY31" fmla="*/ 360589 h 396648"/>
                <a:gd name="connsiteX32" fmla="*/ 315515 w 468485"/>
                <a:gd name="connsiteY32" fmla="*/ 360589 h 396648"/>
                <a:gd name="connsiteX33" fmla="*/ 347348 w 468485"/>
                <a:gd name="connsiteY33" fmla="*/ 347349 h 396648"/>
                <a:gd name="connsiteX34" fmla="*/ 360589 w 468485"/>
                <a:gd name="connsiteY34" fmla="*/ 315515 h 396648"/>
                <a:gd name="connsiteX35" fmla="*/ 360589 w 468485"/>
                <a:gd name="connsiteY35" fmla="*/ 243961 h 396648"/>
                <a:gd name="connsiteX36" fmla="*/ 363124 w 468485"/>
                <a:gd name="connsiteY36" fmla="*/ 237764 h 396648"/>
                <a:gd name="connsiteX37" fmla="*/ 381154 w 468485"/>
                <a:gd name="connsiteY37" fmla="*/ 219734 h 396648"/>
                <a:gd name="connsiteX38" fmla="*/ 387633 w 468485"/>
                <a:gd name="connsiteY38" fmla="*/ 216917 h 396648"/>
                <a:gd name="connsiteX39" fmla="*/ 391014 w 468485"/>
                <a:gd name="connsiteY39" fmla="*/ 217762 h 396648"/>
                <a:gd name="connsiteX40" fmla="*/ 396648 w 468485"/>
                <a:gd name="connsiteY40" fmla="*/ 225932 h 396648"/>
                <a:gd name="connsiteX41" fmla="*/ 396648 w 468485"/>
                <a:gd name="connsiteY41" fmla="*/ 315515 h 396648"/>
                <a:gd name="connsiteX42" fmla="*/ 372843 w 468485"/>
                <a:gd name="connsiteY42" fmla="*/ 372844 h 396648"/>
                <a:gd name="connsiteX43" fmla="*/ 315515 w 468485"/>
                <a:gd name="connsiteY43" fmla="*/ 396648 h 396648"/>
                <a:gd name="connsiteX44" fmla="*/ 81132 w 468485"/>
                <a:gd name="connsiteY44" fmla="*/ 396648 h 396648"/>
                <a:gd name="connsiteX45" fmla="*/ 23804 w 468485"/>
                <a:gd name="connsiteY45" fmla="*/ 372844 h 396648"/>
                <a:gd name="connsiteX46" fmla="*/ 0 w 468485"/>
                <a:gd name="connsiteY46" fmla="*/ 315515 h 396648"/>
                <a:gd name="connsiteX47" fmla="*/ 0 w 468485"/>
                <a:gd name="connsiteY47" fmla="*/ 81132 h 396648"/>
                <a:gd name="connsiteX48" fmla="*/ 23804 w 468485"/>
                <a:gd name="connsiteY48" fmla="*/ 23804 h 396648"/>
                <a:gd name="connsiteX49" fmla="*/ 81132 w 468485"/>
                <a:gd name="connsiteY49" fmla="*/ 0 h 3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68485" h="396648">
                  <a:moveTo>
                    <a:pt x="414678" y="18311"/>
                  </a:moveTo>
                  <a:cubicBezTo>
                    <a:pt x="420876" y="18311"/>
                    <a:pt x="426229" y="20565"/>
                    <a:pt x="430736" y="25072"/>
                  </a:cubicBezTo>
                  <a:lnTo>
                    <a:pt x="461724" y="56060"/>
                  </a:lnTo>
                  <a:cubicBezTo>
                    <a:pt x="466231" y="60568"/>
                    <a:pt x="468485" y="65920"/>
                    <a:pt x="468485" y="72118"/>
                  </a:cubicBezTo>
                  <a:cubicBezTo>
                    <a:pt x="468485" y="78315"/>
                    <a:pt x="466231" y="83668"/>
                    <a:pt x="461724" y="88175"/>
                  </a:cubicBezTo>
                  <a:lnTo>
                    <a:pt x="232412" y="317487"/>
                  </a:lnTo>
                  <a:cubicBezTo>
                    <a:pt x="227904" y="321995"/>
                    <a:pt x="222552" y="324249"/>
                    <a:pt x="216354" y="324249"/>
                  </a:cubicBezTo>
                  <a:cubicBezTo>
                    <a:pt x="210156" y="324249"/>
                    <a:pt x="204804" y="321995"/>
                    <a:pt x="200297" y="317487"/>
                  </a:cubicBezTo>
                  <a:lnTo>
                    <a:pt x="79161" y="196352"/>
                  </a:lnTo>
                  <a:cubicBezTo>
                    <a:pt x="74654" y="191845"/>
                    <a:pt x="72400" y="186492"/>
                    <a:pt x="72400" y="180295"/>
                  </a:cubicBezTo>
                  <a:cubicBezTo>
                    <a:pt x="72400" y="174097"/>
                    <a:pt x="74654" y="168744"/>
                    <a:pt x="79161" y="164237"/>
                  </a:cubicBezTo>
                  <a:lnTo>
                    <a:pt x="110149" y="133249"/>
                  </a:lnTo>
                  <a:cubicBezTo>
                    <a:pt x="114657" y="128742"/>
                    <a:pt x="120009" y="126488"/>
                    <a:pt x="126207" y="126488"/>
                  </a:cubicBezTo>
                  <a:cubicBezTo>
                    <a:pt x="132405" y="126488"/>
                    <a:pt x="137757" y="128742"/>
                    <a:pt x="142264" y="133249"/>
                  </a:cubicBezTo>
                  <a:lnTo>
                    <a:pt x="216354" y="207339"/>
                  </a:lnTo>
                  <a:lnTo>
                    <a:pt x="398621" y="25072"/>
                  </a:lnTo>
                  <a:cubicBezTo>
                    <a:pt x="403128" y="20565"/>
                    <a:pt x="408481" y="18311"/>
                    <a:pt x="414678" y="18311"/>
                  </a:cubicBezTo>
                  <a:close/>
                  <a:moveTo>
                    <a:pt x="81132" y="0"/>
                  </a:moveTo>
                  <a:lnTo>
                    <a:pt x="315515" y="0"/>
                  </a:lnTo>
                  <a:cubicBezTo>
                    <a:pt x="327347" y="0"/>
                    <a:pt x="338334" y="2348"/>
                    <a:pt x="348476" y="7043"/>
                  </a:cubicBezTo>
                  <a:cubicBezTo>
                    <a:pt x="351293" y="8357"/>
                    <a:pt x="352983" y="10517"/>
                    <a:pt x="353546" y="13522"/>
                  </a:cubicBezTo>
                  <a:cubicBezTo>
                    <a:pt x="354110" y="16715"/>
                    <a:pt x="353264" y="19438"/>
                    <a:pt x="351011" y="21692"/>
                  </a:cubicBezTo>
                  <a:lnTo>
                    <a:pt x="337207" y="35495"/>
                  </a:lnTo>
                  <a:cubicBezTo>
                    <a:pt x="335329" y="37373"/>
                    <a:pt x="333169" y="38313"/>
                    <a:pt x="330728" y="38313"/>
                  </a:cubicBezTo>
                  <a:cubicBezTo>
                    <a:pt x="330164" y="38313"/>
                    <a:pt x="329319" y="38125"/>
                    <a:pt x="328192" y="37749"/>
                  </a:cubicBezTo>
                  <a:cubicBezTo>
                    <a:pt x="323873" y="36622"/>
                    <a:pt x="319647" y="36059"/>
                    <a:pt x="315515" y="36059"/>
                  </a:cubicBezTo>
                  <a:lnTo>
                    <a:pt x="81132" y="36059"/>
                  </a:lnTo>
                  <a:cubicBezTo>
                    <a:pt x="68737" y="36059"/>
                    <a:pt x="58126" y="40472"/>
                    <a:pt x="49299" y="49299"/>
                  </a:cubicBezTo>
                  <a:cubicBezTo>
                    <a:pt x="40472" y="58126"/>
                    <a:pt x="36058" y="68737"/>
                    <a:pt x="36058" y="81132"/>
                  </a:cubicBezTo>
                  <a:lnTo>
                    <a:pt x="36058" y="315515"/>
                  </a:lnTo>
                  <a:cubicBezTo>
                    <a:pt x="36058" y="327911"/>
                    <a:pt x="40472" y="338522"/>
                    <a:pt x="49299" y="347349"/>
                  </a:cubicBezTo>
                  <a:cubicBezTo>
                    <a:pt x="58126" y="356176"/>
                    <a:pt x="68737" y="360589"/>
                    <a:pt x="81132" y="360589"/>
                  </a:cubicBezTo>
                  <a:lnTo>
                    <a:pt x="315515" y="360589"/>
                  </a:lnTo>
                  <a:cubicBezTo>
                    <a:pt x="327911" y="360589"/>
                    <a:pt x="338522" y="356176"/>
                    <a:pt x="347348" y="347349"/>
                  </a:cubicBezTo>
                  <a:cubicBezTo>
                    <a:pt x="356175" y="338522"/>
                    <a:pt x="360589" y="327911"/>
                    <a:pt x="360589" y="315515"/>
                  </a:cubicBezTo>
                  <a:lnTo>
                    <a:pt x="360589" y="243961"/>
                  </a:lnTo>
                  <a:cubicBezTo>
                    <a:pt x="360589" y="241520"/>
                    <a:pt x="361434" y="239454"/>
                    <a:pt x="363124" y="237764"/>
                  </a:cubicBezTo>
                  <a:lnTo>
                    <a:pt x="381154" y="219734"/>
                  </a:lnTo>
                  <a:cubicBezTo>
                    <a:pt x="383032" y="217856"/>
                    <a:pt x="385192" y="216917"/>
                    <a:pt x="387633" y="216917"/>
                  </a:cubicBezTo>
                  <a:cubicBezTo>
                    <a:pt x="388760" y="216917"/>
                    <a:pt x="389887" y="217198"/>
                    <a:pt x="391014" y="217762"/>
                  </a:cubicBezTo>
                  <a:cubicBezTo>
                    <a:pt x="394770" y="219264"/>
                    <a:pt x="396648" y="221988"/>
                    <a:pt x="396648" y="225932"/>
                  </a:cubicBezTo>
                  <a:lnTo>
                    <a:pt x="396648" y="315515"/>
                  </a:lnTo>
                  <a:cubicBezTo>
                    <a:pt x="396648" y="337865"/>
                    <a:pt x="388713" y="356974"/>
                    <a:pt x="372843" y="372844"/>
                  </a:cubicBezTo>
                  <a:cubicBezTo>
                    <a:pt x="356974" y="388713"/>
                    <a:pt x="337864" y="396648"/>
                    <a:pt x="315515" y="396648"/>
                  </a:cubicBezTo>
                  <a:lnTo>
                    <a:pt x="81132" y="396648"/>
                  </a:lnTo>
                  <a:cubicBezTo>
                    <a:pt x="58783" y="396648"/>
                    <a:pt x="39674" y="388713"/>
                    <a:pt x="23804" y="372844"/>
                  </a:cubicBezTo>
                  <a:cubicBezTo>
                    <a:pt x="7935" y="356974"/>
                    <a:pt x="0" y="337865"/>
                    <a:pt x="0" y="315515"/>
                  </a:cubicBezTo>
                  <a:lnTo>
                    <a:pt x="0" y="81132"/>
                  </a:lnTo>
                  <a:cubicBezTo>
                    <a:pt x="0" y="58783"/>
                    <a:pt x="7935" y="39674"/>
                    <a:pt x="23804" y="23804"/>
                  </a:cubicBezTo>
                  <a:cubicBezTo>
                    <a:pt x="39674" y="7935"/>
                    <a:pt x="58783" y="0"/>
                    <a:pt x="81132"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63"/>
              <a:endParaRPr lang="en-US" sz="1350" dirty="0">
                <a:solidFill>
                  <a:prstClr val="white"/>
                </a:solidFill>
              </a:endParaRPr>
            </a:p>
          </p:txBody>
        </p:sp>
        <p:sp>
          <p:nvSpPr>
            <p:cNvPr id="60" name="Freeform 59"/>
            <p:cNvSpPr/>
            <p:nvPr/>
          </p:nvSpPr>
          <p:spPr>
            <a:xfrm>
              <a:off x="5638800" y="2507069"/>
              <a:ext cx="314187" cy="265874"/>
            </a:xfrm>
            <a:custGeom>
              <a:avLst/>
              <a:gdLst>
                <a:gd name="connsiteX0" fmla="*/ 414678 w 468485"/>
                <a:gd name="connsiteY0" fmla="*/ 18311 h 396648"/>
                <a:gd name="connsiteX1" fmla="*/ 430736 w 468485"/>
                <a:gd name="connsiteY1" fmla="*/ 25072 h 396648"/>
                <a:gd name="connsiteX2" fmla="*/ 461724 w 468485"/>
                <a:gd name="connsiteY2" fmla="*/ 56060 h 396648"/>
                <a:gd name="connsiteX3" fmla="*/ 468485 w 468485"/>
                <a:gd name="connsiteY3" fmla="*/ 72118 h 396648"/>
                <a:gd name="connsiteX4" fmla="*/ 461724 w 468485"/>
                <a:gd name="connsiteY4" fmla="*/ 88175 h 396648"/>
                <a:gd name="connsiteX5" fmla="*/ 232412 w 468485"/>
                <a:gd name="connsiteY5" fmla="*/ 317487 h 396648"/>
                <a:gd name="connsiteX6" fmla="*/ 216354 w 468485"/>
                <a:gd name="connsiteY6" fmla="*/ 324249 h 396648"/>
                <a:gd name="connsiteX7" fmla="*/ 200297 w 468485"/>
                <a:gd name="connsiteY7" fmla="*/ 317487 h 396648"/>
                <a:gd name="connsiteX8" fmla="*/ 79161 w 468485"/>
                <a:gd name="connsiteY8" fmla="*/ 196352 h 396648"/>
                <a:gd name="connsiteX9" fmla="*/ 72400 w 468485"/>
                <a:gd name="connsiteY9" fmla="*/ 180295 h 396648"/>
                <a:gd name="connsiteX10" fmla="*/ 79161 w 468485"/>
                <a:gd name="connsiteY10" fmla="*/ 164237 h 396648"/>
                <a:gd name="connsiteX11" fmla="*/ 110149 w 468485"/>
                <a:gd name="connsiteY11" fmla="*/ 133249 h 396648"/>
                <a:gd name="connsiteX12" fmla="*/ 126207 w 468485"/>
                <a:gd name="connsiteY12" fmla="*/ 126488 h 396648"/>
                <a:gd name="connsiteX13" fmla="*/ 142264 w 468485"/>
                <a:gd name="connsiteY13" fmla="*/ 133249 h 396648"/>
                <a:gd name="connsiteX14" fmla="*/ 216354 w 468485"/>
                <a:gd name="connsiteY14" fmla="*/ 207339 h 396648"/>
                <a:gd name="connsiteX15" fmla="*/ 398621 w 468485"/>
                <a:gd name="connsiteY15" fmla="*/ 25072 h 396648"/>
                <a:gd name="connsiteX16" fmla="*/ 414678 w 468485"/>
                <a:gd name="connsiteY16" fmla="*/ 18311 h 396648"/>
                <a:gd name="connsiteX17" fmla="*/ 81132 w 468485"/>
                <a:gd name="connsiteY17" fmla="*/ 0 h 396648"/>
                <a:gd name="connsiteX18" fmla="*/ 315515 w 468485"/>
                <a:gd name="connsiteY18" fmla="*/ 0 h 396648"/>
                <a:gd name="connsiteX19" fmla="*/ 348476 w 468485"/>
                <a:gd name="connsiteY19" fmla="*/ 7043 h 396648"/>
                <a:gd name="connsiteX20" fmla="*/ 353546 w 468485"/>
                <a:gd name="connsiteY20" fmla="*/ 13522 h 396648"/>
                <a:gd name="connsiteX21" fmla="*/ 351011 w 468485"/>
                <a:gd name="connsiteY21" fmla="*/ 21692 h 396648"/>
                <a:gd name="connsiteX22" fmla="*/ 337207 w 468485"/>
                <a:gd name="connsiteY22" fmla="*/ 35495 h 396648"/>
                <a:gd name="connsiteX23" fmla="*/ 330728 w 468485"/>
                <a:gd name="connsiteY23" fmla="*/ 38313 h 396648"/>
                <a:gd name="connsiteX24" fmla="*/ 328192 w 468485"/>
                <a:gd name="connsiteY24" fmla="*/ 37749 h 396648"/>
                <a:gd name="connsiteX25" fmla="*/ 315515 w 468485"/>
                <a:gd name="connsiteY25" fmla="*/ 36059 h 396648"/>
                <a:gd name="connsiteX26" fmla="*/ 81132 w 468485"/>
                <a:gd name="connsiteY26" fmla="*/ 36059 h 396648"/>
                <a:gd name="connsiteX27" fmla="*/ 49299 w 468485"/>
                <a:gd name="connsiteY27" fmla="*/ 49299 h 396648"/>
                <a:gd name="connsiteX28" fmla="*/ 36058 w 468485"/>
                <a:gd name="connsiteY28" fmla="*/ 81132 h 396648"/>
                <a:gd name="connsiteX29" fmla="*/ 36058 w 468485"/>
                <a:gd name="connsiteY29" fmla="*/ 315515 h 396648"/>
                <a:gd name="connsiteX30" fmla="*/ 49299 w 468485"/>
                <a:gd name="connsiteY30" fmla="*/ 347349 h 396648"/>
                <a:gd name="connsiteX31" fmla="*/ 81132 w 468485"/>
                <a:gd name="connsiteY31" fmla="*/ 360589 h 396648"/>
                <a:gd name="connsiteX32" fmla="*/ 315515 w 468485"/>
                <a:gd name="connsiteY32" fmla="*/ 360589 h 396648"/>
                <a:gd name="connsiteX33" fmla="*/ 347348 w 468485"/>
                <a:gd name="connsiteY33" fmla="*/ 347349 h 396648"/>
                <a:gd name="connsiteX34" fmla="*/ 360589 w 468485"/>
                <a:gd name="connsiteY34" fmla="*/ 315515 h 396648"/>
                <a:gd name="connsiteX35" fmla="*/ 360589 w 468485"/>
                <a:gd name="connsiteY35" fmla="*/ 243961 h 396648"/>
                <a:gd name="connsiteX36" fmla="*/ 363124 w 468485"/>
                <a:gd name="connsiteY36" fmla="*/ 237764 h 396648"/>
                <a:gd name="connsiteX37" fmla="*/ 381154 w 468485"/>
                <a:gd name="connsiteY37" fmla="*/ 219734 h 396648"/>
                <a:gd name="connsiteX38" fmla="*/ 387633 w 468485"/>
                <a:gd name="connsiteY38" fmla="*/ 216917 h 396648"/>
                <a:gd name="connsiteX39" fmla="*/ 391014 w 468485"/>
                <a:gd name="connsiteY39" fmla="*/ 217762 h 396648"/>
                <a:gd name="connsiteX40" fmla="*/ 396648 w 468485"/>
                <a:gd name="connsiteY40" fmla="*/ 225932 h 396648"/>
                <a:gd name="connsiteX41" fmla="*/ 396648 w 468485"/>
                <a:gd name="connsiteY41" fmla="*/ 315515 h 396648"/>
                <a:gd name="connsiteX42" fmla="*/ 372843 w 468485"/>
                <a:gd name="connsiteY42" fmla="*/ 372844 h 396648"/>
                <a:gd name="connsiteX43" fmla="*/ 315515 w 468485"/>
                <a:gd name="connsiteY43" fmla="*/ 396648 h 396648"/>
                <a:gd name="connsiteX44" fmla="*/ 81132 w 468485"/>
                <a:gd name="connsiteY44" fmla="*/ 396648 h 396648"/>
                <a:gd name="connsiteX45" fmla="*/ 23804 w 468485"/>
                <a:gd name="connsiteY45" fmla="*/ 372844 h 396648"/>
                <a:gd name="connsiteX46" fmla="*/ 0 w 468485"/>
                <a:gd name="connsiteY46" fmla="*/ 315515 h 396648"/>
                <a:gd name="connsiteX47" fmla="*/ 0 w 468485"/>
                <a:gd name="connsiteY47" fmla="*/ 81132 h 396648"/>
                <a:gd name="connsiteX48" fmla="*/ 23804 w 468485"/>
                <a:gd name="connsiteY48" fmla="*/ 23804 h 396648"/>
                <a:gd name="connsiteX49" fmla="*/ 81132 w 468485"/>
                <a:gd name="connsiteY49" fmla="*/ 0 h 3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68485" h="396648">
                  <a:moveTo>
                    <a:pt x="414678" y="18311"/>
                  </a:moveTo>
                  <a:cubicBezTo>
                    <a:pt x="420876" y="18311"/>
                    <a:pt x="426229" y="20565"/>
                    <a:pt x="430736" y="25072"/>
                  </a:cubicBezTo>
                  <a:lnTo>
                    <a:pt x="461724" y="56060"/>
                  </a:lnTo>
                  <a:cubicBezTo>
                    <a:pt x="466231" y="60568"/>
                    <a:pt x="468485" y="65920"/>
                    <a:pt x="468485" y="72118"/>
                  </a:cubicBezTo>
                  <a:cubicBezTo>
                    <a:pt x="468485" y="78315"/>
                    <a:pt x="466231" y="83668"/>
                    <a:pt x="461724" y="88175"/>
                  </a:cubicBezTo>
                  <a:lnTo>
                    <a:pt x="232412" y="317487"/>
                  </a:lnTo>
                  <a:cubicBezTo>
                    <a:pt x="227904" y="321995"/>
                    <a:pt x="222552" y="324249"/>
                    <a:pt x="216354" y="324249"/>
                  </a:cubicBezTo>
                  <a:cubicBezTo>
                    <a:pt x="210156" y="324249"/>
                    <a:pt x="204804" y="321995"/>
                    <a:pt x="200297" y="317487"/>
                  </a:cubicBezTo>
                  <a:lnTo>
                    <a:pt x="79161" y="196352"/>
                  </a:lnTo>
                  <a:cubicBezTo>
                    <a:pt x="74654" y="191845"/>
                    <a:pt x="72400" y="186492"/>
                    <a:pt x="72400" y="180295"/>
                  </a:cubicBezTo>
                  <a:cubicBezTo>
                    <a:pt x="72400" y="174097"/>
                    <a:pt x="74654" y="168744"/>
                    <a:pt x="79161" y="164237"/>
                  </a:cubicBezTo>
                  <a:lnTo>
                    <a:pt x="110149" y="133249"/>
                  </a:lnTo>
                  <a:cubicBezTo>
                    <a:pt x="114657" y="128742"/>
                    <a:pt x="120009" y="126488"/>
                    <a:pt x="126207" y="126488"/>
                  </a:cubicBezTo>
                  <a:cubicBezTo>
                    <a:pt x="132405" y="126488"/>
                    <a:pt x="137757" y="128742"/>
                    <a:pt x="142264" y="133249"/>
                  </a:cubicBezTo>
                  <a:lnTo>
                    <a:pt x="216354" y="207339"/>
                  </a:lnTo>
                  <a:lnTo>
                    <a:pt x="398621" y="25072"/>
                  </a:lnTo>
                  <a:cubicBezTo>
                    <a:pt x="403128" y="20565"/>
                    <a:pt x="408481" y="18311"/>
                    <a:pt x="414678" y="18311"/>
                  </a:cubicBezTo>
                  <a:close/>
                  <a:moveTo>
                    <a:pt x="81132" y="0"/>
                  </a:moveTo>
                  <a:lnTo>
                    <a:pt x="315515" y="0"/>
                  </a:lnTo>
                  <a:cubicBezTo>
                    <a:pt x="327347" y="0"/>
                    <a:pt x="338334" y="2348"/>
                    <a:pt x="348476" y="7043"/>
                  </a:cubicBezTo>
                  <a:cubicBezTo>
                    <a:pt x="351293" y="8357"/>
                    <a:pt x="352983" y="10517"/>
                    <a:pt x="353546" y="13522"/>
                  </a:cubicBezTo>
                  <a:cubicBezTo>
                    <a:pt x="354110" y="16715"/>
                    <a:pt x="353264" y="19438"/>
                    <a:pt x="351011" y="21692"/>
                  </a:cubicBezTo>
                  <a:lnTo>
                    <a:pt x="337207" y="35495"/>
                  </a:lnTo>
                  <a:cubicBezTo>
                    <a:pt x="335329" y="37373"/>
                    <a:pt x="333169" y="38313"/>
                    <a:pt x="330728" y="38313"/>
                  </a:cubicBezTo>
                  <a:cubicBezTo>
                    <a:pt x="330164" y="38313"/>
                    <a:pt x="329319" y="38125"/>
                    <a:pt x="328192" y="37749"/>
                  </a:cubicBezTo>
                  <a:cubicBezTo>
                    <a:pt x="323873" y="36622"/>
                    <a:pt x="319647" y="36059"/>
                    <a:pt x="315515" y="36059"/>
                  </a:cubicBezTo>
                  <a:lnTo>
                    <a:pt x="81132" y="36059"/>
                  </a:lnTo>
                  <a:cubicBezTo>
                    <a:pt x="68737" y="36059"/>
                    <a:pt x="58126" y="40472"/>
                    <a:pt x="49299" y="49299"/>
                  </a:cubicBezTo>
                  <a:cubicBezTo>
                    <a:pt x="40472" y="58126"/>
                    <a:pt x="36058" y="68737"/>
                    <a:pt x="36058" y="81132"/>
                  </a:cubicBezTo>
                  <a:lnTo>
                    <a:pt x="36058" y="315515"/>
                  </a:lnTo>
                  <a:cubicBezTo>
                    <a:pt x="36058" y="327911"/>
                    <a:pt x="40472" y="338522"/>
                    <a:pt x="49299" y="347349"/>
                  </a:cubicBezTo>
                  <a:cubicBezTo>
                    <a:pt x="58126" y="356176"/>
                    <a:pt x="68737" y="360589"/>
                    <a:pt x="81132" y="360589"/>
                  </a:cubicBezTo>
                  <a:lnTo>
                    <a:pt x="315515" y="360589"/>
                  </a:lnTo>
                  <a:cubicBezTo>
                    <a:pt x="327911" y="360589"/>
                    <a:pt x="338522" y="356176"/>
                    <a:pt x="347348" y="347349"/>
                  </a:cubicBezTo>
                  <a:cubicBezTo>
                    <a:pt x="356175" y="338522"/>
                    <a:pt x="360589" y="327911"/>
                    <a:pt x="360589" y="315515"/>
                  </a:cubicBezTo>
                  <a:lnTo>
                    <a:pt x="360589" y="243961"/>
                  </a:lnTo>
                  <a:cubicBezTo>
                    <a:pt x="360589" y="241520"/>
                    <a:pt x="361434" y="239454"/>
                    <a:pt x="363124" y="237764"/>
                  </a:cubicBezTo>
                  <a:lnTo>
                    <a:pt x="381154" y="219734"/>
                  </a:lnTo>
                  <a:cubicBezTo>
                    <a:pt x="383032" y="217856"/>
                    <a:pt x="385192" y="216917"/>
                    <a:pt x="387633" y="216917"/>
                  </a:cubicBezTo>
                  <a:cubicBezTo>
                    <a:pt x="388760" y="216917"/>
                    <a:pt x="389887" y="217198"/>
                    <a:pt x="391014" y="217762"/>
                  </a:cubicBezTo>
                  <a:cubicBezTo>
                    <a:pt x="394770" y="219264"/>
                    <a:pt x="396648" y="221988"/>
                    <a:pt x="396648" y="225932"/>
                  </a:cubicBezTo>
                  <a:lnTo>
                    <a:pt x="396648" y="315515"/>
                  </a:lnTo>
                  <a:cubicBezTo>
                    <a:pt x="396648" y="337865"/>
                    <a:pt x="388713" y="356974"/>
                    <a:pt x="372843" y="372844"/>
                  </a:cubicBezTo>
                  <a:cubicBezTo>
                    <a:pt x="356974" y="388713"/>
                    <a:pt x="337864" y="396648"/>
                    <a:pt x="315515" y="396648"/>
                  </a:cubicBezTo>
                  <a:lnTo>
                    <a:pt x="81132" y="396648"/>
                  </a:lnTo>
                  <a:cubicBezTo>
                    <a:pt x="58783" y="396648"/>
                    <a:pt x="39674" y="388713"/>
                    <a:pt x="23804" y="372844"/>
                  </a:cubicBezTo>
                  <a:cubicBezTo>
                    <a:pt x="7935" y="356974"/>
                    <a:pt x="0" y="337865"/>
                    <a:pt x="0" y="315515"/>
                  </a:cubicBezTo>
                  <a:lnTo>
                    <a:pt x="0" y="81132"/>
                  </a:lnTo>
                  <a:cubicBezTo>
                    <a:pt x="0" y="58783"/>
                    <a:pt x="7935" y="39674"/>
                    <a:pt x="23804" y="23804"/>
                  </a:cubicBezTo>
                  <a:cubicBezTo>
                    <a:pt x="39674" y="7935"/>
                    <a:pt x="58783" y="0"/>
                    <a:pt x="81132"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63"/>
              <a:endParaRPr lang="en-US" sz="1350" dirty="0">
                <a:solidFill>
                  <a:prstClr val="white"/>
                </a:solidFill>
              </a:endParaRPr>
            </a:p>
          </p:txBody>
        </p:sp>
        <p:sp>
          <p:nvSpPr>
            <p:cNvPr id="61" name="Freeform 60"/>
            <p:cNvSpPr/>
            <p:nvPr/>
          </p:nvSpPr>
          <p:spPr>
            <a:xfrm>
              <a:off x="5638800" y="2062009"/>
              <a:ext cx="314187" cy="265874"/>
            </a:xfrm>
            <a:custGeom>
              <a:avLst/>
              <a:gdLst>
                <a:gd name="connsiteX0" fmla="*/ 414678 w 468485"/>
                <a:gd name="connsiteY0" fmla="*/ 18311 h 396648"/>
                <a:gd name="connsiteX1" fmla="*/ 430736 w 468485"/>
                <a:gd name="connsiteY1" fmla="*/ 25072 h 396648"/>
                <a:gd name="connsiteX2" fmla="*/ 461724 w 468485"/>
                <a:gd name="connsiteY2" fmla="*/ 56060 h 396648"/>
                <a:gd name="connsiteX3" fmla="*/ 468485 w 468485"/>
                <a:gd name="connsiteY3" fmla="*/ 72118 h 396648"/>
                <a:gd name="connsiteX4" fmla="*/ 461724 w 468485"/>
                <a:gd name="connsiteY4" fmla="*/ 88175 h 396648"/>
                <a:gd name="connsiteX5" fmla="*/ 232412 w 468485"/>
                <a:gd name="connsiteY5" fmla="*/ 317487 h 396648"/>
                <a:gd name="connsiteX6" fmla="*/ 216354 w 468485"/>
                <a:gd name="connsiteY6" fmla="*/ 324249 h 396648"/>
                <a:gd name="connsiteX7" fmla="*/ 200297 w 468485"/>
                <a:gd name="connsiteY7" fmla="*/ 317487 h 396648"/>
                <a:gd name="connsiteX8" fmla="*/ 79161 w 468485"/>
                <a:gd name="connsiteY8" fmla="*/ 196352 h 396648"/>
                <a:gd name="connsiteX9" fmla="*/ 72400 w 468485"/>
                <a:gd name="connsiteY9" fmla="*/ 180295 h 396648"/>
                <a:gd name="connsiteX10" fmla="*/ 79161 w 468485"/>
                <a:gd name="connsiteY10" fmla="*/ 164237 h 396648"/>
                <a:gd name="connsiteX11" fmla="*/ 110149 w 468485"/>
                <a:gd name="connsiteY11" fmla="*/ 133249 h 396648"/>
                <a:gd name="connsiteX12" fmla="*/ 126207 w 468485"/>
                <a:gd name="connsiteY12" fmla="*/ 126488 h 396648"/>
                <a:gd name="connsiteX13" fmla="*/ 142264 w 468485"/>
                <a:gd name="connsiteY13" fmla="*/ 133249 h 396648"/>
                <a:gd name="connsiteX14" fmla="*/ 216354 w 468485"/>
                <a:gd name="connsiteY14" fmla="*/ 207339 h 396648"/>
                <a:gd name="connsiteX15" fmla="*/ 398621 w 468485"/>
                <a:gd name="connsiteY15" fmla="*/ 25072 h 396648"/>
                <a:gd name="connsiteX16" fmla="*/ 414678 w 468485"/>
                <a:gd name="connsiteY16" fmla="*/ 18311 h 396648"/>
                <a:gd name="connsiteX17" fmla="*/ 81132 w 468485"/>
                <a:gd name="connsiteY17" fmla="*/ 0 h 396648"/>
                <a:gd name="connsiteX18" fmla="*/ 315515 w 468485"/>
                <a:gd name="connsiteY18" fmla="*/ 0 h 396648"/>
                <a:gd name="connsiteX19" fmla="*/ 348476 w 468485"/>
                <a:gd name="connsiteY19" fmla="*/ 7043 h 396648"/>
                <a:gd name="connsiteX20" fmla="*/ 353546 w 468485"/>
                <a:gd name="connsiteY20" fmla="*/ 13522 h 396648"/>
                <a:gd name="connsiteX21" fmla="*/ 351011 w 468485"/>
                <a:gd name="connsiteY21" fmla="*/ 21692 h 396648"/>
                <a:gd name="connsiteX22" fmla="*/ 337207 w 468485"/>
                <a:gd name="connsiteY22" fmla="*/ 35495 h 396648"/>
                <a:gd name="connsiteX23" fmla="*/ 330728 w 468485"/>
                <a:gd name="connsiteY23" fmla="*/ 38313 h 396648"/>
                <a:gd name="connsiteX24" fmla="*/ 328192 w 468485"/>
                <a:gd name="connsiteY24" fmla="*/ 37749 h 396648"/>
                <a:gd name="connsiteX25" fmla="*/ 315515 w 468485"/>
                <a:gd name="connsiteY25" fmla="*/ 36059 h 396648"/>
                <a:gd name="connsiteX26" fmla="*/ 81132 w 468485"/>
                <a:gd name="connsiteY26" fmla="*/ 36059 h 396648"/>
                <a:gd name="connsiteX27" fmla="*/ 49299 w 468485"/>
                <a:gd name="connsiteY27" fmla="*/ 49299 h 396648"/>
                <a:gd name="connsiteX28" fmla="*/ 36058 w 468485"/>
                <a:gd name="connsiteY28" fmla="*/ 81132 h 396648"/>
                <a:gd name="connsiteX29" fmla="*/ 36058 w 468485"/>
                <a:gd name="connsiteY29" fmla="*/ 315515 h 396648"/>
                <a:gd name="connsiteX30" fmla="*/ 49299 w 468485"/>
                <a:gd name="connsiteY30" fmla="*/ 347349 h 396648"/>
                <a:gd name="connsiteX31" fmla="*/ 81132 w 468485"/>
                <a:gd name="connsiteY31" fmla="*/ 360589 h 396648"/>
                <a:gd name="connsiteX32" fmla="*/ 315515 w 468485"/>
                <a:gd name="connsiteY32" fmla="*/ 360589 h 396648"/>
                <a:gd name="connsiteX33" fmla="*/ 347348 w 468485"/>
                <a:gd name="connsiteY33" fmla="*/ 347349 h 396648"/>
                <a:gd name="connsiteX34" fmla="*/ 360589 w 468485"/>
                <a:gd name="connsiteY34" fmla="*/ 315515 h 396648"/>
                <a:gd name="connsiteX35" fmla="*/ 360589 w 468485"/>
                <a:gd name="connsiteY35" fmla="*/ 243961 h 396648"/>
                <a:gd name="connsiteX36" fmla="*/ 363124 w 468485"/>
                <a:gd name="connsiteY36" fmla="*/ 237764 h 396648"/>
                <a:gd name="connsiteX37" fmla="*/ 381154 w 468485"/>
                <a:gd name="connsiteY37" fmla="*/ 219734 h 396648"/>
                <a:gd name="connsiteX38" fmla="*/ 387633 w 468485"/>
                <a:gd name="connsiteY38" fmla="*/ 216917 h 396648"/>
                <a:gd name="connsiteX39" fmla="*/ 391014 w 468485"/>
                <a:gd name="connsiteY39" fmla="*/ 217762 h 396648"/>
                <a:gd name="connsiteX40" fmla="*/ 396648 w 468485"/>
                <a:gd name="connsiteY40" fmla="*/ 225932 h 396648"/>
                <a:gd name="connsiteX41" fmla="*/ 396648 w 468485"/>
                <a:gd name="connsiteY41" fmla="*/ 315515 h 396648"/>
                <a:gd name="connsiteX42" fmla="*/ 372843 w 468485"/>
                <a:gd name="connsiteY42" fmla="*/ 372844 h 396648"/>
                <a:gd name="connsiteX43" fmla="*/ 315515 w 468485"/>
                <a:gd name="connsiteY43" fmla="*/ 396648 h 396648"/>
                <a:gd name="connsiteX44" fmla="*/ 81132 w 468485"/>
                <a:gd name="connsiteY44" fmla="*/ 396648 h 396648"/>
                <a:gd name="connsiteX45" fmla="*/ 23804 w 468485"/>
                <a:gd name="connsiteY45" fmla="*/ 372844 h 396648"/>
                <a:gd name="connsiteX46" fmla="*/ 0 w 468485"/>
                <a:gd name="connsiteY46" fmla="*/ 315515 h 396648"/>
                <a:gd name="connsiteX47" fmla="*/ 0 w 468485"/>
                <a:gd name="connsiteY47" fmla="*/ 81132 h 396648"/>
                <a:gd name="connsiteX48" fmla="*/ 23804 w 468485"/>
                <a:gd name="connsiteY48" fmla="*/ 23804 h 396648"/>
                <a:gd name="connsiteX49" fmla="*/ 81132 w 468485"/>
                <a:gd name="connsiteY49" fmla="*/ 0 h 3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68485" h="396648">
                  <a:moveTo>
                    <a:pt x="414678" y="18311"/>
                  </a:moveTo>
                  <a:cubicBezTo>
                    <a:pt x="420876" y="18311"/>
                    <a:pt x="426229" y="20565"/>
                    <a:pt x="430736" y="25072"/>
                  </a:cubicBezTo>
                  <a:lnTo>
                    <a:pt x="461724" y="56060"/>
                  </a:lnTo>
                  <a:cubicBezTo>
                    <a:pt x="466231" y="60568"/>
                    <a:pt x="468485" y="65920"/>
                    <a:pt x="468485" y="72118"/>
                  </a:cubicBezTo>
                  <a:cubicBezTo>
                    <a:pt x="468485" y="78315"/>
                    <a:pt x="466231" y="83668"/>
                    <a:pt x="461724" y="88175"/>
                  </a:cubicBezTo>
                  <a:lnTo>
                    <a:pt x="232412" y="317487"/>
                  </a:lnTo>
                  <a:cubicBezTo>
                    <a:pt x="227904" y="321995"/>
                    <a:pt x="222552" y="324249"/>
                    <a:pt x="216354" y="324249"/>
                  </a:cubicBezTo>
                  <a:cubicBezTo>
                    <a:pt x="210156" y="324249"/>
                    <a:pt x="204804" y="321995"/>
                    <a:pt x="200297" y="317487"/>
                  </a:cubicBezTo>
                  <a:lnTo>
                    <a:pt x="79161" y="196352"/>
                  </a:lnTo>
                  <a:cubicBezTo>
                    <a:pt x="74654" y="191845"/>
                    <a:pt x="72400" y="186492"/>
                    <a:pt x="72400" y="180295"/>
                  </a:cubicBezTo>
                  <a:cubicBezTo>
                    <a:pt x="72400" y="174097"/>
                    <a:pt x="74654" y="168744"/>
                    <a:pt x="79161" y="164237"/>
                  </a:cubicBezTo>
                  <a:lnTo>
                    <a:pt x="110149" y="133249"/>
                  </a:lnTo>
                  <a:cubicBezTo>
                    <a:pt x="114657" y="128742"/>
                    <a:pt x="120009" y="126488"/>
                    <a:pt x="126207" y="126488"/>
                  </a:cubicBezTo>
                  <a:cubicBezTo>
                    <a:pt x="132405" y="126488"/>
                    <a:pt x="137757" y="128742"/>
                    <a:pt x="142264" y="133249"/>
                  </a:cubicBezTo>
                  <a:lnTo>
                    <a:pt x="216354" y="207339"/>
                  </a:lnTo>
                  <a:lnTo>
                    <a:pt x="398621" y="25072"/>
                  </a:lnTo>
                  <a:cubicBezTo>
                    <a:pt x="403128" y="20565"/>
                    <a:pt x="408481" y="18311"/>
                    <a:pt x="414678" y="18311"/>
                  </a:cubicBezTo>
                  <a:close/>
                  <a:moveTo>
                    <a:pt x="81132" y="0"/>
                  </a:moveTo>
                  <a:lnTo>
                    <a:pt x="315515" y="0"/>
                  </a:lnTo>
                  <a:cubicBezTo>
                    <a:pt x="327347" y="0"/>
                    <a:pt x="338334" y="2348"/>
                    <a:pt x="348476" y="7043"/>
                  </a:cubicBezTo>
                  <a:cubicBezTo>
                    <a:pt x="351293" y="8357"/>
                    <a:pt x="352983" y="10517"/>
                    <a:pt x="353546" y="13522"/>
                  </a:cubicBezTo>
                  <a:cubicBezTo>
                    <a:pt x="354110" y="16715"/>
                    <a:pt x="353264" y="19438"/>
                    <a:pt x="351011" y="21692"/>
                  </a:cubicBezTo>
                  <a:lnTo>
                    <a:pt x="337207" y="35495"/>
                  </a:lnTo>
                  <a:cubicBezTo>
                    <a:pt x="335329" y="37373"/>
                    <a:pt x="333169" y="38313"/>
                    <a:pt x="330728" y="38313"/>
                  </a:cubicBezTo>
                  <a:cubicBezTo>
                    <a:pt x="330164" y="38313"/>
                    <a:pt x="329319" y="38125"/>
                    <a:pt x="328192" y="37749"/>
                  </a:cubicBezTo>
                  <a:cubicBezTo>
                    <a:pt x="323873" y="36622"/>
                    <a:pt x="319647" y="36059"/>
                    <a:pt x="315515" y="36059"/>
                  </a:cubicBezTo>
                  <a:lnTo>
                    <a:pt x="81132" y="36059"/>
                  </a:lnTo>
                  <a:cubicBezTo>
                    <a:pt x="68737" y="36059"/>
                    <a:pt x="58126" y="40472"/>
                    <a:pt x="49299" y="49299"/>
                  </a:cubicBezTo>
                  <a:cubicBezTo>
                    <a:pt x="40472" y="58126"/>
                    <a:pt x="36058" y="68737"/>
                    <a:pt x="36058" y="81132"/>
                  </a:cubicBezTo>
                  <a:lnTo>
                    <a:pt x="36058" y="315515"/>
                  </a:lnTo>
                  <a:cubicBezTo>
                    <a:pt x="36058" y="327911"/>
                    <a:pt x="40472" y="338522"/>
                    <a:pt x="49299" y="347349"/>
                  </a:cubicBezTo>
                  <a:cubicBezTo>
                    <a:pt x="58126" y="356176"/>
                    <a:pt x="68737" y="360589"/>
                    <a:pt x="81132" y="360589"/>
                  </a:cubicBezTo>
                  <a:lnTo>
                    <a:pt x="315515" y="360589"/>
                  </a:lnTo>
                  <a:cubicBezTo>
                    <a:pt x="327911" y="360589"/>
                    <a:pt x="338522" y="356176"/>
                    <a:pt x="347348" y="347349"/>
                  </a:cubicBezTo>
                  <a:cubicBezTo>
                    <a:pt x="356175" y="338522"/>
                    <a:pt x="360589" y="327911"/>
                    <a:pt x="360589" y="315515"/>
                  </a:cubicBezTo>
                  <a:lnTo>
                    <a:pt x="360589" y="243961"/>
                  </a:lnTo>
                  <a:cubicBezTo>
                    <a:pt x="360589" y="241520"/>
                    <a:pt x="361434" y="239454"/>
                    <a:pt x="363124" y="237764"/>
                  </a:cubicBezTo>
                  <a:lnTo>
                    <a:pt x="381154" y="219734"/>
                  </a:lnTo>
                  <a:cubicBezTo>
                    <a:pt x="383032" y="217856"/>
                    <a:pt x="385192" y="216917"/>
                    <a:pt x="387633" y="216917"/>
                  </a:cubicBezTo>
                  <a:cubicBezTo>
                    <a:pt x="388760" y="216917"/>
                    <a:pt x="389887" y="217198"/>
                    <a:pt x="391014" y="217762"/>
                  </a:cubicBezTo>
                  <a:cubicBezTo>
                    <a:pt x="394770" y="219264"/>
                    <a:pt x="396648" y="221988"/>
                    <a:pt x="396648" y="225932"/>
                  </a:cubicBezTo>
                  <a:lnTo>
                    <a:pt x="396648" y="315515"/>
                  </a:lnTo>
                  <a:cubicBezTo>
                    <a:pt x="396648" y="337865"/>
                    <a:pt x="388713" y="356974"/>
                    <a:pt x="372843" y="372844"/>
                  </a:cubicBezTo>
                  <a:cubicBezTo>
                    <a:pt x="356974" y="388713"/>
                    <a:pt x="337864" y="396648"/>
                    <a:pt x="315515" y="396648"/>
                  </a:cubicBezTo>
                  <a:lnTo>
                    <a:pt x="81132" y="396648"/>
                  </a:lnTo>
                  <a:cubicBezTo>
                    <a:pt x="58783" y="396648"/>
                    <a:pt x="39674" y="388713"/>
                    <a:pt x="23804" y="372844"/>
                  </a:cubicBezTo>
                  <a:cubicBezTo>
                    <a:pt x="7935" y="356974"/>
                    <a:pt x="0" y="337865"/>
                    <a:pt x="0" y="315515"/>
                  </a:cubicBezTo>
                  <a:lnTo>
                    <a:pt x="0" y="81132"/>
                  </a:lnTo>
                  <a:cubicBezTo>
                    <a:pt x="0" y="58783"/>
                    <a:pt x="7935" y="39674"/>
                    <a:pt x="23804" y="23804"/>
                  </a:cubicBezTo>
                  <a:cubicBezTo>
                    <a:pt x="39674" y="7935"/>
                    <a:pt x="58783" y="0"/>
                    <a:pt x="81132"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63"/>
              <a:endParaRPr lang="en-US" sz="1350" dirty="0">
                <a:solidFill>
                  <a:prstClr val="white"/>
                </a:solidFill>
              </a:endParaRPr>
            </a:p>
          </p:txBody>
        </p:sp>
      </p:grpSp>
      <p:grpSp>
        <p:nvGrpSpPr>
          <p:cNvPr id="62" name="Groupe 663"/>
          <p:cNvGrpSpPr/>
          <p:nvPr/>
        </p:nvGrpSpPr>
        <p:grpSpPr>
          <a:xfrm>
            <a:off x="1983177" y="1281477"/>
            <a:ext cx="1059116" cy="825814"/>
            <a:chOff x="4452938" y="2754312"/>
            <a:chExt cx="454026" cy="354013"/>
          </a:xfrm>
        </p:grpSpPr>
        <p:sp>
          <p:nvSpPr>
            <p:cNvPr id="63" name="Oval 591"/>
            <p:cNvSpPr>
              <a:spLocks noChangeArrowheads="1"/>
            </p:cNvSpPr>
            <p:nvPr/>
          </p:nvSpPr>
          <p:spPr bwMode="auto">
            <a:xfrm>
              <a:off x="4735513" y="2754312"/>
              <a:ext cx="133350" cy="136525"/>
            </a:xfrm>
            <a:prstGeom prst="ellipse">
              <a:avLst/>
            </a:prstGeom>
            <a:noFill/>
            <a:ln w="28575" cap="rnd">
              <a:solidFill>
                <a:schemeClr val="accent5"/>
              </a:solidFill>
              <a:prstDash val="solid"/>
              <a:round/>
              <a:headEnd/>
              <a:tailEnd/>
            </a:ln>
          </p:spPr>
          <p:txBody>
            <a:bodyPr vert="horz" wrap="square" lIns="91435" tIns="45718" rIns="91435" bIns="45718" numCol="1" anchor="t" anchorCtr="0" compatLnSpc="1">
              <a:prstTxWarp prst="textNoShape">
                <a:avLst/>
              </a:prstTxWarp>
            </a:bodyPr>
            <a:lstStyle/>
            <a:p>
              <a:pPr defTabSz="913640">
                <a:defRPr/>
              </a:pPr>
              <a:endParaRPr lang="en-US" sz="600" kern="0" dirty="0">
                <a:solidFill>
                  <a:sysClr val="windowText" lastClr="000000"/>
                </a:solidFill>
                <a:cs typeface="Arial" pitchFamily="34" charset="0"/>
              </a:endParaRPr>
            </a:p>
          </p:txBody>
        </p:sp>
        <p:sp>
          <p:nvSpPr>
            <p:cNvPr id="64" name="Oval 592"/>
            <p:cNvSpPr>
              <a:spLocks noChangeArrowheads="1"/>
            </p:cNvSpPr>
            <p:nvPr/>
          </p:nvSpPr>
          <p:spPr bwMode="auto">
            <a:xfrm>
              <a:off x="4783138" y="2773362"/>
              <a:ext cx="39688" cy="47625"/>
            </a:xfrm>
            <a:prstGeom prst="ellipse">
              <a:avLst/>
            </a:prstGeom>
            <a:noFill/>
            <a:ln w="28575" cap="rnd">
              <a:solidFill>
                <a:schemeClr val="accent5"/>
              </a:solidFill>
              <a:prstDash val="solid"/>
              <a:round/>
              <a:headEnd/>
              <a:tailEnd/>
            </a:ln>
          </p:spPr>
          <p:txBody>
            <a:bodyPr vert="horz" wrap="square" lIns="91435" tIns="45718" rIns="91435" bIns="45718" numCol="1" anchor="t" anchorCtr="0" compatLnSpc="1">
              <a:prstTxWarp prst="textNoShape">
                <a:avLst/>
              </a:prstTxWarp>
            </a:bodyPr>
            <a:lstStyle/>
            <a:p>
              <a:pPr defTabSz="913640">
                <a:defRPr/>
              </a:pPr>
              <a:endParaRPr lang="en-US" sz="600" kern="0" dirty="0">
                <a:solidFill>
                  <a:sysClr val="windowText" lastClr="000000"/>
                </a:solidFill>
                <a:cs typeface="Arial" pitchFamily="34" charset="0"/>
              </a:endParaRPr>
            </a:p>
          </p:txBody>
        </p:sp>
        <p:sp>
          <p:nvSpPr>
            <p:cNvPr id="65" name="Freeform 593"/>
            <p:cNvSpPr>
              <a:spLocks/>
            </p:cNvSpPr>
            <p:nvPr/>
          </p:nvSpPr>
          <p:spPr bwMode="auto">
            <a:xfrm>
              <a:off x="4759326" y="2820987"/>
              <a:ext cx="87313" cy="31750"/>
            </a:xfrm>
            <a:custGeom>
              <a:avLst/>
              <a:gdLst/>
              <a:ahLst/>
              <a:cxnLst>
                <a:cxn ang="0">
                  <a:pos x="0" y="17"/>
                </a:cxn>
                <a:cxn ang="0">
                  <a:pos x="22" y="0"/>
                </a:cxn>
                <a:cxn ang="0">
                  <a:pos x="45" y="16"/>
                </a:cxn>
              </a:cxnLst>
              <a:rect l="0" t="0" r="r" b="b"/>
              <a:pathLst>
                <a:path w="45" h="17">
                  <a:moveTo>
                    <a:pt x="0" y="17"/>
                  </a:moveTo>
                  <a:cubicBezTo>
                    <a:pt x="3" y="7"/>
                    <a:pt x="9" y="0"/>
                    <a:pt x="22" y="0"/>
                  </a:cubicBezTo>
                  <a:cubicBezTo>
                    <a:pt x="35" y="0"/>
                    <a:pt x="42" y="7"/>
                    <a:pt x="45" y="16"/>
                  </a:cubicBezTo>
                </a:path>
              </a:pathLst>
            </a:custGeom>
            <a:noFill/>
            <a:ln w="28575" cap="rnd">
              <a:solidFill>
                <a:schemeClr val="accent5"/>
              </a:solidFill>
              <a:prstDash val="solid"/>
              <a:round/>
              <a:headEnd/>
              <a:tailEnd/>
            </a:ln>
          </p:spPr>
          <p:txBody>
            <a:bodyPr vert="horz" wrap="square" lIns="91435" tIns="45718" rIns="91435" bIns="45718" numCol="1" anchor="t" anchorCtr="0" compatLnSpc="1">
              <a:prstTxWarp prst="textNoShape">
                <a:avLst/>
              </a:prstTxWarp>
            </a:bodyPr>
            <a:lstStyle/>
            <a:p>
              <a:pPr defTabSz="913640">
                <a:defRPr/>
              </a:pPr>
              <a:endParaRPr lang="en-US" sz="600" kern="0" dirty="0">
                <a:solidFill>
                  <a:sysClr val="windowText" lastClr="000000"/>
                </a:solidFill>
                <a:cs typeface="Arial" pitchFamily="34" charset="0"/>
              </a:endParaRPr>
            </a:p>
          </p:txBody>
        </p:sp>
        <p:sp>
          <p:nvSpPr>
            <p:cNvPr id="66" name="Oval 594"/>
            <p:cNvSpPr>
              <a:spLocks noChangeArrowheads="1"/>
            </p:cNvSpPr>
            <p:nvPr/>
          </p:nvSpPr>
          <p:spPr bwMode="auto">
            <a:xfrm>
              <a:off x="4737101" y="2940050"/>
              <a:ext cx="169863" cy="168275"/>
            </a:xfrm>
            <a:prstGeom prst="ellipse">
              <a:avLst/>
            </a:prstGeom>
            <a:noFill/>
            <a:ln w="28575" cap="rnd">
              <a:solidFill>
                <a:schemeClr val="accent5"/>
              </a:solidFill>
              <a:prstDash val="solid"/>
              <a:round/>
              <a:headEnd/>
              <a:tailEnd/>
            </a:ln>
          </p:spPr>
          <p:txBody>
            <a:bodyPr vert="horz" wrap="square" lIns="91435" tIns="45718" rIns="91435" bIns="45718" numCol="1" anchor="t" anchorCtr="0" compatLnSpc="1">
              <a:prstTxWarp prst="textNoShape">
                <a:avLst/>
              </a:prstTxWarp>
            </a:bodyPr>
            <a:lstStyle/>
            <a:p>
              <a:pPr defTabSz="913640">
                <a:defRPr/>
              </a:pPr>
              <a:endParaRPr lang="en-US" sz="600" kern="0" dirty="0">
                <a:solidFill>
                  <a:sysClr val="windowText" lastClr="000000"/>
                </a:solidFill>
                <a:cs typeface="Arial" pitchFamily="34" charset="0"/>
              </a:endParaRPr>
            </a:p>
          </p:txBody>
        </p:sp>
        <p:sp>
          <p:nvSpPr>
            <p:cNvPr id="67" name="Oval 595"/>
            <p:cNvSpPr>
              <a:spLocks noChangeArrowheads="1"/>
            </p:cNvSpPr>
            <p:nvPr/>
          </p:nvSpPr>
          <p:spPr bwMode="auto">
            <a:xfrm>
              <a:off x="4795838" y="2965450"/>
              <a:ext cx="50800" cy="57150"/>
            </a:xfrm>
            <a:prstGeom prst="ellipse">
              <a:avLst/>
            </a:prstGeom>
            <a:noFill/>
            <a:ln w="28575" cap="rnd">
              <a:solidFill>
                <a:schemeClr val="accent5"/>
              </a:solidFill>
              <a:prstDash val="solid"/>
              <a:round/>
              <a:headEnd/>
              <a:tailEnd/>
            </a:ln>
          </p:spPr>
          <p:txBody>
            <a:bodyPr vert="horz" wrap="square" lIns="91435" tIns="45718" rIns="91435" bIns="45718" numCol="1" anchor="t" anchorCtr="0" compatLnSpc="1">
              <a:prstTxWarp prst="textNoShape">
                <a:avLst/>
              </a:prstTxWarp>
            </a:bodyPr>
            <a:lstStyle/>
            <a:p>
              <a:pPr defTabSz="913640">
                <a:defRPr/>
              </a:pPr>
              <a:endParaRPr lang="en-US" sz="600" kern="0" dirty="0">
                <a:solidFill>
                  <a:sysClr val="windowText" lastClr="000000"/>
                </a:solidFill>
                <a:cs typeface="Arial" pitchFamily="34" charset="0"/>
              </a:endParaRPr>
            </a:p>
          </p:txBody>
        </p:sp>
        <p:sp>
          <p:nvSpPr>
            <p:cNvPr id="68" name="Freeform 596"/>
            <p:cNvSpPr>
              <a:spLocks/>
            </p:cNvSpPr>
            <p:nvPr/>
          </p:nvSpPr>
          <p:spPr bwMode="auto">
            <a:xfrm>
              <a:off x="4767263" y="3022600"/>
              <a:ext cx="107950" cy="41275"/>
            </a:xfrm>
            <a:custGeom>
              <a:avLst/>
              <a:gdLst/>
              <a:ahLst/>
              <a:cxnLst>
                <a:cxn ang="0">
                  <a:pos x="0" y="22"/>
                </a:cxn>
                <a:cxn ang="0">
                  <a:pos x="28" y="0"/>
                </a:cxn>
                <a:cxn ang="0">
                  <a:pos x="56" y="21"/>
                </a:cxn>
              </a:cxnLst>
              <a:rect l="0" t="0" r="r" b="b"/>
              <a:pathLst>
                <a:path w="56" h="22">
                  <a:moveTo>
                    <a:pt x="0" y="22"/>
                  </a:moveTo>
                  <a:cubicBezTo>
                    <a:pt x="3" y="10"/>
                    <a:pt x="12" y="0"/>
                    <a:pt x="28" y="0"/>
                  </a:cubicBezTo>
                  <a:cubicBezTo>
                    <a:pt x="43" y="0"/>
                    <a:pt x="52" y="9"/>
                    <a:pt x="56" y="21"/>
                  </a:cubicBezTo>
                </a:path>
              </a:pathLst>
            </a:custGeom>
            <a:noFill/>
            <a:ln w="28575" cap="rnd">
              <a:solidFill>
                <a:schemeClr val="accent5"/>
              </a:solidFill>
              <a:prstDash val="solid"/>
              <a:round/>
              <a:headEnd/>
              <a:tailEnd/>
            </a:ln>
          </p:spPr>
          <p:txBody>
            <a:bodyPr vert="horz" wrap="square" lIns="91435" tIns="45718" rIns="91435" bIns="45718" numCol="1" anchor="t" anchorCtr="0" compatLnSpc="1">
              <a:prstTxWarp prst="textNoShape">
                <a:avLst/>
              </a:prstTxWarp>
            </a:bodyPr>
            <a:lstStyle/>
            <a:p>
              <a:pPr defTabSz="913640">
                <a:defRPr/>
              </a:pPr>
              <a:endParaRPr lang="en-US" sz="600" kern="0" dirty="0">
                <a:solidFill>
                  <a:sysClr val="windowText" lastClr="000000"/>
                </a:solidFill>
                <a:cs typeface="Arial" pitchFamily="34" charset="0"/>
              </a:endParaRPr>
            </a:p>
          </p:txBody>
        </p:sp>
        <p:sp>
          <p:nvSpPr>
            <p:cNvPr id="69" name="Oval 597"/>
            <p:cNvSpPr>
              <a:spLocks noChangeArrowheads="1"/>
            </p:cNvSpPr>
            <p:nvPr/>
          </p:nvSpPr>
          <p:spPr bwMode="auto">
            <a:xfrm>
              <a:off x="4452938" y="2828925"/>
              <a:ext cx="190500" cy="188913"/>
            </a:xfrm>
            <a:prstGeom prst="ellipse">
              <a:avLst/>
            </a:prstGeom>
            <a:noFill/>
            <a:ln w="28575" cap="rnd">
              <a:solidFill>
                <a:schemeClr val="accent5"/>
              </a:solidFill>
              <a:prstDash val="solid"/>
              <a:round/>
              <a:headEnd/>
              <a:tailEnd/>
            </a:ln>
          </p:spPr>
          <p:txBody>
            <a:bodyPr vert="horz" wrap="square" lIns="91435" tIns="45718" rIns="91435" bIns="45718" numCol="1" anchor="t" anchorCtr="0" compatLnSpc="1">
              <a:prstTxWarp prst="textNoShape">
                <a:avLst/>
              </a:prstTxWarp>
            </a:bodyPr>
            <a:lstStyle/>
            <a:p>
              <a:pPr defTabSz="913640">
                <a:defRPr/>
              </a:pPr>
              <a:endParaRPr lang="en-US" sz="600" kern="0" dirty="0">
                <a:solidFill>
                  <a:sysClr val="windowText" lastClr="000000"/>
                </a:solidFill>
                <a:cs typeface="Arial" pitchFamily="34" charset="0"/>
              </a:endParaRPr>
            </a:p>
          </p:txBody>
        </p:sp>
        <p:sp>
          <p:nvSpPr>
            <p:cNvPr id="70" name="Oval 598"/>
            <p:cNvSpPr>
              <a:spLocks noChangeArrowheads="1"/>
            </p:cNvSpPr>
            <p:nvPr/>
          </p:nvSpPr>
          <p:spPr bwMode="auto">
            <a:xfrm>
              <a:off x="4519613" y="2855912"/>
              <a:ext cx="58738" cy="66675"/>
            </a:xfrm>
            <a:prstGeom prst="ellipse">
              <a:avLst/>
            </a:prstGeom>
            <a:noFill/>
            <a:ln w="28575" cap="rnd">
              <a:solidFill>
                <a:schemeClr val="accent5"/>
              </a:solidFill>
              <a:prstDash val="solid"/>
              <a:round/>
              <a:headEnd/>
              <a:tailEnd/>
            </a:ln>
          </p:spPr>
          <p:txBody>
            <a:bodyPr vert="horz" wrap="square" lIns="91435" tIns="45718" rIns="91435" bIns="45718" numCol="1" anchor="t" anchorCtr="0" compatLnSpc="1">
              <a:prstTxWarp prst="textNoShape">
                <a:avLst/>
              </a:prstTxWarp>
            </a:bodyPr>
            <a:lstStyle/>
            <a:p>
              <a:pPr defTabSz="913640">
                <a:defRPr/>
              </a:pPr>
              <a:endParaRPr lang="en-US" sz="600" kern="0" dirty="0">
                <a:solidFill>
                  <a:sysClr val="windowText" lastClr="000000"/>
                </a:solidFill>
                <a:cs typeface="Arial" pitchFamily="34" charset="0"/>
              </a:endParaRPr>
            </a:p>
          </p:txBody>
        </p:sp>
        <p:sp>
          <p:nvSpPr>
            <p:cNvPr id="71" name="Freeform 599"/>
            <p:cNvSpPr>
              <a:spLocks/>
            </p:cNvSpPr>
            <p:nvPr/>
          </p:nvSpPr>
          <p:spPr bwMode="auto">
            <a:xfrm>
              <a:off x="4484688" y="2922587"/>
              <a:ext cx="127000" cy="50800"/>
            </a:xfrm>
            <a:custGeom>
              <a:avLst/>
              <a:gdLst/>
              <a:ahLst/>
              <a:cxnLst>
                <a:cxn ang="0">
                  <a:pos x="0" y="26"/>
                </a:cxn>
                <a:cxn ang="0">
                  <a:pos x="33" y="0"/>
                </a:cxn>
                <a:cxn ang="0">
                  <a:pos x="66" y="24"/>
                </a:cxn>
              </a:cxnLst>
              <a:rect l="0" t="0" r="r" b="b"/>
              <a:pathLst>
                <a:path w="66" h="26">
                  <a:moveTo>
                    <a:pt x="0" y="26"/>
                  </a:moveTo>
                  <a:cubicBezTo>
                    <a:pt x="4" y="11"/>
                    <a:pt x="14" y="0"/>
                    <a:pt x="33" y="0"/>
                  </a:cubicBezTo>
                  <a:cubicBezTo>
                    <a:pt x="52" y="0"/>
                    <a:pt x="62" y="10"/>
                    <a:pt x="66" y="24"/>
                  </a:cubicBezTo>
                </a:path>
              </a:pathLst>
            </a:custGeom>
            <a:noFill/>
            <a:ln w="28575" cap="rnd">
              <a:solidFill>
                <a:schemeClr val="accent5"/>
              </a:solidFill>
              <a:prstDash val="solid"/>
              <a:round/>
              <a:headEnd/>
              <a:tailEnd/>
            </a:ln>
          </p:spPr>
          <p:txBody>
            <a:bodyPr vert="horz" wrap="square" lIns="91435" tIns="45718" rIns="91435" bIns="45718" numCol="1" anchor="t" anchorCtr="0" compatLnSpc="1">
              <a:prstTxWarp prst="textNoShape">
                <a:avLst/>
              </a:prstTxWarp>
            </a:bodyPr>
            <a:lstStyle/>
            <a:p>
              <a:pPr defTabSz="913640">
                <a:defRPr/>
              </a:pPr>
              <a:endParaRPr lang="en-US" sz="600" kern="0" dirty="0">
                <a:solidFill>
                  <a:sysClr val="windowText" lastClr="000000"/>
                </a:solidFill>
                <a:cs typeface="Arial" pitchFamily="34" charset="0"/>
              </a:endParaRPr>
            </a:p>
          </p:txBody>
        </p:sp>
        <p:sp>
          <p:nvSpPr>
            <p:cNvPr id="72" name="Line 600"/>
            <p:cNvSpPr>
              <a:spLocks noChangeShapeType="1"/>
            </p:cNvSpPr>
            <p:nvPr/>
          </p:nvSpPr>
          <p:spPr bwMode="auto">
            <a:xfrm flipH="1" flipV="1">
              <a:off x="4638676" y="2962275"/>
              <a:ext cx="95250" cy="39688"/>
            </a:xfrm>
            <a:prstGeom prst="line">
              <a:avLst/>
            </a:prstGeom>
            <a:noFill/>
            <a:ln w="28575" cap="rnd">
              <a:solidFill>
                <a:schemeClr val="accent5"/>
              </a:solidFill>
              <a:prstDash val="solid"/>
              <a:round/>
              <a:headEnd/>
              <a:tailEnd/>
            </a:ln>
          </p:spPr>
          <p:txBody>
            <a:bodyPr vert="horz" wrap="square" lIns="91435" tIns="45718" rIns="91435" bIns="45718" numCol="1" anchor="t" anchorCtr="0" compatLnSpc="1">
              <a:prstTxWarp prst="textNoShape">
                <a:avLst/>
              </a:prstTxWarp>
            </a:bodyPr>
            <a:lstStyle/>
            <a:p>
              <a:pPr defTabSz="913640">
                <a:defRPr/>
              </a:pPr>
              <a:endParaRPr lang="en-US" sz="600" kern="0" dirty="0">
                <a:solidFill>
                  <a:sysClr val="windowText" lastClr="000000"/>
                </a:solidFill>
                <a:cs typeface="Arial" pitchFamily="34" charset="0"/>
              </a:endParaRPr>
            </a:p>
          </p:txBody>
        </p:sp>
        <p:sp>
          <p:nvSpPr>
            <p:cNvPr id="73" name="Line 601"/>
            <p:cNvSpPr>
              <a:spLocks noChangeShapeType="1"/>
            </p:cNvSpPr>
            <p:nvPr/>
          </p:nvSpPr>
          <p:spPr bwMode="auto">
            <a:xfrm flipH="1">
              <a:off x="4640263" y="2841625"/>
              <a:ext cx="96838" cy="42863"/>
            </a:xfrm>
            <a:prstGeom prst="line">
              <a:avLst/>
            </a:prstGeom>
            <a:noFill/>
            <a:ln w="28575" cap="rnd">
              <a:solidFill>
                <a:schemeClr val="accent5"/>
              </a:solidFill>
              <a:prstDash val="solid"/>
              <a:round/>
              <a:headEnd/>
              <a:tailEnd/>
            </a:ln>
          </p:spPr>
          <p:txBody>
            <a:bodyPr vert="horz" wrap="square" lIns="91435" tIns="45718" rIns="91435" bIns="45718" numCol="1" anchor="t" anchorCtr="0" compatLnSpc="1">
              <a:prstTxWarp prst="textNoShape">
                <a:avLst/>
              </a:prstTxWarp>
            </a:bodyPr>
            <a:lstStyle/>
            <a:p>
              <a:pPr defTabSz="913640">
                <a:defRPr/>
              </a:pPr>
              <a:endParaRPr lang="en-US" sz="600" kern="0" dirty="0">
                <a:solidFill>
                  <a:sysClr val="windowText" lastClr="000000"/>
                </a:solidFill>
                <a:cs typeface="Arial" pitchFamily="34" charset="0"/>
              </a:endParaRPr>
            </a:p>
          </p:txBody>
        </p:sp>
      </p:grpSp>
    </p:spTree>
    <p:extLst>
      <p:ext uri="{BB962C8B-B14F-4D97-AF65-F5344CB8AC3E}">
        <p14:creationId xmlns:p14="http://schemas.microsoft.com/office/powerpoint/2010/main" val="12307516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5636422" cy="1142612"/>
          </a:xfrm>
        </p:spPr>
        <p:txBody>
          <a:bodyPr/>
          <a:lstStyle/>
          <a:p>
            <a:r>
              <a:rPr lang="en-US" dirty="0"/>
              <a:t>… so, what is Customer Experience?</a:t>
            </a:r>
            <a:endParaRPr lang="fr-FR" dirty="0"/>
          </a:p>
        </p:txBody>
      </p:sp>
      <p:sp>
        <p:nvSpPr>
          <p:cNvPr id="33" name="Rectangle 32"/>
          <p:cNvSpPr/>
          <p:nvPr/>
        </p:nvSpPr>
        <p:spPr>
          <a:xfrm>
            <a:off x="1524000" y="5616467"/>
            <a:ext cx="9144000" cy="619272"/>
          </a:xfrm>
          <a:prstGeom prst="rect">
            <a:avLst/>
          </a:prstGeom>
          <a:solidFill>
            <a:schemeClr val="accent2"/>
          </a:solidFill>
        </p:spPr>
        <p:txBody>
          <a:bodyPr wrap="square">
            <a:spAutoFit/>
          </a:bodyPr>
          <a:lstStyle/>
          <a:p>
            <a:pPr algn="ctr">
              <a:lnSpc>
                <a:spcPct val="107000"/>
              </a:lnSpc>
              <a:spcAft>
                <a:spcPts val="800"/>
              </a:spcAft>
            </a:pPr>
            <a:r>
              <a:rPr lang="en-US" sz="1600" dirty="0">
                <a:solidFill>
                  <a:schemeClr val="bg1"/>
                </a:solidFill>
                <a:latin typeface="Calibri" panose="020F0502020204030204" pitchFamily="34" charset="0"/>
                <a:ea typeface="Calibri" panose="020F0502020204030204" pitchFamily="34" charset="0"/>
                <a:cs typeface="Times New Roman" panose="02020603050405020304" pitchFamily="18" charset="0"/>
              </a:rPr>
              <a:t>Success comes by skillfully connecting customer experience to customers’ ever changing needs in a way that delivers value at speed for both business and customer</a:t>
            </a:r>
          </a:p>
        </p:txBody>
      </p:sp>
      <p:sp>
        <p:nvSpPr>
          <p:cNvPr id="41" name="Shape 1036"/>
          <p:cNvSpPr txBox="1">
            <a:spLocks/>
          </p:cNvSpPr>
          <p:nvPr/>
        </p:nvSpPr>
        <p:spPr>
          <a:xfrm>
            <a:off x="664028" y="2298345"/>
            <a:ext cx="4125609" cy="2908655"/>
          </a:xfrm>
          <a:prstGeom prst="rect">
            <a:avLst/>
          </a:prstGeom>
        </p:spPr>
        <p:txBody>
          <a:bodyPr/>
          <a:lstStyle>
            <a:lvl1pPr marL="231775" indent="-231775" algn="l" defTabSz="914342" rtl="0" eaLnBrk="1" latinLnBrk="0" hangingPunct="1">
              <a:lnSpc>
                <a:spcPct val="100000"/>
              </a:lnSpc>
              <a:spcBef>
                <a:spcPts val="0"/>
              </a:spcBef>
              <a:spcAft>
                <a:spcPts val="600"/>
              </a:spcAft>
              <a:buClr>
                <a:schemeClr val="accent1"/>
              </a:buClr>
              <a:buFont typeface="Wingdings" pitchFamily="2" charset="2"/>
              <a:buChar char="§"/>
              <a:defRPr sz="2800" b="0" kern="1200">
                <a:solidFill>
                  <a:srgbClr val="A7A7A7"/>
                </a:solidFill>
                <a:latin typeface="+mj-lt"/>
                <a:ea typeface="+mj-ea"/>
                <a:cs typeface="+mj-cs"/>
                <a:sym typeface="Montserrat-Regular"/>
              </a:defRPr>
            </a:lvl1pPr>
            <a:lvl2pPr marL="463550" indent="-231775" algn="l" defTabSz="914342" rtl="0" eaLnBrk="1" latinLnBrk="0" hangingPunct="1">
              <a:spcBef>
                <a:spcPts val="0"/>
              </a:spcBef>
              <a:spcAft>
                <a:spcPts val="600"/>
              </a:spcAft>
              <a:buClr>
                <a:schemeClr val="accent2"/>
              </a:buClr>
              <a:buFont typeface="Wingdings" pitchFamily="2" charset="2"/>
              <a:buChar char="§"/>
              <a:defRPr sz="1800" kern="1200">
                <a:solidFill>
                  <a:schemeClr val="tx2"/>
                </a:solidFill>
                <a:latin typeface="+mn-lt"/>
                <a:ea typeface="+mn-ea"/>
                <a:cs typeface="+mn-cs"/>
              </a:defRPr>
            </a:lvl2pPr>
            <a:lvl3pPr marL="682625" indent="-219075" algn="l" defTabSz="914342" rtl="0" eaLnBrk="1" latinLnBrk="0" hangingPunct="1">
              <a:spcBef>
                <a:spcPts val="0"/>
              </a:spcBef>
              <a:spcAft>
                <a:spcPts val="600"/>
              </a:spcAft>
              <a:buClr>
                <a:schemeClr val="accent3"/>
              </a:buClr>
              <a:buFont typeface="Arial" pitchFamily="34" charset="0"/>
              <a:buChar char="•"/>
              <a:defRPr sz="1600" kern="1200">
                <a:solidFill>
                  <a:schemeClr val="tx2"/>
                </a:solidFill>
                <a:latin typeface="+mn-lt"/>
                <a:ea typeface="+mn-ea"/>
                <a:cs typeface="+mn-cs"/>
              </a:defRPr>
            </a:lvl3pPr>
            <a:lvl4pPr marL="914400" indent="-231775" algn="l" defTabSz="914342" rtl="0" eaLnBrk="1" latinLnBrk="0" hangingPunct="1">
              <a:spcBef>
                <a:spcPts val="0"/>
              </a:spcBef>
              <a:spcAft>
                <a:spcPts val="600"/>
              </a:spcAft>
              <a:buClr>
                <a:schemeClr val="accent4"/>
              </a:buClr>
              <a:buFont typeface="Arial" pitchFamily="34" charset="0"/>
              <a:buChar char="–"/>
              <a:defRPr sz="1400" kern="1200">
                <a:solidFill>
                  <a:schemeClr val="tx2"/>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defRPr sz="1800">
                <a:solidFill>
                  <a:srgbClr val="000000"/>
                </a:solidFill>
              </a:defRPr>
            </a:pPr>
            <a:r>
              <a:rPr lang="en-US" sz="2000" dirty="0">
                <a:solidFill>
                  <a:schemeClr val="accent1"/>
                </a:solidFill>
              </a:rPr>
              <a:t>Customer Experience </a:t>
            </a:r>
            <a:r>
              <a:rPr lang="en-US" sz="1400" dirty="0">
                <a:solidFill>
                  <a:schemeClr val="accent1"/>
                </a:solidFill>
              </a:rPr>
              <a:t>is  a </a:t>
            </a:r>
            <a:r>
              <a:rPr lang="en-US" sz="1400" b="1" dirty="0">
                <a:solidFill>
                  <a:schemeClr val="accent1"/>
                </a:solidFill>
              </a:rPr>
              <a:t>combination of the perceptions, emotions, reactions </a:t>
            </a:r>
            <a:r>
              <a:rPr lang="en-US" sz="1400" dirty="0">
                <a:solidFill>
                  <a:schemeClr val="accent1"/>
                </a:solidFill>
              </a:rPr>
              <a:t>that a </a:t>
            </a:r>
            <a:r>
              <a:rPr lang="en-US" sz="1400" b="1" dirty="0">
                <a:solidFill>
                  <a:schemeClr val="accent1"/>
                </a:solidFill>
              </a:rPr>
              <a:t>customer</a:t>
            </a:r>
            <a:r>
              <a:rPr lang="en-US" sz="1400" dirty="0">
                <a:solidFill>
                  <a:schemeClr val="accent1"/>
                </a:solidFill>
              </a:rPr>
              <a:t> has while </a:t>
            </a:r>
            <a:r>
              <a:rPr lang="en-US" sz="1400" b="1" dirty="0">
                <a:solidFill>
                  <a:schemeClr val="accent1"/>
                </a:solidFill>
              </a:rPr>
              <a:t>employing</a:t>
            </a:r>
            <a:r>
              <a:rPr lang="en-US" sz="1400" dirty="0">
                <a:solidFill>
                  <a:schemeClr val="accent1"/>
                </a:solidFill>
              </a:rPr>
              <a:t> different channels to </a:t>
            </a:r>
            <a:r>
              <a:rPr lang="en-US" sz="1400" b="1" dirty="0">
                <a:solidFill>
                  <a:schemeClr val="accent1"/>
                </a:solidFill>
              </a:rPr>
              <a:t>interact</a:t>
            </a:r>
            <a:r>
              <a:rPr lang="en-US" sz="1400" dirty="0">
                <a:solidFill>
                  <a:schemeClr val="accent1"/>
                </a:solidFill>
              </a:rPr>
              <a:t> with a company’s environment, products or employees.</a:t>
            </a:r>
          </a:p>
          <a:p>
            <a:pPr marL="0" indent="0" algn="just">
              <a:lnSpc>
                <a:spcPct val="150000"/>
              </a:lnSpc>
              <a:buNone/>
              <a:defRPr sz="1800">
                <a:solidFill>
                  <a:srgbClr val="000000"/>
                </a:solidFill>
              </a:defRPr>
            </a:pPr>
            <a:r>
              <a:rPr lang="en-US" sz="1400" dirty="0">
                <a:solidFill>
                  <a:schemeClr val="accent1"/>
                </a:solidFill>
              </a:rPr>
              <a:t>The </a:t>
            </a:r>
            <a:r>
              <a:rPr lang="en-US" sz="1400" b="1" dirty="0">
                <a:solidFill>
                  <a:schemeClr val="accent1"/>
                </a:solidFill>
              </a:rPr>
              <a:t>outcomes</a:t>
            </a:r>
            <a:r>
              <a:rPr lang="en-US" sz="1400" dirty="0">
                <a:solidFill>
                  <a:schemeClr val="accent1"/>
                </a:solidFill>
              </a:rPr>
              <a:t> are the actions a consumer takes as a result</a:t>
            </a:r>
          </a:p>
        </p:txBody>
      </p:sp>
      <p:sp>
        <p:nvSpPr>
          <p:cNvPr id="32" name="Ellipse 21"/>
          <p:cNvSpPr/>
          <p:nvPr/>
        </p:nvSpPr>
        <p:spPr bwMode="auto">
          <a:xfrm>
            <a:off x="5963924" y="2840416"/>
            <a:ext cx="1440000" cy="1440000"/>
          </a:xfrm>
          <a:prstGeom prst="ellipse">
            <a:avLst/>
          </a:prstGeom>
          <a:solidFill>
            <a:srgbClr val="002060"/>
          </a:solidFill>
          <a:ln w="6350"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eaLnBrk="0" fontAlgn="base" hangingPunct="0">
              <a:spcBef>
                <a:spcPct val="0"/>
              </a:spcBef>
              <a:spcAft>
                <a:spcPct val="0"/>
              </a:spcAft>
            </a:pPr>
            <a:r>
              <a:rPr lang="fr-FR" sz="1600" b="1" dirty="0">
                <a:solidFill>
                  <a:schemeClr val="bg1"/>
                </a:solidFill>
                <a:latin typeface="Calibri" panose="020F0502020204030204" pitchFamily="34" charset="0"/>
                <a:cs typeface="Arial" charset="0"/>
              </a:rPr>
              <a:t>Customer</a:t>
            </a:r>
          </a:p>
        </p:txBody>
      </p:sp>
      <p:sp>
        <p:nvSpPr>
          <p:cNvPr id="34" name="Ellipse 22"/>
          <p:cNvSpPr/>
          <p:nvPr/>
        </p:nvSpPr>
        <p:spPr bwMode="auto">
          <a:xfrm>
            <a:off x="7751988" y="2866142"/>
            <a:ext cx="1440000" cy="1440000"/>
          </a:xfrm>
          <a:prstGeom prst="ellipse">
            <a:avLst/>
          </a:prstGeom>
          <a:solidFill>
            <a:srgbClr val="019BC9"/>
          </a:solidFill>
          <a:ln w="6350"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eaLnBrk="0" fontAlgn="base" hangingPunct="0">
              <a:spcBef>
                <a:spcPct val="0"/>
              </a:spcBef>
              <a:spcAft>
                <a:spcPct val="0"/>
              </a:spcAft>
            </a:pPr>
            <a:r>
              <a:rPr lang="fr-FR" sz="1600" b="1" dirty="0">
                <a:solidFill>
                  <a:schemeClr val="bg1"/>
                </a:solidFill>
                <a:latin typeface="Calibri" panose="020F0502020204030204" pitchFamily="34" charset="0"/>
                <a:cs typeface="Arial" charset="0"/>
              </a:rPr>
              <a:t>Business</a:t>
            </a:r>
          </a:p>
        </p:txBody>
      </p:sp>
      <p:sp>
        <p:nvSpPr>
          <p:cNvPr id="35" name="ZoneTexte 23"/>
          <p:cNvSpPr txBox="1"/>
          <p:nvPr/>
        </p:nvSpPr>
        <p:spPr>
          <a:xfrm>
            <a:off x="9056049" y="3036684"/>
            <a:ext cx="1271874" cy="241980"/>
          </a:xfrm>
          <a:prstGeom prst="rect">
            <a:avLst/>
          </a:prstGeom>
          <a:solidFill>
            <a:schemeClr val="bg1"/>
          </a:solidFill>
          <a:ln>
            <a:solidFill>
              <a:schemeClr val="bg2">
                <a:lumMod val="75000"/>
              </a:schemeClr>
            </a:solidFill>
          </a:ln>
        </p:spPr>
        <p:txBody>
          <a:bodyPr wrap="square" lIns="36000" tIns="36000" rIns="36000" bIns="36000" rtlCol="0">
            <a:spAutoFit/>
          </a:bodyPr>
          <a:lstStyle/>
          <a:p>
            <a:pPr algn="ctr"/>
            <a:r>
              <a:rPr lang="en-US" sz="1100" dirty="0">
                <a:solidFill>
                  <a:schemeClr val="accent3"/>
                </a:solidFill>
                <a:latin typeface="Calibri Light" panose="020F0302020204030204" pitchFamily="34" charset="0"/>
              </a:rPr>
              <a:t>More Sales</a:t>
            </a:r>
          </a:p>
        </p:txBody>
      </p:sp>
      <p:sp>
        <p:nvSpPr>
          <p:cNvPr id="36" name="ZoneTexte 24"/>
          <p:cNvSpPr txBox="1"/>
          <p:nvPr/>
        </p:nvSpPr>
        <p:spPr>
          <a:xfrm>
            <a:off x="9056049" y="3388020"/>
            <a:ext cx="1271874" cy="241980"/>
          </a:xfrm>
          <a:prstGeom prst="rect">
            <a:avLst/>
          </a:prstGeom>
          <a:solidFill>
            <a:schemeClr val="bg1"/>
          </a:solidFill>
          <a:ln>
            <a:solidFill>
              <a:schemeClr val="bg2">
                <a:lumMod val="75000"/>
              </a:schemeClr>
            </a:solidFill>
          </a:ln>
        </p:spPr>
        <p:txBody>
          <a:bodyPr wrap="square" lIns="36000" tIns="36000" rIns="36000" bIns="36000" rtlCol="0">
            <a:spAutoFit/>
          </a:bodyPr>
          <a:lstStyle/>
          <a:p>
            <a:pPr algn="ctr"/>
            <a:r>
              <a:rPr lang="en-US" sz="1100" dirty="0">
                <a:solidFill>
                  <a:schemeClr val="accent3"/>
                </a:solidFill>
                <a:latin typeface="Calibri Light" panose="020F0302020204030204" pitchFamily="34" charset="0"/>
              </a:rPr>
              <a:t>Increased CLTV</a:t>
            </a:r>
          </a:p>
        </p:txBody>
      </p:sp>
      <p:sp>
        <p:nvSpPr>
          <p:cNvPr id="37" name="ZoneTexte 25"/>
          <p:cNvSpPr txBox="1"/>
          <p:nvPr/>
        </p:nvSpPr>
        <p:spPr>
          <a:xfrm>
            <a:off x="9056049" y="3748126"/>
            <a:ext cx="1271874" cy="241980"/>
          </a:xfrm>
          <a:prstGeom prst="rect">
            <a:avLst/>
          </a:prstGeom>
          <a:solidFill>
            <a:schemeClr val="bg1"/>
          </a:solidFill>
          <a:ln>
            <a:solidFill>
              <a:schemeClr val="bg2">
                <a:lumMod val="75000"/>
              </a:schemeClr>
            </a:solidFill>
          </a:ln>
        </p:spPr>
        <p:txBody>
          <a:bodyPr wrap="square" lIns="36000" tIns="36000" rIns="36000" bIns="36000" rtlCol="0">
            <a:spAutoFit/>
          </a:bodyPr>
          <a:lstStyle/>
          <a:p>
            <a:pPr algn="ctr"/>
            <a:r>
              <a:rPr lang="en-US" sz="1100" dirty="0">
                <a:solidFill>
                  <a:schemeClr val="accent3"/>
                </a:solidFill>
                <a:latin typeface="Calibri Light" panose="020F0302020204030204" pitchFamily="34" charset="0"/>
              </a:rPr>
              <a:t>Sales force efficiency</a:t>
            </a:r>
          </a:p>
        </p:txBody>
      </p:sp>
      <p:sp>
        <p:nvSpPr>
          <p:cNvPr id="42" name="ZoneTexte 26"/>
          <p:cNvSpPr txBox="1"/>
          <p:nvPr/>
        </p:nvSpPr>
        <p:spPr>
          <a:xfrm>
            <a:off x="9056049" y="4116886"/>
            <a:ext cx="1271874" cy="241980"/>
          </a:xfrm>
          <a:prstGeom prst="rect">
            <a:avLst/>
          </a:prstGeom>
          <a:solidFill>
            <a:schemeClr val="bg1"/>
          </a:solidFill>
          <a:ln>
            <a:solidFill>
              <a:schemeClr val="bg2">
                <a:lumMod val="75000"/>
              </a:schemeClr>
            </a:solidFill>
          </a:ln>
        </p:spPr>
        <p:txBody>
          <a:bodyPr wrap="square" lIns="36000" tIns="36000" rIns="36000" bIns="36000" rtlCol="0">
            <a:spAutoFit/>
          </a:bodyPr>
          <a:lstStyle/>
          <a:p>
            <a:pPr algn="ctr"/>
            <a:r>
              <a:rPr lang="en-US" sz="1100" dirty="0">
                <a:solidFill>
                  <a:schemeClr val="accent3"/>
                </a:solidFill>
                <a:latin typeface="Calibri Light" panose="020F0302020204030204" pitchFamily="34" charset="0"/>
              </a:rPr>
              <a:t>Reduced cost of Sale</a:t>
            </a:r>
          </a:p>
        </p:txBody>
      </p:sp>
      <p:sp>
        <p:nvSpPr>
          <p:cNvPr id="43" name="ZoneTexte 27"/>
          <p:cNvSpPr txBox="1"/>
          <p:nvPr/>
        </p:nvSpPr>
        <p:spPr>
          <a:xfrm>
            <a:off x="9056049" y="4468222"/>
            <a:ext cx="1271874" cy="241980"/>
          </a:xfrm>
          <a:prstGeom prst="rect">
            <a:avLst/>
          </a:prstGeom>
          <a:solidFill>
            <a:schemeClr val="bg1"/>
          </a:solidFill>
          <a:ln>
            <a:solidFill>
              <a:schemeClr val="bg2">
                <a:lumMod val="75000"/>
              </a:schemeClr>
            </a:solidFill>
          </a:ln>
        </p:spPr>
        <p:txBody>
          <a:bodyPr wrap="square" lIns="36000" tIns="36000" rIns="36000" bIns="36000" rtlCol="0">
            <a:spAutoFit/>
          </a:bodyPr>
          <a:lstStyle/>
          <a:p>
            <a:pPr algn="ctr"/>
            <a:r>
              <a:rPr lang="en-US" sz="1100" dirty="0">
                <a:solidFill>
                  <a:schemeClr val="accent3"/>
                </a:solidFill>
                <a:latin typeface="Calibri Light" panose="020F0302020204030204" pitchFamily="34" charset="0"/>
              </a:rPr>
              <a:t>Speed to Value</a:t>
            </a:r>
          </a:p>
        </p:txBody>
      </p:sp>
      <p:sp>
        <p:nvSpPr>
          <p:cNvPr id="44" name="ZoneTexte 28"/>
          <p:cNvSpPr txBox="1"/>
          <p:nvPr/>
        </p:nvSpPr>
        <p:spPr>
          <a:xfrm>
            <a:off x="9056049" y="4828328"/>
            <a:ext cx="1271874" cy="241980"/>
          </a:xfrm>
          <a:prstGeom prst="rect">
            <a:avLst/>
          </a:prstGeom>
          <a:solidFill>
            <a:schemeClr val="bg1"/>
          </a:solidFill>
          <a:ln>
            <a:solidFill>
              <a:schemeClr val="bg2">
                <a:lumMod val="75000"/>
              </a:schemeClr>
            </a:solidFill>
          </a:ln>
        </p:spPr>
        <p:txBody>
          <a:bodyPr wrap="square" lIns="36000" tIns="36000" rIns="36000" bIns="36000" rtlCol="0">
            <a:spAutoFit/>
          </a:bodyPr>
          <a:lstStyle/>
          <a:p>
            <a:pPr algn="ctr"/>
            <a:r>
              <a:rPr lang="en-US" sz="1100" dirty="0">
                <a:solidFill>
                  <a:schemeClr val="accent3"/>
                </a:solidFill>
                <a:latin typeface="Calibri Light" panose="020F0302020204030204" pitchFamily="34" charset="0"/>
              </a:rPr>
              <a:t>Costs reduction</a:t>
            </a:r>
          </a:p>
        </p:txBody>
      </p:sp>
      <p:sp>
        <p:nvSpPr>
          <p:cNvPr id="45" name="ZoneTexte 29"/>
          <p:cNvSpPr txBox="1"/>
          <p:nvPr/>
        </p:nvSpPr>
        <p:spPr>
          <a:xfrm>
            <a:off x="5051918" y="2307938"/>
            <a:ext cx="1080000" cy="241980"/>
          </a:xfrm>
          <a:prstGeom prst="rect">
            <a:avLst/>
          </a:prstGeom>
          <a:solidFill>
            <a:schemeClr val="bg1"/>
          </a:solidFill>
          <a:ln>
            <a:solidFill>
              <a:schemeClr val="bg2">
                <a:lumMod val="75000"/>
              </a:schemeClr>
            </a:solidFill>
          </a:ln>
        </p:spPr>
        <p:txBody>
          <a:bodyPr wrap="square" lIns="36000" tIns="36000" rIns="36000" bIns="36000" rtlCol="0">
            <a:spAutoFit/>
          </a:bodyPr>
          <a:lstStyle/>
          <a:p>
            <a:pPr algn="ctr"/>
            <a:r>
              <a:rPr lang="en-US" sz="1100" dirty="0">
                <a:solidFill>
                  <a:schemeClr val="accent3"/>
                </a:solidFill>
                <a:latin typeface="Calibri Light" panose="020F0302020204030204" pitchFamily="34" charset="0"/>
              </a:rPr>
              <a:t>Simplicity</a:t>
            </a:r>
          </a:p>
        </p:txBody>
      </p:sp>
      <p:sp>
        <p:nvSpPr>
          <p:cNvPr id="46" name="ZoneTexte 30"/>
          <p:cNvSpPr txBox="1"/>
          <p:nvPr/>
        </p:nvSpPr>
        <p:spPr>
          <a:xfrm>
            <a:off x="5051918" y="2653684"/>
            <a:ext cx="1080000" cy="241980"/>
          </a:xfrm>
          <a:prstGeom prst="rect">
            <a:avLst/>
          </a:prstGeom>
          <a:solidFill>
            <a:schemeClr val="bg1"/>
          </a:solidFill>
          <a:ln>
            <a:solidFill>
              <a:schemeClr val="bg2">
                <a:lumMod val="75000"/>
              </a:schemeClr>
            </a:solidFill>
          </a:ln>
        </p:spPr>
        <p:txBody>
          <a:bodyPr wrap="square" lIns="36000" tIns="36000" rIns="36000" bIns="36000" rtlCol="0">
            <a:spAutoFit/>
          </a:bodyPr>
          <a:lstStyle/>
          <a:p>
            <a:pPr algn="ctr"/>
            <a:r>
              <a:rPr lang="en-US" sz="1100" dirty="0">
                <a:solidFill>
                  <a:schemeClr val="accent3"/>
                </a:solidFill>
                <a:latin typeface="Calibri Light" panose="020F0302020204030204" pitchFamily="34" charset="0"/>
              </a:rPr>
              <a:t>Reliability</a:t>
            </a:r>
          </a:p>
        </p:txBody>
      </p:sp>
      <p:sp>
        <p:nvSpPr>
          <p:cNvPr id="47" name="ZoneTexte 31"/>
          <p:cNvSpPr txBox="1"/>
          <p:nvPr/>
        </p:nvSpPr>
        <p:spPr>
          <a:xfrm>
            <a:off x="5051918" y="2999430"/>
            <a:ext cx="1080000" cy="241980"/>
          </a:xfrm>
          <a:prstGeom prst="rect">
            <a:avLst/>
          </a:prstGeom>
          <a:solidFill>
            <a:schemeClr val="bg1"/>
          </a:solidFill>
          <a:ln>
            <a:solidFill>
              <a:schemeClr val="bg2">
                <a:lumMod val="75000"/>
              </a:schemeClr>
            </a:solidFill>
          </a:ln>
        </p:spPr>
        <p:txBody>
          <a:bodyPr wrap="square" lIns="36000" tIns="36000" rIns="36000" bIns="36000" rtlCol="0">
            <a:spAutoFit/>
          </a:bodyPr>
          <a:lstStyle/>
          <a:p>
            <a:pPr algn="ctr"/>
            <a:r>
              <a:rPr lang="en-US" sz="1100" dirty="0">
                <a:solidFill>
                  <a:schemeClr val="accent3"/>
                </a:solidFill>
                <a:latin typeface="Calibri Light" panose="020F0302020204030204" pitchFamily="34" charset="0"/>
              </a:rPr>
              <a:t>Value</a:t>
            </a:r>
          </a:p>
        </p:txBody>
      </p:sp>
      <p:sp>
        <p:nvSpPr>
          <p:cNvPr id="48" name="ZoneTexte 32"/>
          <p:cNvSpPr txBox="1"/>
          <p:nvPr/>
        </p:nvSpPr>
        <p:spPr>
          <a:xfrm>
            <a:off x="5051918" y="3345176"/>
            <a:ext cx="1080000" cy="241980"/>
          </a:xfrm>
          <a:prstGeom prst="rect">
            <a:avLst/>
          </a:prstGeom>
          <a:solidFill>
            <a:schemeClr val="bg1"/>
          </a:solidFill>
          <a:ln>
            <a:solidFill>
              <a:schemeClr val="bg2">
                <a:lumMod val="75000"/>
              </a:schemeClr>
            </a:solidFill>
          </a:ln>
        </p:spPr>
        <p:txBody>
          <a:bodyPr wrap="square" lIns="36000" tIns="36000" rIns="36000" bIns="36000" rtlCol="0">
            <a:spAutoFit/>
          </a:bodyPr>
          <a:lstStyle/>
          <a:p>
            <a:pPr algn="ctr"/>
            <a:r>
              <a:rPr lang="en-US" sz="1100" dirty="0">
                <a:solidFill>
                  <a:schemeClr val="accent3"/>
                </a:solidFill>
                <a:latin typeface="Calibri Light" panose="020F0302020204030204" pitchFamily="34" charset="0"/>
              </a:rPr>
              <a:t>Speed</a:t>
            </a:r>
          </a:p>
        </p:txBody>
      </p:sp>
      <p:sp>
        <p:nvSpPr>
          <p:cNvPr id="49" name="ZoneTexte 33"/>
          <p:cNvSpPr txBox="1"/>
          <p:nvPr/>
        </p:nvSpPr>
        <p:spPr>
          <a:xfrm>
            <a:off x="5051918" y="3690920"/>
            <a:ext cx="1080000" cy="241980"/>
          </a:xfrm>
          <a:prstGeom prst="rect">
            <a:avLst/>
          </a:prstGeom>
          <a:solidFill>
            <a:schemeClr val="bg1"/>
          </a:solidFill>
          <a:ln>
            <a:solidFill>
              <a:schemeClr val="bg2">
                <a:lumMod val="75000"/>
              </a:schemeClr>
            </a:solidFill>
          </a:ln>
        </p:spPr>
        <p:txBody>
          <a:bodyPr wrap="square" lIns="36000" tIns="36000" rIns="36000" bIns="36000" rtlCol="0">
            <a:spAutoFit/>
          </a:bodyPr>
          <a:lstStyle/>
          <a:p>
            <a:pPr algn="ctr"/>
            <a:r>
              <a:rPr lang="en-US" sz="1100" dirty="0">
                <a:solidFill>
                  <a:schemeClr val="accent3"/>
                </a:solidFill>
                <a:latin typeface="Calibri Light" panose="020F0302020204030204" pitchFamily="34" charset="0"/>
              </a:rPr>
              <a:t>Trust</a:t>
            </a:r>
          </a:p>
        </p:txBody>
      </p:sp>
      <p:sp>
        <p:nvSpPr>
          <p:cNvPr id="50" name="Rectangle 49"/>
          <p:cNvSpPr/>
          <p:nvPr/>
        </p:nvSpPr>
        <p:spPr bwMode="auto">
          <a:xfrm>
            <a:off x="7148583" y="3186705"/>
            <a:ext cx="914400" cy="742493"/>
          </a:xfrm>
          <a:prstGeom prst="rect">
            <a:avLst/>
          </a:prstGeom>
          <a:solidFill>
            <a:srgbClr val="D9D9D9"/>
          </a:solidFill>
          <a:ln w="6350" cap="flat" cmpd="sng" algn="ctr">
            <a:solidFill>
              <a:srgbClr val="656D7B"/>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100" dirty="0">
                <a:solidFill>
                  <a:schemeClr val="tx2">
                    <a:lumMod val="50000"/>
                  </a:schemeClr>
                </a:solidFill>
                <a:latin typeface="Calibri Light" panose="020F0302020204030204" pitchFamily="34" charset="0"/>
                <a:cs typeface="Arial" charset="0"/>
              </a:rPr>
              <a:t>Digital Customer Experience</a:t>
            </a:r>
          </a:p>
        </p:txBody>
      </p:sp>
      <p:sp>
        <p:nvSpPr>
          <p:cNvPr id="51" name="Ellipse 40"/>
          <p:cNvSpPr/>
          <p:nvPr/>
        </p:nvSpPr>
        <p:spPr bwMode="auto">
          <a:xfrm>
            <a:off x="7199499" y="3239562"/>
            <a:ext cx="36000" cy="36000"/>
          </a:xfrm>
          <a:prstGeom prst="ellipse">
            <a:avLst/>
          </a:prstGeom>
          <a:solidFill>
            <a:schemeClr val="tx1"/>
          </a:solidFill>
          <a:ln w="63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fr-FR" sz="1100" dirty="0">
              <a:solidFill>
                <a:schemeClr val="tx2"/>
              </a:solidFill>
              <a:latin typeface="Calibri" panose="020F0502020204030204" pitchFamily="34" charset="0"/>
              <a:cs typeface="Arial" charset="0"/>
            </a:endParaRPr>
          </a:p>
        </p:txBody>
      </p:sp>
      <p:sp>
        <p:nvSpPr>
          <p:cNvPr id="52" name="Ellipse 41"/>
          <p:cNvSpPr/>
          <p:nvPr/>
        </p:nvSpPr>
        <p:spPr bwMode="auto">
          <a:xfrm>
            <a:off x="7201771" y="3828695"/>
            <a:ext cx="36000" cy="36000"/>
          </a:xfrm>
          <a:prstGeom prst="ellipse">
            <a:avLst/>
          </a:prstGeom>
          <a:solidFill>
            <a:schemeClr val="tx1"/>
          </a:solidFill>
          <a:ln w="63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fr-FR" sz="1100" dirty="0">
              <a:solidFill>
                <a:schemeClr val="tx2"/>
              </a:solidFill>
              <a:latin typeface="Calibri" panose="020F0502020204030204" pitchFamily="34" charset="0"/>
              <a:cs typeface="Arial" charset="0"/>
            </a:endParaRPr>
          </a:p>
        </p:txBody>
      </p:sp>
      <p:sp>
        <p:nvSpPr>
          <p:cNvPr id="53" name="Ellipse 42"/>
          <p:cNvSpPr/>
          <p:nvPr/>
        </p:nvSpPr>
        <p:spPr bwMode="auto">
          <a:xfrm>
            <a:off x="7966052" y="3228186"/>
            <a:ext cx="36000" cy="36000"/>
          </a:xfrm>
          <a:prstGeom prst="ellipse">
            <a:avLst/>
          </a:prstGeom>
          <a:solidFill>
            <a:schemeClr val="tx1"/>
          </a:solidFill>
          <a:ln w="63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fr-FR" sz="1100" dirty="0">
              <a:solidFill>
                <a:schemeClr val="tx2"/>
              </a:solidFill>
              <a:latin typeface="Calibri" panose="020F0502020204030204" pitchFamily="34" charset="0"/>
              <a:cs typeface="Arial" charset="0"/>
            </a:endParaRPr>
          </a:p>
        </p:txBody>
      </p:sp>
      <p:sp>
        <p:nvSpPr>
          <p:cNvPr id="54" name="Ellipse 44"/>
          <p:cNvSpPr/>
          <p:nvPr/>
        </p:nvSpPr>
        <p:spPr bwMode="auto">
          <a:xfrm>
            <a:off x="7981972" y="3817319"/>
            <a:ext cx="36000" cy="36000"/>
          </a:xfrm>
          <a:prstGeom prst="ellipse">
            <a:avLst/>
          </a:prstGeom>
          <a:solidFill>
            <a:schemeClr val="tx1"/>
          </a:solidFill>
          <a:ln w="63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fr-FR" sz="1100" dirty="0">
              <a:solidFill>
                <a:schemeClr val="tx2"/>
              </a:solidFill>
              <a:latin typeface="Calibri" panose="020F0502020204030204" pitchFamily="34" charset="0"/>
              <a:cs typeface="Arial" charset="0"/>
            </a:endParaRPr>
          </a:p>
        </p:txBody>
      </p:sp>
      <p:sp>
        <p:nvSpPr>
          <p:cNvPr id="55" name="ZoneTexte 45"/>
          <p:cNvSpPr txBox="1"/>
          <p:nvPr/>
        </p:nvSpPr>
        <p:spPr>
          <a:xfrm>
            <a:off x="8045268" y="2927762"/>
            <a:ext cx="426720" cy="276999"/>
          </a:xfrm>
          <a:prstGeom prst="rect">
            <a:avLst/>
          </a:prstGeom>
          <a:noFill/>
        </p:spPr>
        <p:txBody>
          <a:bodyPr wrap="none" rtlCol="0">
            <a:spAutoFit/>
          </a:bodyPr>
          <a:lstStyle/>
          <a:p>
            <a:r>
              <a:rPr lang="fr-FR" sz="1200" i="1" dirty="0">
                <a:solidFill>
                  <a:schemeClr val="bg1"/>
                </a:solidFill>
                <a:latin typeface="Calibri Light" panose="020F0302020204030204" pitchFamily="34" charset="0"/>
              </a:rPr>
              <a:t>B2C</a:t>
            </a:r>
          </a:p>
        </p:txBody>
      </p:sp>
      <p:sp>
        <p:nvSpPr>
          <p:cNvPr id="56" name="ZoneTexte 46"/>
          <p:cNvSpPr txBox="1"/>
          <p:nvPr/>
        </p:nvSpPr>
        <p:spPr>
          <a:xfrm>
            <a:off x="8487906" y="2929862"/>
            <a:ext cx="426720" cy="276999"/>
          </a:xfrm>
          <a:prstGeom prst="rect">
            <a:avLst/>
          </a:prstGeom>
          <a:noFill/>
        </p:spPr>
        <p:txBody>
          <a:bodyPr wrap="none" rtlCol="0">
            <a:spAutoFit/>
          </a:bodyPr>
          <a:lstStyle/>
          <a:p>
            <a:r>
              <a:rPr lang="fr-FR" sz="1200" i="1" dirty="0">
                <a:solidFill>
                  <a:schemeClr val="bg1"/>
                </a:solidFill>
                <a:latin typeface="Calibri Light" panose="020F0302020204030204" pitchFamily="34" charset="0"/>
              </a:rPr>
              <a:t>B2B</a:t>
            </a:r>
          </a:p>
        </p:txBody>
      </p:sp>
      <p:sp>
        <p:nvSpPr>
          <p:cNvPr id="57" name="ZoneTexte 47"/>
          <p:cNvSpPr txBox="1"/>
          <p:nvPr/>
        </p:nvSpPr>
        <p:spPr>
          <a:xfrm>
            <a:off x="8342688" y="3829636"/>
            <a:ext cx="587020" cy="276999"/>
          </a:xfrm>
          <a:prstGeom prst="rect">
            <a:avLst/>
          </a:prstGeom>
          <a:noFill/>
        </p:spPr>
        <p:txBody>
          <a:bodyPr wrap="none" rtlCol="0">
            <a:spAutoFit/>
          </a:bodyPr>
          <a:lstStyle/>
          <a:p>
            <a:r>
              <a:rPr lang="fr-FR" sz="1200" i="1" dirty="0">
                <a:solidFill>
                  <a:schemeClr val="bg1"/>
                </a:solidFill>
                <a:latin typeface="Calibri Light" panose="020F0302020204030204" pitchFamily="34" charset="0"/>
              </a:rPr>
              <a:t>B2B2C</a:t>
            </a:r>
          </a:p>
        </p:txBody>
      </p:sp>
      <p:sp>
        <p:nvSpPr>
          <p:cNvPr id="58" name="ZoneTexte 48"/>
          <p:cNvSpPr txBox="1"/>
          <p:nvPr/>
        </p:nvSpPr>
        <p:spPr>
          <a:xfrm>
            <a:off x="8147435" y="3127425"/>
            <a:ext cx="961610" cy="276999"/>
          </a:xfrm>
          <a:prstGeom prst="rect">
            <a:avLst/>
          </a:prstGeom>
          <a:noFill/>
        </p:spPr>
        <p:txBody>
          <a:bodyPr wrap="none" rtlCol="0">
            <a:spAutoFit/>
          </a:bodyPr>
          <a:lstStyle/>
          <a:p>
            <a:r>
              <a:rPr lang="en-US" sz="1200" i="1" dirty="0">
                <a:solidFill>
                  <a:schemeClr val="bg1"/>
                </a:solidFill>
                <a:latin typeface="Calibri Light" panose="020F0302020204030204" pitchFamily="34" charset="0"/>
              </a:rPr>
              <a:t>Government</a:t>
            </a:r>
          </a:p>
        </p:txBody>
      </p:sp>
      <p:sp>
        <p:nvSpPr>
          <p:cNvPr id="59" name="ZoneTexte 49"/>
          <p:cNvSpPr txBox="1"/>
          <p:nvPr/>
        </p:nvSpPr>
        <p:spPr>
          <a:xfrm>
            <a:off x="6227201" y="2899856"/>
            <a:ext cx="853348" cy="276999"/>
          </a:xfrm>
          <a:prstGeom prst="rect">
            <a:avLst/>
          </a:prstGeom>
          <a:noFill/>
        </p:spPr>
        <p:txBody>
          <a:bodyPr wrap="square" rtlCol="0">
            <a:spAutoFit/>
          </a:bodyPr>
          <a:lstStyle/>
          <a:p>
            <a:r>
              <a:rPr lang="en-US" sz="1200" i="1" dirty="0">
                <a:solidFill>
                  <a:schemeClr val="bg1"/>
                </a:solidFill>
                <a:latin typeface="Calibri Light" panose="020F0302020204030204" pitchFamily="34" charset="0"/>
              </a:rPr>
              <a:t>Individuals</a:t>
            </a:r>
          </a:p>
        </p:txBody>
      </p:sp>
      <p:sp>
        <p:nvSpPr>
          <p:cNvPr id="60" name="ZoneTexte 50"/>
          <p:cNvSpPr txBox="1"/>
          <p:nvPr/>
        </p:nvSpPr>
        <p:spPr>
          <a:xfrm>
            <a:off x="6198621" y="3905743"/>
            <a:ext cx="1036879" cy="276999"/>
          </a:xfrm>
          <a:prstGeom prst="rect">
            <a:avLst/>
          </a:prstGeom>
          <a:noFill/>
        </p:spPr>
        <p:txBody>
          <a:bodyPr wrap="square" rtlCol="0">
            <a:spAutoFit/>
          </a:bodyPr>
          <a:lstStyle/>
          <a:p>
            <a:r>
              <a:rPr lang="en-US" sz="1200" i="1" dirty="0">
                <a:solidFill>
                  <a:schemeClr val="bg1"/>
                </a:solidFill>
                <a:latin typeface="Calibri Light" panose="020F0302020204030204" pitchFamily="34" charset="0"/>
              </a:rPr>
              <a:t>Corporations</a:t>
            </a:r>
          </a:p>
        </p:txBody>
      </p:sp>
      <p:sp>
        <p:nvSpPr>
          <p:cNvPr id="74" name="ZoneTexte 37"/>
          <p:cNvSpPr txBox="1"/>
          <p:nvPr/>
        </p:nvSpPr>
        <p:spPr>
          <a:xfrm>
            <a:off x="4986677" y="1490127"/>
            <a:ext cx="5341246" cy="288147"/>
          </a:xfrm>
          <a:prstGeom prst="rect">
            <a:avLst/>
          </a:prstGeom>
          <a:solidFill>
            <a:schemeClr val="bg1"/>
          </a:solidFill>
          <a:ln>
            <a:solidFill>
              <a:schemeClr val="bg2">
                <a:lumMod val="50000"/>
              </a:schemeClr>
            </a:solidFill>
          </a:ln>
        </p:spPr>
        <p:txBody>
          <a:bodyPr wrap="square" lIns="72000" tIns="36000" rIns="72000" bIns="36000" rtlCol="0">
            <a:spAutoFit/>
          </a:bodyPr>
          <a:lstStyle/>
          <a:p>
            <a:pPr algn="ctr"/>
            <a:r>
              <a:rPr lang="en-US" sz="1400" b="1" dirty="0">
                <a:solidFill>
                  <a:srgbClr val="002060"/>
                </a:solidFill>
                <a:latin typeface="Calibri" panose="020F0502020204030204" pitchFamily="34" charset="0"/>
              </a:rPr>
              <a:t>It is also the bridge between customer and business goals</a:t>
            </a:r>
          </a:p>
        </p:txBody>
      </p:sp>
      <p:cxnSp>
        <p:nvCxnSpPr>
          <p:cNvPr id="75" name="Connecteur en angle 7"/>
          <p:cNvCxnSpPr>
            <a:stCxn id="41" idx="0"/>
            <a:endCxn id="74" idx="1"/>
          </p:cNvCxnSpPr>
          <p:nvPr/>
        </p:nvCxnSpPr>
        <p:spPr>
          <a:xfrm rot="5400000" flipH="1" flipV="1">
            <a:off x="3524683" y="836351"/>
            <a:ext cx="664144" cy="2259844"/>
          </a:xfrm>
          <a:prstGeom prst="bentConnector2">
            <a:avLst/>
          </a:prstGeom>
          <a:ln>
            <a:solidFill>
              <a:srgbClr val="484848"/>
            </a:solidFill>
            <a:prstDash val="soli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025563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Capgemini DCX value proposition - Make the connections that make a difference !</a:t>
            </a:r>
            <a:endParaRPr lang="fr-FR" sz="2800" dirty="0"/>
          </a:p>
        </p:txBody>
      </p:sp>
      <p:sp>
        <p:nvSpPr>
          <p:cNvPr id="3" name="Rectangle 2"/>
          <p:cNvSpPr/>
          <p:nvPr/>
        </p:nvSpPr>
        <p:spPr>
          <a:xfrm>
            <a:off x="6016101" y="4720246"/>
            <a:ext cx="4444013" cy="12674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4328" marR="44417" algn="ctr">
              <a:spcAft>
                <a:spcPts val="600"/>
              </a:spcAft>
            </a:pPr>
            <a:r>
              <a:rPr lang="en-GB" sz="2400" b="1" i="1" spc="-6" dirty="0">
                <a:solidFill>
                  <a:schemeClr val="accent1"/>
                </a:solidFill>
                <a:latin typeface="Calibri" pitchFamily="34" charset="0"/>
                <a:cs typeface="Arial"/>
              </a:rPr>
              <a:t>Because e</a:t>
            </a:r>
            <a:r>
              <a:rPr lang="en-GB" sz="2400" b="1" i="1" dirty="0">
                <a:solidFill>
                  <a:schemeClr val="accent1"/>
                </a:solidFill>
                <a:latin typeface="Calibri" pitchFamily="34" charset="0"/>
                <a:cs typeface="Arial"/>
              </a:rPr>
              <a:t>xtraordinary connections</a:t>
            </a:r>
            <a:r>
              <a:rPr lang="en-GB" sz="2400" b="1" i="1" spc="-73" dirty="0">
                <a:solidFill>
                  <a:schemeClr val="accent1"/>
                </a:solidFill>
                <a:latin typeface="Calibri" pitchFamily="34" charset="0"/>
                <a:cs typeface="Arial"/>
              </a:rPr>
              <a:t> </a:t>
            </a:r>
            <a:r>
              <a:rPr lang="en-GB" sz="2400" b="1" i="1" dirty="0">
                <a:solidFill>
                  <a:schemeClr val="accent1"/>
                </a:solidFill>
                <a:latin typeface="Calibri" pitchFamily="34" charset="0"/>
                <a:cs typeface="Arial"/>
              </a:rPr>
              <a:t>deliver extraordinary</a:t>
            </a:r>
            <a:r>
              <a:rPr lang="en-GB" sz="2400" b="1" i="1" spc="-113" dirty="0">
                <a:solidFill>
                  <a:schemeClr val="accent1"/>
                </a:solidFill>
                <a:latin typeface="Calibri" pitchFamily="34" charset="0"/>
                <a:cs typeface="Arial"/>
              </a:rPr>
              <a:t> </a:t>
            </a:r>
            <a:r>
              <a:rPr lang="en-GB" sz="2400" b="1" i="1" dirty="0">
                <a:solidFill>
                  <a:schemeClr val="accent1"/>
                </a:solidFill>
                <a:latin typeface="Calibri" pitchFamily="34" charset="0"/>
                <a:cs typeface="Arial"/>
              </a:rPr>
              <a:t>results.</a:t>
            </a:r>
          </a:p>
        </p:txBody>
      </p:sp>
      <p:sp>
        <p:nvSpPr>
          <p:cNvPr id="4" name="Rectangle 3"/>
          <p:cNvSpPr/>
          <p:nvPr/>
        </p:nvSpPr>
        <p:spPr>
          <a:xfrm>
            <a:off x="5207000" y="1531519"/>
            <a:ext cx="5803899" cy="2308324"/>
          </a:xfrm>
          <a:prstGeom prst="rect">
            <a:avLst/>
          </a:prstGeom>
        </p:spPr>
        <p:txBody>
          <a:bodyPr wrap="square">
            <a:spAutoFit/>
          </a:bodyPr>
          <a:lstStyle/>
          <a:p>
            <a:pPr marL="14328" marR="5731">
              <a:spcAft>
                <a:spcPts val="600"/>
              </a:spcAft>
            </a:pPr>
            <a:r>
              <a:rPr lang="en-GB" sz="2400" dirty="0">
                <a:solidFill>
                  <a:schemeClr val="accent3"/>
                </a:solidFill>
                <a:latin typeface="Calibri" pitchFamily="34" charset="0"/>
                <a:cs typeface="Arial"/>
              </a:rPr>
              <a:t>We partner with our clients to make the right connections across the whole of their enterprise so that they can create experiences that deliver rapid and sustainable value for their customers and their company.</a:t>
            </a:r>
          </a:p>
        </p:txBody>
      </p:sp>
      <p:sp>
        <p:nvSpPr>
          <p:cNvPr id="5" name="TextBox 47"/>
          <p:cNvSpPr txBox="1"/>
          <p:nvPr/>
        </p:nvSpPr>
        <p:spPr>
          <a:xfrm>
            <a:off x="1332107" y="2426147"/>
            <a:ext cx="3036742" cy="381168"/>
          </a:xfrm>
          <a:prstGeom prst="rect">
            <a:avLst/>
          </a:prstGeom>
          <a:solidFill>
            <a:schemeClr val="tx2">
              <a:lumMod val="10000"/>
              <a:lumOff val="90000"/>
              <a:alpha val="70000"/>
            </a:schemeClr>
          </a:solidFill>
        </p:spPr>
        <p:txBody>
          <a:bodyPr wrap="none" lIns="103163" tIns="51581" rIns="103163" bIns="51581" rtlCol="0">
            <a:noAutofit/>
          </a:bodyPr>
          <a:lstStyle/>
          <a:p>
            <a:pPr marL="108000" defTabSz="957756">
              <a:defRPr/>
            </a:pPr>
            <a:r>
              <a:rPr lang="en-US" kern="0" dirty="0">
                <a:solidFill>
                  <a:srgbClr val="1C1C1C"/>
                </a:solidFill>
                <a:latin typeface="Calibri" pitchFamily="34" charset="0"/>
              </a:rPr>
              <a:t>Clients</a:t>
            </a:r>
          </a:p>
        </p:txBody>
      </p:sp>
      <p:sp>
        <p:nvSpPr>
          <p:cNvPr id="6" name="TextBox 49"/>
          <p:cNvSpPr txBox="1"/>
          <p:nvPr/>
        </p:nvSpPr>
        <p:spPr>
          <a:xfrm>
            <a:off x="1332107" y="1902823"/>
            <a:ext cx="3036742" cy="381168"/>
          </a:xfrm>
          <a:prstGeom prst="rect">
            <a:avLst/>
          </a:prstGeom>
          <a:solidFill>
            <a:schemeClr val="tx2">
              <a:lumMod val="10000"/>
              <a:lumOff val="90000"/>
              <a:alpha val="70000"/>
            </a:schemeClr>
          </a:solidFill>
        </p:spPr>
        <p:txBody>
          <a:bodyPr wrap="none" lIns="103163" tIns="51581" rIns="103163" bIns="51581" rtlCol="0">
            <a:noAutofit/>
          </a:bodyPr>
          <a:lstStyle/>
          <a:p>
            <a:pPr marL="108000" defTabSz="957756">
              <a:defRPr/>
            </a:pPr>
            <a:r>
              <a:rPr lang="en-US" kern="0" dirty="0">
                <a:solidFill>
                  <a:srgbClr val="1C1C1C"/>
                </a:solidFill>
                <a:latin typeface="Calibri" pitchFamily="34" charset="0"/>
              </a:rPr>
              <a:t>Customers</a:t>
            </a:r>
          </a:p>
        </p:txBody>
      </p:sp>
      <p:sp>
        <p:nvSpPr>
          <p:cNvPr id="7" name="TextBox 54"/>
          <p:cNvSpPr txBox="1"/>
          <p:nvPr/>
        </p:nvSpPr>
        <p:spPr>
          <a:xfrm>
            <a:off x="1332107" y="3443872"/>
            <a:ext cx="3036742" cy="381168"/>
          </a:xfrm>
          <a:prstGeom prst="rect">
            <a:avLst/>
          </a:prstGeom>
          <a:solidFill>
            <a:schemeClr val="tx2">
              <a:lumMod val="10000"/>
              <a:lumOff val="90000"/>
              <a:alpha val="70000"/>
            </a:schemeClr>
          </a:solidFill>
        </p:spPr>
        <p:txBody>
          <a:bodyPr wrap="none" lIns="103163" tIns="51581" rIns="103163" bIns="51581" rtlCol="0">
            <a:noAutofit/>
          </a:bodyPr>
          <a:lstStyle/>
          <a:p>
            <a:pPr marL="108000" defTabSz="957756">
              <a:defRPr/>
            </a:pPr>
            <a:r>
              <a:rPr lang="en-US" kern="0" dirty="0">
                <a:solidFill>
                  <a:srgbClr val="1C1C1C"/>
                </a:solidFill>
                <a:latin typeface="Calibri" pitchFamily="34" charset="0"/>
              </a:rPr>
              <a:t>Touchpoints</a:t>
            </a:r>
          </a:p>
        </p:txBody>
      </p:sp>
      <p:sp>
        <p:nvSpPr>
          <p:cNvPr id="8" name="TextBox 55"/>
          <p:cNvSpPr txBox="1"/>
          <p:nvPr/>
        </p:nvSpPr>
        <p:spPr>
          <a:xfrm>
            <a:off x="1332107" y="4006672"/>
            <a:ext cx="3036742" cy="381168"/>
          </a:xfrm>
          <a:prstGeom prst="rect">
            <a:avLst/>
          </a:prstGeom>
          <a:solidFill>
            <a:schemeClr val="tx2">
              <a:lumMod val="10000"/>
              <a:lumOff val="90000"/>
              <a:alpha val="70000"/>
            </a:schemeClr>
          </a:solidFill>
        </p:spPr>
        <p:txBody>
          <a:bodyPr wrap="none" lIns="103163" tIns="51581" rIns="103163" bIns="51581" rtlCol="0">
            <a:noAutofit/>
          </a:bodyPr>
          <a:lstStyle/>
          <a:p>
            <a:pPr marL="108000" defTabSz="957756">
              <a:defRPr/>
            </a:pPr>
            <a:r>
              <a:rPr lang="en-US" kern="0" dirty="0">
                <a:solidFill>
                  <a:srgbClr val="1C1C1C"/>
                </a:solidFill>
                <a:latin typeface="Calibri" pitchFamily="34" charset="0"/>
              </a:rPr>
              <a:t>Data Layer</a:t>
            </a:r>
          </a:p>
        </p:txBody>
      </p:sp>
      <p:sp>
        <p:nvSpPr>
          <p:cNvPr id="9" name="TextBox 56"/>
          <p:cNvSpPr txBox="1"/>
          <p:nvPr/>
        </p:nvSpPr>
        <p:spPr>
          <a:xfrm>
            <a:off x="1332107" y="4586872"/>
            <a:ext cx="3036742" cy="381168"/>
          </a:xfrm>
          <a:prstGeom prst="rect">
            <a:avLst/>
          </a:prstGeom>
          <a:solidFill>
            <a:schemeClr val="tx2">
              <a:lumMod val="10000"/>
              <a:lumOff val="90000"/>
              <a:alpha val="70000"/>
            </a:schemeClr>
          </a:solidFill>
        </p:spPr>
        <p:txBody>
          <a:bodyPr wrap="none" lIns="103163" tIns="51581" rIns="103163" bIns="51581" rtlCol="0">
            <a:noAutofit/>
          </a:bodyPr>
          <a:lstStyle/>
          <a:p>
            <a:pPr marL="108000" defTabSz="957756">
              <a:defRPr/>
            </a:pPr>
            <a:r>
              <a:rPr lang="en-US" kern="0" dirty="0">
                <a:solidFill>
                  <a:srgbClr val="1C1C1C"/>
                </a:solidFill>
                <a:latin typeface="Calibri" pitchFamily="34" charset="0"/>
              </a:rPr>
              <a:t>Technology Solutions</a:t>
            </a:r>
          </a:p>
        </p:txBody>
      </p:sp>
      <p:sp>
        <p:nvSpPr>
          <p:cNvPr id="10" name="TextBox 57"/>
          <p:cNvSpPr txBox="1"/>
          <p:nvPr/>
        </p:nvSpPr>
        <p:spPr>
          <a:xfrm>
            <a:off x="1332107" y="5149672"/>
            <a:ext cx="3036742" cy="381168"/>
          </a:xfrm>
          <a:prstGeom prst="rect">
            <a:avLst/>
          </a:prstGeom>
          <a:solidFill>
            <a:schemeClr val="tx2">
              <a:lumMod val="10000"/>
              <a:lumOff val="90000"/>
              <a:alpha val="70000"/>
            </a:schemeClr>
          </a:solidFill>
        </p:spPr>
        <p:txBody>
          <a:bodyPr wrap="none" lIns="103163" tIns="51581" rIns="103163" bIns="51581" rtlCol="0">
            <a:noAutofit/>
          </a:bodyPr>
          <a:lstStyle/>
          <a:p>
            <a:pPr marL="108000" defTabSz="957756">
              <a:defRPr/>
            </a:pPr>
            <a:r>
              <a:rPr lang="en-US" kern="0" dirty="0">
                <a:solidFill>
                  <a:srgbClr val="1C1C1C"/>
                </a:solidFill>
                <a:latin typeface="Calibri" pitchFamily="34" charset="0"/>
              </a:rPr>
              <a:t>Enabling Process Layer</a:t>
            </a:r>
          </a:p>
        </p:txBody>
      </p:sp>
      <p:sp>
        <p:nvSpPr>
          <p:cNvPr id="11" name="TextBox 58"/>
          <p:cNvSpPr txBox="1"/>
          <p:nvPr/>
        </p:nvSpPr>
        <p:spPr>
          <a:xfrm>
            <a:off x="1332107" y="5729872"/>
            <a:ext cx="3036742" cy="381168"/>
          </a:xfrm>
          <a:prstGeom prst="rect">
            <a:avLst/>
          </a:prstGeom>
          <a:solidFill>
            <a:schemeClr val="tx2">
              <a:lumMod val="10000"/>
              <a:lumOff val="90000"/>
              <a:alpha val="70000"/>
            </a:schemeClr>
          </a:solidFill>
        </p:spPr>
        <p:txBody>
          <a:bodyPr wrap="none" lIns="103163" tIns="51581" rIns="103163" bIns="51581" rtlCol="0">
            <a:noAutofit/>
          </a:bodyPr>
          <a:lstStyle/>
          <a:p>
            <a:pPr marL="108000" defTabSz="957756">
              <a:defRPr/>
            </a:pPr>
            <a:r>
              <a:rPr lang="en-US" kern="0" dirty="0">
                <a:solidFill>
                  <a:srgbClr val="1C1C1C"/>
                </a:solidFill>
                <a:latin typeface="Calibri" pitchFamily="34" charset="0"/>
              </a:rPr>
              <a:t>Organizational Layer</a:t>
            </a:r>
          </a:p>
        </p:txBody>
      </p:sp>
      <p:cxnSp>
        <p:nvCxnSpPr>
          <p:cNvPr id="12" name="Curved Connector 59"/>
          <p:cNvCxnSpPr/>
          <p:nvPr/>
        </p:nvCxnSpPr>
        <p:spPr>
          <a:xfrm rot="10800000">
            <a:off x="1390040" y="2079184"/>
            <a:ext cx="12700" cy="523324"/>
          </a:xfrm>
          <a:prstGeom prst="curvedConnector3">
            <a:avLst>
              <a:gd name="adj1" fmla="val 1800000"/>
            </a:avLst>
          </a:prstGeom>
          <a:ln w="57150">
            <a:solidFill>
              <a:srgbClr val="00B0F0"/>
            </a:solidFill>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13" name="Curved Connector 60"/>
          <p:cNvCxnSpPr>
            <a:stCxn id="7" idx="1"/>
            <a:endCxn id="8" idx="1"/>
          </p:cNvCxnSpPr>
          <p:nvPr/>
        </p:nvCxnSpPr>
        <p:spPr>
          <a:xfrm rot="10800000" flipV="1">
            <a:off x="1332107" y="3634456"/>
            <a:ext cx="12700" cy="562800"/>
          </a:xfrm>
          <a:prstGeom prst="curvedConnector3">
            <a:avLst>
              <a:gd name="adj1" fmla="val 1800000"/>
            </a:avLst>
          </a:prstGeom>
          <a:noFill/>
          <a:ln w="57150" cap="flat" cmpd="sng" algn="ctr">
            <a:solidFill>
              <a:srgbClr val="00B0F0"/>
            </a:solidFill>
            <a:prstDash val="solid"/>
            <a:headEnd type="oval" w="med" len="med"/>
            <a:tailEnd type="oval" w="med" len="med"/>
          </a:ln>
          <a:effectLst>
            <a:outerShdw blurRad="40000" dist="20000" dir="5400000" rotWithShape="0">
              <a:srgbClr val="000000">
                <a:alpha val="38000"/>
              </a:srgbClr>
            </a:outerShdw>
          </a:effectLst>
        </p:spPr>
      </p:cxnSp>
      <p:cxnSp>
        <p:nvCxnSpPr>
          <p:cNvPr id="14" name="Curved Connector 61"/>
          <p:cNvCxnSpPr>
            <a:stCxn id="8" idx="1"/>
            <a:endCxn id="9" idx="1"/>
          </p:cNvCxnSpPr>
          <p:nvPr/>
        </p:nvCxnSpPr>
        <p:spPr>
          <a:xfrm rot="10800000" flipV="1">
            <a:off x="1332107" y="4197256"/>
            <a:ext cx="12700" cy="580200"/>
          </a:xfrm>
          <a:prstGeom prst="curvedConnector3">
            <a:avLst>
              <a:gd name="adj1" fmla="val 1800000"/>
            </a:avLst>
          </a:prstGeom>
          <a:noFill/>
          <a:ln w="57150" cap="flat" cmpd="sng" algn="ctr">
            <a:solidFill>
              <a:srgbClr val="00B0F0"/>
            </a:solidFill>
            <a:prstDash val="solid"/>
            <a:headEnd type="oval" w="med" len="med"/>
            <a:tailEnd type="oval" w="med" len="med"/>
          </a:ln>
          <a:effectLst>
            <a:outerShdw blurRad="40000" dist="20000" dir="5400000" rotWithShape="0">
              <a:srgbClr val="000000">
                <a:alpha val="38000"/>
              </a:srgbClr>
            </a:outerShdw>
          </a:effectLst>
        </p:spPr>
      </p:cxnSp>
      <p:cxnSp>
        <p:nvCxnSpPr>
          <p:cNvPr id="15" name="Curved Connector 62"/>
          <p:cNvCxnSpPr>
            <a:stCxn id="9" idx="1"/>
            <a:endCxn id="10" idx="1"/>
          </p:cNvCxnSpPr>
          <p:nvPr/>
        </p:nvCxnSpPr>
        <p:spPr>
          <a:xfrm rot="10800000" flipV="1">
            <a:off x="1332107" y="4777456"/>
            <a:ext cx="12700" cy="562800"/>
          </a:xfrm>
          <a:prstGeom prst="curvedConnector3">
            <a:avLst>
              <a:gd name="adj1" fmla="val 1800000"/>
            </a:avLst>
          </a:prstGeom>
          <a:noFill/>
          <a:ln w="57150" cap="flat" cmpd="sng" algn="ctr">
            <a:solidFill>
              <a:srgbClr val="00B0F0"/>
            </a:solidFill>
            <a:prstDash val="solid"/>
            <a:headEnd type="oval" w="med" len="med"/>
            <a:tailEnd type="oval" w="med" len="med"/>
          </a:ln>
          <a:effectLst>
            <a:outerShdw blurRad="40000" dist="20000" dir="5400000" rotWithShape="0">
              <a:srgbClr val="000000">
                <a:alpha val="38000"/>
              </a:srgbClr>
            </a:outerShdw>
          </a:effectLst>
        </p:spPr>
      </p:cxnSp>
      <p:cxnSp>
        <p:nvCxnSpPr>
          <p:cNvPr id="16" name="Curved Connector 63"/>
          <p:cNvCxnSpPr>
            <a:stCxn id="10" idx="1"/>
            <a:endCxn id="11" idx="1"/>
          </p:cNvCxnSpPr>
          <p:nvPr/>
        </p:nvCxnSpPr>
        <p:spPr>
          <a:xfrm rot="10800000" flipV="1">
            <a:off x="1332107" y="5340256"/>
            <a:ext cx="12700" cy="580200"/>
          </a:xfrm>
          <a:prstGeom prst="curvedConnector3">
            <a:avLst>
              <a:gd name="adj1" fmla="val 1800000"/>
            </a:avLst>
          </a:prstGeom>
          <a:noFill/>
          <a:ln w="57150" cap="flat" cmpd="sng" algn="ctr">
            <a:solidFill>
              <a:srgbClr val="00B0F0"/>
            </a:solidFill>
            <a:prstDash val="solid"/>
            <a:headEnd type="oval" w="med" len="med"/>
            <a:tailEnd type="oval" w="med" len="med"/>
          </a:ln>
          <a:effectLst>
            <a:outerShdw blurRad="40000" dist="20000" dir="5400000" rotWithShape="0">
              <a:srgbClr val="000000">
                <a:alpha val="38000"/>
              </a:srgbClr>
            </a:outerShdw>
          </a:effectLst>
        </p:spPr>
      </p:cxnSp>
      <p:cxnSp>
        <p:nvCxnSpPr>
          <p:cNvPr id="17" name="Straight Connector 64"/>
          <p:cNvCxnSpPr/>
          <p:nvPr/>
        </p:nvCxnSpPr>
        <p:spPr>
          <a:xfrm>
            <a:off x="1221788" y="3132416"/>
            <a:ext cx="3240000" cy="0"/>
          </a:xfrm>
          <a:prstGeom prst="line">
            <a:avLst/>
          </a:prstGeom>
          <a:noFill/>
          <a:ln w="25400" cap="flat" cmpd="sng" algn="ctr">
            <a:solidFill>
              <a:schemeClr val="accent5"/>
            </a:solidFill>
            <a:prstDash val="solid"/>
          </a:ln>
          <a:effectLst>
            <a:outerShdw blurRad="40000" dist="20000" dir="5400000" rotWithShape="0">
              <a:srgbClr val="000000">
                <a:alpha val="38000"/>
              </a:srgbClr>
            </a:outerShdw>
          </a:effectLst>
        </p:spPr>
      </p:cxnSp>
      <p:grpSp>
        <p:nvGrpSpPr>
          <p:cNvPr id="18" name="Groupe 67"/>
          <p:cNvGrpSpPr/>
          <p:nvPr/>
        </p:nvGrpSpPr>
        <p:grpSpPr>
          <a:xfrm>
            <a:off x="4010709" y="3382456"/>
            <a:ext cx="504000" cy="504000"/>
            <a:chOff x="3322320" y="3322320"/>
            <a:chExt cx="563880" cy="563880"/>
          </a:xfrm>
        </p:grpSpPr>
        <p:sp>
          <p:nvSpPr>
            <p:cNvPr id="19" name="Oval 69"/>
            <p:cNvSpPr/>
            <p:nvPr/>
          </p:nvSpPr>
          <p:spPr bwMode="auto">
            <a:xfrm>
              <a:off x="3322320" y="3322320"/>
              <a:ext cx="563880" cy="563880"/>
            </a:xfrm>
            <a:prstGeom prst="ellipse">
              <a:avLst/>
            </a:prstGeom>
            <a:solidFill>
              <a:srgbClr val="0098CC"/>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defRPr/>
              </a:pPr>
              <a:endParaRPr lang="en-US" sz="1600" kern="0" dirty="0">
                <a:solidFill>
                  <a:srgbClr val="1C1C1C"/>
                </a:solidFill>
                <a:latin typeface="Calibri"/>
                <a:cs typeface="Arial" charset="0"/>
                <a:sym typeface="Calibri"/>
              </a:endParaRPr>
            </a:p>
          </p:txBody>
        </p:sp>
        <p:grpSp>
          <p:nvGrpSpPr>
            <p:cNvPr id="20" name="Group 393"/>
            <p:cNvGrpSpPr>
              <a:grpSpLocks/>
            </p:cNvGrpSpPr>
            <p:nvPr/>
          </p:nvGrpSpPr>
          <p:grpSpPr bwMode="auto">
            <a:xfrm>
              <a:off x="3455398" y="3382010"/>
              <a:ext cx="297724" cy="390902"/>
              <a:chOff x="360363" y="682625"/>
              <a:chExt cx="857250" cy="1125538"/>
            </a:xfrm>
          </p:grpSpPr>
          <p:sp>
            <p:nvSpPr>
              <p:cNvPr id="21" name="Freeform 6"/>
              <p:cNvSpPr>
                <a:spLocks/>
              </p:cNvSpPr>
              <p:nvPr/>
            </p:nvSpPr>
            <p:spPr bwMode="auto">
              <a:xfrm>
                <a:off x="360363" y="1171575"/>
                <a:ext cx="304800" cy="635000"/>
              </a:xfrm>
              <a:custGeom>
                <a:avLst/>
                <a:gdLst>
                  <a:gd name="T0" fmla="*/ 304800 w 106"/>
                  <a:gd name="T1" fmla="*/ 635000 h 221"/>
                  <a:gd name="T2" fmla="*/ 94891 w 106"/>
                  <a:gd name="T3" fmla="*/ 209751 h 221"/>
                  <a:gd name="T4" fmla="*/ 94891 w 106"/>
                  <a:gd name="T5" fmla="*/ 209751 h 221"/>
                  <a:gd name="T6" fmla="*/ 14377 w 106"/>
                  <a:gd name="T7" fmla="*/ 112059 h 221"/>
                  <a:gd name="T8" fmla="*/ 14377 w 106"/>
                  <a:gd name="T9" fmla="*/ 112059 h 221"/>
                  <a:gd name="T10" fmla="*/ 14377 w 106"/>
                  <a:gd name="T11" fmla="*/ 112059 h 221"/>
                  <a:gd name="T12" fmla="*/ 0 w 106"/>
                  <a:gd name="T13" fmla="*/ 66086 h 221"/>
                  <a:gd name="T14" fmla="*/ 0 w 106"/>
                  <a:gd name="T15" fmla="*/ 66086 h 221"/>
                  <a:gd name="T16" fmla="*/ 14377 w 106"/>
                  <a:gd name="T17" fmla="*/ 25860 h 221"/>
                  <a:gd name="T18" fmla="*/ 14377 w 106"/>
                  <a:gd name="T19" fmla="*/ 25860 h 221"/>
                  <a:gd name="T20" fmla="*/ 14377 w 106"/>
                  <a:gd name="T21" fmla="*/ 25860 h 221"/>
                  <a:gd name="T22" fmla="*/ 14377 w 106"/>
                  <a:gd name="T23" fmla="*/ 25860 h 221"/>
                  <a:gd name="T24" fmla="*/ 14377 w 106"/>
                  <a:gd name="T25" fmla="*/ 25860 h 221"/>
                  <a:gd name="T26" fmla="*/ 57509 w 106"/>
                  <a:gd name="T27" fmla="*/ 0 h 221"/>
                  <a:gd name="T28" fmla="*/ 57509 w 106"/>
                  <a:gd name="T29" fmla="*/ 0 h 221"/>
                  <a:gd name="T30" fmla="*/ 100642 w 106"/>
                  <a:gd name="T31" fmla="*/ 25860 h 221"/>
                  <a:gd name="T32" fmla="*/ 100642 w 106"/>
                  <a:gd name="T33" fmla="*/ 25860 h 221"/>
                  <a:gd name="T34" fmla="*/ 100642 w 106"/>
                  <a:gd name="T35" fmla="*/ 25860 h 221"/>
                  <a:gd name="T36" fmla="*/ 166777 w 106"/>
                  <a:gd name="T37" fmla="*/ 80452 h 2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6"/>
                  <a:gd name="T58" fmla="*/ 0 h 221"/>
                  <a:gd name="T59" fmla="*/ 106 w 106"/>
                  <a:gd name="T60" fmla="*/ 221 h 2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6" h="221">
                    <a:moveTo>
                      <a:pt x="106" y="221"/>
                    </a:moveTo>
                    <a:cubicBezTo>
                      <a:pt x="101" y="201"/>
                      <a:pt x="45" y="90"/>
                      <a:pt x="33" y="73"/>
                    </a:cubicBezTo>
                    <a:cubicBezTo>
                      <a:pt x="33" y="73"/>
                      <a:pt x="33" y="73"/>
                      <a:pt x="33" y="73"/>
                    </a:cubicBezTo>
                    <a:cubicBezTo>
                      <a:pt x="5" y="39"/>
                      <a:pt x="5" y="39"/>
                      <a:pt x="5" y="39"/>
                    </a:cubicBezTo>
                    <a:cubicBezTo>
                      <a:pt x="5" y="39"/>
                      <a:pt x="5" y="39"/>
                      <a:pt x="5" y="39"/>
                    </a:cubicBezTo>
                    <a:cubicBezTo>
                      <a:pt x="5" y="39"/>
                      <a:pt x="5" y="39"/>
                      <a:pt x="5" y="39"/>
                    </a:cubicBezTo>
                    <a:cubicBezTo>
                      <a:pt x="0" y="34"/>
                      <a:pt x="0" y="28"/>
                      <a:pt x="0" y="23"/>
                    </a:cubicBezTo>
                    <a:cubicBezTo>
                      <a:pt x="0" y="23"/>
                      <a:pt x="0" y="23"/>
                      <a:pt x="0" y="23"/>
                    </a:cubicBezTo>
                    <a:cubicBezTo>
                      <a:pt x="0" y="17"/>
                      <a:pt x="0" y="12"/>
                      <a:pt x="5" y="9"/>
                    </a:cubicBezTo>
                    <a:cubicBezTo>
                      <a:pt x="5" y="9"/>
                      <a:pt x="5" y="9"/>
                      <a:pt x="5" y="9"/>
                    </a:cubicBezTo>
                    <a:cubicBezTo>
                      <a:pt x="5" y="9"/>
                      <a:pt x="5" y="9"/>
                      <a:pt x="5" y="9"/>
                    </a:cubicBezTo>
                    <a:cubicBezTo>
                      <a:pt x="5" y="9"/>
                      <a:pt x="5" y="9"/>
                      <a:pt x="5" y="9"/>
                    </a:cubicBezTo>
                    <a:cubicBezTo>
                      <a:pt x="5" y="9"/>
                      <a:pt x="5" y="9"/>
                      <a:pt x="5" y="9"/>
                    </a:cubicBezTo>
                    <a:cubicBezTo>
                      <a:pt x="10" y="3"/>
                      <a:pt x="15" y="0"/>
                      <a:pt x="20" y="0"/>
                    </a:cubicBezTo>
                    <a:cubicBezTo>
                      <a:pt x="20" y="0"/>
                      <a:pt x="20" y="0"/>
                      <a:pt x="20" y="0"/>
                    </a:cubicBezTo>
                    <a:cubicBezTo>
                      <a:pt x="25" y="0"/>
                      <a:pt x="33" y="3"/>
                      <a:pt x="35" y="9"/>
                    </a:cubicBezTo>
                    <a:cubicBezTo>
                      <a:pt x="35" y="9"/>
                      <a:pt x="35" y="9"/>
                      <a:pt x="35" y="9"/>
                    </a:cubicBezTo>
                    <a:cubicBezTo>
                      <a:pt x="35" y="9"/>
                      <a:pt x="35" y="9"/>
                      <a:pt x="35" y="9"/>
                    </a:cubicBezTo>
                    <a:cubicBezTo>
                      <a:pt x="58" y="28"/>
                      <a:pt x="58" y="28"/>
                      <a:pt x="58" y="28"/>
                    </a:cubicBezTo>
                  </a:path>
                </a:pathLst>
              </a:custGeom>
              <a:noFill/>
              <a:ln w="12700" cap="flat">
                <a:solidFill>
                  <a:sysClr val="window" lastClr="FFFFFF"/>
                </a:solidFill>
                <a:prstDash val="solid"/>
                <a:miter lim="800000"/>
                <a:headEnd/>
                <a:tailEnd/>
              </a:ln>
            </p:spPr>
            <p:txBody>
              <a:bodyPr/>
              <a:lstStyle/>
              <a:p>
                <a:pPr defTabSz="957756">
                  <a:defRPr/>
                </a:pPr>
                <a:endParaRPr lang="en-US" kern="0" dirty="0">
                  <a:solidFill>
                    <a:srgbClr val="00234B"/>
                  </a:solidFill>
                  <a:latin typeface="Calibri"/>
                  <a:sym typeface="Calibri"/>
                </a:endParaRPr>
              </a:p>
            </p:txBody>
          </p:sp>
          <p:sp>
            <p:nvSpPr>
              <p:cNvPr id="22" name="Freeform 7"/>
              <p:cNvSpPr>
                <a:spLocks/>
              </p:cNvSpPr>
              <p:nvPr/>
            </p:nvSpPr>
            <p:spPr bwMode="auto">
              <a:xfrm>
                <a:off x="665163" y="1806575"/>
                <a:ext cx="333375" cy="1588"/>
              </a:xfrm>
              <a:custGeom>
                <a:avLst/>
                <a:gdLst>
                  <a:gd name="T0" fmla="*/ 333375 w 116"/>
                  <a:gd name="T1" fmla="*/ 0 h 1588"/>
                  <a:gd name="T2" fmla="*/ 229914 w 116"/>
                  <a:gd name="T3" fmla="*/ 0 h 1588"/>
                  <a:gd name="T4" fmla="*/ 0 w 116"/>
                  <a:gd name="T5" fmla="*/ 0 h 1588"/>
                  <a:gd name="T6" fmla="*/ 0 60000 65536"/>
                  <a:gd name="T7" fmla="*/ 0 60000 65536"/>
                  <a:gd name="T8" fmla="*/ 0 60000 65536"/>
                  <a:gd name="T9" fmla="*/ 0 w 116"/>
                  <a:gd name="T10" fmla="*/ 0 h 1588"/>
                  <a:gd name="T11" fmla="*/ 116 w 116"/>
                  <a:gd name="T12" fmla="*/ 1588 h 1588"/>
                </a:gdLst>
                <a:ahLst/>
                <a:cxnLst>
                  <a:cxn ang="T6">
                    <a:pos x="T0" y="T1"/>
                  </a:cxn>
                  <a:cxn ang="T7">
                    <a:pos x="T2" y="T3"/>
                  </a:cxn>
                  <a:cxn ang="T8">
                    <a:pos x="T4" y="T5"/>
                  </a:cxn>
                </a:cxnLst>
                <a:rect l="T9" t="T10" r="T11" b="T12"/>
                <a:pathLst>
                  <a:path w="116" h="1588">
                    <a:moveTo>
                      <a:pt x="116" y="0"/>
                    </a:moveTo>
                    <a:cubicBezTo>
                      <a:pt x="103" y="0"/>
                      <a:pt x="94" y="0"/>
                      <a:pt x="80" y="0"/>
                    </a:cubicBezTo>
                    <a:cubicBezTo>
                      <a:pt x="40" y="0"/>
                      <a:pt x="0" y="0"/>
                      <a:pt x="0" y="0"/>
                    </a:cubicBezTo>
                  </a:path>
                </a:pathLst>
              </a:custGeom>
              <a:noFill/>
              <a:ln w="12700" cap="flat">
                <a:solidFill>
                  <a:sysClr val="window" lastClr="FFFFFF"/>
                </a:solidFill>
                <a:prstDash val="solid"/>
                <a:miter lim="800000"/>
                <a:headEnd/>
                <a:tailEnd/>
              </a:ln>
            </p:spPr>
            <p:txBody>
              <a:bodyPr/>
              <a:lstStyle/>
              <a:p>
                <a:pPr defTabSz="957756">
                  <a:defRPr/>
                </a:pPr>
                <a:endParaRPr lang="en-US" kern="0" dirty="0">
                  <a:solidFill>
                    <a:srgbClr val="00234B"/>
                  </a:solidFill>
                  <a:latin typeface="Calibri"/>
                  <a:sym typeface="Calibri"/>
                </a:endParaRPr>
              </a:p>
            </p:txBody>
          </p:sp>
          <p:sp>
            <p:nvSpPr>
              <p:cNvPr id="23" name="Freeform 8"/>
              <p:cNvSpPr>
                <a:spLocks/>
              </p:cNvSpPr>
              <p:nvPr/>
            </p:nvSpPr>
            <p:spPr bwMode="auto">
              <a:xfrm>
                <a:off x="576263" y="682625"/>
                <a:ext cx="641350" cy="1123950"/>
              </a:xfrm>
              <a:custGeom>
                <a:avLst/>
                <a:gdLst>
                  <a:gd name="T0" fmla="*/ 0 w 223"/>
                  <a:gd name="T1" fmla="*/ 546165 h 391"/>
                  <a:gd name="T2" fmla="*/ 0 w 223"/>
                  <a:gd name="T3" fmla="*/ 66115 h 391"/>
                  <a:gd name="T4" fmla="*/ 23008 w 223"/>
                  <a:gd name="T5" fmla="*/ 25871 h 391"/>
                  <a:gd name="T6" fmla="*/ 66148 w 223"/>
                  <a:gd name="T7" fmla="*/ 0 h 391"/>
                  <a:gd name="T8" fmla="*/ 109288 w 223"/>
                  <a:gd name="T9" fmla="*/ 25871 h 391"/>
                  <a:gd name="T10" fmla="*/ 132296 w 223"/>
                  <a:gd name="T11" fmla="*/ 66115 h 391"/>
                  <a:gd name="T12" fmla="*/ 132296 w 223"/>
                  <a:gd name="T13" fmla="*/ 321950 h 391"/>
                  <a:gd name="T14" fmla="*/ 132296 w 223"/>
                  <a:gd name="T15" fmla="*/ 416810 h 391"/>
                  <a:gd name="T16" fmla="*/ 155304 w 223"/>
                  <a:gd name="T17" fmla="*/ 523169 h 391"/>
                  <a:gd name="T18" fmla="*/ 184065 w 223"/>
                  <a:gd name="T19" fmla="*/ 474301 h 391"/>
                  <a:gd name="T20" fmla="*/ 184065 w 223"/>
                  <a:gd name="T21" fmla="*/ 290330 h 391"/>
                  <a:gd name="T22" fmla="*/ 247337 w 223"/>
                  <a:gd name="T23" fmla="*/ 258710 h 391"/>
                  <a:gd name="T24" fmla="*/ 247337 w 223"/>
                  <a:gd name="T25" fmla="*/ 258710 h 391"/>
                  <a:gd name="T26" fmla="*/ 313485 w 223"/>
                  <a:gd name="T27" fmla="*/ 290330 h 391"/>
                  <a:gd name="T28" fmla="*/ 313485 w 223"/>
                  <a:gd name="T29" fmla="*/ 362194 h 391"/>
                  <a:gd name="T30" fmla="*/ 313485 w 223"/>
                  <a:gd name="T31" fmla="*/ 434057 h 391"/>
                  <a:gd name="T32" fmla="*/ 336493 w 223"/>
                  <a:gd name="T33" fmla="*/ 537541 h 391"/>
                  <a:gd name="T34" fmla="*/ 365253 w 223"/>
                  <a:gd name="T35" fmla="*/ 488674 h 391"/>
                  <a:gd name="T36" fmla="*/ 365253 w 223"/>
                  <a:gd name="T37" fmla="*/ 336323 h 391"/>
                  <a:gd name="T38" fmla="*/ 417021 w 223"/>
                  <a:gd name="T39" fmla="*/ 313326 h 391"/>
                  <a:gd name="T40" fmla="*/ 417021 w 223"/>
                  <a:gd name="T41" fmla="*/ 313326 h 391"/>
                  <a:gd name="T42" fmla="*/ 474542 w 223"/>
                  <a:gd name="T43" fmla="*/ 336323 h 391"/>
                  <a:gd name="T44" fmla="*/ 474542 w 223"/>
                  <a:gd name="T45" fmla="*/ 336323 h 391"/>
                  <a:gd name="T46" fmla="*/ 474542 w 223"/>
                  <a:gd name="T47" fmla="*/ 425434 h 391"/>
                  <a:gd name="T48" fmla="*/ 474542 w 223"/>
                  <a:gd name="T49" fmla="*/ 497298 h 391"/>
                  <a:gd name="T50" fmla="*/ 503302 w 223"/>
                  <a:gd name="T51" fmla="*/ 586409 h 391"/>
                  <a:gd name="T52" fmla="*/ 523434 w 223"/>
                  <a:gd name="T53" fmla="*/ 488674 h 391"/>
                  <a:gd name="T54" fmla="*/ 523434 w 223"/>
                  <a:gd name="T55" fmla="*/ 425434 h 391"/>
                  <a:gd name="T56" fmla="*/ 632722 w 223"/>
                  <a:gd name="T57" fmla="*/ 675520 h 391"/>
                  <a:gd name="T58" fmla="*/ 632722 w 223"/>
                  <a:gd name="T59" fmla="*/ 707140 h 391"/>
                  <a:gd name="T60" fmla="*/ 632722 w 223"/>
                  <a:gd name="T61" fmla="*/ 707140 h 391"/>
                  <a:gd name="T62" fmla="*/ 632722 w 223"/>
                  <a:gd name="T63" fmla="*/ 707140 h 391"/>
                  <a:gd name="T64" fmla="*/ 632722 w 223"/>
                  <a:gd name="T65" fmla="*/ 707140 h 391"/>
                  <a:gd name="T66" fmla="*/ 632722 w 223"/>
                  <a:gd name="T67" fmla="*/ 707140 h 391"/>
                  <a:gd name="T68" fmla="*/ 632722 w 223"/>
                  <a:gd name="T69" fmla="*/ 712889 h 391"/>
                  <a:gd name="T70" fmla="*/ 632722 w 223"/>
                  <a:gd name="T71" fmla="*/ 712889 h 391"/>
                  <a:gd name="T72" fmla="*/ 632722 w 223"/>
                  <a:gd name="T73" fmla="*/ 712889 h 391"/>
                  <a:gd name="T74" fmla="*/ 632722 w 223"/>
                  <a:gd name="T75" fmla="*/ 712889 h 391"/>
                  <a:gd name="T76" fmla="*/ 632722 w 223"/>
                  <a:gd name="T77" fmla="*/ 712889 h 391"/>
                  <a:gd name="T78" fmla="*/ 632722 w 223"/>
                  <a:gd name="T79" fmla="*/ 721513 h 391"/>
                  <a:gd name="T80" fmla="*/ 632722 w 223"/>
                  <a:gd name="T81" fmla="*/ 721513 h 391"/>
                  <a:gd name="T82" fmla="*/ 632722 w 223"/>
                  <a:gd name="T83" fmla="*/ 761757 h 391"/>
                  <a:gd name="T84" fmla="*/ 632722 w 223"/>
                  <a:gd name="T85" fmla="*/ 779004 h 39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23"/>
                  <a:gd name="T130" fmla="*/ 0 h 391"/>
                  <a:gd name="T131" fmla="*/ 223 w 223"/>
                  <a:gd name="T132" fmla="*/ 391 h 39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23" h="391">
                    <a:moveTo>
                      <a:pt x="0" y="221"/>
                    </a:moveTo>
                    <a:cubicBezTo>
                      <a:pt x="0" y="190"/>
                      <a:pt x="0" y="190"/>
                      <a:pt x="0" y="190"/>
                    </a:cubicBezTo>
                    <a:cubicBezTo>
                      <a:pt x="0" y="190"/>
                      <a:pt x="0" y="190"/>
                      <a:pt x="0" y="190"/>
                    </a:cubicBezTo>
                    <a:cubicBezTo>
                      <a:pt x="0" y="182"/>
                      <a:pt x="0" y="182"/>
                      <a:pt x="0" y="182"/>
                    </a:cubicBezTo>
                    <a:cubicBezTo>
                      <a:pt x="0" y="23"/>
                      <a:pt x="0" y="23"/>
                      <a:pt x="0" y="23"/>
                    </a:cubicBezTo>
                    <a:cubicBezTo>
                      <a:pt x="0" y="23"/>
                      <a:pt x="0" y="23"/>
                      <a:pt x="0" y="23"/>
                    </a:cubicBezTo>
                    <a:cubicBezTo>
                      <a:pt x="0" y="23"/>
                      <a:pt x="0" y="23"/>
                      <a:pt x="0" y="23"/>
                    </a:cubicBezTo>
                    <a:cubicBezTo>
                      <a:pt x="0" y="23"/>
                      <a:pt x="0" y="23"/>
                      <a:pt x="0" y="23"/>
                    </a:cubicBezTo>
                    <a:cubicBezTo>
                      <a:pt x="0" y="17"/>
                      <a:pt x="3" y="11"/>
                      <a:pt x="8" y="9"/>
                    </a:cubicBezTo>
                    <a:cubicBezTo>
                      <a:pt x="11" y="3"/>
                      <a:pt x="18" y="0"/>
                      <a:pt x="23" y="0"/>
                    </a:cubicBezTo>
                    <a:cubicBezTo>
                      <a:pt x="23" y="0"/>
                      <a:pt x="23" y="0"/>
                      <a:pt x="23" y="0"/>
                    </a:cubicBezTo>
                    <a:cubicBezTo>
                      <a:pt x="23" y="0"/>
                      <a:pt x="23" y="0"/>
                      <a:pt x="23" y="0"/>
                    </a:cubicBezTo>
                    <a:cubicBezTo>
                      <a:pt x="23" y="0"/>
                      <a:pt x="23" y="0"/>
                      <a:pt x="23" y="0"/>
                    </a:cubicBezTo>
                    <a:cubicBezTo>
                      <a:pt x="23" y="0"/>
                      <a:pt x="23" y="0"/>
                      <a:pt x="23" y="0"/>
                    </a:cubicBezTo>
                    <a:cubicBezTo>
                      <a:pt x="28" y="0"/>
                      <a:pt x="33" y="3"/>
                      <a:pt x="38" y="9"/>
                    </a:cubicBezTo>
                    <a:cubicBezTo>
                      <a:pt x="43" y="11"/>
                      <a:pt x="46" y="17"/>
                      <a:pt x="46" y="23"/>
                    </a:cubicBezTo>
                    <a:cubicBezTo>
                      <a:pt x="46" y="23"/>
                      <a:pt x="46" y="23"/>
                      <a:pt x="46" y="23"/>
                    </a:cubicBezTo>
                    <a:cubicBezTo>
                      <a:pt x="46" y="23"/>
                      <a:pt x="46" y="23"/>
                      <a:pt x="46" y="23"/>
                    </a:cubicBezTo>
                    <a:cubicBezTo>
                      <a:pt x="46" y="23"/>
                      <a:pt x="46" y="23"/>
                      <a:pt x="46" y="23"/>
                    </a:cubicBezTo>
                    <a:cubicBezTo>
                      <a:pt x="46" y="112"/>
                      <a:pt x="46" y="112"/>
                      <a:pt x="46" y="112"/>
                    </a:cubicBezTo>
                    <a:cubicBezTo>
                      <a:pt x="46" y="112"/>
                      <a:pt x="46" y="112"/>
                      <a:pt x="46" y="112"/>
                    </a:cubicBezTo>
                    <a:cubicBezTo>
                      <a:pt x="46" y="112"/>
                      <a:pt x="46" y="112"/>
                      <a:pt x="46" y="112"/>
                    </a:cubicBezTo>
                    <a:cubicBezTo>
                      <a:pt x="46" y="145"/>
                      <a:pt x="46" y="145"/>
                      <a:pt x="46" y="145"/>
                    </a:cubicBezTo>
                    <a:cubicBezTo>
                      <a:pt x="46" y="145"/>
                      <a:pt x="46" y="145"/>
                      <a:pt x="46" y="145"/>
                    </a:cubicBezTo>
                    <a:cubicBezTo>
                      <a:pt x="46" y="162"/>
                      <a:pt x="46" y="162"/>
                      <a:pt x="46" y="162"/>
                    </a:cubicBezTo>
                    <a:cubicBezTo>
                      <a:pt x="46" y="170"/>
                      <a:pt x="46" y="170"/>
                      <a:pt x="46" y="170"/>
                    </a:cubicBezTo>
                    <a:cubicBezTo>
                      <a:pt x="46" y="176"/>
                      <a:pt x="49" y="182"/>
                      <a:pt x="54" y="182"/>
                    </a:cubicBezTo>
                    <a:cubicBezTo>
                      <a:pt x="54" y="182"/>
                      <a:pt x="54" y="182"/>
                      <a:pt x="54" y="182"/>
                    </a:cubicBezTo>
                    <a:cubicBezTo>
                      <a:pt x="59" y="182"/>
                      <a:pt x="64" y="176"/>
                      <a:pt x="64" y="170"/>
                    </a:cubicBezTo>
                    <a:cubicBezTo>
                      <a:pt x="64" y="165"/>
                      <a:pt x="64" y="165"/>
                      <a:pt x="64" y="165"/>
                    </a:cubicBezTo>
                    <a:cubicBezTo>
                      <a:pt x="64" y="145"/>
                      <a:pt x="64" y="145"/>
                      <a:pt x="64" y="145"/>
                    </a:cubicBezTo>
                    <a:cubicBezTo>
                      <a:pt x="64" y="101"/>
                      <a:pt x="64" y="101"/>
                      <a:pt x="64" y="101"/>
                    </a:cubicBezTo>
                    <a:cubicBezTo>
                      <a:pt x="64" y="101"/>
                      <a:pt x="64" y="101"/>
                      <a:pt x="64" y="101"/>
                    </a:cubicBezTo>
                    <a:cubicBezTo>
                      <a:pt x="64" y="101"/>
                      <a:pt x="64" y="101"/>
                      <a:pt x="64" y="101"/>
                    </a:cubicBezTo>
                    <a:cubicBezTo>
                      <a:pt x="64" y="98"/>
                      <a:pt x="66" y="95"/>
                      <a:pt x="69" y="95"/>
                    </a:cubicBezTo>
                    <a:cubicBezTo>
                      <a:pt x="74" y="92"/>
                      <a:pt x="79" y="90"/>
                      <a:pt x="86" y="90"/>
                    </a:cubicBezTo>
                    <a:cubicBezTo>
                      <a:pt x="86" y="90"/>
                      <a:pt x="86" y="90"/>
                      <a:pt x="86" y="90"/>
                    </a:cubicBezTo>
                    <a:cubicBezTo>
                      <a:pt x="86" y="90"/>
                      <a:pt x="86" y="90"/>
                      <a:pt x="86" y="90"/>
                    </a:cubicBezTo>
                    <a:cubicBezTo>
                      <a:pt x="86" y="90"/>
                      <a:pt x="86" y="90"/>
                      <a:pt x="86" y="90"/>
                    </a:cubicBezTo>
                    <a:cubicBezTo>
                      <a:pt x="86" y="90"/>
                      <a:pt x="86" y="90"/>
                      <a:pt x="86" y="90"/>
                    </a:cubicBezTo>
                    <a:cubicBezTo>
                      <a:pt x="94" y="90"/>
                      <a:pt x="99" y="92"/>
                      <a:pt x="104" y="95"/>
                    </a:cubicBezTo>
                    <a:cubicBezTo>
                      <a:pt x="107" y="95"/>
                      <a:pt x="109" y="98"/>
                      <a:pt x="109" y="101"/>
                    </a:cubicBezTo>
                    <a:cubicBezTo>
                      <a:pt x="109" y="101"/>
                      <a:pt x="109" y="101"/>
                      <a:pt x="109" y="101"/>
                    </a:cubicBezTo>
                    <a:cubicBezTo>
                      <a:pt x="109" y="101"/>
                      <a:pt x="109" y="101"/>
                      <a:pt x="109" y="101"/>
                    </a:cubicBezTo>
                    <a:cubicBezTo>
                      <a:pt x="109" y="126"/>
                      <a:pt x="109" y="126"/>
                      <a:pt x="109" y="126"/>
                    </a:cubicBezTo>
                    <a:cubicBezTo>
                      <a:pt x="109" y="126"/>
                      <a:pt x="109" y="126"/>
                      <a:pt x="109" y="126"/>
                    </a:cubicBezTo>
                    <a:cubicBezTo>
                      <a:pt x="109" y="151"/>
                      <a:pt x="109" y="151"/>
                      <a:pt x="109" y="151"/>
                    </a:cubicBezTo>
                    <a:cubicBezTo>
                      <a:pt x="109" y="151"/>
                      <a:pt x="109" y="151"/>
                      <a:pt x="109" y="151"/>
                    </a:cubicBezTo>
                    <a:cubicBezTo>
                      <a:pt x="109" y="168"/>
                      <a:pt x="109" y="168"/>
                      <a:pt x="109" y="168"/>
                    </a:cubicBezTo>
                    <a:cubicBezTo>
                      <a:pt x="109" y="176"/>
                      <a:pt x="109" y="176"/>
                      <a:pt x="109" y="176"/>
                    </a:cubicBezTo>
                    <a:cubicBezTo>
                      <a:pt x="109" y="182"/>
                      <a:pt x="112" y="187"/>
                      <a:pt x="117" y="187"/>
                    </a:cubicBezTo>
                    <a:cubicBezTo>
                      <a:pt x="117" y="187"/>
                      <a:pt x="117" y="187"/>
                      <a:pt x="117" y="187"/>
                    </a:cubicBezTo>
                    <a:cubicBezTo>
                      <a:pt x="122" y="187"/>
                      <a:pt x="127" y="182"/>
                      <a:pt x="127" y="176"/>
                    </a:cubicBezTo>
                    <a:cubicBezTo>
                      <a:pt x="127" y="170"/>
                      <a:pt x="127" y="170"/>
                      <a:pt x="127" y="170"/>
                    </a:cubicBezTo>
                    <a:cubicBezTo>
                      <a:pt x="127" y="151"/>
                      <a:pt x="127" y="151"/>
                      <a:pt x="127" y="151"/>
                    </a:cubicBezTo>
                    <a:cubicBezTo>
                      <a:pt x="127" y="117"/>
                      <a:pt x="127" y="117"/>
                      <a:pt x="127" y="117"/>
                    </a:cubicBezTo>
                    <a:cubicBezTo>
                      <a:pt x="127" y="117"/>
                      <a:pt x="127" y="117"/>
                      <a:pt x="127" y="117"/>
                    </a:cubicBezTo>
                    <a:cubicBezTo>
                      <a:pt x="127" y="115"/>
                      <a:pt x="127" y="115"/>
                      <a:pt x="127" y="115"/>
                    </a:cubicBezTo>
                    <a:cubicBezTo>
                      <a:pt x="127" y="115"/>
                      <a:pt x="129" y="112"/>
                      <a:pt x="132" y="112"/>
                    </a:cubicBezTo>
                    <a:cubicBezTo>
                      <a:pt x="134" y="109"/>
                      <a:pt x="140" y="109"/>
                      <a:pt x="145" y="109"/>
                    </a:cubicBezTo>
                    <a:cubicBezTo>
                      <a:pt x="145" y="109"/>
                      <a:pt x="145" y="109"/>
                      <a:pt x="145" y="109"/>
                    </a:cubicBezTo>
                    <a:cubicBezTo>
                      <a:pt x="145" y="109"/>
                      <a:pt x="145" y="109"/>
                      <a:pt x="145" y="109"/>
                    </a:cubicBezTo>
                    <a:cubicBezTo>
                      <a:pt x="145" y="109"/>
                      <a:pt x="145" y="109"/>
                      <a:pt x="145" y="109"/>
                    </a:cubicBezTo>
                    <a:cubicBezTo>
                      <a:pt x="145" y="109"/>
                      <a:pt x="145" y="109"/>
                      <a:pt x="145" y="109"/>
                    </a:cubicBezTo>
                    <a:cubicBezTo>
                      <a:pt x="152" y="109"/>
                      <a:pt x="157" y="109"/>
                      <a:pt x="160" y="112"/>
                    </a:cubicBezTo>
                    <a:cubicBezTo>
                      <a:pt x="162" y="112"/>
                      <a:pt x="165" y="115"/>
                      <a:pt x="165" y="117"/>
                    </a:cubicBezTo>
                    <a:cubicBezTo>
                      <a:pt x="165" y="117"/>
                      <a:pt x="165" y="117"/>
                      <a:pt x="165" y="117"/>
                    </a:cubicBezTo>
                    <a:cubicBezTo>
                      <a:pt x="165" y="117"/>
                      <a:pt x="165" y="117"/>
                      <a:pt x="165" y="117"/>
                    </a:cubicBezTo>
                    <a:cubicBezTo>
                      <a:pt x="165" y="117"/>
                      <a:pt x="165" y="117"/>
                      <a:pt x="165" y="117"/>
                    </a:cubicBezTo>
                    <a:cubicBezTo>
                      <a:pt x="165" y="148"/>
                      <a:pt x="165" y="148"/>
                      <a:pt x="165" y="148"/>
                    </a:cubicBezTo>
                    <a:cubicBezTo>
                      <a:pt x="165" y="148"/>
                      <a:pt x="165" y="148"/>
                      <a:pt x="165" y="148"/>
                    </a:cubicBezTo>
                    <a:cubicBezTo>
                      <a:pt x="165" y="148"/>
                      <a:pt x="165" y="148"/>
                      <a:pt x="165" y="148"/>
                    </a:cubicBezTo>
                    <a:cubicBezTo>
                      <a:pt x="165" y="168"/>
                      <a:pt x="165" y="168"/>
                      <a:pt x="165" y="168"/>
                    </a:cubicBezTo>
                    <a:cubicBezTo>
                      <a:pt x="165" y="170"/>
                      <a:pt x="165" y="170"/>
                      <a:pt x="165" y="170"/>
                    </a:cubicBezTo>
                    <a:cubicBezTo>
                      <a:pt x="165" y="173"/>
                      <a:pt x="165" y="173"/>
                      <a:pt x="165" y="173"/>
                    </a:cubicBezTo>
                    <a:cubicBezTo>
                      <a:pt x="165" y="193"/>
                      <a:pt x="165" y="193"/>
                      <a:pt x="165" y="193"/>
                    </a:cubicBezTo>
                    <a:cubicBezTo>
                      <a:pt x="165" y="198"/>
                      <a:pt x="170" y="204"/>
                      <a:pt x="175" y="204"/>
                    </a:cubicBezTo>
                    <a:cubicBezTo>
                      <a:pt x="175" y="204"/>
                      <a:pt x="175" y="204"/>
                      <a:pt x="175" y="204"/>
                    </a:cubicBezTo>
                    <a:cubicBezTo>
                      <a:pt x="180" y="204"/>
                      <a:pt x="182" y="198"/>
                      <a:pt x="182" y="193"/>
                    </a:cubicBezTo>
                    <a:cubicBezTo>
                      <a:pt x="182" y="176"/>
                      <a:pt x="182" y="176"/>
                      <a:pt x="182" y="176"/>
                    </a:cubicBezTo>
                    <a:cubicBezTo>
                      <a:pt x="182" y="170"/>
                      <a:pt x="182" y="170"/>
                      <a:pt x="182" y="170"/>
                    </a:cubicBezTo>
                    <a:cubicBezTo>
                      <a:pt x="182" y="148"/>
                      <a:pt x="182" y="148"/>
                      <a:pt x="182" y="148"/>
                    </a:cubicBezTo>
                    <a:cubicBezTo>
                      <a:pt x="182" y="148"/>
                      <a:pt x="182" y="148"/>
                      <a:pt x="182" y="148"/>
                    </a:cubicBezTo>
                    <a:cubicBezTo>
                      <a:pt x="182" y="148"/>
                      <a:pt x="182" y="148"/>
                      <a:pt x="182" y="148"/>
                    </a:cubicBezTo>
                    <a:cubicBezTo>
                      <a:pt x="182" y="148"/>
                      <a:pt x="185" y="145"/>
                      <a:pt x="188" y="145"/>
                    </a:cubicBezTo>
                    <a:cubicBezTo>
                      <a:pt x="223" y="137"/>
                      <a:pt x="220" y="184"/>
                      <a:pt x="220" y="198"/>
                    </a:cubicBezTo>
                    <a:cubicBezTo>
                      <a:pt x="220" y="235"/>
                      <a:pt x="220" y="235"/>
                      <a:pt x="220" y="235"/>
                    </a:cubicBezTo>
                    <a:cubicBezTo>
                      <a:pt x="220" y="235"/>
                      <a:pt x="220" y="235"/>
                      <a:pt x="220" y="235"/>
                    </a:cubicBezTo>
                    <a:cubicBezTo>
                      <a:pt x="220" y="237"/>
                      <a:pt x="220" y="240"/>
                      <a:pt x="220" y="246"/>
                    </a:cubicBezTo>
                    <a:cubicBezTo>
                      <a:pt x="220" y="246"/>
                      <a:pt x="220" y="246"/>
                      <a:pt x="220" y="246"/>
                    </a:cubicBezTo>
                    <a:cubicBezTo>
                      <a:pt x="220" y="246"/>
                      <a:pt x="220" y="246"/>
                      <a:pt x="220" y="246"/>
                    </a:cubicBezTo>
                    <a:cubicBezTo>
                      <a:pt x="220" y="246"/>
                      <a:pt x="220" y="246"/>
                      <a:pt x="220" y="246"/>
                    </a:cubicBezTo>
                    <a:cubicBezTo>
                      <a:pt x="220" y="246"/>
                      <a:pt x="220" y="246"/>
                      <a:pt x="220" y="246"/>
                    </a:cubicBezTo>
                    <a:cubicBezTo>
                      <a:pt x="220" y="246"/>
                      <a:pt x="220" y="246"/>
                      <a:pt x="220" y="246"/>
                    </a:cubicBezTo>
                    <a:cubicBezTo>
                      <a:pt x="220" y="246"/>
                      <a:pt x="220" y="246"/>
                      <a:pt x="220" y="246"/>
                    </a:cubicBezTo>
                    <a:cubicBezTo>
                      <a:pt x="220" y="246"/>
                      <a:pt x="220" y="246"/>
                      <a:pt x="220" y="246"/>
                    </a:cubicBezTo>
                    <a:cubicBezTo>
                      <a:pt x="220" y="246"/>
                      <a:pt x="220" y="246"/>
                      <a:pt x="220" y="246"/>
                    </a:cubicBezTo>
                    <a:cubicBezTo>
                      <a:pt x="220" y="246"/>
                      <a:pt x="220" y="246"/>
                      <a:pt x="220" y="246"/>
                    </a:cubicBezTo>
                    <a:cubicBezTo>
                      <a:pt x="220" y="246"/>
                      <a:pt x="220" y="246"/>
                      <a:pt x="220" y="246"/>
                    </a:cubicBezTo>
                    <a:cubicBezTo>
                      <a:pt x="220" y="246"/>
                      <a:pt x="220" y="246"/>
                      <a:pt x="220" y="246"/>
                    </a:cubicBezTo>
                    <a:cubicBezTo>
                      <a:pt x="220" y="246"/>
                      <a:pt x="220" y="246"/>
                      <a:pt x="220" y="246"/>
                    </a:cubicBezTo>
                    <a:cubicBezTo>
                      <a:pt x="220" y="246"/>
                      <a:pt x="220" y="246"/>
                      <a:pt x="220" y="246"/>
                    </a:cubicBezTo>
                    <a:cubicBezTo>
                      <a:pt x="220" y="246"/>
                      <a:pt x="220" y="246"/>
                      <a:pt x="220" y="246"/>
                    </a:cubicBezTo>
                    <a:cubicBezTo>
                      <a:pt x="220" y="248"/>
                      <a:pt x="220" y="248"/>
                      <a:pt x="220" y="248"/>
                    </a:cubicBezTo>
                    <a:cubicBezTo>
                      <a:pt x="220" y="248"/>
                      <a:pt x="220" y="248"/>
                      <a:pt x="220" y="248"/>
                    </a:cubicBezTo>
                    <a:cubicBezTo>
                      <a:pt x="220" y="248"/>
                      <a:pt x="220" y="248"/>
                      <a:pt x="220" y="248"/>
                    </a:cubicBezTo>
                    <a:cubicBezTo>
                      <a:pt x="220" y="248"/>
                      <a:pt x="220" y="248"/>
                      <a:pt x="220" y="248"/>
                    </a:cubicBezTo>
                    <a:cubicBezTo>
                      <a:pt x="220" y="248"/>
                      <a:pt x="220" y="248"/>
                      <a:pt x="220" y="248"/>
                    </a:cubicBezTo>
                    <a:cubicBezTo>
                      <a:pt x="220" y="248"/>
                      <a:pt x="220" y="248"/>
                      <a:pt x="220" y="248"/>
                    </a:cubicBezTo>
                    <a:cubicBezTo>
                      <a:pt x="220" y="248"/>
                      <a:pt x="220" y="248"/>
                      <a:pt x="220" y="248"/>
                    </a:cubicBezTo>
                    <a:cubicBezTo>
                      <a:pt x="220" y="248"/>
                      <a:pt x="220" y="248"/>
                      <a:pt x="220" y="248"/>
                    </a:cubicBezTo>
                    <a:cubicBezTo>
                      <a:pt x="220" y="248"/>
                      <a:pt x="220" y="248"/>
                      <a:pt x="220" y="248"/>
                    </a:cubicBezTo>
                    <a:cubicBezTo>
                      <a:pt x="220" y="248"/>
                      <a:pt x="220" y="248"/>
                      <a:pt x="220" y="248"/>
                    </a:cubicBezTo>
                    <a:cubicBezTo>
                      <a:pt x="220" y="248"/>
                      <a:pt x="220" y="248"/>
                      <a:pt x="220" y="248"/>
                    </a:cubicBezTo>
                    <a:cubicBezTo>
                      <a:pt x="220" y="248"/>
                      <a:pt x="220" y="248"/>
                      <a:pt x="220" y="248"/>
                    </a:cubicBezTo>
                    <a:cubicBezTo>
                      <a:pt x="220" y="248"/>
                      <a:pt x="220" y="248"/>
                      <a:pt x="220" y="248"/>
                    </a:cubicBezTo>
                    <a:cubicBezTo>
                      <a:pt x="220" y="248"/>
                      <a:pt x="220" y="248"/>
                      <a:pt x="220" y="248"/>
                    </a:cubicBezTo>
                    <a:cubicBezTo>
                      <a:pt x="220" y="251"/>
                      <a:pt x="220" y="251"/>
                      <a:pt x="220" y="251"/>
                    </a:cubicBezTo>
                    <a:cubicBezTo>
                      <a:pt x="220" y="251"/>
                      <a:pt x="220" y="251"/>
                      <a:pt x="220" y="251"/>
                    </a:cubicBezTo>
                    <a:cubicBezTo>
                      <a:pt x="220" y="251"/>
                      <a:pt x="220" y="251"/>
                      <a:pt x="220" y="251"/>
                    </a:cubicBezTo>
                    <a:cubicBezTo>
                      <a:pt x="220" y="251"/>
                      <a:pt x="220" y="251"/>
                      <a:pt x="220" y="251"/>
                    </a:cubicBezTo>
                    <a:cubicBezTo>
                      <a:pt x="220" y="251"/>
                      <a:pt x="220" y="251"/>
                      <a:pt x="220" y="251"/>
                    </a:cubicBezTo>
                    <a:cubicBezTo>
                      <a:pt x="220" y="251"/>
                      <a:pt x="220" y="251"/>
                      <a:pt x="220" y="251"/>
                    </a:cubicBezTo>
                    <a:cubicBezTo>
                      <a:pt x="220" y="251"/>
                      <a:pt x="220" y="251"/>
                      <a:pt x="220" y="251"/>
                    </a:cubicBezTo>
                    <a:cubicBezTo>
                      <a:pt x="220" y="251"/>
                      <a:pt x="220" y="251"/>
                      <a:pt x="220" y="251"/>
                    </a:cubicBezTo>
                    <a:cubicBezTo>
                      <a:pt x="220" y="257"/>
                      <a:pt x="220" y="262"/>
                      <a:pt x="220" y="265"/>
                    </a:cubicBezTo>
                    <a:cubicBezTo>
                      <a:pt x="220" y="265"/>
                      <a:pt x="220" y="265"/>
                      <a:pt x="220" y="265"/>
                    </a:cubicBezTo>
                    <a:cubicBezTo>
                      <a:pt x="220" y="268"/>
                      <a:pt x="220" y="271"/>
                      <a:pt x="220" y="271"/>
                    </a:cubicBezTo>
                    <a:cubicBezTo>
                      <a:pt x="220" y="271"/>
                      <a:pt x="220" y="271"/>
                      <a:pt x="220" y="271"/>
                    </a:cubicBezTo>
                    <a:cubicBezTo>
                      <a:pt x="220" y="271"/>
                      <a:pt x="220" y="271"/>
                      <a:pt x="220" y="271"/>
                    </a:cubicBezTo>
                    <a:cubicBezTo>
                      <a:pt x="215" y="313"/>
                      <a:pt x="198" y="352"/>
                      <a:pt x="182" y="391"/>
                    </a:cubicBezTo>
                  </a:path>
                </a:pathLst>
              </a:custGeom>
              <a:noFill/>
              <a:ln w="12700" cap="flat">
                <a:solidFill>
                  <a:sysClr val="window" lastClr="FFFFFF"/>
                </a:solidFill>
                <a:prstDash val="solid"/>
                <a:miter lim="800000"/>
                <a:headEnd/>
                <a:tailEnd/>
              </a:ln>
            </p:spPr>
            <p:txBody>
              <a:bodyPr/>
              <a:lstStyle/>
              <a:p>
                <a:pPr defTabSz="957756">
                  <a:defRPr/>
                </a:pPr>
                <a:endParaRPr lang="en-US" kern="0" dirty="0">
                  <a:solidFill>
                    <a:srgbClr val="00234B"/>
                  </a:solidFill>
                  <a:latin typeface="Calibri"/>
                  <a:sym typeface="Calibri"/>
                </a:endParaRPr>
              </a:p>
            </p:txBody>
          </p:sp>
        </p:grpSp>
      </p:grpSp>
      <p:grpSp>
        <p:nvGrpSpPr>
          <p:cNvPr id="24" name="Groupe 123"/>
          <p:cNvGrpSpPr/>
          <p:nvPr/>
        </p:nvGrpSpPr>
        <p:grpSpPr>
          <a:xfrm>
            <a:off x="4010709" y="5668456"/>
            <a:ext cx="504000" cy="504000"/>
            <a:chOff x="3322320" y="5562600"/>
            <a:chExt cx="563880" cy="563880"/>
          </a:xfrm>
        </p:grpSpPr>
        <p:sp>
          <p:nvSpPr>
            <p:cNvPr id="25" name="Oval 73"/>
            <p:cNvSpPr/>
            <p:nvPr/>
          </p:nvSpPr>
          <p:spPr bwMode="auto">
            <a:xfrm>
              <a:off x="3322320" y="5562600"/>
              <a:ext cx="563880" cy="563880"/>
            </a:xfrm>
            <a:prstGeom prst="ellipse">
              <a:avLst/>
            </a:prstGeom>
            <a:solidFill>
              <a:srgbClr val="0098CC"/>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defRPr/>
              </a:pPr>
              <a:endParaRPr lang="en-US" sz="1600" kern="0" dirty="0">
                <a:solidFill>
                  <a:srgbClr val="1C1C1C"/>
                </a:solidFill>
                <a:latin typeface="Calibri"/>
                <a:cs typeface="Arial" charset="0"/>
                <a:sym typeface="Calibri"/>
              </a:endParaRPr>
            </a:p>
          </p:txBody>
        </p:sp>
        <p:grpSp>
          <p:nvGrpSpPr>
            <p:cNvPr id="26" name="Groupe 399"/>
            <p:cNvGrpSpPr/>
            <p:nvPr/>
          </p:nvGrpSpPr>
          <p:grpSpPr>
            <a:xfrm flipV="1">
              <a:off x="3436635" y="5683567"/>
              <a:ext cx="335250" cy="321946"/>
              <a:chOff x="4913313" y="5422900"/>
              <a:chExt cx="400051" cy="384175"/>
            </a:xfrm>
          </p:grpSpPr>
          <p:sp>
            <p:nvSpPr>
              <p:cNvPr id="27" name="Freeform 137"/>
              <p:cNvSpPr>
                <a:spLocks/>
              </p:cNvSpPr>
              <p:nvPr/>
            </p:nvSpPr>
            <p:spPr bwMode="auto">
              <a:xfrm>
                <a:off x="4913313" y="5422900"/>
                <a:ext cx="150813" cy="150812"/>
              </a:xfrm>
              <a:custGeom>
                <a:avLst/>
                <a:gdLst/>
                <a:ahLst/>
                <a:cxnLst>
                  <a:cxn ang="0">
                    <a:pos x="60" y="47"/>
                  </a:cxn>
                  <a:cxn ang="0">
                    <a:pos x="47" y="60"/>
                  </a:cxn>
                  <a:cxn ang="0">
                    <a:pos x="13" y="60"/>
                  </a:cxn>
                  <a:cxn ang="0">
                    <a:pos x="0" y="47"/>
                  </a:cxn>
                  <a:cxn ang="0">
                    <a:pos x="0" y="13"/>
                  </a:cxn>
                  <a:cxn ang="0">
                    <a:pos x="13" y="0"/>
                  </a:cxn>
                  <a:cxn ang="0">
                    <a:pos x="47" y="0"/>
                  </a:cxn>
                  <a:cxn ang="0">
                    <a:pos x="60" y="13"/>
                  </a:cxn>
                  <a:cxn ang="0">
                    <a:pos x="60" y="47"/>
                  </a:cxn>
                </a:cxnLst>
                <a:rect l="0" t="0" r="r" b="b"/>
                <a:pathLst>
                  <a:path w="60" h="60">
                    <a:moveTo>
                      <a:pt x="60" y="47"/>
                    </a:moveTo>
                    <a:cubicBezTo>
                      <a:pt x="60" y="54"/>
                      <a:pt x="54" y="60"/>
                      <a:pt x="47" y="60"/>
                    </a:cubicBezTo>
                    <a:cubicBezTo>
                      <a:pt x="13" y="60"/>
                      <a:pt x="13" y="60"/>
                      <a:pt x="13" y="60"/>
                    </a:cubicBezTo>
                    <a:cubicBezTo>
                      <a:pt x="6" y="60"/>
                      <a:pt x="0" y="54"/>
                      <a:pt x="0" y="47"/>
                    </a:cubicBezTo>
                    <a:cubicBezTo>
                      <a:pt x="0" y="13"/>
                      <a:pt x="0" y="13"/>
                      <a:pt x="0" y="13"/>
                    </a:cubicBezTo>
                    <a:cubicBezTo>
                      <a:pt x="0" y="6"/>
                      <a:pt x="6" y="0"/>
                      <a:pt x="13" y="0"/>
                    </a:cubicBezTo>
                    <a:cubicBezTo>
                      <a:pt x="47" y="0"/>
                      <a:pt x="47" y="0"/>
                      <a:pt x="47" y="0"/>
                    </a:cubicBezTo>
                    <a:cubicBezTo>
                      <a:pt x="54" y="0"/>
                      <a:pt x="60" y="6"/>
                      <a:pt x="60" y="13"/>
                    </a:cubicBezTo>
                    <a:lnTo>
                      <a:pt x="60" y="47"/>
                    </a:lnTo>
                    <a:close/>
                  </a:path>
                </a:pathLst>
              </a:custGeom>
              <a:noFill/>
              <a:ln w="12700" cap="flat">
                <a:solidFill>
                  <a:sysClr val="window" lastClr="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defRPr/>
                </a:pPr>
                <a:endParaRPr lang="en-US" kern="0" dirty="0">
                  <a:solidFill>
                    <a:srgbClr val="00234B"/>
                  </a:solidFill>
                  <a:latin typeface="Calibri"/>
                  <a:sym typeface="Calibri"/>
                </a:endParaRPr>
              </a:p>
            </p:txBody>
          </p:sp>
          <p:sp>
            <p:nvSpPr>
              <p:cNvPr id="28" name="Freeform 138"/>
              <p:cNvSpPr>
                <a:spLocks/>
              </p:cNvSpPr>
              <p:nvPr/>
            </p:nvSpPr>
            <p:spPr bwMode="auto">
              <a:xfrm>
                <a:off x="5162551" y="5422900"/>
                <a:ext cx="150813" cy="150812"/>
              </a:xfrm>
              <a:custGeom>
                <a:avLst/>
                <a:gdLst/>
                <a:ahLst/>
                <a:cxnLst>
                  <a:cxn ang="0">
                    <a:pos x="60" y="47"/>
                  </a:cxn>
                  <a:cxn ang="0">
                    <a:pos x="47" y="60"/>
                  </a:cxn>
                  <a:cxn ang="0">
                    <a:pos x="13" y="60"/>
                  </a:cxn>
                  <a:cxn ang="0">
                    <a:pos x="0" y="47"/>
                  </a:cxn>
                  <a:cxn ang="0">
                    <a:pos x="0" y="13"/>
                  </a:cxn>
                  <a:cxn ang="0">
                    <a:pos x="13" y="0"/>
                  </a:cxn>
                  <a:cxn ang="0">
                    <a:pos x="47" y="0"/>
                  </a:cxn>
                  <a:cxn ang="0">
                    <a:pos x="60" y="13"/>
                  </a:cxn>
                  <a:cxn ang="0">
                    <a:pos x="60" y="47"/>
                  </a:cxn>
                </a:cxnLst>
                <a:rect l="0" t="0" r="r" b="b"/>
                <a:pathLst>
                  <a:path w="60" h="60">
                    <a:moveTo>
                      <a:pt x="60" y="47"/>
                    </a:moveTo>
                    <a:cubicBezTo>
                      <a:pt x="60" y="54"/>
                      <a:pt x="54" y="60"/>
                      <a:pt x="47" y="60"/>
                    </a:cubicBezTo>
                    <a:cubicBezTo>
                      <a:pt x="13" y="60"/>
                      <a:pt x="13" y="60"/>
                      <a:pt x="13" y="60"/>
                    </a:cubicBezTo>
                    <a:cubicBezTo>
                      <a:pt x="6" y="60"/>
                      <a:pt x="0" y="54"/>
                      <a:pt x="0" y="47"/>
                    </a:cubicBezTo>
                    <a:cubicBezTo>
                      <a:pt x="0" y="13"/>
                      <a:pt x="0" y="13"/>
                      <a:pt x="0" y="13"/>
                    </a:cubicBezTo>
                    <a:cubicBezTo>
                      <a:pt x="0" y="6"/>
                      <a:pt x="6" y="0"/>
                      <a:pt x="13" y="0"/>
                    </a:cubicBezTo>
                    <a:cubicBezTo>
                      <a:pt x="47" y="0"/>
                      <a:pt x="47" y="0"/>
                      <a:pt x="47" y="0"/>
                    </a:cubicBezTo>
                    <a:cubicBezTo>
                      <a:pt x="54" y="0"/>
                      <a:pt x="60" y="6"/>
                      <a:pt x="60" y="13"/>
                    </a:cubicBezTo>
                    <a:lnTo>
                      <a:pt x="60" y="47"/>
                    </a:lnTo>
                    <a:close/>
                  </a:path>
                </a:pathLst>
              </a:custGeom>
              <a:noFill/>
              <a:ln w="12700" cap="flat">
                <a:solidFill>
                  <a:sysClr val="window" lastClr="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defRPr/>
                </a:pPr>
                <a:endParaRPr lang="en-US" kern="0" dirty="0">
                  <a:solidFill>
                    <a:srgbClr val="00234B"/>
                  </a:solidFill>
                  <a:latin typeface="Calibri"/>
                  <a:sym typeface="Calibri"/>
                </a:endParaRPr>
              </a:p>
            </p:txBody>
          </p:sp>
          <p:sp>
            <p:nvSpPr>
              <p:cNvPr id="29" name="Freeform 139"/>
              <p:cNvSpPr>
                <a:spLocks/>
              </p:cNvSpPr>
              <p:nvPr/>
            </p:nvSpPr>
            <p:spPr bwMode="auto">
              <a:xfrm>
                <a:off x="5038726" y="5656263"/>
                <a:ext cx="150813" cy="150812"/>
              </a:xfrm>
              <a:custGeom>
                <a:avLst/>
                <a:gdLst/>
                <a:ahLst/>
                <a:cxnLst>
                  <a:cxn ang="0">
                    <a:pos x="41" y="60"/>
                  </a:cxn>
                  <a:cxn ang="0">
                    <a:pos x="32" y="60"/>
                  </a:cxn>
                  <a:cxn ang="0">
                    <a:pos x="13" y="60"/>
                  </a:cxn>
                  <a:cxn ang="0">
                    <a:pos x="0" y="47"/>
                  </a:cxn>
                  <a:cxn ang="0">
                    <a:pos x="0" y="13"/>
                  </a:cxn>
                  <a:cxn ang="0">
                    <a:pos x="13" y="0"/>
                  </a:cxn>
                  <a:cxn ang="0">
                    <a:pos x="47" y="0"/>
                  </a:cxn>
                  <a:cxn ang="0">
                    <a:pos x="60" y="13"/>
                  </a:cxn>
                  <a:cxn ang="0">
                    <a:pos x="60" y="47"/>
                  </a:cxn>
                </a:cxnLst>
                <a:rect l="0" t="0" r="r" b="b"/>
                <a:pathLst>
                  <a:path w="60" h="60">
                    <a:moveTo>
                      <a:pt x="41" y="60"/>
                    </a:moveTo>
                    <a:cubicBezTo>
                      <a:pt x="32" y="60"/>
                      <a:pt x="32" y="60"/>
                      <a:pt x="32" y="60"/>
                    </a:cubicBezTo>
                    <a:cubicBezTo>
                      <a:pt x="13" y="60"/>
                      <a:pt x="13" y="60"/>
                      <a:pt x="13" y="60"/>
                    </a:cubicBezTo>
                    <a:cubicBezTo>
                      <a:pt x="6" y="60"/>
                      <a:pt x="0" y="54"/>
                      <a:pt x="0" y="47"/>
                    </a:cubicBezTo>
                    <a:cubicBezTo>
                      <a:pt x="0" y="13"/>
                      <a:pt x="0" y="13"/>
                      <a:pt x="0" y="13"/>
                    </a:cubicBezTo>
                    <a:cubicBezTo>
                      <a:pt x="0" y="6"/>
                      <a:pt x="6" y="0"/>
                      <a:pt x="13" y="0"/>
                    </a:cubicBezTo>
                    <a:cubicBezTo>
                      <a:pt x="47" y="0"/>
                      <a:pt x="47" y="0"/>
                      <a:pt x="47" y="0"/>
                    </a:cubicBezTo>
                    <a:cubicBezTo>
                      <a:pt x="54" y="0"/>
                      <a:pt x="60" y="6"/>
                      <a:pt x="60" y="13"/>
                    </a:cubicBezTo>
                    <a:cubicBezTo>
                      <a:pt x="60" y="47"/>
                      <a:pt x="60" y="47"/>
                      <a:pt x="60" y="47"/>
                    </a:cubicBezTo>
                  </a:path>
                </a:pathLst>
              </a:custGeom>
              <a:noFill/>
              <a:ln w="1270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57756">
                  <a:defRPr/>
                </a:pPr>
                <a:endParaRPr lang="en-US" kern="0" dirty="0">
                  <a:solidFill>
                    <a:srgbClr val="00234B"/>
                  </a:solidFill>
                  <a:latin typeface="Calibri"/>
                  <a:sym typeface="Calibri"/>
                </a:endParaRPr>
              </a:p>
            </p:txBody>
          </p:sp>
          <p:sp>
            <p:nvSpPr>
              <p:cNvPr id="30" name="Freeform 140"/>
              <p:cNvSpPr>
                <a:spLocks/>
              </p:cNvSpPr>
              <p:nvPr/>
            </p:nvSpPr>
            <p:spPr bwMode="auto">
              <a:xfrm>
                <a:off x="4983163" y="5576888"/>
                <a:ext cx="261938" cy="33337"/>
              </a:xfrm>
              <a:custGeom>
                <a:avLst/>
                <a:gdLst/>
                <a:ahLst/>
                <a:cxnLst>
                  <a:cxn ang="0">
                    <a:pos x="104" y="0"/>
                  </a:cxn>
                  <a:cxn ang="0">
                    <a:pos x="91" y="13"/>
                  </a:cxn>
                  <a:cxn ang="0">
                    <a:pos x="51" y="13"/>
                  </a:cxn>
                  <a:cxn ang="0">
                    <a:pos x="13" y="13"/>
                  </a:cxn>
                  <a:cxn ang="0">
                    <a:pos x="0" y="0"/>
                  </a:cxn>
                </a:cxnLst>
                <a:rect l="0" t="0" r="r" b="b"/>
                <a:pathLst>
                  <a:path w="104" h="13">
                    <a:moveTo>
                      <a:pt x="104" y="0"/>
                    </a:moveTo>
                    <a:cubicBezTo>
                      <a:pt x="104" y="7"/>
                      <a:pt x="98" y="13"/>
                      <a:pt x="91" y="13"/>
                    </a:cubicBezTo>
                    <a:cubicBezTo>
                      <a:pt x="51" y="13"/>
                      <a:pt x="51" y="13"/>
                      <a:pt x="51" y="13"/>
                    </a:cubicBezTo>
                    <a:cubicBezTo>
                      <a:pt x="13" y="13"/>
                      <a:pt x="13" y="13"/>
                      <a:pt x="13" y="13"/>
                    </a:cubicBezTo>
                    <a:cubicBezTo>
                      <a:pt x="5" y="13"/>
                      <a:pt x="0" y="7"/>
                      <a:pt x="0" y="0"/>
                    </a:cubicBezTo>
                  </a:path>
                </a:pathLst>
              </a:custGeom>
              <a:noFill/>
              <a:ln w="12700" cap="flat">
                <a:solidFill>
                  <a:sysClr val="window" lastClr="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defRPr/>
                </a:pPr>
                <a:endParaRPr lang="en-US" kern="0" dirty="0">
                  <a:solidFill>
                    <a:srgbClr val="00234B"/>
                  </a:solidFill>
                  <a:latin typeface="Calibri"/>
                  <a:sym typeface="Calibri"/>
                </a:endParaRPr>
              </a:p>
            </p:txBody>
          </p:sp>
          <p:sp>
            <p:nvSpPr>
              <p:cNvPr id="31" name="Line 141"/>
              <p:cNvSpPr>
                <a:spLocks noChangeShapeType="1"/>
              </p:cNvSpPr>
              <p:nvPr/>
            </p:nvSpPr>
            <p:spPr bwMode="auto">
              <a:xfrm flipV="1">
                <a:off x="5113338" y="5610225"/>
                <a:ext cx="1588" cy="42862"/>
              </a:xfrm>
              <a:prstGeom prst="line">
                <a:avLst/>
              </a:prstGeom>
              <a:noFill/>
              <a:ln w="12700" cap="flat">
                <a:solidFill>
                  <a:sysClr val="window" lastClr="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defRPr/>
                </a:pPr>
                <a:endParaRPr lang="en-US" kern="0" dirty="0">
                  <a:solidFill>
                    <a:srgbClr val="00234B"/>
                  </a:solidFill>
                  <a:latin typeface="Calibri"/>
                  <a:sym typeface="Calibri"/>
                </a:endParaRPr>
              </a:p>
            </p:txBody>
          </p:sp>
        </p:grpSp>
      </p:grpSp>
      <p:grpSp>
        <p:nvGrpSpPr>
          <p:cNvPr id="32" name="Groupe 131"/>
          <p:cNvGrpSpPr/>
          <p:nvPr/>
        </p:nvGrpSpPr>
        <p:grpSpPr>
          <a:xfrm>
            <a:off x="4010709" y="5088256"/>
            <a:ext cx="504000" cy="504000"/>
            <a:chOff x="3322320" y="4998720"/>
            <a:chExt cx="563880" cy="563880"/>
          </a:xfrm>
        </p:grpSpPr>
        <p:sp>
          <p:nvSpPr>
            <p:cNvPr id="33" name="Oval 72"/>
            <p:cNvSpPr/>
            <p:nvPr/>
          </p:nvSpPr>
          <p:spPr bwMode="auto">
            <a:xfrm>
              <a:off x="3322320" y="4998720"/>
              <a:ext cx="563880" cy="563880"/>
            </a:xfrm>
            <a:prstGeom prst="ellipse">
              <a:avLst/>
            </a:prstGeom>
            <a:solidFill>
              <a:srgbClr val="0098CC"/>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defRPr/>
              </a:pPr>
              <a:endParaRPr lang="en-US" sz="1600" kern="0" dirty="0">
                <a:solidFill>
                  <a:srgbClr val="1C1C1C"/>
                </a:solidFill>
                <a:latin typeface="Calibri"/>
                <a:cs typeface="Arial" charset="0"/>
                <a:sym typeface="Calibri"/>
              </a:endParaRPr>
            </a:p>
          </p:txBody>
        </p:sp>
        <p:sp>
          <p:nvSpPr>
            <p:cNvPr id="34" name="Freeform 402"/>
            <p:cNvSpPr>
              <a:spLocks noEditPoints="1"/>
            </p:cNvSpPr>
            <p:nvPr/>
          </p:nvSpPr>
          <p:spPr bwMode="auto">
            <a:xfrm>
              <a:off x="3392121" y="5146040"/>
              <a:ext cx="414754" cy="299086"/>
            </a:xfrm>
            <a:custGeom>
              <a:avLst/>
              <a:gdLst/>
              <a:ahLst/>
              <a:cxnLst>
                <a:cxn ang="0">
                  <a:pos x="149" y="45"/>
                </a:cxn>
                <a:cxn ang="0">
                  <a:pos x="169" y="94"/>
                </a:cxn>
                <a:cxn ang="0">
                  <a:pos x="151" y="96"/>
                </a:cxn>
                <a:cxn ang="0">
                  <a:pos x="176" y="48"/>
                </a:cxn>
                <a:cxn ang="0">
                  <a:pos x="191" y="44"/>
                </a:cxn>
                <a:cxn ang="0">
                  <a:pos x="179" y="29"/>
                </a:cxn>
                <a:cxn ang="0">
                  <a:pos x="172" y="19"/>
                </a:cxn>
                <a:cxn ang="0">
                  <a:pos x="164" y="0"/>
                </a:cxn>
                <a:cxn ang="0">
                  <a:pos x="146" y="1"/>
                </a:cxn>
                <a:cxn ang="0">
                  <a:pos x="139" y="20"/>
                </a:cxn>
                <a:cxn ang="0">
                  <a:pos x="134" y="30"/>
                </a:cxn>
                <a:cxn ang="0">
                  <a:pos x="122" y="46"/>
                </a:cxn>
                <a:cxn ang="0">
                  <a:pos x="132" y="61"/>
                </a:cxn>
                <a:cxn ang="0">
                  <a:pos x="151" y="58"/>
                </a:cxn>
                <a:cxn ang="0">
                  <a:pos x="165" y="60"/>
                </a:cxn>
                <a:cxn ang="0">
                  <a:pos x="177" y="76"/>
                </a:cxn>
                <a:cxn ang="0">
                  <a:pos x="186" y="83"/>
                </a:cxn>
                <a:cxn ang="0">
                  <a:pos x="204" y="92"/>
                </a:cxn>
                <a:cxn ang="0">
                  <a:pos x="205" y="108"/>
                </a:cxn>
                <a:cxn ang="0">
                  <a:pos x="189" y="120"/>
                </a:cxn>
                <a:cxn ang="0">
                  <a:pos x="181" y="128"/>
                </a:cxn>
                <a:cxn ang="0">
                  <a:pos x="173" y="146"/>
                </a:cxn>
                <a:cxn ang="0">
                  <a:pos x="157" y="148"/>
                </a:cxn>
                <a:cxn ang="0">
                  <a:pos x="145" y="132"/>
                </a:cxn>
                <a:cxn ang="0">
                  <a:pos x="136" y="124"/>
                </a:cxn>
                <a:cxn ang="0">
                  <a:pos x="118" y="115"/>
                </a:cxn>
                <a:cxn ang="0">
                  <a:pos x="117" y="99"/>
                </a:cxn>
                <a:cxn ang="0">
                  <a:pos x="132" y="86"/>
                </a:cxn>
                <a:cxn ang="0">
                  <a:pos x="128" y="64"/>
                </a:cxn>
                <a:cxn ang="0">
                  <a:pos x="105" y="47"/>
                </a:cxn>
                <a:cxn ang="0">
                  <a:pos x="95" y="33"/>
                </a:cxn>
                <a:cxn ang="0">
                  <a:pos x="82" y="7"/>
                </a:cxn>
                <a:cxn ang="0">
                  <a:pos x="59" y="5"/>
                </a:cxn>
                <a:cxn ang="0">
                  <a:pos x="42" y="28"/>
                </a:cxn>
                <a:cxn ang="0">
                  <a:pos x="29" y="39"/>
                </a:cxn>
                <a:cxn ang="0">
                  <a:pos x="2" y="51"/>
                </a:cxn>
                <a:cxn ang="0">
                  <a:pos x="0" y="74"/>
                </a:cxn>
                <a:cxn ang="0">
                  <a:pos x="23" y="91"/>
                </a:cxn>
                <a:cxn ang="0">
                  <a:pos x="34" y="104"/>
                </a:cxn>
                <a:cxn ang="0">
                  <a:pos x="46" y="131"/>
                </a:cxn>
                <a:cxn ang="0">
                  <a:pos x="69" y="133"/>
                </a:cxn>
                <a:cxn ang="0">
                  <a:pos x="87" y="110"/>
                </a:cxn>
                <a:cxn ang="0">
                  <a:pos x="100" y="99"/>
                </a:cxn>
                <a:cxn ang="0">
                  <a:pos x="61" y="51"/>
                </a:cxn>
              </a:cxnLst>
              <a:rect l="0" t="0" r="r" b="b"/>
              <a:pathLst>
                <a:path w="205" h="148">
                  <a:moveTo>
                    <a:pt x="164" y="27"/>
                  </a:moveTo>
                  <a:cubicBezTo>
                    <a:pt x="169" y="31"/>
                    <a:pt x="169" y="38"/>
                    <a:pt x="165" y="43"/>
                  </a:cubicBezTo>
                  <a:cubicBezTo>
                    <a:pt x="161" y="48"/>
                    <a:pt x="154" y="49"/>
                    <a:pt x="149" y="45"/>
                  </a:cubicBezTo>
                  <a:cubicBezTo>
                    <a:pt x="144" y="41"/>
                    <a:pt x="143" y="33"/>
                    <a:pt x="147" y="28"/>
                  </a:cubicBezTo>
                  <a:cubicBezTo>
                    <a:pt x="152" y="23"/>
                    <a:pt x="159" y="23"/>
                    <a:pt x="164" y="27"/>
                  </a:cubicBezTo>
                  <a:close/>
                  <a:moveTo>
                    <a:pt x="169" y="94"/>
                  </a:moveTo>
                  <a:cubicBezTo>
                    <a:pt x="174" y="98"/>
                    <a:pt x="175" y="106"/>
                    <a:pt x="171" y="112"/>
                  </a:cubicBezTo>
                  <a:cubicBezTo>
                    <a:pt x="166" y="117"/>
                    <a:pt x="158" y="118"/>
                    <a:pt x="153" y="113"/>
                  </a:cubicBezTo>
                  <a:cubicBezTo>
                    <a:pt x="147" y="109"/>
                    <a:pt x="147" y="101"/>
                    <a:pt x="151" y="96"/>
                  </a:cubicBezTo>
                  <a:cubicBezTo>
                    <a:pt x="156" y="90"/>
                    <a:pt x="164" y="89"/>
                    <a:pt x="169" y="94"/>
                  </a:cubicBezTo>
                  <a:close/>
                  <a:moveTo>
                    <a:pt x="183" y="60"/>
                  </a:moveTo>
                  <a:cubicBezTo>
                    <a:pt x="176" y="48"/>
                    <a:pt x="176" y="48"/>
                    <a:pt x="176" y="48"/>
                  </a:cubicBezTo>
                  <a:cubicBezTo>
                    <a:pt x="176" y="48"/>
                    <a:pt x="177" y="47"/>
                    <a:pt x="177" y="46"/>
                  </a:cubicBezTo>
                  <a:cubicBezTo>
                    <a:pt x="178" y="46"/>
                    <a:pt x="178" y="45"/>
                    <a:pt x="178" y="44"/>
                  </a:cubicBezTo>
                  <a:cubicBezTo>
                    <a:pt x="191" y="44"/>
                    <a:pt x="191" y="44"/>
                    <a:pt x="191" y="44"/>
                  </a:cubicBezTo>
                  <a:cubicBezTo>
                    <a:pt x="192" y="37"/>
                    <a:pt x="192" y="37"/>
                    <a:pt x="192" y="37"/>
                  </a:cubicBezTo>
                  <a:cubicBezTo>
                    <a:pt x="180" y="33"/>
                    <a:pt x="180" y="33"/>
                    <a:pt x="180" y="33"/>
                  </a:cubicBezTo>
                  <a:cubicBezTo>
                    <a:pt x="180" y="31"/>
                    <a:pt x="179" y="30"/>
                    <a:pt x="179" y="29"/>
                  </a:cubicBezTo>
                  <a:cubicBezTo>
                    <a:pt x="189" y="20"/>
                    <a:pt x="189" y="20"/>
                    <a:pt x="189" y="20"/>
                  </a:cubicBezTo>
                  <a:cubicBezTo>
                    <a:pt x="185" y="14"/>
                    <a:pt x="185" y="14"/>
                    <a:pt x="185" y="14"/>
                  </a:cubicBezTo>
                  <a:cubicBezTo>
                    <a:pt x="172" y="19"/>
                    <a:pt x="172" y="19"/>
                    <a:pt x="172" y="19"/>
                  </a:cubicBezTo>
                  <a:cubicBezTo>
                    <a:pt x="171" y="18"/>
                    <a:pt x="170" y="17"/>
                    <a:pt x="169" y="16"/>
                  </a:cubicBezTo>
                  <a:cubicBezTo>
                    <a:pt x="171" y="3"/>
                    <a:pt x="171" y="3"/>
                    <a:pt x="171" y="3"/>
                  </a:cubicBezTo>
                  <a:cubicBezTo>
                    <a:pt x="164" y="0"/>
                    <a:pt x="164" y="0"/>
                    <a:pt x="164" y="0"/>
                  </a:cubicBezTo>
                  <a:cubicBezTo>
                    <a:pt x="158" y="12"/>
                    <a:pt x="158" y="12"/>
                    <a:pt x="158" y="12"/>
                  </a:cubicBezTo>
                  <a:cubicBezTo>
                    <a:pt x="156" y="12"/>
                    <a:pt x="155" y="12"/>
                    <a:pt x="153" y="12"/>
                  </a:cubicBezTo>
                  <a:cubicBezTo>
                    <a:pt x="146" y="1"/>
                    <a:pt x="146" y="1"/>
                    <a:pt x="146" y="1"/>
                  </a:cubicBezTo>
                  <a:cubicBezTo>
                    <a:pt x="140" y="4"/>
                    <a:pt x="140" y="4"/>
                    <a:pt x="140" y="4"/>
                  </a:cubicBezTo>
                  <a:cubicBezTo>
                    <a:pt x="142" y="17"/>
                    <a:pt x="142" y="17"/>
                    <a:pt x="142" y="17"/>
                  </a:cubicBezTo>
                  <a:cubicBezTo>
                    <a:pt x="141" y="18"/>
                    <a:pt x="140" y="19"/>
                    <a:pt x="139" y="20"/>
                  </a:cubicBezTo>
                  <a:cubicBezTo>
                    <a:pt x="127" y="16"/>
                    <a:pt x="127" y="16"/>
                    <a:pt x="127" y="16"/>
                  </a:cubicBezTo>
                  <a:cubicBezTo>
                    <a:pt x="123" y="22"/>
                    <a:pt x="123" y="22"/>
                    <a:pt x="123" y="22"/>
                  </a:cubicBezTo>
                  <a:cubicBezTo>
                    <a:pt x="134" y="30"/>
                    <a:pt x="134" y="30"/>
                    <a:pt x="134" y="30"/>
                  </a:cubicBezTo>
                  <a:cubicBezTo>
                    <a:pt x="133" y="32"/>
                    <a:pt x="133" y="33"/>
                    <a:pt x="133" y="34"/>
                  </a:cubicBezTo>
                  <a:cubicBezTo>
                    <a:pt x="121" y="39"/>
                    <a:pt x="121" y="39"/>
                    <a:pt x="121" y="39"/>
                  </a:cubicBezTo>
                  <a:cubicBezTo>
                    <a:pt x="122" y="46"/>
                    <a:pt x="122" y="46"/>
                    <a:pt x="122" y="46"/>
                  </a:cubicBezTo>
                  <a:cubicBezTo>
                    <a:pt x="136" y="46"/>
                    <a:pt x="136" y="46"/>
                    <a:pt x="136" y="46"/>
                  </a:cubicBezTo>
                  <a:cubicBezTo>
                    <a:pt x="136" y="47"/>
                    <a:pt x="137" y="49"/>
                    <a:pt x="138" y="50"/>
                  </a:cubicBezTo>
                  <a:cubicBezTo>
                    <a:pt x="132" y="61"/>
                    <a:pt x="132" y="61"/>
                    <a:pt x="132" y="61"/>
                  </a:cubicBezTo>
                  <a:cubicBezTo>
                    <a:pt x="137" y="66"/>
                    <a:pt x="137" y="66"/>
                    <a:pt x="137" y="66"/>
                  </a:cubicBezTo>
                  <a:cubicBezTo>
                    <a:pt x="147" y="57"/>
                    <a:pt x="147" y="57"/>
                    <a:pt x="147" y="57"/>
                  </a:cubicBezTo>
                  <a:cubicBezTo>
                    <a:pt x="149" y="58"/>
                    <a:pt x="150" y="58"/>
                    <a:pt x="151" y="58"/>
                  </a:cubicBezTo>
                  <a:cubicBezTo>
                    <a:pt x="155" y="71"/>
                    <a:pt x="155" y="71"/>
                    <a:pt x="155" y="71"/>
                  </a:cubicBezTo>
                  <a:cubicBezTo>
                    <a:pt x="161" y="72"/>
                    <a:pt x="161" y="72"/>
                    <a:pt x="161" y="72"/>
                  </a:cubicBezTo>
                  <a:cubicBezTo>
                    <a:pt x="165" y="60"/>
                    <a:pt x="165" y="60"/>
                    <a:pt x="165" y="60"/>
                  </a:cubicBezTo>
                  <a:cubicBezTo>
                    <a:pt x="172" y="61"/>
                    <a:pt x="172" y="61"/>
                    <a:pt x="172" y="61"/>
                  </a:cubicBezTo>
                  <a:cubicBezTo>
                    <a:pt x="172" y="74"/>
                    <a:pt x="172" y="74"/>
                    <a:pt x="172" y="74"/>
                  </a:cubicBezTo>
                  <a:cubicBezTo>
                    <a:pt x="174" y="74"/>
                    <a:pt x="175" y="75"/>
                    <a:pt x="177" y="76"/>
                  </a:cubicBezTo>
                  <a:cubicBezTo>
                    <a:pt x="187" y="68"/>
                    <a:pt x="187" y="68"/>
                    <a:pt x="187" y="68"/>
                  </a:cubicBezTo>
                  <a:cubicBezTo>
                    <a:pt x="192" y="72"/>
                    <a:pt x="192" y="72"/>
                    <a:pt x="192" y="72"/>
                  </a:cubicBezTo>
                  <a:cubicBezTo>
                    <a:pt x="186" y="83"/>
                    <a:pt x="186" y="83"/>
                    <a:pt x="186" y="83"/>
                  </a:cubicBezTo>
                  <a:cubicBezTo>
                    <a:pt x="187" y="85"/>
                    <a:pt x="188" y="86"/>
                    <a:pt x="189" y="87"/>
                  </a:cubicBezTo>
                  <a:cubicBezTo>
                    <a:pt x="201" y="85"/>
                    <a:pt x="201" y="85"/>
                    <a:pt x="201" y="85"/>
                  </a:cubicBezTo>
                  <a:cubicBezTo>
                    <a:pt x="204" y="92"/>
                    <a:pt x="204" y="92"/>
                    <a:pt x="204" y="92"/>
                  </a:cubicBezTo>
                  <a:cubicBezTo>
                    <a:pt x="193" y="98"/>
                    <a:pt x="193" y="98"/>
                    <a:pt x="193" y="98"/>
                  </a:cubicBezTo>
                  <a:cubicBezTo>
                    <a:pt x="193" y="100"/>
                    <a:pt x="193" y="102"/>
                    <a:pt x="193" y="103"/>
                  </a:cubicBezTo>
                  <a:cubicBezTo>
                    <a:pt x="205" y="108"/>
                    <a:pt x="205" y="108"/>
                    <a:pt x="205" y="108"/>
                  </a:cubicBezTo>
                  <a:cubicBezTo>
                    <a:pt x="204" y="115"/>
                    <a:pt x="204" y="115"/>
                    <a:pt x="204" y="115"/>
                  </a:cubicBezTo>
                  <a:cubicBezTo>
                    <a:pt x="191" y="115"/>
                    <a:pt x="191" y="115"/>
                    <a:pt x="191" y="115"/>
                  </a:cubicBezTo>
                  <a:cubicBezTo>
                    <a:pt x="190" y="117"/>
                    <a:pt x="190" y="118"/>
                    <a:pt x="189" y="120"/>
                  </a:cubicBezTo>
                  <a:cubicBezTo>
                    <a:pt x="197" y="129"/>
                    <a:pt x="197" y="129"/>
                    <a:pt x="197" y="129"/>
                  </a:cubicBezTo>
                  <a:cubicBezTo>
                    <a:pt x="192" y="135"/>
                    <a:pt x="192" y="135"/>
                    <a:pt x="192" y="135"/>
                  </a:cubicBezTo>
                  <a:cubicBezTo>
                    <a:pt x="181" y="128"/>
                    <a:pt x="181" y="128"/>
                    <a:pt x="181" y="128"/>
                  </a:cubicBezTo>
                  <a:cubicBezTo>
                    <a:pt x="180" y="130"/>
                    <a:pt x="179" y="131"/>
                    <a:pt x="177" y="131"/>
                  </a:cubicBezTo>
                  <a:cubicBezTo>
                    <a:pt x="179" y="144"/>
                    <a:pt x="179" y="144"/>
                    <a:pt x="179" y="144"/>
                  </a:cubicBezTo>
                  <a:cubicBezTo>
                    <a:pt x="173" y="146"/>
                    <a:pt x="173" y="146"/>
                    <a:pt x="173" y="146"/>
                  </a:cubicBezTo>
                  <a:cubicBezTo>
                    <a:pt x="166" y="135"/>
                    <a:pt x="166" y="135"/>
                    <a:pt x="166" y="135"/>
                  </a:cubicBezTo>
                  <a:cubicBezTo>
                    <a:pt x="165" y="136"/>
                    <a:pt x="163" y="136"/>
                    <a:pt x="161" y="136"/>
                  </a:cubicBezTo>
                  <a:cubicBezTo>
                    <a:pt x="157" y="148"/>
                    <a:pt x="157" y="148"/>
                    <a:pt x="157" y="148"/>
                  </a:cubicBezTo>
                  <a:cubicBezTo>
                    <a:pt x="150" y="147"/>
                    <a:pt x="150" y="147"/>
                    <a:pt x="150" y="147"/>
                  </a:cubicBezTo>
                  <a:cubicBezTo>
                    <a:pt x="150" y="134"/>
                    <a:pt x="150" y="134"/>
                    <a:pt x="150" y="134"/>
                  </a:cubicBezTo>
                  <a:cubicBezTo>
                    <a:pt x="148" y="133"/>
                    <a:pt x="147" y="132"/>
                    <a:pt x="145" y="132"/>
                  </a:cubicBezTo>
                  <a:cubicBezTo>
                    <a:pt x="135" y="140"/>
                    <a:pt x="135" y="140"/>
                    <a:pt x="135" y="140"/>
                  </a:cubicBezTo>
                  <a:cubicBezTo>
                    <a:pt x="130" y="135"/>
                    <a:pt x="130" y="135"/>
                    <a:pt x="130" y="135"/>
                  </a:cubicBezTo>
                  <a:cubicBezTo>
                    <a:pt x="136" y="124"/>
                    <a:pt x="136" y="124"/>
                    <a:pt x="136" y="124"/>
                  </a:cubicBezTo>
                  <a:cubicBezTo>
                    <a:pt x="135" y="123"/>
                    <a:pt x="134" y="121"/>
                    <a:pt x="133" y="120"/>
                  </a:cubicBezTo>
                  <a:cubicBezTo>
                    <a:pt x="121" y="122"/>
                    <a:pt x="121" y="122"/>
                    <a:pt x="121" y="122"/>
                  </a:cubicBezTo>
                  <a:cubicBezTo>
                    <a:pt x="118" y="115"/>
                    <a:pt x="118" y="115"/>
                    <a:pt x="118" y="115"/>
                  </a:cubicBezTo>
                  <a:cubicBezTo>
                    <a:pt x="129" y="109"/>
                    <a:pt x="129" y="109"/>
                    <a:pt x="129" y="109"/>
                  </a:cubicBezTo>
                  <a:cubicBezTo>
                    <a:pt x="129" y="107"/>
                    <a:pt x="129" y="106"/>
                    <a:pt x="129" y="104"/>
                  </a:cubicBezTo>
                  <a:cubicBezTo>
                    <a:pt x="117" y="99"/>
                    <a:pt x="117" y="99"/>
                    <a:pt x="117" y="99"/>
                  </a:cubicBezTo>
                  <a:cubicBezTo>
                    <a:pt x="118" y="92"/>
                    <a:pt x="118" y="92"/>
                    <a:pt x="118" y="92"/>
                  </a:cubicBezTo>
                  <a:cubicBezTo>
                    <a:pt x="131" y="92"/>
                    <a:pt x="131" y="92"/>
                    <a:pt x="131" y="92"/>
                  </a:cubicBezTo>
                  <a:cubicBezTo>
                    <a:pt x="131" y="91"/>
                    <a:pt x="131" y="88"/>
                    <a:pt x="132" y="86"/>
                  </a:cubicBezTo>
                  <a:cubicBezTo>
                    <a:pt x="111" y="81"/>
                    <a:pt x="111" y="81"/>
                    <a:pt x="111" y="81"/>
                  </a:cubicBezTo>
                  <a:cubicBezTo>
                    <a:pt x="111" y="81"/>
                    <a:pt x="111" y="73"/>
                    <a:pt x="111" y="70"/>
                  </a:cubicBezTo>
                  <a:cubicBezTo>
                    <a:pt x="128" y="64"/>
                    <a:pt x="128" y="64"/>
                    <a:pt x="128" y="64"/>
                  </a:cubicBezTo>
                  <a:cubicBezTo>
                    <a:pt x="127" y="54"/>
                    <a:pt x="127" y="54"/>
                    <a:pt x="127" y="54"/>
                  </a:cubicBezTo>
                  <a:cubicBezTo>
                    <a:pt x="108" y="53"/>
                    <a:pt x="108" y="53"/>
                    <a:pt x="108" y="53"/>
                  </a:cubicBezTo>
                  <a:cubicBezTo>
                    <a:pt x="107" y="51"/>
                    <a:pt x="106" y="49"/>
                    <a:pt x="105" y="47"/>
                  </a:cubicBezTo>
                  <a:cubicBezTo>
                    <a:pt x="117" y="33"/>
                    <a:pt x="117" y="33"/>
                    <a:pt x="117" y="33"/>
                  </a:cubicBezTo>
                  <a:cubicBezTo>
                    <a:pt x="111" y="25"/>
                    <a:pt x="111" y="25"/>
                    <a:pt x="111" y="25"/>
                  </a:cubicBezTo>
                  <a:cubicBezTo>
                    <a:pt x="95" y="33"/>
                    <a:pt x="95" y="33"/>
                    <a:pt x="95" y="33"/>
                  </a:cubicBezTo>
                  <a:cubicBezTo>
                    <a:pt x="93" y="32"/>
                    <a:pt x="91" y="30"/>
                    <a:pt x="89" y="29"/>
                  </a:cubicBezTo>
                  <a:cubicBezTo>
                    <a:pt x="92" y="11"/>
                    <a:pt x="92" y="11"/>
                    <a:pt x="92" y="11"/>
                  </a:cubicBezTo>
                  <a:cubicBezTo>
                    <a:pt x="82" y="7"/>
                    <a:pt x="82" y="7"/>
                    <a:pt x="82" y="7"/>
                  </a:cubicBezTo>
                  <a:cubicBezTo>
                    <a:pt x="73" y="23"/>
                    <a:pt x="73" y="23"/>
                    <a:pt x="73" y="23"/>
                  </a:cubicBezTo>
                  <a:cubicBezTo>
                    <a:pt x="70" y="23"/>
                    <a:pt x="68" y="22"/>
                    <a:pt x="65" y="22"/>
                  </a:cubicBezTo>
                  <a:cubicBezTo>
                    <a:pt x="59" y="5"/>
                    <a:pt x="59" y="5"/>
                    <a:pt x="59" y="5"/>
                  </a:cubicBezTo>
                  <a:cubicBezTo>
                    <a:pt x="49" y="6"/>
                    <a:pt x="49" y="6"/>
                    <a:pt x="49" y="6"/>
                  </a:cubicBezTo>
                  <a:cubicBezTo>
                    <a:pt x="49" y="25"/>
                    <a:pt x="49" y="25"/>
                    <a:pt x="49" y="25"/>
                  </a:cubicBezTo>
                  <a:cubicBezTo>
                    <a:pt x="46" y="26"/>
                    <a:pt x="44" y="27"/>
                    <a:pt x="42" y="28"/>
                  </a:cubicBezTo>
                  <a:cubicBezTo>
                    <a:pt x="28" y="16"/>
                    <a:pt x="28" y="16"/>
                    <a:pt x="28" y="16"/>
                  </a:cubicBezTo>
                  <a:cubicBezTo>
                    <a:pt x="20" y="22"/>
                    <a:pt x="20" y="22"/>
                    <a:pt x="20" y="22"/>
                  </a:cubicBezTo>
                  <a:cubicBezTo>
                    <a:pt x="29" y="39"/>
                    <a:pt x="29" y="39"/>
                    <a:pt x="29" y="39"/>
                  </a:cubicBezTo>
                  <a:cubicBezTo>
                    <a:pt x="27" y="40"/>
                    <a:pt x="26" y="42"/>
                    <a:pt x="24" y="44"/>
                  </a:cubicBezTo>
                  <a:cubicBezTo>
                    <a:pt x="6" y="41"/>
                    <a:pt x="6" y="41"/>
                    <a:pt x="6" y="41"/>
                  </a:cubicBezTo>
                  <a:cubicBezTo>
                    <a:pt x="2" y="51"/>
                    <a:pt x="2" y="51"/>
                    <a:pt x="2" y="51"/>
                  </a:cubicBezTo>
                  <a:cubicBezTo>
                    <a:pt x="18" y="60"/>
                    <a:pt x="18" y="60"/>
                    <a:pt x="18" y="60"/>
                  </a:cubicBezTo>
                  <a:cubicBezTo>
                    <a:pt x="18" y="63"/>
                    <a:pt x="18" y="65"/>
                    <a:pt x="18" y="68"/>
                  </a:cubicBezTo>
                  <a:cubicBezTo>
                    <a:pt x="0" y="74"/>
                    <a:pt x="0" y="74"/>
                    <a:pt x="0" y="74"/>
                  </a:cubicBezTo>
                  <a:cubicBezTo>
                    <a:pt x="2" y="84"/>
                    <a:pt x="2" y="84"/>
                    <a:pt x="2" y="84"/>
                  </a:cubicBezTo>
                  <a:cubicBezTo>
                    <a:pt x="20" y="84"/>
                    <a:pt x="20" y="84"/>
                    <a:pt x="20" y="84"/>
                  </a:cubicBezTo>
                  <a:cubicBezTo>
                    <a:pt x="21" y="87"/>
                    <a:pt x="22" y="89"/>
                    <a:pt x="23" y="91"/>
                  </a:cubicBezTo>
                  <a:cubicBezTo>
                    <a:pt x="11" y="105"/>
                    <a:pt x="11" y="105"/>
                    <a:pt x="11" y="105"/>
                  </a:cubicBezTo>
                  <a:cubicBezTo>
                    <a:pt x="18" y="113"/>
                    <a:pt x="18" y="113"/>
                    <a:pt x="18" y="113"/>
                  </a:cubicBezTo>
                  <a:cubicBezTo>
                    <a:pt x="34" y="104"/>
                    <a:pt x="34" y="104"/>
                    <a:pt x="34" y="104"/>
                  </a:cubicBezTo>
                  <a:cubicBezTo>
                    <a:pt x="36" y="106"/>
                    <a:pt x="38" y="107"/>
                    <a:pt x="40" y="109"/>
                  </a:cubicBezTo>
                  <a:cubicBezTo>
                    <a:pt x="36" y="127"/>
                    <a:pt x="36" y="127"/>
                    <a:pt x="36" y="127"/>
                  </a:cubicBezTo>
                  <a:cubicBezTo>
                    <a:pt x="46" y="131"/>
                    <a:pt x="46" y="131"/>
                    <a:pt x="46" y="131"/>
                  </a:cubicBezTo>
                  <a:cubicBezTo>
                    <a:pt x="56" y="115"/>
                    <a:pt x="56" y="115"/>
                    <a:pt x="56" y="115"/>
                  </a:cubicBezTo>
                  <a:cubicBezTo>
                    <a:pt x="58" y="115"/>
                    <a:pt x="61" y="115"/>
                    <a:pt x="63" y="115"/>
                  </a:cubicBezTo>
                  <a:cubicBezTo>
                    <a:pt x="69" y="133"/>
                    <a:pt x="69" y="133"/>
                    <a:pt x="69" y="133"/>
                  </a:cubicBezTo>
                  <a:cubicBezTo>
                    <a:pt x="79" y="131"/>
                    <a:pt x="79" y="131"/>
                    <a:pt x="79" y="131"/>
                  </a:cubicBezTo>
                  <a:cubicBezTo>
                    <a:pt x="80" y="113"/>
                    <a:pt x="80" y="113"/>
                    <a:pt x="80" y="113"/>
                  </a:cubicBezTo>
                  <a:cubicBezTo>
                    <a:pt x="82" y="112"/>
                    <a:pt x="84" y="111"/>
                    <a:pt x="87" y="110"/>
                  </a:cubicBezTo>
                  <a:cubicBezTo>
                    <a:pt x="101" y="122"/>
                    <a:pt x="101" y="122"/>
                    <a:pt x="101" y="122"/>
                  </a:cubicBezTo>
                  <a:cubicBezTo>
                    <a:pt x="109" y="116"/>
                    <a:pt x="109" y="116"/>
                    <a:pt x="109" y="116"/>
                  </a:cubicBezTo>
                  <a:cubicBezTo>
                    <a:pt x="100" y="99"/>
                    <a:pt x="100" y="99"/>
                    <a:pt x="100" y="99"/>
                  </a:cubicBezTo>
                  <a:moveTo>
                    <a:pt x="67" y="87"/>
                  </a:moveTo>
                  <a:cubicBezTo>
                    <a:pt x="57" y="89"/>
                    <a:pt x="48" y="82"/>
                    <a:pt x="46" y="72"/>
                  </a:cubicBezTo>
                  <a:cubicBezTo>
                    <a:pt x="44" y="62"/>
                    <a:pt x="51" y="52"/>
                    <a:pt x="61" y="51"/>
                  </a:cubicBezTo>
                  <a:cubicBezTo>
                    <a:pt x="71" y="49"/>
                    <a:pt x="81" y="56"/>
                    <a:pt x="82" y="66"/>
                  </a:cubicBezTo>
                  <a:cubicBezTo>
                    <a:pt x="84" y="76"/>
                    <a:pt x="77" y="85"/>
                    <a:pt x="67" y="87"/>
                  </a:cubicBezTo>
                  <a:close/>
                </a:path>
              </a:pathLst>
            </a:custGeom>
            <a:noFill/>
            <a:ln w="1270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57756">
                <a:defRPr/>
              </a:pPr>
              <a:endParaRPr lang="en-US" sz="700" kern="0" dirty="0">
                <a:solidFill>
                  <a:srgbClr val="00234B"/>
                </a:solidFill>
                <a:latin typeface="Calibri"/>
                <a:cs typeface="Arial" pitchFamily="34" charset="0"/>
                <a:sym typeface="Calibri"/>
              </a:endParaRPr>
            </a:p>
          </p:txBody>
        </p:sp>
      </p:grpSp>
      <p:grpSp>
        <p:nvGrpSpPr>
          <p:cNvPr id="35" name="Groupe 134"/>
          <p:cNvGrpSpPr/>
          <p:nvPr/>
        </p:nvGrpSpPr>
        <p:grpSpPr>
          <a:xfrm>
            <a:off x="4010709" y="3945256"/>
            <a:ext cx="504000" cy="504000"/>
            <a:chOff x="3322320" y="3893820"/>
            <a:chExt cx="563880" cy="563880"/>
          </a:xfrm>
        </p:grpSpPr>
        <p:sp>
          <p:nvSpPr>
            <p:cNvPr id="36" name="Oval 70"/>
            <p:cNvSpPr/>
            <p:nvPr/>
          </p:nvSpPr>
          <p:spPr bwMode="auto">
            <a:xfrm>
              <a:off x="3322320" y="3893820"/>
              <a:ext cx="563880" cy="563880"/>
            </a:xfrm>
            <a:prstGeom prst="ellipse">
              <a:avLst/>
            </a:prstGeom>
            <a:solidFill>
              <a:srgbClr val="0098CC"/>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defRPr/>
              </a:pPr>
              <a:endParaRPr lang="en-US" sz="1600" kern="0" dirty="0">
                <a:solidFill>
                  <a:srgbClr val="1C1C1C"/>
                </a:solidFill>
                <a:latin typeface="Calibri"/>
                <a:cs typeface="Arial" charset="0"/>
                <a:sym typeface="Calibri"/>
              </a:endParaRPr>
            </a:p>
          </p:txBody>
        </p:sp>
        <p:grpSp>
          <p:nvGrpSpPr>
            <p:cNvPr id="37" name="Group 85"/>
            <p:cNvGrpSpPr/>
            <p:nvPr/>
          </p:nvGrpSpPr>
          <p:grpSpPr>
            <a:xfrm>
              <a:off x="3401877" y="4025582"/>
              <a:ext cx="429848" cy="312738"/>
              <a:chOff x="4276725" y="3035300"/>
              <a:chExt cx="512762" cy="373062"/>
            </a:xfrm>
            <a:noFill/>
          </p:grpSpPr>
          <p:sp>
            <p:nvSpPr>
              <p:cNvPr id="38" name="Freeform 278"/>
              <p:cNvSpPr>
                <a:spLocks/>
              </p:cNvSpPr>
              <p:nvPr/>
            </p:nvSpPr>
            <p:spPr bwMode="auto">
              <a:xfrm>
                <a:off x="4276725" y="3195637"/>
                <a:ext cx="501650" cy="212725"/>
              </a:xfrm>
              <a:custGeom>
                <a:avLst/>
                <a:gdLst>
                  <a:gd name="T0" fmla="*/ 0 w 316"/>
                  <a:gd name="T1" fmla="*/ 90487 h 134"/>
                  <a:gd name="T2" fmla="*/ 150812 w 316"/>
                  <a:gd name="T3" fmla="*/ 0 h 134"/>
                  <a:gd name="T4" fmla="*/ 501650 w 316"/>
                  <a:gd name="T5" fmla="*/ 103188 h 134"/>
                  <a:gd name="T6" fmla="*/ 314325 w 316"/>
                  <a:gd name="T7" fmla="*/ 212725 h 134"/>
                  <a:gd name="T8" fmla="*/ 0 w 316"/>
                  <a:gd name="T9" fmla="*/ 90487 h 134"/>
                  <a:gd name="T10" fmla="*/ 0 60000 65536"/>
                  <a:gd name="T11" fmla="*/ 0 60000 65536"/>
                  <a:gd name="T12" fmla="*/ 0 60000 65536"/>
                  <a:gd name="T13" fmla="*/ 0 60000 65536"/>
                  <a:gd name="T14" fmla="*/ 0 60000 65536"/>
                  <a:gd name="T15" fmla="*/ 0 w 316"/>
                  <a:gd name="T16" fmla="*/ 0 h 134"/>
                  <a:gd name="T17" fmla="*/ 316 w 316"/>
                  <a:gd name="T18" fmla="*/ 134 h 134"/>
                </a:gdLst>
                <a:ahLst/>
                <a:cxnLst>
                  <a:cxn ang="T10">
                    <a:pos x="T0" y="T1"/>
                  </a:cxn>
                  <a:cxn ang="T11">
                    <a:pos x="T2" y="T3"/>
                  </a:cxn>
                  <a:cxn ang="T12">
                    <a:pos x="T4" y="T5"/>
                  </a:cxn>
                  <a:cxn ang="T13">
                    <a:pos x="T6" y="T7"/>
                  </a:cxn>
                  <a:cxn ang="T14">
                    <a:pos x="T8" y="T9"/>
                  </a:cxn>
                </a:cxnLst>
                <a:rect l="T15" t="T16" r="T17" b="T18"/>
                <a:pathLst>
                  <a:path w="316" h="134">
                    <a:moveTo>
                      <a:pt x="0" y="57"/>
                    </a:moveTo>
                    <a:lnTo>
                      <a:pt x="95" y="0"/>
                    </a:lnTo>
                    <a:lnTo>
                      <a:pt x="316" y="65"/>
                    </a:lnTo>
                    <a:lnTo>
                      <a:pt x="198" y="134"/>
                    </a:lnTo>
                    <a:lnTo>
                      <a:pt x="0" y="57"/>
                    </a:lnTo>
                    <a:close/>
                  </a:path>
                </a:pathLst>
              </a:custGeom>
              <a:grpFill/>
              <a:ln w="12700" cap="rnd">
                <a:solidFill>
                  <a:sysClr val="window" lastClr="FFFFFF"/>
                </a:solidFill>
                <a:prstDash val="solid"/>
                <a:round/>
                <a:headEnd/>
                <a:tailEnd/>
              </a:ln>
            </p:spPr>
            <p:txBody>
              <a:bodyPr/>
              <a:lstStyle/>
              <a:p>
                <a:pPr defTabSz="957756">
                  <a:defRPr/>
                </a:pPr>
                <a:endParaRPr lang="en-US" kern="0" dirty="0">
                  <a:solidFill>
                    <a:srgbClr val="00234B"/>
                  </a:solidFill>
                  <a:latin typeface="Calibri"/>
                  <a:sym typeface="Calibri"/>
                </a:endParaRPr>
              </a:p>
            </p:txBody>
          </p:sp>
          <p:sp>
            <p:nvSpPr>
              <p:cNvPr id="39" name="Freeform 279"/>
              <p:cNvSpPr>
                <a:spLocks/>
              </p:cNvSpPr>
              <p:nvPr/>
            </p:nvSpPr>
            <p:spPr bwMode="auto">
              <a:xfrm>
                <a:off x="4287837" y="3117849"/>
                <a:ext cx="501650" cy="212725"/>
              </a:xfrm>
              <a:custGeom>
                <a:avLst/>
                <a:gdLst>
                  <a:gd name="T0" fmla="*/ 0 w 316"/>
                  <a:gd name="T1" fmla="*/ 90487 h 134"/>
                  <a:gd name="T2" fmla="*/ 152400 w 316"/>
                  <a:gd name="T3" fmla="*/ 0 h 134"/>
                  <a:gd name="T4" fmla="*/ 501650 w 316"/>
                  <a:gd name="T5" fmla="*/ 101600 h 134"/>
                  <a:gd name="T6" fmla="*/ 315912 w 316"/>
                  <a:gd name="T7" fmla="*/ 212725 h 134"/>
                  <a:gd name="T8" fmla="*/ 0 w 316"/>
                  <a:gd name="T9" fmla="*/ 90487 h 134"/>
                  <a:gd name="T10" fmla="*/ 0 60000 65536"/>
                  <a:gd name="T11" fmla="*/ 0 60000 65536"/>
                  <a:gd name="T12" fmla="*/ 0 60000 65536"/>
                  <a:gd name="T13" fmla="*/ 0 60000 65536"/>
                  <a:gd name="T14" fmla="*/ 0 60000 65536"/>
                  <a:gd name="T15" fmla="*/ 0 w 316"/>
                  <a:gd name="T16" fmla="*/ 0 h 134"/>
                  <a:gd name="T17" fmla="*/ 316 w 316"/>
                  <a:gd name="T18" fmla="*/ 134 h 134"/>
                </a:gdLst>
                <a:ahLst/>
                <a:cxnLst>
                  <a:cxn ang="T10">
                    <a:pos x="T0" y="T1"/>
                  </a:cxn>
                  <a:cxn ang="T11">
                    <a:pos x="T2" y="T3"/>
                  </a:cxn>
                  <a:cxn ang="T12">
                    <a:pos x="T4" y="T5"/>
                  </a:cxn>
                  <a:cxn ang="T13">
                    <a:pos x="T6" y="T7"/>
                  </a:cxn>
                  <a:cxn ang="T14">
                    <a:pos x="T8" y="T9"/>
                  </a:cxn>
                </a:cxnLst>
                <a:rect l="T15" t="T16" r="T17" b="T18"/>
                <a:pathLst>
                  <a:path w="316" h="134">
                    <a:moveTo>
                      <a:pt x="0" y="57"/>
                    </a:moveTo>
                    <a:lnTo>
                      <a:pt x="96" y="0"/>
                    </a:lnTo>
                    <a:lnTo>
                      <a:pt x="316" y="64"/>
                    </a:lnTo>
                    <a:lnTo>
                      <a:pt x="199" y="134"/>
                    </a:lnTo>
                    <a:lnTo>
                      <a:pt x="0" y="57"/>
                    </a:lnTo>
                    <a:close/>
                  </a:path>
                </a:pathLst>
              </a:custGeom>
              <a:grpFill/>
              <a:ln w="12700" cap="rnd">
                <a:solidFill>
                  <a:sysClr val="window" lastClr="FFFFFF"/>
                </a:solidFill>
                <a:prstDash val="solid"/>
                <a:round/>
                <a:headEnd/>
                <a:tailEnd/>
              </a:ln>
            </p:spPr>
            <p:txBody>
              <a:bodyPr/>
              <a:lstStyle/>
              <a:p>
                <a:pPr defTabSz="957756">
                  <a:defRPr/>
                </a:pPr>
                <a:endParaRPr lang="en-US" kern="0" dirty="0">
                  <a:solidFill>
                    <a:srgbClr val="00234B"/>
                  </a:solidFill>
                  <a:latin typeface="Calibri"/>
                  <a:sym typeface="Calibri"/>
                </a:endParaRPr>
              </a:p>
            </p:txBody>
          </p:sp>
          <p:sp>
            <p:nvSpPr>
              <p:cNvPr id="40" name="Freeform 280"/>
              <p:cNvSpPr>
                <a:spLocks/>
              </p:cNvSpPr>
              <p:nvPr/>
            </p:nvSpPr>
            <p:spPr bwMode="auto">
              <a:xfrm>
                <a:off x="4287837" y="3035300"/>
                <a:ext cx="501650" cy="212725"/>
              </a:xfrm>
              <a:custGeom>
                <a:avLst/>
                <a:gdLst>
                  <a:gd name="T0" fmla="*/ 0 w 316"/>
                  <a:gd name="T1" fmla="*/ 90487 h 134"/>
                  <a:gd name="T2" fmla="*/ 152400 w 316"/>
                  <a:gd name="T3" fmla="*/ 0 h 134"/>
                  <a:gd name="T4" fmla="*/ 501650 w 316"/>
                  <a:gd name="T5" fmla="*/ 101600 h 134"/>
                  <a:gd name="T6" fmla="*/ 315912 w 316"/>
                  <a:gd name="T7" fmla="*/ 212725 h 134"/>
                  <a:gd name="T8" fmla="*/ 0 w 316"/>
                  <a:gd name="T9" fmla="*/ 90487 h 134"/>
                  <a:gd name="T10" fmla="*/ 0 60000 65536"/>
                  <a:gd name="T11" fmla="*/ 0 60000 65536"/>
                  <a:gd name="T12" fmla="*/ 0 60000 65536"/>
                  <a:gd name="T13" fmla="*/ 0 60000 65536"/>
                  <a:gd name="T14" fmla="*/ 0 60000 65536"/>
                  <a:gd name="T15" fmla="*/ 0 w 316"/>
                  <a:gd name="T16" fmla="*/ 0 h 134"/>
                  <a:gd name="T17" fmla="*/ 316 w 316"/>
                  <a:gd name="T18" fmla="*/ 134 h 134"/>
                </a:gdLst>
                <a:ahLst/>
                <a:cxnLst>
                  <a:cxn ang="T10">
                    <a:pos x="T0" y="T1"/>
                  </a:cxn>
                  <a:cxn ang="T11">
                    <a:pos x="T2" y="T3"/>
                  </a:cxn>
                  <a:cxn ang="T12">
                    <a:pos x="T4" y="T5"/>
                  </a:cxn>
                  <a:cxn ang="T13">
                    <a:pos x="T6" y="T7"/>
                  </a:cxn>
                  <a:cxn ang="T14">
                    <a:pos x="T8" y="T9"/>
                  </a:cxn>
                </a:cxnLst>
                <a:rect l="T15" t="T16" r="T17" b="T18"/>
                <a:pathLst>
                  <a:path w="316" h="134">
                    <a:moveTo>
                      <a:pt x="0" y="57"/>
                    </a:moveTo>
                    <a:lnTo>
                      <a:pt x="96" y="0"/>
                    </a:lnTo>
                    <a:lnTo>
                      <a:pt x="316" y="64"/>
                    </a:lnTo>
                    <a:lnTo>
                      <a:pt x="199" y="134"/>
                    </a:lnTo>
                    <a:lnTo>
                      <a:pt x="0" y="57"/>
                    </a:lnTo>
                    <a:close/>
                  </a:path>
                </a:pathLst>
              </a:custGeom>
              <a:grpFill/>
              <a:ln w="12700" cap="rnd">
                <a:solidFill>
                  <a:sysClr val="window" lastClr="FFFFFF"/>
                </a:solidFill>
                <a:prstDash val="solid"/>
                <a:round/>
                <a:headEnd/>
                <a:tailEnd/>
              </a:ln>
            </p:spPr>
            <p:txBody>
              <a:bodyPr/>
              <a:lstStyle/>
              <a:p>
                <a:pPr defTabSz="957756">
                  <a:defRPr/>
                </a:pPr>
                <a:endParaRPr lang="en-US" kern="0" dirty="0">
                  <a:solidFill>
                    <a:srgbClr val="00234B"/>
                  </a:solidFill>
                  <a:latin typeface="Calibri"/>
                  <a:sym typeface="Calibri"/>
                </a:endParaRPr>
              </a:p>
            </p:txBody>
          </p:sp>
        </p:grpSp>
      </p:grpSp>
      <p:grpSp>
        <p:nvGrpSpPr>
          <p:cNvPr id="41" name="Groupe 140"/>
          <p:cNvGrpSpPr/>
          <p:nvPr/>
        </p:nvGrpSpPr>
        <p:grpSpPr>
          <a:xfrm>
            <a:off x="4010709" y="4525456"/>
            <a:ext cx="504000" cy="504000"/>
            <a:chOff x="3322320" y="4465320"/>
            <a:chExt cx="563880" cy="563880"/>
          </a:xfrm>
        </p:grpSpPr>
        <p:sp>
          <p:nvSpPr>
            <p:cNvPr id="42" name="Oval 71"/>
            <p:cNvSpPr/>
            <p:nvPr/>
          </p:nvSpPr>
          <p:spPr bwMode="auto">
            <a:xfrm>
              <a:off x="3322320" y="4465320"/>
              <a:ext cx="563880" cy="563880"/>
            </a:xfrm>
            <a:prstGeom prst="ellipse">
              <a:avLst/>
            </a:prstGeom>
            <a:solidFill>
              <a:srgbClr val="0098CC"/>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defRPr/>
              </a:pPr>
              <a:endParaRPr lang="en-US" sz="1600" kern="0" dirty="0">
                <a:solidFill>
                  <a:srgbClr val="1C1C1C"/>
                </a:solidFill>
                <a:latin typeface="Calibri"/>
                <a:cs typeface="Arial" charset="0"/>
                <a:sym typeface="Calibri"/>
              </a:endParaRPr>
            </a:p>
          </p:txBody>
        </p:sp>
        <p:grpSp>
          <p:nvGrpSpPr>
            <p:cNvPr id="43" name="Group 89"/>
            <p:cNvGrpSpPr/>
            <p:nvPr/>
          </p:nvGrpSpPr>
          <p:grpSpPr>
            <a:xfrm>
              <a:off x="3416443" y="4564010"/>
              <a:ext cx="375634" cy="366500"/>
              <a:chOff x="3359875" y="3158837"/>
              <a:chExt cx="586499" cy="572241"/>
            </a:xfrm>
          </p:grpSpPr>
          <p:sp>
            <p:nvSpPr>
              <p:cNvPr id="44" name="Freeform 778"/>
              <p:cNvSpPr>
                <a:spLocks/>
              </p:cNvSpPr>
              <p:nvPr/>
            </p:nvSpPr>
            <p:spPr bwMode="auto">
              <a:xfrm>
                <a:off x="3607060" y="3158837"/>
                <a:ext cx="339314" cy="421820"/>
              </a:xfrm>
              <a:custGeom>
                <a:avLst/>
                <a:gdLst/>
                <a:ahLst/>
                <a:cxnLst>
                  <a:cxn ang="0">
                    <a:pos x="47" y="119"/>
                  </a:cxn>
                  <a:cxn ang="0">
                    <a:pos x="39" y="153"/>
                  </a:cxn>
                  <a:cxn ang="0">
                    <a:pos x="99" y="110"/>
                  </a:cxn>
                  <a:cxn ang="0">
                    <a:pos x="120" y="60"/>
                  </a:cxn>
                  <a:cxn ang="0">
                    <a:pos x="60" y="0"/>
                  </a:cxn>
                  <a:cxn ang="0">
                    <a:pos x="0" y="60"/>
                  </a:cxn>
                  <a:cxn ang="0">
                    <a:pos x="28" y="111"/>
                  </a:cxn>
                </a:cxnLst>
                <a:rect l="0" t="0" r="r" b="b"/>
                <a:pathLst>
                  <a:path w="120" h="153">
                    <a:moveTo>
                      <a:pt x="47" y="119"/>
                    </a:moveTo>
                    <a:cubicBezTo>
                      <a:pt x="39" y="153"/>
                      <a:pt x="39" y="153"/>
                      <a:pt x="39" y="153"/>
                    </a:cubicBezTo>
                    <a:cubicBezTo>
                      <a:pt x="39" y="153"/>
                      <a:pt x="85" y="124"/>
                      <a:pt x="99" y="110"/>
                    </a:cubicBezTo>
                    <a:cubicBezTo>
                      <a:pt x="108" y="100"/>
                      <a:pt x="120" y="87"/>
                      <a:pt x="120" y="60"/>
                    </a:cubicBezTo>
                    <a:cubicBezTo>
                      <a:pt x="120" y="27"/>
                      <a:pt x="93" y="0"/>
                      <a:pt x="60" y="0"/>
                    </a:cubicBezTo>
                    <a:cubicBezTo>
                      <a:pt x="27" y="0"/>
                      <a:pt x="0" y="27"/>
                      <a:pt x="0" y="60"/>
                    </a:cubicBezTo>
                    <a:cubicBezTo>
                      <a:pt x="0" y="82"/>
                      <a:pt x="11" y="100"/>
                      <a:pt x="28" y="111"/>
                    </a:cubicBezTo>
                  </a:path>
                </a:pathLst>
              </a:custGeom>
              <a:noFill/>
              <a:ln w="9525" cap="rnd">
                <a:solidFill>
                  <a:sysClr val="window" lastClr="FFFFFF"/>
                </a:solidFill>
                <a:prstDash val="solid"/>
                <a:round/>
                <a:headEnd/>
                <a:tailEnd/>
              </a:ln>
            </p:spPr>
            <p:txBody>
              <a:bodyPr vert="horz" wrap="square" lIns="83969" tIns="41985" rIns="83969" bIns="41985" numCol="1" anchor="t" anchorCtr="0" compatLnSpc="1">
                <a:prstTxWarp prst="textNoShape">
                  <a:avLst/>
                </a:prstTxWarp>
              </a:bodyPr>
              <a:lstStyle/>
              <a:p>
                <a:pPr algn="ctr" defTabSz="957756">
                  <a:defRPr/>
                </a:pPr>
                <a:r>
                  <a:rPr lang="en-US" kern="0" dirty="0">
                    <a:solidFill>
                      <a:prstClr val="white"/>
                    </a:solidFill>
                    <a:latin typeface="Calibri"/>
                    <a:sym typeface="Calibri"/>
                  </a:rPr>
                  <a:t>!</a:t>
                </a:r>
              </a:p>
            </p:txBody>
          </p:sp>
          <p:sp>
            <p:nvSpPr>
              <p:cNvPr id="45" name="Freeform 778"/>
              <p:cNvSpPr>
                <a:spLocks/>
              </p:cNvSpPr>
              <p:nvPr/>
            </p:nvSpPr>
            <p:spPr bwMode="auto">
              <a:xfrm flipH="1">
                <a:off x="3359875" y="3408218"/>
                <a:ext cx="259710" cy="322860"/>
              </a:xfrm>
              <a:custGeom>
                <a:avLst/>
                <a:gdLst/>
                <a:ahLst/>
                <a:cxnLst>
                  <a:cxn ang="0">
                    <a:pos x="47" y="119"/>
                  </a:cxn>
                  <a:cxn ang="0">
                    <a:pos x="39" y="153"/>
                  </a:cxn>
                  <a:cxn ang="0">
                    <a:pos x="99" y="110"/>
                  </a:cxn>
                  <a:cxn ang="0">
                    <a:pos x="120" y="60"/>
                  </a:cxn>
                  <a:cxn ang="0">
                    <a:pos x="60" y="0"/>
                  </a:cxn>
                  <a:cxn ang="0">
                    <a:pos x="0" y="60"/>
                  </a:cxn>
                  <a:cxn ang="0">
                    <a:pos x="28" y="111"/>
                  </a:cxn>
                </a:cxnLst>
                <a:rect l="0" t="0" r="r" b="b"/>
                <a:pathLst>
                  <a:path w="120" h="153">
                    <a:moveTo>
                      <a:pt x="47" y="119"/>
                    </a:moveTo>
                    <a:cubicBezTo>
                      <a:pt x="39" y="153"/>
                      <a:pt x="39" y="153"/>
                      <a:pt x="39" y="153"/>
                    </a:cubicBezTo>
                    <a:cubicBezTo>
                      <a:pt x="39" y="153"/>
                      <a:pt x="85" y="124"/>
                      <a:pt x="99" y="110"/>
                    </a:cubicBezTo>
                    <a:cubicBezTo>
                      <a:pt x="108" y="100"/>
                      <a:pt x="120" y="87"/>
                      <a:pt x="120" y="60"/>
                    </a:cubicBezTo>
                    <a:cubicBezTo>
                      <a:pt x="120" y="27"/>
                      <a:pt x="93" y="0"/>
                      <a:pt x="60" y="0"/>
                    </a:cubicBezTo>
                    <a:cubicBezTo>
                      <a:pt x="27" y="0"/>
                      <a:pt x="0" y="27"/>
                      <a:pt x="0" y="60"/>
                    </a:cubicBezTo>
                    <a:cubicBezTo>
                      <a:pt x="0" y="82"/>
                      <a:pt x="11" y="100"/>
                      <a:pt x="28" y="111"/>
                    </a:cubicBezTo>
                  </a:path>
                </a:pathLst>
              </a:custGeom>
              <a:noFill/>
              <a:ln w="9525" cap="rnd">
                <a:solidFill>
                  <a:sysClr val="window" lastClr="FFFFFF"/>
                </a:solidFill>
                <a:prstDash val="solid"/>
                <a:round/>
                <a:headEnd/>
                <a:tailEnd/>
              </a:ln>
            </p:spPr>
            <p:txBody>
              <a:bodyPr vert="horz" wrap="square" lIns="83969" tIns="41985" rIns="83969" bIns="41985" numCol="1" anchor="t" anchorCtr="0" compatLnSpc="1">
                <a:prstTxWarp prst="textNoShape">
                  <a:avLst/>
                </a:prstTxWarp>
              </a:bodyPr>
              <a:lstStyle/>
              <a:p>
                <a:pPr algn="ctr" defTabSz="957756">
                  <a:defRPr/>
                </a:pPr>
                <a:r>
                  <a:rPr lang="en-US" sz="1200" kern="0" dirty="0">
                    <a:solidFill>
                      <a:prstClr val="white"/>
                    </a:solidFill>
                    <a:latin typeface="Calibri"/>
                    <a:sym typeface="Calibri"/>
                  </a:rPr>
                  <a:t>!</a:t>
                </a:r>
              </a:p>
            </p:txBody>
          </p:sp>
        </p:grpSp>
      </p:grpSp>
      <p:sp>
        <p:nvSpPr>
          <p:cNvPr id="46" name="Oval 48"/>
          <p:cNvSpPr/>
          <p:nvPr/>
        </p:nvSpPr>
        <p:spPr bwMode="auto">
          <a:xfrm>
            <a:off x="3964989" y="2340846"/>
            <a:ext cx="563880" cy="563880"/>
          </a:xfrm>
          <a:prstGeom prst="ellipse">
            <a:avLst/>
          </a:prstGeom>
          <a:solidFill>
            <a:srgbClr val="0098CC"/>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defRPr/>
            </a:pPr>
            <a:endParaRPr lang="en-US" sz="1600" kern="0" dirty="0">
              <a:solidFill>
                <a:srgbClr val="1C1C1C"/>
              </a:solidFill>
              <a:latin typeface="Calibri"/>
              <a:cs typeface="Arial" charset="0"/>
              <a:sym typeface="Calibri"/>
            </a:endParaRPr>
          </a:p>
        </p:txBody>
      </p:sp>
      <p:sp>
        <p:nvSpPr>
          <p:cNvPr id="47" name="Oval 50"/>
          <p:cNvSpPr/>
          <p:nvPr/>
        </p:nvSpPr>
        <p:spPr bwMode="auto">
          <a:xfrm>
            <a:off x="3964989" y="1721086"/>
            <a:ext cx="563880" cy="563880"/>
          </a:xfrm>
          <a:prstGeom prst="ellipse">
            <a:avLst/>
          </a:prstGeom>
          <a:solidFill>
            <a:srgbClr val="0098CC"/>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defRPr/>
            </a:pPr>
            <a:endParaRPr lang="en-US" sz="1600" kern="0" dirty="0">
              <a:solidFill>
                <a:srgbClr val="1C1C1C"/>
              </a:solidFill>
              <a:latin typeface="Calibri"/>
              <a:cs typeface="Arial" charset="0"/>
              <a:sym typeface="Calibri"/>
            </a:endParaRPr>
          </a:p>
        </p:txBody>
      </p:sp>
      <p:grpSp>
        <p:nvGrpSpPr>
          <p:cNvPr id="48" name="Groupe 649"/>
          <p:cNvGrpSpPr>
            <a:grpSpLocks noChangeAspect="1"/>
          </p:cNvGrpSpPr>
          <p:nvPr/>
        </p:nvGrpSpPr>
        <p:grpSpPr>
          <a:xfrm>
            <a:off x="4115033" y="2428655"/>
            <a:ext cx="263795" cy="388262"/>
            <a:chOff x="962026" y="2000250"/>
            <a:chExt cx="225425" cy="331788"/>
          </a:xfrm>
        </p:grpSpPr>
        <p:sp>
          <p:nvSpPr>
            <p:cNvPr id="49" name="Freeform 494"/>
            <p:cNvSpPr>
              <a:spLocks/>
            </p:cNvSpPr>
            <p:nvPr/>
          </p:nvSpPr>
          <p:spPr bwMode="auto">
            <a:xfrm>
              <a:off x="962026" y="2000250"/>
              <a:ext cx="225425" cy="298450"/>
            </a:xfrm>
            <a:custGeom>
              <a:avLst/>
              <a:gdLst/>
              <a:ahLst/>
              <a:cxnLst>
                <a:cxn ang="0">
                  <a:pos x="117" y="154"/>
                </a:cxn>
                <a:cxn ang="0">
                  <a:pos x="72" y="65"/>
                </a:cxn>
                <a:cxn ang="0">
                  <a:pos x="87" y="35"/>
                </a:cxn>
                <a:cxn ang="0">
                  <a:pos x="59" y="0"/>
                </a:cxn>
                <a:cxn ang="0">
                  <a:pos x="29" y="35"/>
                </a:cxn>
                <a:cxn ang="0">
                  <a:pos x="45" y="65"/>
                </a:cxn>
                <a:cxn ang="0">
                  <a:pos x="0" y="154"/>
                </a:cxn>
              </a:cxnLst>
              <a:rect l="0" t="0" r="r" b="b"/>
              <a:pathLst>
                <a:path w="117" h="154">
                  <a:moveTo>
                    <a:pt x="117" y="154"/>
                  </a:moveTo>
                  <a:cubicBezTo>
                    <a:pt x="117" y="110"/>
                    <a:pt x="106" y="74"/>
                    <a:pt x="72" y="65"/>
                  </a:cubicBezTo>
                  <a:cubicBezTo>
                    <a:pt x="79" y="58"/>
                    <a:pt x="87" y="45"/>
                    <a:pt x="87" y="35"/>
                  </a:cubicBezTo>
                  <a:cubicBezTo>
                    <a:pt x="87" y="15"/>
                    <a:pt x="74" y="0"/>
                    <a:pt x="59" y="0"/>
                  </a:cubicBezTo>
                  <a:cubicBezTo>
                    <a:pt x="42" y="0"/>
                    <a:pt x="29" y="15"/>
                    <a:pt x="29" y="35"/>
                  </a:cubicBezTo>
                  <a:cubicBezTo>
                    <a:pt x="29" y="45"/>
                    <a:pt x="38" y="58"/>
                    <a:pt x="45" y="65"/>
                  </a:cubicBezTo>
                  <a:cubicBezTo>
                    <a:pt x="12" y="74"/>
                    <a:pt x="0" y="110"/>
                    <a:pt x="0" y="154"/>
                  </a:cubicBezTo>
                </a:path>
              </a:pathLst>
            </a:custGeom>
            <a:noFill/>
            <a:ln w="11113"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57756">
                <a:defRPr/>
              </a:pPr>
              <a:endParaRPr lang="en-US" kern="0" dirty="0">
                <a:solidFill>
                  <a:srgbClr val="00234B"/>
                </a:solidFill>
                <a:latin typeface="Calibri"/>
                <a:sym typeface="Calibri"/>
              </a:endParaRPr>
            </a:p>
          </p:txBody>
        </p:sp>
        <p:sp>
          <p:nvSpPr>
            <p:cNvPr id="50" name="Freeform 495"/>
            <p:cNvSpPr>
              <a:spLocks/>
            </p:cNvSpPr>
            <p:nvPr/>
          </p:nvSpPr>
          <p:spPr bwMode="auto">
            <a:xfrm>
              <a:off x="1052513" y="2143125"/>
              <a:ext cx="53975" cy="188913"/>
            </a:xfrm>
            <a:custGeom>
              <a:avLst/>
              <a:gdLst/>
              <a:ahLst/>
              <a:cxnLst>
                <a:cxn ang="0">
                  <a:pos x="14" y="98"/>
                </a:cxn>
                <a:cxn ang="0">
                  <a:pos x="1" y="84"/>
                </a:cxn>
                <a:cxn ang="0">
                  <a:pos x="10" y="9"/>
                </a:cxn>
                <a:cxn ang="0">
                  <a:pos x="6" y="0"/>
                </a:cxn>
                <a:cxn ang="0">
                  <a:pos x="21" y="0"/>
                </a:cxn>
                <a:cxn ang="0">
                  <a:pos x="17" y="9"/>
                </a:cxn>
                <a:cxn ang="0">
                  <a:pos x="28" y="84"/>
                </a:cxn>
                <a:cxn ang="0">
                  <a:pos x="21" y="92"/>
                </a:cxn>
              </a:cxnLst>
              <a:rect l="0" t="0" r="r" b="b"/>
              <a:pathLst>
                <a:path w="28" h="98">
                  <a:moveTo>
                    <a:pt x="14" y="98"/>
                  </a:moveTo>
                  <a:cubicBezTo>
                    <a:pt x="10" y="94"/>
                    <a:pt x="7" y="91"/>
                    <a:pt x="1" y="84"/>
                  </a:cubicBezTo>
                  <a:cubicBezTo>
                    <a:pt x="0" y="69"/>
                    <a:pt x="10" y="21"/>
                    <a:pt x="10" y="9"/>
                  </a:cubicBezTo>
                  <a:cubicBezTo>
                    <a:pt x="9" y="6"/>
                    <a:pt x="6" y="5"/>
                    <a:pt x="6" y="0"/>
                  </a:cubicBezTo>
                  <a:cubicBezTo>
                    <a:pt x="12" y="2"/>
                    <a:pt x="16" y="2"/>
                    <a:pt x="21" y="0"/>
                  </a:cubicBezTo>
                  <a:cubicBezTo>
                    <a:pt x="22" y="4"/>
                    <a:pt x="18" y="6"/>
                    <a:pt x="17" y="9"/>
                  </a:cubicBezTo>
                  <a:cubicBezTo>
                    <a:pt x="18" y="21"/>
                    <a:pt x="27" y="70"/>
                    <a:pt x="28" y="84"/>
                  </a:cubicBezTo>
                  <a:cubicBezTo>
                    <a:pt x="26" y="87"/>
                    <a:pt x="24" y="88"/>
                    <a:pt x="21" y="92"/>
                  </a:cubicBezTo>
                </a:path>
              </a:pathLst>
            </a:custGeom>
            <a:noFill/>
            <a:ln w="11113"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57756">
                <a:defRPr/>
              </a:pPr>
              <a:endParaRPr lang="en-US" kern="0" dirty="0">
                <a:solidFill>
                  <a:srgbClr val="00234B"/>
                </a:solidFill>
                <a:latin typeface="Calibri"/>
                <a:sym typeface="Calibri"/>
              </a:endParaRPr>
            </a:p>
          </p:txBody>
        </p:sp>
      </p:grpSp>
      <p:sp>
        <p:nvSpPr>
          <p:cNvPr id="51" name="Freeform 582"/>
          <p:cNvSpPr>
            <a:spLocks noChangeAspect="1" noEditPoints="1"/>
          </p:cNvSpPr>
          <p:nvPr/>
        </p:nvSpPr>
        <p:spPr bwMode="auto">
          <a:xfrm>
            <a:off x="4108022" y="1807446"/>
            <a:ext cx="277814" cy="391160"/>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noFill/>
          <a:ln w="11113"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defTabSz="957756">
              <a:defRPr/>
            </a:pPr>
            <a:endParaRPr lang="en-US" kern="0" dirty="0">
              <a:solidFill>
                <a:srgbClr val="00234B"/>
              </a:solidFill>
              <a:latin typeface="Calibri"/>
              <a:sym typeface="Calibri"/>
            </a:endParaRPr>
          </a:p>
        </p:txBody>
      </p:sp>
      <p:sp>
        <p:nvSpPr>
          <p:cNvPr id="52" name="object 6"/>
          <p:cNvSpPr txBox="1"/>
          <p:nvPr/>
        </p:nvSpPr>
        <p:spPr>
          <a:xfrm>
            <a:off x="1181257" y="1213791"/>
            <a:ext cx="3290706" cy="440570"/>
          </a:xfrm>
          <a:prstGeom prst="rect">
            <a:avLst/>
          </a:prstGeom>
        </p:spPr>
        <p:txBody>
          <a:bodyPr vert="horz" wrap="square" lIns="0" tIns="0" rIns="0" bIns="0" rtlCol="0">
            <a:spAutoFit/>
          </a:bodyPr>
          <a:lstStyle/>
          <a:p>
            <a:pPr marL="14328" marR="5731" algn="ctr" defTabSz="957756">
              <a:lnSpc>
                <a:spcPct val="107200"/>
              </a:lnSpc>
            </a:pPr>
            <a:r>
              <a:rPr lang="en-US" sz="2800" b="1" kern="0" spc="-6" dirty="0">
                <a:solidFill>
                  <a:schemeClr val="accent3"/>
                </a:solidFill>
                <a:latin typeface="Calibri" pitchFamily="34" charset="0"/>
                <a:cs typeface="Arial"/>
              </a:rPr>
              <a:t>Connecting</a:t>
            </a:r>
          </a:p>
        </p:txBody>
      </p:sp>
      <p:sp>
        <p:nvSpPr>
          <p:cNvPr id="55" name="TextBox 54"/>
          <p:cNvSpPr txBox="1"/>
          <p:nvPr/>
        </p:nvSpPr>
        <p:spPr>
          <a:xfrm>
            <a:off x="5854263" y="977463"/>
            <a:ext cx="184731" cy="307777"/>
          </a:xfrm>
          <a:prstGeom prst="rect">
            <a:avLst/>
          </a:prstGeom>
          <a:noFill/>
        </p:spPr>
        <p:txBody>
          <a:bodyPr wrap="none" rtlCol="0">
            <a:spAutoFit/>
          </a:bodyPr>
          <a:lstStyle/>
          <a:p>
            <a:endParaRPr lang="en-US" sz="1400" dirty="0" err="1">
              <a:solidFill>
                <a:schemeClr val="tx2">
                  <a:lumMod val="50000"/>
                </a:schemeClr>
              </a:solidFill>
            </a:endParaRPr>
          </a:p>
        </p:txBody>
      </p:sp>
    </p:spTree>
    <p:extLst>
      <p:ext uri="{BB962C8B-B14F-4D97-AF65-F5344CB8AC3E}">
        <p14:creationId xmlns:p14="http://schemas.microsoft.com/office/powerpoint/2010/main" val="305025696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800" dirty="0"/>
              <a:t>The </a:t>
            </a:r>
            <a:r>
              <a:rPr lang="en-US" sz="2800" dirty="0" smtClean="0"/>
              <a:t>Global DCX Community</a:t>
            </a:r>
            <a:r>
              <a:rPr lang="en-US" sz="2800" dirty="0"/>
              <a:t>: about 10,000 passionate people across the </a:t>
            </a:r>
            <a:r>
              <a:rPr lang="en-US" sz="2800" dirty="0" smtClean="0"/>
              <a:t>Capgemini group</a:t>
            </a:r>
            <a:r>
              <a:rPr lang="en-US" sz="2800" dirty="0"/>
              <a:t>!</a:t>
            </a:r>
            <a:endParaRPr lang="en-GB" sz="2800" dirty="0"/>
          </a:p>
        </p:txBody>
      </p:sp>
      <p:grpSp>
        <p:nvGrpSpPr>
          <p:cNvPr id="5" name="Group 4"/>
          <p:cNvGrpSpPr/>
          <p:nvPr/>
        </p:nvGrpSpPr>
        <p:grpSpPr>
          <a:xfrm>
            <a:off x="1431664" y="1056868"/>
            <a:ext cx="8961345" cy="5038997"/>
            <a:chOff x="2025571" y="869831"/>
            <a:chExt cx="8502099" cy="4780760"/>
          </a:xfrm>
        </p:grpSpPr>
        <p:sp>
          <p:nvSpPr>
            <p:cNvPr id="96" name="ZoneTexte 117"/>
            <p:cNvSpPr txBox="1"/>
            <p:nvPr/>
          </p:nvSpPr>
          <p:spPr>
            <a:xfrm>
              <a:off x="5680779" y="1277092"/>
              <a:ext cx="1328057" cy="642343"/>
            </a:xfrm>
            <a:prstGeom prst="rect">
              <a:avLst/>
            </a:prstGeom>
            <a:noFill/>
          </p:spPr>
          <p:txBody>
            <a:bodyPr wrap="square" lIns="91372" tIns="45686" rIns="91372" bIns="45686" rtlCol="0">
              <a:spAutoFit/>
            </a:bodyPr>
            <a:lstStyle/>
            <a:p>
              <a:pPr defTabSz="914263"/>
              <a:r>
                <a:rPr lang="en-US" b="1" dirty="0">
                  <a:solidFill>
                    <a:srgbClr val="263147">
                      <a:lumMod val="50000"/>
                    </a:srgbClr>
                  </a:solidFill>
                </a:rPr>
                <a:t>Europe</a:t>
              </a:r>
            </a:p>
            <a:p>
              <a:pPr defTabSz="914263"/>
              <a:r>
                <a:rPr lang="en-US" sz="2000" b="1" dirty="0">
                  <a:solidFill>
                    <a:srgbClr val="598E27"/>
                  </a:solidFill>
                </a:rPr>
                <a:t>4,000</a:t>
              </a:r>
              <a:endParaRPr lang="en-US" b="1" dirty="0">
                <a:solidFill>
                  <a:srgbClr val="598E27"/>
                </a:solidFill>
              </a:endParaRPr>
            </a:p>
          </p:txBody>
        </p:sp>
        <p:sp>
          <p:nvSpPr>
            <p:cNvPr id="97" name="Freeform 257"/>
            <p:cNvSpPr>
              <a:spLocks/>
            </p:cNvSpPr>
            <p:nvPr/>
          </p:nvSpPr>
          <p:spPr bwMode="auto">
            <a:xfrm>
              <a:off x="5926500" y="2495239"/>
              <a:ext cx="105339" cy="160492"/>
            </a:xfrm>
            <a:custGeom>
              <a:avLst/>
              <a:gdLst>
                <a:gd name="T0" fmla="*/ 23472 w 84"/>
                <a:gd name="T1" fmla="*/ 163513 h 126"/>
                <a:gd name="T2" fmla="*/ 0 w 84"/>
                <a:gd name="T3" fmla="*/ 147940 h 126"/>
                <a:gd name="T4" fmla="*/ 0 w 84"/>
                <a:gd name="T5" fmla="*/ 132368 h 126"/>
                <a:gd name="T6" fmla="*/ 7824 w 84"/>
                <a:gd name="T7" fmla="*/ 124581 h 126"/>
                <a:gd name="T8" fmla="*/ 15648 w 84"/>
                <a:gd name="T9" fmla="*/ 109009 h 126"/>
                <a:gd name="T10" fmla="*/ 15648 w 84"/>
                <a:gd name="T11" fmla="*/ 85650 h 126"/>
                <a:gd name="T12" fmla="*/ 7824 w 84"/>
                <a:gd name="T13" fmla="*/ 77863 h 126"/>
                <a:gd name="T14" fmla="*/ 15648 w 84"/>
                <a:gd name="T15" fmla="*/ 70077 h 126"/>
                <a:gd name="T16" fmla="*/ 7824 w 84"/>
                <a:gd name="T17" fmla="*/ 46718 h 126"/>
                <a:gd name="T18" fmla="*/ 39120 w 84"/>
                <a:gd name="T19" fmla="*/ 38932 h 126"/>
                <a:gd name="T20" fmla="*/ 39120 w 84"/>
                <a:gd name="T21" fmla="*/ 23359 h 126"/>
                <a:gd name="T22" fmla="*/ 70417 w 84"/>
                <a:gd name="T23" fmla="*/ 0 h 126"/>
                <a:gd name="T24" fmla="*/ 78241 w 84"/>
                <a:gd name="T25" fmla="*/ 7786 h 126"/>
                <a:gd name="T26" fmla="*/ 93889 w 84"/>
                <a:gd name="T27" fmla="*/ 7786 h 126"/>
                <a:gd name="T28" fmla="*/ 101713 w 84"/>
                <a:gd name="T29" fmla="*/ 23359 h 126"/>
                <a:gd name="T30" fmla="*/ 109537 w 84"/>
                <a:gd name="T31" fmla="*/ 38932 h 126"/>
                <a:gd name="T32" fmla="*/ 93889 w 84"/>
                <a:gd name="T33" fmla="*/ 54504 h 126"/>
                <a:gd name="T34" fmla="*/ 101713 w 84"/>
                <a:gd name="T35" fmla="*/ 85650 h 126"/>
                <a:gd name="T36" fmla="*/ 93889 w 84"/>
                <a:gd name="T37" fmla="*/ 124581 h 126"/>
                <a:gd name="T38" fmla="*/ 70417 w 84"/>
                <a:gd name="T39" fmla="*/ 132368 h 126"/>
                <a:gd name="T40" fmla="*/ 23472 w 84"/>
                <a:gd name="T41" fmla="*/ 163513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4"/>
                <a:gd name="T64" fmla="*/ 0 h 126"/>
                <a:gd name="T65" fmla="*/ 84 w 84"/>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4" h="126">
                  <a:moveTo>
                    <a:pt x="18" y="126"/>
                  </a:moveTo>
                  <a:lnTo>
                    <a:pt x="0" y="114"/>
                  </a:lnTo>
                  <a:lnTo>
                    <a:pt x="0" y="102"/>
                  </a:lnTo>
                  <a:lnTo>
                    <a:pt x="6" y="96"/>
                  </a:lnTo>
                  <a:lnTo>
                    <a:pt x="12" y="84"/>
                  </a:lnTo>
                  <a:lnTo>
                    <a:pt x="12" y="66"/>
                  </a:lnTo>
                  <a:lnTo>
                    <a:pt x="6" y="60"/>
                  </a:lnTo>
                  <a:lnTo>
                    <a:pt x="12" y="54"/>
                  </a:lnTo>
                  <a:lnTo>
                    <a:pt x="6" y="36"/>
                  </a:lnTo>
                  <a:lnTo>
                    <a:pt x="30" y="30"/>
                  </a:lnTo>
                  <a:lnTo>
                    <a:pt x="30" y="18"/>
                  </a:lnTo>
                  <a:lnTo>
                    <a:pt x="54" y="0"/>
                  </a:lnTo>
                  <a:lnTo>
                    <a:pt x="60" y="6"/>
                  </a:lnTo>
                  <a:lnTo>
                    <a:pt x="72" y="6"/>
                  </a:lnTo>
                  <a:lnTo>
                    <a:pt x="78" y="18"/>
                  </a:lnTo>
                  <a:lnTo>
                    <a:pt x="84" y="30"/>
                  </a:lnTo>
                  <a:lnTo>
                    <a:pt x="72" y="42"/>
                  </a:lnTo>
                  <a:lnTo>
                    <a:pt x="78" y="66"/>
                  </a:lnTo>
                  <a:lnTo>
                    <a:pt x="72" y="96"/>
                  </a:lnTo>
                  <a:lnTo>
                    <a:pt x="54" y="102"/>
                  </a:lnTo>
                  <a:lnTo>
                    <a:pt x="18" y="126"/>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98" name="Freeform 258"/>
            <p:cNvSpPr>
              <a:spLocks/>
            </p:cNvSpPr>
            <p:nvPr/>
          </p:nvSpPr>
          <p:spPr bwMode="auto">
            <a:xfrm>
              <a:off x="7444010" y="1184893"/>
              <a:ext cx="419829" cy="546919"/>
            </a:xfrm>
            <a:custGeom>
              <a:avLst/>
              <a:gdLst>
                <a:gd name="T0" fmla="*/ 155915 w 336"/>
                <a:gd name="T1" fmla="*/ 557212 h 427"/>
                <a:gd name="T2" fmla="*/ 124732 w 336"/>
                <a:gd name="T3" fmla="*/ 518064 h 427"/>
                <a:gd name="T4" fmla="*/ 101345 w 336"/>
                <a:gd name="T5" fmla="*/ 424108 h 427"/>
                <a:gd name="T6" fmla="*/ 124732 w 336"/>
                <a:gd name="T7" fmla="*/ 367995 h 427"/>
                <a:gd name="T8" fmla="*/ 187098 w 336"/>
                <a:gd name="T9" fmla="*/ 234890 h 427"/>
                <a:gd name="T10" fmla="*/ 249464 w 336"/>
                <a:gd name="T11" fmla="*/ 195742 h 427"/>
                <a:gd name="T12" fmla="*/ 288443 w 336"/>
                <a:gd name="T13" fmla="*/ 148764 h 427"/>
                <a:gd name="T14" fmla="*/ 327421 w 336"/>
                <a:gd name="T15" fmla="*/ 125275 h 427"/>
                <a:gd name="T16" fmla="*/ 381992 w 336"/>
                <a:gd name="T17" fmla="*/ 93956 h 427"/>
                <a:gd name="T18" fmla="*/ 436562 w 336"/>
                <a:gd name="T19" fmla="*/ 39148 h 427"/>
                <a:gd name="T20" fmla="*/ 428766 w 336"/>
                <a:gd name="T21" fmla="*/ 7830 h 427"/>
                <a:gd name="T22" fmla="*/ 381992 w 336"/>
                <a:gd name="T23" fmla="*/ 0 h 427"/>
                <a:gd name="T24" fmla="*/ 350809 w 336"/>
                <a:gd name="T25" fmla="*/ 31319 h 427"/>
                <a:gd name="T26" fmla="*/ 327421 w 336"/>
                <a:gd name="T27" fmla="*/ 54808 h 427"/>
                <a:gd name="T28" fmla="*/ 288443 w 336"/>
                <a:gd name="T29" fmla="*/ 62637 h 427"/>
                <a:gd name="T30" fmla="*/ 241668 w 336"/>
                <a:gd name="T31" fmla="*/ 62637 h 427"/>
                <a:gd name="T32" fmla="*/ 226077 w 336"/>
                <a:gd name="T33" fmla="*/ 78297 h 427"/>
                <a:gd name="T34" fmla="*/ 210485 w 336"/>
                <a:gd name="T35" fmla="*/ 101786 h 427"/>
                <a:gd name="T36" fmla="*/ 148119 w 336"/>
                <a:gd name="T37" fmla="*/ 164423 h 427"/>
                <a:gd name="T38" fmla="*/ 116936 w 336"/>
                <a:gd name="T39" fmla="*/ 180083 h 427"/>
                <a:gd name="T40" fmla="*/ 109141 w 336"/>
                <a:gd name="T41" fmla="*/ 219231 h 427"/>
                <a:gd name="T42" fmla="*/ 85753 w 336"/>
                <a:gd name="T43" fmla="*/ 242720 h 427"/>
                <a:gd name="T44" fmla="*/ 54570 w 336"/>
                <a:gd name="T45" fmla="*/ 281868 h 427"/>
                <a:gd name="T46" fmla="*/ 54570 w 336"/>
                <a:gd name="T47" fmla="*/ 313187 h 427"/>
                <a:gd name="T48" fmla="*/ 38979 w 336"/>
                <a:gd name="T49" fmla="*/ 352336 h 427"/>
                <a:gd name="T50" fmla="*/ 15591 w 336"/>
                <a:gd name="T51" fmla="*/ 384959 h 427"/>
                <a:gd name="T52" fmla="*/ 23387 w 336"/>
                <a:gd name="T53" fmla="*/ 424108 h 427"/>
                <a:gd name="T54" fmla="*/ 0 w 336"/>
                <a:gd name="T55" fmla="*/ 455426 h 427"/>
                <a:gd name="T56" fmla="*/ 23387 w 336"/>
                <a:gd name="T57" fmla="*/ 510234 h 427"/>
                <a:gd name="T58" fmla="*/ 62366 w 336"/>
                <a:gd name="T59" fmla="*/ 525893 h 427"/>
                <a:gd name="T60" fmla="*/ 70162 w 336"/>
                <a:gd name="T61" fmla="*/ 541553 h 427"/>
                <a:gd name="T62" fmla="*/ 93549 w 336"/>
                <a:gd name="T63" fmla="*/ 549382 h 427"/>
                <a:gd name="T64" fmla="*/ 155915 w 336"/>
                <a:gd name="T65" fmla="*/ 557212 h 4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36"/>
                <a:gd name="T100" fmla="*/ 0 h 427"/>
                <a:gd name="T101" fmla="*/ 336 w 336"/>
                <a:gd name="T102" fmla="*/ 427 h 42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36" h="427">
                  <a:moveTo>
                    <a:pt x="120" y="427"/>
                  </a:moveTo>
                  <a:lnTo>
                    <a:pt x="96" y="397"/>
                  </a:lnTo>
                  <a:lnTo>
                    <a:pt x="78" y="325"/>
                  </a:lnTo>
                  <a:lnTo>
                    <a:pt x="96" y="282"/>
                  </a:lnTo>
                  <a:lnTo>
                    <a:pt x="144" y="180"/>
                  </a:lnTo>
                  <a:lnTo>
                    <a:pt x="192" y="150"/>
                  </a:lnTo>
                  <a:lnTo>
                    <a:pt x="222" y="114"/>
                  </a:lnTo>
                  <a:lnTo>
                    <a:pt x="252" y="96"/>
                  </a:lnTo>
                  <a:lnTo>
                    <a:pt x="294" y="72"/>
                  </a:lnTo>
                  <a:lnTo>
                    <a:pt x="336" y="30"/>
                  </a:lnTo>
                  <a:lnTo>
                    <a:pt x="330" y="6"/>
                  </a:lnTo>
                  <a:lnTo>
                    <a:pt x="294" y="0"/>
                  </a:lnTo>
                  <a:lnTo>
                    <a:pt x="270" y="24"/>
                  </a:lnTo>
                  <a:lnTo>
                    <a:pt x="252" y="42"/>
                  </a:lnTo>
                  <a:lnTo>
                    <a:pt x="222" y="48"/>
                  </a:lnTo>
                  <a:lnTo>
                    <a:pt x="186" y="48"/>
                  </a:lnTo>
                  <a:lnTo>
                    <a:pt x="174" y="60"/>
                  </a:lnTo>
                  <a:lnTo>
                    <a:pt x="162" y="78"/>
                  </a:lnTo>
                  <a:lnTo>
                    <a:pt x="114" y="126"/>
                  </a:lnTo>
                  <a:lnTo>
                    <a:pt x="90" y="138"/>
                  </a:lnTo>
                  <a:lnTo>
                    <a:pt x="84" y="168"/>
                  </a:lnTo>
                  <a:lnTo>
                    <a:pt x="66" y="186"/>
                  </a:lnTo>
                  <a:lnTo>
                    <a:pt x="42" y="216"/>
                  </a:lnTo>
                  <a:lnTo>
                    <a:pt x="42" y="240"/>
                  </a:lnTo>
                  <a:lnTo>
                    <a:pt x="30" y="270"/>
                  </a:lnTo>
                  <a:lnTo>
                    <a:pt x="12" y="295"/>
                  </a:lnTo>
                  <a:lnTo>
                    <a:pt x="18" y="325"/>
                  </a:lnTo>
                  <a:lnTo>
                    <a:pt x="0" y="349"/>
                  </a:lnTo>
                  <a:lnTo>
                    <a:pt x="18" y="391"/>
                  </a:lnTo>
                  <a:lnTo>
                    <a:pt x="48" y="403"/>
                  </a:lnTo>
                  <a:lnTo>
                    <a:pt x="54" y="415"/>
                  </a:lnTo>
                  <a:lnTo>
                    <a:pt x="72" y="421"/>
                  </a:lnTo>
                  <a:lnTo>
                    <a:pt x="120" y="427"/>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99" name="Freeform 259"/>
            <p:cNvSpPr>
              <a:spLocks/>
            </p:cNvSpPr>
            <p:nvPr/>
          </p:nvSpPr>
          <p:spPr bwMode="auto">
            <a:xfrm>
              <a:off x="7195180" y="4402492"/>
              <a:ext cx="160299" cy="339683"/>
            </a:xfrm>
            <a:custGeom>
              <a:avLst/>
              <a:gdLst>
                <a:gd name="T0" fmla="*/ 7938 w 126"/>
                <a:gd name="T1" fmla="*/ 283390 h 265"/>
                <a:gd name="T2" fmla="*/ 0 w 126"/>
                <a:gd name="T3" fmla="*/ 252047 h 265"/>
                <a:gd name="T4" fmla="*/ 15875 w 126"/>
                <a:gd name="T5" fmla="*/ 220704 h 265"/>
                <a:gd name="T6" fmla="*/ 31750 w 126"/>
                <a:gd name="T7" fmla="*/ 181526 h 265"/>
                <a:gd name="T8" fmla="*/ 15875 w 126"/>
                <a:gd name="T9" fmla="*/ 118841 h 265"/>
                <a:gd name="T10" fmla="*/ 39688 w 126"/>
                <a:gd name="T11" fmla="*/ 101864 h 265"/>
                <a:gd name="T12" fmla="*/ 71438 w 126"/>
                <a:gd name="T13" fmla="*/ 78357 h 265"/>
                <a:gd name="T14" fmla="*/ 103188 w 126"/>
                <a:gd name="T15" fmla="*/ 31343 h 265"/>
                <a:gd name="T16" fmla="*/ 142875 w 126"/>
                <a:gd name="T17" fmla="*/ 0 h 265"/>
                <a:gd name="T18" fmla="*/ 166688 w 126"/>
                <a:gd name="T19" fmla="*/ 31343 h 265"/>
                <a:gd name="T20" fmla="*/ 166688 w 126"/>
                <a:gd name="T21" fmla="*/ 86192 h 265"/>
                <a:gd name="T22" fmla="*/ 166688 w 126"/>
                <a:gd name="T23" fmla="*/ 118841 h 265"/>
                <a:gd name="T24" fmla="*/ 103188 w 126"/>
                <a:gd name="T25" fmla="*/ 330404 h 265"/>
                <a:gd name="T26" fmla="*/ 71438 w 126"/>
                <a:gd name="T27" fmla="*/ 338239 h 265"/>
                <a:gd name="T28" fmla="*/ 39688 w 126"/>
                <a:gd name="T29" fmla="*/ 346075 h 265"/>
                <a:gd name="T30" fmla="*/ 7938 w 126"/>
                <a:gd name="T31" fmla="*/ 322568 h 265"/>
                <a:gd name="T32" fmla="*/ 7938 w 126"/>
                <a:gd name="T33" fmla="*/ 283390 h 2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6"/>
                <a:gd name="T52" fmla="*/ 0 h 265"/>
                <a:gd name="T53" fmla="*/ 126 w 126"/>
                <a:gd name="T54" fmla="*/ 265 h 26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6" h="265">
                  <a:moveTo>
                    <a:pt x="6" y="217"/>
                  </a:moveTo>
                  <a:lnTo>
                    <a:pt x="0" y="193"/>
                  </a:lnTo>
                  <a:lnTo>
                    <a:pt x="12" y="169"/>
                  </a:lnTo>
                  <a:lnTo>
                    <a:pt x="24" y="139"/>
                  </a:lnTo>
                  <a:lnTo>
                    <a:pt x="12" y="91"/>
                  </a:lnTo>
                  <a:lnTo>
                    <a:pt x="30" y="78"/>
                  </a:lnTo>
                  <a:lnTo>
                    <a:pt x="54" y="60"/>
                  </a:lnTo>
                  <a:lnTo>
                    <a:pt x="78" y="24"/>
                  </a:lnTo>
                  <a:lnTo>
                    <a:pt x="108" y="0"/>
                  </a:lnTo>
                  <a:lnTo>
                    <a:pt x="126" y="24"/>
                  </a:lnTo>
                  <a:lnTo>
                    <a:pt x="126" y="66"/>
                  </a:lnTo>
                  <a:lnTo>
                    <a:pt x="126" y="91"/>
                  </a:lnTo>
                  <a:lnTo>
                    <a:pt x="78" y="253"/>
                  </a:lnTo>
                  <a:lnTo>
                    <a:pt x="54" y="259"/>
                  </a:lnTo>
                  <a:lnTo>
                    <a:pt x="30" y="265"/>
                  </a:lnTo>
                  <a:lnTo>
                    <a:pt x="6" y="247"/>
                  </a:lnTo>
                  <a:lnTo>
                    <a:pt x="6" y="217"/>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00" name="Freeform 266"/>
            <p:cNvSpPr>
              <a:spLocks/>
            </p:cNvSpPr>
            <p:nvPr/>
          </p:nvSpPr>
          <p:spPr bwMode="auto">
            <a:xfrm>
              <a:off x="10155326" y="5184702"/>
              <a:ext cx="172512" cy="201007"/>
            </a:xfrm>
            <a:custGeom>
              <a:avLst/>
              <a:gdLst>
                <a:gd name="T0" fmla="*/ 0 w 138"/>
                <a:gd name="T1" fmla="*/ 173483 h 157"/>
                <a:gd name="T2" fmla="*/ 23398 w 138"/>
                <a:gd name="T3" fmla="*/ 126525 h 157"/>
                <a:gd name="T4" fmla="*/ 38997 w 138"/>
                <a:gd name="T5" fmla="*/ 103046 h 157"/>
                <a:gd name="T6" fmla="*/ 85794 w 138"/>
                <a:gd name="T7" fmla="*/ 78263 h 157"/>
                <a:gd name="T8" fmla="*/ 101393 w 138"/>
                <a:gd name="T9" fmla="*/ 70437 h 157"/>
                <a:gd name="T10" fmla="*/ 116992 w 138"/>
                <a:gd name="T11" fmla="*/ 39131 h 157"/>
                <a:gd name="T12" fmla="*/ 132590 w 138"/>
                <a:gd name="T13" fmla="*/ 0 h 157"/>
                <a:gd name="T14" fmla="*/ 148189 w 138"/>
                <a:gd name="T15" fmla="*/ 15653 h 157"/>
                <a:gd name="T16" fmla="*/ 179387 w 138"/>
                <a:gd name="T17" fmla="*/ 23479 h 157"/>
                <a:gd name="T18" fmla="*/ 179387 w 138"/>
                <a:gd name="T19" fmla="*/ 46958 h 157"/>
                <a:gd name="T20" fmla="*/ 148189 w 138"/>
                <a:gd name="T21" fmla="*/ 70437 h 157"/>
                <a:gd name="T22" fmla="*/ 132590 w 138"/>
                <a:gd name="T23" fmla="*/ 87394 h 157"/>
                <a:gd name="T24" fmla="*/ 101393 w 138"/>
                <a:gd name="T25" fmla="*/ 118699 h 157"/>
                <a:gd name="T26" fmla="*/ 93593 w 138"/>
                <a:gd name="T27" fmla="*/ 150004 h 157"/>
                <a:gd name="T28" fmla="*/ 85794 w 138"/>
                <a:gd name="T29" fmla="*/ 196962 h 157"/>
                <a:gd name="T30" fmla="*/ 46797 w 138"/>
                <a:gd name="T31" fmla="*/ 204788 h 157"/>
                <a:gd name="T32" fmla="*/ 23398 w 138"/>
                <a:gd name="T33" fmla="*/ 196962 h 157"/>
                <a:gd name="T34" fmla="*/ 0 w 138"/>
                <a:gd name="T35" fmla="*/ 173483 h 1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8"/>
                <a:gd name="T55" fmla="*/ 0 h 157"/>
                <a:gd name="T56" fmla="*/ 138 w 138"/>
                <a:gd name="T57" fmla="*/ 157 h 15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8" h="157">
                  <a:moveTo>
                    <a:pt x="0" y="133"/>
                  </a:moveTo>
                  <a:lnTo>
                    <a:pt x="18" y="97"/>
                  </a:lnTo>
                  <a:lnTo>
                    <a:pt x="30" y="79"/>
                  </a:lnTo>
                  <a:lnTo>
                    <a:pt x="66" y="60"/>
                  </a:lnTo>
                  <a:lnTo>
                    <a:pt x="78" y="54"/>
                  </a:lnTo>
                  <a:lnTo>
                    <a:pt x="90" y="30"/>
                  </a:lnTo>
                  <a:lnTo>
                    <a:pt x="102" y="0"/>
                  </a:lnTo>
                  <a:lnTo>
                    <a:pt x="114" y="12"/>
                  </a:lnTo>
                  <a:lnTo>
                    <a:pt x="138" y="18"/>
                  </a:lnTo>
                  <a:lnTo>
                    <a:pt x="138" y="36"/>
                  </a:lnTo>
                  <a:lnTo>
                    <a:pt x="114" y="54"/>
                  </a:lnTo>
                  <a:lnTo>
                    <a:pt x="102" y="67"/>
                  </a:lnTo>
                  <a:lnTo>
                    <a:pt x="78" y="91"/>
                  </a:lnTo>
                  <a:lnTo>
                    <a:pt x="72" y="115"/>
                  </a:lnTo>
                  <a:lnTo>
                    <a:pt x="66" y="151"/>
                  </a:lnTo>
                  <a:lnTo>
                    <a:pt x="36" y="157"/>
                  </a:lnTo>
                  <a:lnTo>
                    <a:pt x="18" y="151"/>
                  </a:lnTo>
                  <a:lnTo>
                    <a:pt x="0" y="133"/>
                  </a:lnTo>
                  <a:close/>
                </a:path>
              </a:pathLst>
            </a:custGeom>
            <a:solidFill>
              <a:srgbClr val="0098C7"/>
            </a:solidFill>
            <a:ln w="9525">
              <a:solidFill>
                <a:sysClr val="window" lastClr="FFFFFF">
                  <a:lumMod val="85000"/>
                </a:sys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01" name="Freeform 267"/>
            <p:cNvSpPr>
              <a:spLocks/>
            </p:cNvSpPr>
            <p:nvPr/>
          </p:nvSpPr>
          <p:spPr bwMode="auto">
            <a:xfrm>
              <a:off x="10304976" y="5003897"/>
              <a:ext cx="120605" cy="197888"/>
            </a:xfrm>
            <a:custGeom>
              <a:avLst/>
              <a:gdLst>
                <a:gd name="T0" fmla="*/ 7838 w 96"/>
                <a:gd name="T1" fmla="*/ 139578 h 156"/>
                <a:gd name="T2" fmla="*/ 31353 w 96"/>
                <a:gd name="T3" fmla="*/ 100807 h 156"/>
                <a:gd name="T4" fmla="*/ 31353 w 96"/>
                <a:gd name="T5" fmla="*/ 69789 h 156"/>
                <a:gd name="T6" fmla="*/ 0 w 96"/>
                <a:gd name="T7" fmla="*/ 0 h 156"/>
                <a:gd name="T8" fmla="*/ 39191 w 96"/>
                <a:gd name="T9" fmla="*/ 15509 h 156"/>
                <a:gd name="T10" fmla="*/ 39191 w 96"/>
                <a:gd name="T11" fmla="*/ 54280 h 156"/>
                <a:gd name="T12" fmla="*/ 54868 w 96"/>
                <a:gd name="T13" fmla="*/ 77543 h 156"/>
                <a:gd name="T14" fmla="*/ 78382 w 96"/>
                <a:gd name="T15" fmla="*/ 100807 h 156"/>
                <a:gd name="T16" fmla="*/ 109736 w 96"/>
                <a:gd name="T17" fmla="*/ 85298 h 156"/>
                <a:gd name="T18" fmla="*/ 125412 w 96"/>
                <a:gd name="T19" fmla="*/ 100807 h 156"/>
                <a:gd name="T20" fmla="*/ 117574 w 96"/>
                <a:gd name="T21" fmla="*/ 116315 h 156"/>
                <a:gd name="T22" fmla="*/ 101897 w 96"/>
                <a:gd name="T23" fmla="*/ 131824 h 156"/>
                <a:gd name="T24" fmla="*/ 86221 w 96"/>
                <a:gd name="T25" fmla="*/ 147333 h 156"/>
                <a:gd name="T26" fmla="*/ 78382 w 96"/>
                <a:gd name="T27" fmla="*/ 170596 h 156"/>
                <a:gd name="T28" fmla="*/ 54868 w 96"/>
                <a:gd name="T29" fmla="*/ 201613 h 156"/>
                <a:gd name="T30" fmla="*/ 31353 w 96"/>
                <a:gd name="T31" fmla="*/ 186104 h 156"/>
                <a:gd name="T32" fmla="*/ 39191 w 96"/>
                <a:gd name="T33" fmla="*/ 162841 h 156"/>
                <a:gd name="T34" fmla="*/ 7838 w 96"/>
                <a:gd name="T35" fmla="*/ 139578 h 1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6"/>
                <a:gd name="T55" fmla="*/ 0 h 156"/>
                <a:gd name="T56" fmla="*/ 96 w 96"/>
                <a:gd name="T57" fmla="*/ 156 h 1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6" h="156">
                  <a:moveTo>
                    <a:pt x="6" y="108"/>
                  </a:moveTo>
                  <a:lnTo>
                    <a:pt x="24" y="78"/>
                  </a:lnTo>
                  <a:lnTo>
                    <a:pt x="24" y="54"/>
                  </a:lnTo>
                  <a:lnTo>
                    <a:pt x="0" y="0"/>
                  </a:lnTo>
                  <a:lnTo>
                    <a:pt x="30" y="12"/>
                  </a:lnTo>
                  <a:lnTo>
                    <a:pt x="30" y="42"/>
                  </a:lnTo>
                  <a:lnTo>
                    <a:pt x="42" y="60"/>
                  </a:lnTo>
                  <a:lnTo>
                    <a:pt x="60" y="78"/>
                  </a:lnTo>
                  <a:lnTo>
                    <a:pt x="84" y="66"/>
                  </a:lnTo>
                  <a:lnTo>
                    <a:pt x="96" y="78"/>
                  </a:lnTo>
                  <a:lnTo>
                    <a:pt x="90" y="90"/>
                  </a:lnTo>
                  <a:lnTo>
                    <a:pt x="78" y="102"/>
                  </a:lnTo>
                  <a:lnTo>
                    <a:pt x="66" y="114"/>
                  </a:lnTo>
                  <a:lnTo>
                    <a:pt x="60" y="132"/>
                  </a:lnTo>
                  <a:lnTo>
                    <a:pt x="42" y="156"/>
                  </a:lnTo>
                  <a:lnTo>
                    <a:pt x="24" y="144"/>
                  </a:lnTo>
                  <a:lnTo>
                    <a:pt x="30" y="126"/>
                  </a:lnTo>
                  <a:lnTo>
                    <a:pt x="6" y="108"/>
                  </a:lnTo>
                  <a:close/>
                </a:path>
              </a:pathLst>
            </a:custGeom>
            <a:solidFill>
              <a:srgbClr val="0098C7"/>
            </a:solidFill>
            <a:ln w="9525">
              <a:solidFill>
                <a:sysClr val="window" lastClr="FFFFFF">
                  <a:lumMod val="85000"/>
                </a:sys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02" name="Freeform 268"/>
            <p:cNvSpPr>
              <a:spLocks/>
            </p:cNvSpPr>
            <p:nvPr/>
          </p:nvSpPr>
          <p:spPr bwMode="auto">
            <a:xfrm>
              <a:off x="8879085" y="4388500"/>
              <a:ext cx="951105" cy="737015"/>
            </a:xfrm>
            <a:custGeom>
              <a:avLst/>
              <a:gdLst>
                <a:gd name="T0" fmla="*/ 47034 w 757"/>
                <a:gd name="T1" fmla="*/ 540066 h 577"/>
                <a:gd name="T2" fmla="*/ 7839 w 757"/>
                <a:gd name="T3" fmla="*/ 399519 h 577"/>
                <a:gd name="T4" fmla="*/ 0 w 757"/>
                <a:gd name="T5" fmla="*/ 321437 h 577"/>
                <a:gd name="T6" fmla="*/ 39195 w 757"/>
                <a:gd name="T7" fmla="*/ 251163 h 577"/>
                <a:gd name="T8" fmla="*/ 148940 w 757"/>
                <a:gd name="T9" fmla="*/ 196506 h 577"/>
                <a:gd name="T10" fmla="*/ 203812 w 757"/>
                <a:gd name="T11" fmla="*/ 141849 h 577"/>
                <a:gd name="T12" fmla="*/ 266524 w 757"/>
                <a:gd name="T13" fmla="*/ 117123 h 577"/>
                <a:gd name="T14" fmla="*/ 344913 w 757"/>
                <a:gd name="T15" fmla="*/ 62465 h 577"/>
                <a:gd name="T16" fmla="*/ 391947 w 757"/>
                <a:gd name="T17" fmla="*/ 85890 h 577"/>
                <a:gd name="T18" fmla="*/ 431141 w 757"/>
                <a:gd name="T19" fmla="*/ 31233 h 577"/>
                <a:gd name="T20" fmla="*/ 486014 w 757"/>
                <a:gd name="T21" fmla="*/ 0 h 577"/>
                <a:gd name="T22" fmla="*/ 572242 w 757"/>
                <a:gd name="T23" fmla="*/ 15616 h 577"/>
                <a:gd name="T24" fmla="*/ 548725 w 757"/>
                <a:gd name="T25" fmla="*/ 85890 h 577"/>
                <a:gd name="T26" fmla="*/ 611437 w 757"/>
                <a:gd name="T27" fmla="*/ 101506 h 577"/>
                <a:gd name="T28" fmla="*/ 666309 w 757"/>
                <a:gd name="T29" fmla="*/ 141849 h 577"/>
                <a:gd name="T30" fmla="*/ 705504 w 757"/>
                <a:gd name="T31" fmla="*/ 39041 h 577"/>
                <a:gd name="T32" fmla="*/ 752538 w 757"/>
                <a:gd name="T33" fmla="*/ 54657 h 577"/>
                <a:gd name="T34" fmla="*/ 776054 w 757"/>
                <a:gd name="T35" fmla="*/ 78082 h 577"/>
                <a:gd name="T36" fmla="*/ 838766 w 757"/>
                <a:gd name="T37" fmla="*/ 196506 h 577"/>
                <a:gd name="T38" fmla="*/ 901477 w 757"/>
                <a:gd name="T39" fmla="*/ 258971 h 577"/>
                <a:gd name="T40" fmla="*/ 932833 w 757"/>
                <a:gd name="T41" fmla="*/ 313629 h 577"/>
                <a:gd name="T42" fmla="*/ 981173 w 757"/>
                <a:gd name="T43" fmla="*/ 376094 h 577"/>
                <a:gd name="T44" fmla="*/ 989012 w 757"/>
                <a:gd name="T45" fmla="*/ 493217 h 577"/>
                <a:gd name="T46" fmla="*/ 909316 w 757"/>
                <a:gd name="T47" fmla="*/ 680613 h 577"/>
                <a:gd name="T48" fmla="*/ 893638 w 757"/>
                <a:gd name="T49" fmla="*/ 711846 h 577"/>
                <a:gd name="T50" fmla="*/ 830927 w 757"/>
                <a:gd name="T51" fmla="*/ 750887 h 577"/>
                <a:gd name="T52" fmla="*/ 776054 w 757"/>
                <a:gd name="T53" fmla="*/ 727462 h 577"/>
                <a:gd name="T54" fmla="*/ 697665 w 757"/>
                <a:gd name="T55" fmla="*/ 719654 h 577"/>
                <a:gd name="T56" fmla="*/ 627115 w 757"/>
                <a:gd name="T57" fmla="*/ 657189 h 577"/>
                <a:gd name="T58" fmla="*/ 580081 w 757"/>
                <a:gd name="T59" fmla="*/ 633764 h 577"/>
                <a:gd name="T60" fmla="*/ 493853 w 757"/>
                <a:gd name="T61" fmla="*/ 547874 h 577"/>
                <a:gd name="T62" fmla="*/ 344913 w 757"/>
                <a:gd name="T63" fmla="*/ 540066 h 577"/>
                <a:gd name="T64" fmla="*/ 258685 w 757"/>
                <a:gd name="T65" fmla="*/ 586915 h 577"/>
                <a:gd name="T66" fmla="*/ 180295 w 757"/>
                <a:gd name="T67" fmla="*/ 594723 h 577"/>
                <a:gd name="T68" fmla="*/ 109745 w 757"/>
                <a:gd name="T69" fmla="*/ 633764 h 577"/>
                <a:gd name="T70" fmla="*/ 39195 w 757"/>
                <a:gd name="T71" fmla="*/ 602531 h 57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7"/>
                <a:gd name="T109" fmla="*/ 0 h 577"/>
                <a:gd name="T110" fmla="*/ 757 w 757"/>
                <a:gd name="T111" fmla="*/ 577 h 57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7" h="577">
                  <a:moveTo>
                    <a:pt x="30" y="463"/>
                  </a:moveTo>
                  <a:lnTo>
                    <a:pt x="36" y="415"/>
                  </a:lnTo>
                  <a:lnTo>
                    <a:pt x="30" y="385"/>
                  </a:lnTo>
                  <a:lnTo>
                    <a:pt x="6" y="307"/>
                  </a:lnTo>
                  <a:lnTo>
                    <a:pt x="6" y="283"/>
                  </a:lnTo>
                  <a:lnTo>
                    <a:pt x="0" y="247"/>
                  </a:lnTo>
                  <a:lnTo>
                    <a:pt x="6" y="217"/>
                  </a:lnTo>
                  <a:lnTo>
                    <a:pt x="30" y="193"/>
                  </a:lnTo>
                  <a:lnTo>
                    <a:pt x="78" y="175"/>
                  </a:lnTo>
                  <a:lnTo>
                    <a:pt x="114" y="151"/>
                  </a:lnTo>
                  <a:lnTo>
                    <a:pt x="144" y="145"/>
                  </a:lnTo>
                  <a:lnTo>
                    <a:pt x="156" y="109"/>
                  </a:lnTo>
                  <a:lnTo>
                    <a:pt x="180" y="97"/>
                  </a:lnTo>
                  <a:lnTo>
                    <a:pt x="204" y="90"/>
                  </a:lnTo>
                  <a:lnTo>
                    <a:pt x="240" y="60"/>
                  </a:lnTo>
                  <a:lnTo>
                    <a:pt x="264" y="48"/>
                  </a:lnTo>
                  <a:lnTo>
                    <a:pt x="282" y="60"/>
                  </a:lnTo>
                  <a:lnTo>
                    <a:pt x="300" y="66"/>
                  </a:lnTo>
                  <a:lnTo>
                    <a:pt x="312" y="42"/>
                  </a:lnTo>
                  <a:lnTo>
                    <a:pt x="330" y="24"/>
                  </a:lnTo>
                  <a:lnTo>
                    <a:pt x="360" y="18"/>
                  </a:lnTo>
                  <a:lnTo>
                    <a:pt x="372" y="0"/>
                  </a:lnTo>
                  <a:lnTo>
                    <a:pt x="396" y="6"/>
                  </a:lnTo>
                  <a:lnTo>
                    <a:pt x="438" y="12"/>
                  </a:lnTo>
                  <a:lnTo>
                    <a:pt x="432" y="36"/>
                  </a:lnTo>
                  <a:lnTo>
                    <a:pt x="420" y="66"/>
                  </a:lnTo>
                  <a:lnTo>
                    <a:pt x="438" y="78"/>
                  </a:lnTo>
                  <a:lnTo>
                    <a:pt x="468" y="78"/>
                  </a:lnTo>
                  <a:lnTo>
                    <a:pt x="492" y="115"/>
                  </a:lnTo>
                  <a:lnTo>
                    <a:pt x="510" y="109"/>
                  </a:lnTo>
                  <a:lnTo>
                    <a:pt x="540" y="90"/>
                  </a:lnTo>
                  <a:lnTo>
                    <a:pt x="540" y="30"/>
                  </a:lnTo>
                  <a:lnTo>
                    <a:pt x="564" y="0"/>
                  </a:lnTo>
                  <a:lnTo>
                    <a:pt x="576" y="42"/>
                  </a:lnTo>
                  <a:lnTo>
                    <a:pt x="582" y="54"/>
                  </a:lnTo>
                  <a:lnTo>
                    <a:pt x="594" y="60"/>
                  </a:lnTo>
                  <a:lnTo>
                    <a:pt x="612" y="121"/>
                  </a:lnTo>
                  <a:lnTo>
                    <a:pt x="642" y="151"/>
                  </a:lnTo>
                  <a:lnTo>
                    <a:pt x="678" y="163"/>
                  </a:lnTo>
                  <a:lnTo>
                    <a:pt x="690" y="199"/>
                  </a:lnTo>
                  <a:lnTo>
                    <a:pt x="708" y="211"/>
                  </a:lnTo>
                  <a:lnTo>
                    <a:pt x="714" y="241"/>
                  </a:lnTo>
                  <a:lnTo>
                    <a:pt x="751" y="265"/>
                  </a:lnTo>
                  <a:lnTo>
                    <a:pt x="751" y="289"/>
                  </a:lnTo>
                  <a:lnTo>
                    <a:pt x="757" y="325"/>
                  </a:lnTo>
                  <a:lnTo>
                    <a:pt x="757" y="379"/>
                  </a:lnTo>
                  <a:lnTo>
                    <a:pt x="714" y="469"/>
                  </a:lnTo>
                  <a:lnTo>
                    <a:pt x="696" y="523"/>
                  </a:lnTo>
                  <a:lnTo>
                    <a:pt x="696" y="547"/>
                  </a:lnTo>
                  <a:lnTo>
                    <a:pt x="684" y="547"/>
                  </a:lnTo>
                  <a:lnTo>
                    <a:pt x="660" y="559"/>
                  </a:lnTo>
                  <a:lnTo>
                    <a:pt x="636" y="577"/>
                  </a:lnTo>
                  <a:lnTo>
                    <a:pt x="618" y="577"/>
                  </a:lnTo>
                  <a:lnTo>
                    <a:pt x="594" y="559"/>
                  </a:lnTo>
                  <a:lnTo>
                    <a:pt x="576" y="571"/>
                  </a:lnTo>
                  <a:lnTo>
                    <a:pt x="534" y="553"/>
                  </a:lnTo>
                  <a:lnTo>
                    <a:pt x="498" y="535"/>
                  </a:lnTo>
                  <a:lnTo>
                    <a:pt x="480" y="505"/>
                  </a:lnTo>
                  <a:lnTo>
                    <a:pt x="468" y="481"/>
                  </a:lnTo>
                  <a:lnTo>
                    <a:pt x="444" y="487"/>
                  </a:lnTo>
                  <a:lnTo>
                    <a:pt x="420" y="463"/>
                  </a:lnTo>
                  <a:lnTo>
                    <a:pt x="378" y="421"/>
                  </a:lnTo>
                  <a:lnTo>
                    <a:pt x="312" y="409"/>
                  </a:lnTo>
                  <a:lnTo>
                    <a:pt x="264" y="415"/>
                  </a:lnTo>
                  <a:lnTo>
                    <a:pt x="204" y="433"/>
                  </a:lnTo>
                  <a:lnTo>
                    <a:pt x="198" y="451"/>
                  </a:lnTo>
                  <a:lnTo>
                    <a:pt x="162" y="457"/>
                  </a:lnTo>
                  <a:lnTo>
                    <a:pt x="138" y="457"/>
                  </a:lnTo>
                  <a:lnTo>
                    <a:pt x="120" y="475"/>
                  </a:lnTo>
                  <a:lnTo>
                    <a:pt x="84" y="487"/>
                  </a:lnTo>
                  <a:lnTo>
                    <a:pt x="60" y="487"/>
                  </a:lnTo>
                  <a:lnTo>
                    <a:pt x="30" y="463"/>
                  </a:lnTo>
                  <a:close/>
                </a:path>
              </a:pathLst>
            </a:custGeom>
            <a:solidFill>
              <a:srgbClr val="0098C7"/>
            </a:solidFill>
            <a:ln w="9525">
              <a:solidFill>
                <a:sysClr val="window" lastClr="FFFFFF">
                  <a:lumMod val="85000"/>
                </a:sys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03" name="Freeform 269"/>
            <p:cNvSpPr>
              <a:spLocks/>
            </p:cNvSpPr>
            <p:nvPr/>
          </p:nvSpPr>
          <p:spPr bwMode="auto">
            <a:xfrm>
              <a:off x="9625585" y="5169144"/>
              <a:ext cx="83967" cy="116863"/>
            </a:xfrm>
            <a:custGeom>
              <a:avLst/>
              <a:gdLst>
                <a:gd name="T0" fmla="*/ 0 w 66"/>
                <a:gd name="T1" fmla="*/ 23551 h 91"/>
                <a:gd name="T2" fmla="*/ 15875 w 66"/>
                <a:gd name="T3" fmla="*/ 62802 h 91"/>
                <a:gd name="T4" fmla="*/ 23813 w 66"/>
                <a:gd name="T5" fmla="*/ 94204 h 91"/>
                <a:gd name="T6" fmla="*/ 47625 w 66"/>
                <a:gd name="T7" fmla="*/ 119063 h 91"/>
                <a:gd name="T8" fmla="*/ 63500 w 66"/>
                <a:gd name="T9" fmla="*/ 86353 h 91"/>
                <a:gd name="T10" fmla="*/ 87313 w 66"/>
                <a:gd name="T11" fmla="*/ 39252 h 91"/>
                <a:gd name="T12" fmla="*/ 87313 w 66"/>
                <a:gd name="T13" fmla="*/ 0 h 91"/>
                <a:gd name="T14" fmla="*/ 55563 w 66"/>
                <a:gd name="T15" fmla="*/ 15701 h 91"/>
                <a:gd name="T16" fmla="*/ 0 w 66"/>
                <a:gd name="T17" fmla="*/ 23551 h 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91"/>
                <a:gd name="T29" fmla="*/ 66 w 66"/>
                <a:gd name="T30" fmla="*/ 91 h 9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91">
                  <a:moveTo>
                    <a:pt x="0" y="18"/>
                  </a:moveTo>
                  <a:lnTo>
                    <a:pt x="12" y="48"/>
                  </a:lnTo>
                  <a:lnTo>
                    <a:pt x="18" y="72"/>
                  </a:lnTo>
                  <a:lnTo>
                    <a:pt x="36" y="91"/>
                  </a:lnTo>
                  <a:lnTo>
                    <a:pt x="48" y="66"/>
                  </a:lnTo>
                  <a:lnTo>
                    <a:pt x="66" y="30"/>
                  </a:lnTo>
                  <a:lnTo>
                    <a:pt x="66" y="0"/>
                  </a:lnTo>
                  <a:lnTo>
                    <a:pt x="42" y="12"/>
                  </a:lnTo>
                  <a:lnTo>
                    <a:pt x="0" y="18"/>
                  </a:lnTo>
                  <a:close/>
                </a:path>
              </a:pathLst>
            </a:custGeom>
            <a:solidFill>
              <a:srgbClr val="0098C7"/>
            </a:solidFill>
            <a:ln w="9525">
              <a:solidFill>
                <a:sysClr val="window" lastClr="FFFFFF">
                  <a:lumMod val="85000"/>
                </a:sys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04" name="Freeform 270"/>
            <p:cNvSpPr>
              <a:spLocks/>
            </p:cNvSpPr>
            <p:nvPr/>
          </p:nvSpPr>
          <p:spPr bwMode="auto">
            <a:xfrm>
              <a:off x="8471468" y="3983321"/>
              <a:ext cx="232051" cy="260215"/>
            </a:xfrm>
            <a:custGeom>
              <a:avLst/>
              <a:gdLst>
                <a:gd name="T0" fmla="*/ 0 w 31"/>
                <a:gd name="T1" fmla="*/ 0 h 34"/>
                <a:gd name="T2" fmla="*/ 31135 w 31"/>
                <a:gd name="T3" fmla="*/ 0 h 34"/>
                <a:gd name="T4" fmla="*/ 62271 w 31"/>
                <a:gd name="T5" fmla="*/ 46784 h 34"/>
                <a:gd name="T6" fmla="*/ 85623 w 31"/>
                <a:gd name="T7" fmla="*/ 62379 h 34"/>
                <a:gd name="T8" fmla="*/ 124542 w 31"/>
                <a:gd name="T9" fmla="*/ 77974 h 34"/>
                <a:gd name="T10" fmla="*/ 186813 w 31"/>
                <a:gd name="T11" fmla="*/ 132556 h 34"/>
                <a:gd name="T12" fmla="*/ 202381 w 31"/>
                <a:gd name="T13" fmla="*/ 155948 h 34"/>
                <a:gd name="T14" fmla="*/ 233516 w 31"/>
                <a:gd name="T15" fmla="*/ 194935 h 34"/>
                <a:gd name="T16" fmla="*/ 241300 w 31"/>
                <a:gd name="T17" fmla="*/ 241720 h 34"/>
                <a:gd name="T18" fmla="*/ 210165 w 31"/>
                <a:gd name="T19" fmla="*/ 265112 h 34"/>
                <a:gd name="T20" fmla="*/ 163461 w 31"/>
                <a:gd name="T21" fmla="*/ 226125 h 34"/>
                <a:gd name="T22" fmla="*/ 116758 w 31"/>
                <a:gd name="T23" fmla="*/ 202733 h 34"/>
                <a:gd name="T24" fmla="*/ 93406 w 31"/>
                <a:gd name="T25" fmla="*/ 140353 h 34"/>
                <a:gd name="T26" fmla="*/ 70055 w 31"/>
                <a:gd name="T27" fmla="*/ 124759 h 34"/>
                <a:gd name="T28" fmla="*/ 46703 w 31"/>
                <a:gd name="T29" fmla="*/ 93569 h 34"/>
                <a:gd name="T30" fmla="*/ 7784 w 31"/>
                <a:gd name="T31" fmla="*/ 62379 h 34"/>
                <a:gd name="T32" fmla="*/ 0 w 31"/>
                <a:gd name="T33" fmla="*/ 0 h 3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1"/>
                <a:gd name="T52" fmla="*/ 0 h 34"/>
                <a:gd name="T53" fmla="*/ 31 w 31"/>
                <a:gd name="T54" fmla="*/ 34 h 3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1" h="34">
                  <a:moveTo>
                    <a:pt x="0" y="0"/>
                  </a:moveTo>
                  <a:cubicBezTo>
                    <a:pt x="4" y="0"/>
                    <a:pt x="4" y="0"/>
                    <a:pt x="4" y="0"/>
                  </a:cubicBezTo>
                  <a:cubicBezTo>
                    <a:pt x="8" y="6"/>
                    <a:pt x="8" y="6"/>
                    <a:pt x="8" y="6"/>
                  </a:cubicBezTo>
                  <a:cubicBezTo>
                    <a:pt x="11" y="8"/>
                    <a:pt x="11" y="8"/>
                    <a:pt x="11" y="8"/>
                  </a:cubicBezTo>
                  <a:cubicBezTo>
                    <a:pt x="16" y="10"/>
                    <a:pt x="16" y="10"/>
                    <a:pt x="16" y="10"/>
                  </a:cubicBezTo>
                  <a:cubicBezTo>
                    <a:pt x="24" y="17"/>
                    <a:pt x="24" y="17"/>
                    <a:pt x="24" y="17"/>
                  </a:cubicBezTo>
                  <a:cubicBezTo>
                    <a:pt x="26" y="20"/>
                    <a:pt x="26" y="20"/>
                    <a:pt x="26" y="20"/>
                  </a:cubicBezTo>
                  <a:cubicBezTo>
                    <a:pt x="30" y="25"/>
                    <a:pt x="30" y="25"/>
                    <a:pt x="30" y="25"/>
                  </a:cubicBezTo>
                  <a:cubicBezTo>
                    <a:pt x="31" y="31"/>
                    <a:pt x="31" y="31"/>
                    <a:pt x="31" y="31"/>
                  </a:cubicBezTo>
                  <a:cubicBezTo>
                    <a:pt x="27" y="34"/>
                    <a:pt x="27" y="34"/>
                    <a:pt x="27" y="34"/>
                  </a:cubicBezTo>
                  <a:cubicBezTo>
                    <a:pt x="21" y="29"/>
                    <a:pt x="21" y="29"/>
                    <a:pt x="21" y="29"/>
                  </a:cubicBezTo>
                  <a:cubicBezTo>
                    <a:pt x="15" y="26"/>
                    <a:pt x="15" y="26"/>
                    <a:pt x="15" y="26"/>
                  </a:cubicBezTo>
                  <a:cubicBezTo>
                    <a:pt x="12" y="18"/>
                    <a:pt x="12" y="18"/>
                    <a:pt x="12" y="18"/>
                  </a:cubicBezTo>
                  <a:cubicBezTo>
                    <a:pt x="9" y="16"/>
                    <a:pt x="9" y="16"/>
                    <a:pt x="9" y="16"/>
                  </a:cubicBezTo>
                  <a:cubicBezTo>
                    <a:pt x="9" y="16"/>
                    <a:pt x="7" y="13"/>
                    <a:pt x="6" y="12"/>
                  </a:cubicBezTo>
                  <a:cubicBezTo>
                    <a:pt x="4" y="11"/>
                    <a:pt x="1" y="8"/>
                    <a:pt x="1" y="8"/>
                  </a:cubicBezTo>
                  <a:lnTo>
                    <a:pt x="0" y="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05" name="Freeform 271"/>
            <p:cNvSpPr>
              <a:spLocks/>
            </p:cNvSpPr>
            <p:nvPr/>
          </p:nvSpPr>
          <p:spPr bwMode="auto">
            <a:xfrm>
              <a:off x="8788973" y="3936564"/>
              <a:ext cx="218312" cy="260215"/>
            </a:xfrm>
            <a:custGeom>
              <a:avLst/>
              <a:gdLst>
                <a:gd name="T0" fmla="*/ 15656 w 174"/>
                <a:gd name="T1" fmla="*/ 218328 h 204"/>
                <a:gd name="T2" fmla="*/ 0 w 174"/>
                <a:gd name="T3" fmla="*/ 187138 h 204"/>
                <a:gd name="T4" fmla="*/ 0 w 174"/>
                <a:gd name="T5" fmla="*/ 140353 h 204"/>
                <a:gd name="T6" fmla="*/ 15656 w 174"/>
                <a:gd name="T7" fmla="*/ 116961 h 204"/>
                <a:gd name="T8" fmla="*/ 46968 w 174"/>
                <a:gd name="T9" fmla="*/ 109164 h 204"/>
                <a:gd name="T10" fmla="*/ 78280 w 174"/>
                <a:gd name="T11" fmla="*/ 85772 h 204"/>
                <a:gd name="T12" fmla="*/ 125249 w 174"/>
                <a:gd name="T13" fmla="*/ 31190 h 204"/>
                <a:gd name="T14" fmla="*/ 180045 w 174"/>
                <a:gd name="T15" fmla="*/ 0 h 204"/>
                <a:gd name="T16" fmla="*/ 211357 w 174"/>
                <a:gd name="T17" fmla="*/ 15595 h 204"/>
                <a:gd name="T18" fmla="*/ 227013 w 174"/>
                <a:gd name="T19" fmla="*/ 38987 h 204"/>
                <a:gd name="T20" fmla="*/ 203529 w 174"/>
                <a:gd name="T21" fmla="*/ 62379 h 204"/>
                <a:gd name="T22" fmla="*/ 195701 w 174"/>
                <a:gd name="T23" fmla="*/ 85772 h 204"/>
                <a:gd name="T24" fmla="*/ 203529 w 174"/>
                <a:gd name="T25" fmla="*/ 116961 h 204"/>
                <a:gd name="T26" fmla="*/ 227013 w 174"/>
                <a:gd name="T27" fmla="*/ 140353 h 204"/>
                <a:gd name="T28" fmla="*/ 203529 w 174"/>
                <a:gd name="T29" fmla="*/ 155948 h 204"/>
                <a:gd name="T30" fmla="*/ 195701 w 174"/>
                <a:gd name="T31" fmla="*/ 171543 h 204"/>
                <a:gd name="T32" fmla="*/ 180045 w 174"/>
                <a:gd name="T33" fmla="*/ 194935 h 204"/>
                <a:gd name="T34" fmla="*/ 164389 w 174"/>
                <a:gd name="T35" fmla="*/ 218328 h 204"/>
                <a:gd name="T36" fmla="*/ 148733 w 174"/>
                <a:gd name="T37" fmla="*/ 257315 h 204"/>
                <a:gd name="T38" fmla="*/ 117421 w 174"/>
                <a:gd name="T39" fmla="*/ 265112 h 204"/>
                <a:gd name="T40" fmla="*/ 93936 w 174"/>
                <a:gd name="T41" fmla="*/ 249517 h 204"/>
                <a:gd name="T42" fmla="*/ 54796 w 174"/>
                <a:gd name="T43" fmla="*/ 249517 h 204"/>
                <a:gd name="T44" fmla="*/ 31312 w 174"/>
                <a:gd name="T45" fmla="*/ 249517 h 204"/>
                <a:gd name="T46" fmla="*/ 15656 w 174"/>
                <a:gd name="T47" fmla="*/ 218328 h 2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4"/>
                <a:gd name="T73" fmla="*/ 0 h 204"/>
                <a:gd name="T74" fmla="*/ 174 w 174"/>
                <a:gd name="T75" fmla="*/ 204 h 2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4" h="204">
                  <a:moveTo>
                    <a:pt x="12" y="168"/>
                  </a:moveTo>
                  <a:lnTo>
                    <a:pt x="0" y="144"/>
                  </a:lnTo>
                  <a:lnTo>
                    <a:pt x="0" y="108"/>
                  </a:lnTo>
                  <a:lnTo>
                    <a:pt x="12" y="90"/>
                  </a:lnTo>
                  <a:lnTo>
                    <a:pt x="36" y="84"/>
                  </a:lnTo>
                  <a:lnTo>
                    <a:pt x="60" y="66"/>
                  </a:lnTo>
                  <a:lnTo>
                    <a:pt x="96" y="24"/>
                  </a:lnTo>
                  <a:lnTo>
                    <a:pt x="138" y="0"/>
                  </a:lnTo>
                  <a:lnTo>
                    <a:pt x="162" y="12"/>
                  </a:lnTo>
                  <a:lnTo>
                    <a:pt x="174" y="30"/>
                  </a:lnTo>
                  <a:lnTo>
                    <a:pt x="156" y="48"/>
                  </a:lnTo>
                  <a:lnTo>
                    <a:pt x="150" y="66"/>
                  </a:lnTo>
                  <a:lnTo>
                    <a:pt x="156" y="90"/>
                  </a:lnTo>
                  <a:lnTo>
                    <a:pt x="174" y="108"/>
                  </a:lnTo>
                  <a:lnTo>
                    <a:pt x="156" y="120"/>
                  </a:lnTo>
                  <a:lnTo>
                    <a:pt x="150" y="132"/>
                  </a:lnTo>
                  <a:lnTo>
                    <a:pt x="138" y="150"/>
                  </a:lnTo>
                  <a:lnTo>
                    <a:pt x="126" y="168"/>
                  </a:lnTo>
                  <a:lnTo>
                    <a:pt x="114" y="198"/>
                  </a:lnTo>
                  <a:lnTo>
                    <a:pt x="90" y="204"/>
                  </a:lnTo>
                  <a:lnTo>
                    <a:pt x="72" y="192"/>
                  </a:lnTo>
                  <a:lnTo>
                    <a:pt x="42" y="192"/>
                  </a:lnTo>
                  <a:lnTo>
                    <a:pt x="24" y="192"/>
                  </a:lnTo>
                  <a:lnTo>
                    <a:pt x="12" y="168"/>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06" name="Freeform 274"/>
            <p:cNvSpPr>
              <a:spLocks/>
            </p:cNvSpPr>
            <p:nvPr/>
          </p:nvSpPr>
          <p:spPr bwMode="auto">
            <a:xfrm>
              <a:off x="9007285" y="4073669"/>
              <a:ext cx="135872" cy="169840"/>
            </a:xfrm>
            <a:custGeom>
              <a:avLst/>
              <a:gdLst>
                <a:gd name="T0" fmla="*/ 15699 w 108"/>
                <a:gd name="T1" fmla="*/ 165172 h 132"/>
                <a:gd name="T2" fmla="*/ 15699 w 108"/>
                <a:gd name="T3" fmla="*/ 141576 h 132"/>
                <a:gd name="T4" fmla="*/ 0 w 108"/>
                <a:gd name="T5" fmla="*/ 110114 h 132"/>
                <a:gd name="T6" fmla="*/ 7849 w 108"/>
                <a:gd name="T7" fmla="*/ 86519 h 132"/>
                <a:gd name="T8" fmla="*/ 31397 w 108"/>
                <a:gd name="T9" fmla="*/ 31461 h 132"/>
                <a:gd name="T10" fmla="*/ 47096 w 108"/>
                <a:gd name="T11" fmla="*/ 15731 h 132"/>
                <a:gd name="T12" fmla="*/ 86342 w 108"/>
                <a:gd name="T13" fmla="*/ 7865 h 132"/>
                <a:gd name="T14" fmla="*/ 141287 w 108"/>
                <a:gd name="T15" fmla="*/ 0 h 132"/>
                <a:gd name="T16" fmla="*/ 141287 w 108"/>
                <a:gd name="T17" fmla="*/ 15731 h 132"/>
                <a:gd name="T18" fmla="*/ 117739 w 108"/>
                <a:gd name="T19" fmla="*/ 15731 h 132"/>
                <a:gd name="T20" fmla="*/ 70644 w 108"/>
                <a:gd name="T21" fmla="*/ 31461 h 132"/>
                <a:gd name="T22" fmla="*/ 54945 w 108"/>
                <a:gd name="T23" fmla="*/ 55057 h 132"/>
                <a:gd name="T24" fmla="*/ 109890 w 108"/>
                <a:gd name="T25" fmla="*/ 55057 h 132"/>
                <a:gd name="T26" fmla="*/ 117739 w 108"/>
                <a:gd name="T27" fmla="*/ 78653 h 132"/>
                <a:gd name="T28" fmla="*/ 102041 w 108"/>
                <a:gd name="T29" fmla="*/ 86519 h 132"/>
                <a:gd name="T30" fmla="*/ 86342 w 108"/>
                <a:gd name="T31" fmla="*/ 102249 h 132"/>
                <a:gd name="T32" fmla="*/ 117739 w 108"/>
                <a:gd name="T33" fmla="*/ 133710 h 132"/>
                <a:gd name="T34" fmla="*/ 125588 w 108"/>
                <a:gd name="T35" fmla="*/ 165172 h 132"/>
                <a:gd name="T36" fmla="*/ 94191 w 108"/>
                <a:gd name="T37" fmla="*/ 165172 h 132"/>
                <a:gd name="T38" fmla="*/ 70644 w 108"/>
                <a:gd name="T39" fmla="*/ 141576 h 132"/>
                <a:gd name="T40" fmla="*/ 47096 w 108"/>
                <a:gd name="T41" fmla="*/ 110114 h 132"/>
                <a:gd name="T42" fmla="*/ 47096 w 108"/>
                <a:gd name="T43" fmla="*/ 149441 h 132"/>
                <a:gd name="T44" fmla="*/ 47096 w 108"/>
                <a:gd name="T45" fmla="*/ 173037 h 132"/>
                <a:gd name="T46" fmla="*/ 15699 w 108"/>
                <a:gd name="T47" fmla="*/ 165172 h 13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8"/>
                <a:gd name="T73" fmla="*/ 0 h 132"/>
                <a:gd name="T74" fmla="*/ 108 w 108"/>
                <a:gd name="T75" fmla="*/ 132 h 13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8" h="132">
                  <a:moveTo>
                    <a:pt x="12" y="126"/>
                  </a:moveTo>
                  <a:lnTo>
                    <a:pt x="12" y="108"/>
                  </a:lnTo>
                  <a:lnTo>
                    <a:pt x="0" y="84"/>
                  </a:lnTo>
                  <a:lnTo>
                    <a:pt x="6" y="66"/>
                  </a:lnTo>
                  <a:lnTo>
                    <a:pt x="24" y="24"/>
                  </a:lnTo>
                  <a:lnTo>
                    <a:pt x="36" y="12"/>
                  </a:lnTo>
                  <a:lnTo>
                    <a:pt x="66" y="6"/>
                  </a:lnTo>
                  <a:lnTo>
                    <a:pt x="108" y="0"/>
                  </a:lnTo>
                  <a:lnTo>
                    <a:pt x="108" y="12"/>
                  </a:lnTo>
                  <a:lnTo>
                    <a:pt x="90" y="12"/>
                  </a:lnTo>
                  <a:lnTo>
                    <a:pt x="54" y="24"/>
                  </a:lnTo>
                  <a:lnTo>
                    <a:pt x="42" y="42"/>
                  </a:lnTo>
                  <a:lnTo>
                    <a:pt x="84" y="42"/>
                  </a:lnTo>
                  <a:lnTo>
                    <a:pt x="90" y="60"/>
                  </a:lnTo>
                  <a:lnTo>
                    <a:pt x="78" y="66"/>
                  </a:lnTo>
                  <a:lnTo>
                    <a:pt x="66" y="78"/>
                  </a:lnTo>
                  <a:lnTo>
                    <a:pt x="90" y="102"/>
                  </a:lnTo>
                  <a:lnTo>
                    <a:pt x="96" y="126"/>
                  </a:lnTo>
                  <a:lnTo>
                    <a:pt x="72" y="126"/>
                  </a:lnTo>
                  <a:lnTo>
                    <a:pt x="54" y="108"/>
                  </a:lnTo>
                  <a:lnTo>
                    <a:pt x="36" y="84"/>
                  </a:lnTo>
                  <a:lnTo>
                    <a:pt x="36" y="114"/>
                  </a:lnTo>
                  <a:lnTo>
                    <a:pt x="36" y="132"/>
                  </a:lnTo>
                  <a:lnTo>
                    <a:pt x="12" y="126"/>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07" name="Freeform 275"/>
            <p:cNvSpPr>
              <a:spLocks/>
            </p:cNvSpPr>
            <p:nvPr/>
          </p:nvSpPr>
          <p:spPr bwMode="auto">
            <a:xfrm>
              <a:off x="8698911" y="4266956"/>
              <a:ext cx="254951" cy="59211"/>
            </a:xfrm>
            <a:custGeom>
              <a:avLst/>
              <a:gdLst>
                <a:gd name="T0" fmla="*/ 0 w 34"/>
                <a:gd name="T1" fmla="*/ 7541 h 8"/>
                <a:gd name="T2" fmla="*/ 70177 w 34"/>
                <a:gd name="T3" fmla="*/ 0 h 8"/>
                <a:gd name="T4" fmla="*/ 124759 w 34"/>
                <a:gd name="T5" fmla="*/ 0 h 8"/>
                <a:gd name="T6" fmla="*/ 155948 w 34"/>
                <a:gd name="T7" fmla="*/ 7541 h 8"/>
                <a:gd name="T8" fmla="*/ 179340 w 34"/>
                <a:gd name="T9" fmla="*/ 22622 h 8"/>
                <a:gd name="T10" fmla="*/ 241720 w 34"/>
                <a:gd name="T11" fmla="*/ 37703 h 8"/>
                <a:gd name="T12" fmla="*/ 265112 w 34"/>
                <a:gd name="T13" fmla="*/ 60325 h 8"/>
                <a:gd name="T14" fmla="*/ 202733 w 34"/>
                <a:gd name="T15" fmla="*/ 52784 h 8"/>
                <a:gd name="T16" fmla="*/ 148151 w 34"/>
                <a:gd name="T17" fmla="*/ 45244 h 8"/>
                <a:gd name="T18" fmla="*/ 62379 w 34"/>
                <a:gd name="T19" fmla="*/ 30163 h 8"/>
                <a:gd name="T20" fmla="*/ 0 w 34"/>
                <a:gd name="T21" fmla="*/ 7541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8"/>
                <a:gd name="T35" fmla="*/ 34 w 34"/>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8">
                  <a:moveTo>
                    <a:pt x="0" y="1"/>
                  </a:moveTo>
                  <a:cubicBezTo>
                    <a:pt x="9" y="0"/>
                    <a:pt x="9" y="0"/>
                    <a:pt x="9" y="0"/>
                  </a:cubicBezTo>
                  <a:cubicBezTo>
                    <a:pt x="16" y="0"/>
                    <a:pt x="16" y="0"/>
                    <a:pt x="16" y="0"/>
                  </a:cubicBezTo>
                  <a:cubicBezTo>
                    <a:pt x="20" y="1"/>
                    <a:pt x="20" y="1"/>
                    <a:pt x="20" y="1"/>
                  </a:cubicBezTo>
                  <a:cubicBezTo>
                    <a:pt x="23" y="3"/>
                    <a:pt x="23" y="3"/>
                    <a:pt x="23" y="3"/>
                  </a:cubicBezTo>
                  <a:cubicBezTo>
                    <a:pt x="31" y="5"/>
                    <a:pt x="31" y="5"/>
                    <a:pt x="31" y="5"/>
                  </a:cubicBezTo>
                  <a:cubicBezTo>
                    <a:pt x="34" y="8"/>
                    <a:pt x="34" y="8"/>
                    <a:pt x="34" y="8"/>
                  </a:cubicBezTo>
                  <a:cubicBezTo>
                    <a:pt x="26" y="7"/>
                    <a:pt x="26" y="7"/>
                    <a:pt x="26" y="7"/>
                  </a:cubicBezTo>
                  <a:cubicBezTo>
                    <a:pt x="19" y="6"/>
                    <a:pt x="19" y="6"/>
                    <a:pt x="19" y="6"/>
                  </a:cubicBezTo>
                  <a:cubicBezTo>
                    <a:pt x="19" y="6"/>
                    <a:pt x="10" y="4"/>
                    <a:pt x="8" y="4"/>
                  </a:cubicBezTo>
                  <a:cubicBezTo>
                    <a:pt x="7" y="3"/>
                    <a:pt x="0" y="1"/>
                    <a:pt x="0" y="1"/>
                  </a:cubicBez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08" name="Freeform 276"/>
            <p:cNvSpPr>
              <a:spLocks/>
            </p:cNvSpPr>
            <p:nvPr/>
          </p:nvSpPr>
          <p:spPr bwMode="auto">
            <a:xfrm>
              <a:off x="4653273" y="2660456"/>
              <a:ext cx="152666" cy="176075"/>
            </a:xfrm>
            <a:custGeom>
              <a:avLst/>
              <a:gdLst>
                <a:gd name="T0" fmla="*/ 0 w 120"/>
                <a:gd name="T1" fmla="*/ 148190 h 138"/>
                <a:gd name="T2" fmla="*/ 0 w 120"/>
                <a:gd name="T3" fmla="*/ 116992 h 138"/>
                <a:gd name="T4" fmla="*/ 7938 w 120"/>
                <a:gd name="T5" fmla="*/ 93594 h 138"/>
                <a:gd name="T6" fmla="*/ 47625 w 120"/>
                <a:gd name="T7" fmla="*/ 31198 h 138"/>
                <a:gd name="T8" fmla="*/ 87313 w 120"/>
                <a:gd name="T9" fmla="*/ 0 h 138"/>
                <a:gd name="T10" fmla="*/ 87313 w 120"/>
                <a:gd name="T11" fmla="*/ 23398 h 138"/>
                <a:gd name="T12" fmla="*/ 71438 w 120"/>
                <a:gd name="T13" fmla="*/ 54596 h 138"/>
                <a:gd name="T14" fmla="*/ 79375 w 120"/>
                <a:gd name="T15" fmla="*/ 70195 h 138"/>
                <a:gd name="T16" fmla="*/ 142875 w 120"/>
                <a:gd name="T17" fmla="*/ 101393 h 138"/>
                <a:gd name="T18" fmla="*/ 158750 w 120"/>
                <a:gd name="T19" fmla="*/ 140391 h 138"/>
                <a:gd name="T20" fmla="*/ 158750 w 120"/>
                <a:gd name="T21" fmla="*/ 171589 h 138"/>
                <a:gd name="T22" fmla="*/ 127000 w 120"/>
                <a:gd name="T23" fmla="*/ 179388 h 138"/>
                <a:gd name="T24" fmla="*/ 111125 w 120"/>
                <a:gd name="T25" fmla="*/ 155990 h 138"/>
                <a:gd name="T26" fmla="*/ 87313 w 120"/>
                <a:gd name="T27" fmla="*/ 163789 h 138"/>
                <a:gd name="T28" fmla="*/ 63500 w 120"/>
                <a:gd name="T29" fmla="*/ 148190 h 138"/>
                <a:gd name="T30" fmla="*/ 23813 w 120"/>
                <a:gd name="T31" fmla="*/ 140391 h 138"/>
                <a:gd name="T32" fmla="*/ 0 w 120"/>
                <a:gd name="T33" fmla="*/ 148190 h 1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0"/>
                <a:gd name="T52" fmla="*/ 0 h 138"/>
                <a:gd name="T53" fmla="*/ 120 w 120"/>
                <a:gd name="T54" fmla="*/ 138 h 13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0" h="138">
                  <a:moveTo>
                    <a:pt x="0" y="114"/>
                  </a:moveTo>
                  <a:lnTo>
                    <a:pt x="0" y="90"/>
                  </a:lnTo>
                  <a:lnTo>
                    <a:pt x="6" y="72"/>
                  </a:lnTo>
                  <a:lnTo>
                    <a:pt x="36" y="24"/>
                  </a:lnTo>
                  <a:lnTo>
                    <a:pt x="66" y="0"/>
                  </a:lnTo>
                  <a:lnTo>
                    <a:pt x="66" y="18"/>
                  </a:lnTo>
                  <a:lnTo>
                    <a:pt x="54" y="42"/>
                  </a:lnTo>
                  <a:lnTo>
                    <a:pt x="60" y="54"/>
                  </a:lnTo>
                  <a:lnTo>
                    <a:pt x="108" y="78"/>
                  </a:lnTo>
                  <a:lnTo>
                    <a:pt x="120" y="108"/>
                  </a:lnTo>
                  <a:lnTo>
                    <a:pt x="120" y="132"/>
                  </a:lnTo>
                  <a:lnTo>
                    <a:pt x="96" y="138"/>
                  </a:lnTo>
                  <a:lnTo>
                    <a:pt x="84" y="120"/>
                  </a:lnTo>
                  <a:lnTo>
                    <a:pt x="66" y="126"/>
                  </a:lnTo>
                  <a:lnTo>
                    <a:pt x="48" y="114"/>
                  </a:lnTo>
                  <a:lnTo>
                    <a:pt x="18" y="108"/>
                  </a:lnTo>
                  <a:lnTo>
                    <a:pt x="0" y="114"/>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09" name="Freeform 277"/>
            <p:cNvSpPr>
              <a:spLocks/>
            </p:cNvSpPr>
            <p:nvPr/>
          </p:nvSpPr>
          <p:spPr bwMode="auto">
            <a:xfrm>
              <a:off x="4025810" y="3550133"/>
              <a:ext cx="265638" cy="76349"/>
            </a:xfrm>
            <a:custGeom>
              <a:avLst/>
              <a:gdLst>
                <a:gd name="T0" fmla="*/ 15784 w 35"/>
                <a:gd name="T1" fmla="*/ 7779 h 10"/>
                <a:gd name="T2" fmla="*/ 63137 w 35"/>
                <a:gd name="T3" fmla="*/ 0 h 10"/>
                <a:gd name="T4" fmla="*/ 149951 w 35"/>
                <a:gd name="T5" fmla="*/ 0 h 10"/>
                <a:gd name="T6" fmla="*/ 205196 w 35"/>
                <a:gd name="T7" fmla="*/ 23336 h 10"/>
                <a:gd name="T8" fmla="*/ 220980 w 35"/>
                <a:gd name="T9" fmla="*/ 46672 h 10"/>
                <a:gd name="T10" fmla="*/ 260441 w 35"/>
                <a:gd name="T11" fmla="*/ 54451 h 10"/>
                <a:gd name="T12" fmla="*/ 276225 w 35"/>
                <a:gd name="T13" fmla="*/ 70008 h 10"/>
                <a:gd name="T14" fmla="*/ 260441 w 35"/>
                <a:gd name="T15" fmla="*/ 77787 h 10"/>
                <a:gd name="T16" fmla="*/ 197304 w 35"/>
                <a:gd name="T17" fmla="*/ 77787 h 10"/>
                <a:gd name="T18" fmla="*/ 181519 w 35"/>
                <a:gd name="T19" fmla="*/ 62230 h 10"/>
                <a:gd name="T20" fmla="*/ 165735 w 35"/>
                <a:gd name="T21" fmla="*/ 38894 h 10"/>
                <a:gd name="T22" fmla="*/ 118382 w 35"/>
                <a:gd name="T23" fmla="*/ 31115 h 10"/>
                <a:gd name="T24" fmla="*/ 71029 w 35"/>
                <a:gd name="T25" fmla="*/ 31115 h 10"/>
                <a:gd name="T26" fmla="*/ 39461 w 35"/>
                <a:gd name="T27" fmla="*/ 31115 h 10"/>
                <a:gd name="T28" fmla="*/ 0 w 35"/>
                <a:gd name="T29" fmla="*/ 23336 h 10"/>
                <a:gd name="T30" fmla="*/ 15784 w 35"/>
                <a:gd name="T31" fmla="*/ 7779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5"/>
                <a:gd name="T49" fmla="*/ 0 h 10"/>
                <a:gd name="T50" fmla="*/ 35 w 35"/>
                <a:gd name="T51" fmla="*/ 10 h 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5" h="10">
                  <a:moveTo>
                    <a:pt x="2" y="1"/>
                  </a:moveTo>
                  <a:cubicBezTo>
                    <a:pt x="8" y="0"/>
                    <a:pt x="8" y="0"/>
                    <a:pt x="8" y="0"/>
                  </a:cubicBezTo>
                  <a:cubicBezTo>
                    <a:pt x="19" y="0"/>
                    <a:pt x="19" y="0"/>
                    <a:pt x="19" y="0"/>
                  </a:cubicBezTo>
                  <a:cubicBezTo>
                    <a:pt x="26" y="3"/>
                    <a:pt x="26" y="3"/>
                    <a:pt x="26" y="3"/>
                  </a:cubicBezTo>
                  <a:cubicBezTo>
                    <a:pt x="26" y="3"/>
                    <a:pt x="27" y="5"/>
                    <a:pt x="28" y="6"/>
                  </a:cubicBezTo>
                  <a:cubicBezTo>
                    <a:pt x="30" y="7"/>
                    <a:pt x="33" y="7"/>
                    <a:pt x="33" y="7"/>
                  </a:cubicBezTo>
                  <a:cubicBezTo>
                    <a:pt x="35" y="9"/>
                    <a:pt x="35" y="9"/>
                    <a:pt x="35" y="9"/>
                  </a:cubicBezTo>
                  <a:cubicBezTo>
                    <a:pt x="35" y="9"/>
                    <a:pt x="35" y="10"/>
                    <a:pt x="33" y="10"/>
                  </a:cubicBezTo>
                  <a:cubicBezTo>
                    <a:pt x="31" y="10"/>
                    <a:pt x="25" y="10"/>
                    <a:pt x="25" y="10"/>
                  </a:cubicBezTo>
                  <a:cubicBezTo>
                    <a:pt x="23" y="8"/>
                    <a:pt x="23" y="8"/>
                    <a:pt x="23" y="8"/>
                  </a:cubicBezTo>
                  <a:cubicBezTo>
                    <a:pt x="21" y="5"/>
                    <a:pt x="21" y="5"/>
                    <a:pt x="21" y="5"/>
                  </a:cubicBezTo>
                  <a:cubicBezTo>
                    <a:pt x="15" y="4"/>
                    <a:pt x="15" y="4"/>
                    <a:pt x="15" y="4"/>
                  </a:cubicBezTo>
                  <a:cubicBezTo>
                    <a:pt x="9" y="4"/>
                    <a:pt x="9" y="4"/>
                    <a:pt x="9" y="4"/>
                  </a:cubicBezTo>
                  <a:cubicBezTo>
                    <a:pt x="5" y="4"/>
                    <a:pt x="5" y="4"/>
                    <a:pt x="5" y="4"/>
                  </a:cubicBezTo>
                  <a:cubicBezTo>
                    <a:pt x="0" y="3"/>
                    <a:pt x="0" y="3"/>
                    <a:pt x="0" y="3"/>
                  </a:cubicBezTo>
                  <a:lnTo>
                    <a:pt x="2" y="1"/>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10" name="Freeform 278"/>
            <p:cNvSpPr>
              <a:spLocks/>
            </p:cNvSpPr>
            <p:nvPr/>
          </p:nvSpPr>
          <p:spPr bwMode="auto">
            <a:xfrm>
              <a:off x="4291451" y="3634273"/>
              <a:ext cx="164879" cy="46747"/>
            </a:xfrm>
            <a:custGeom>
              <a:avLst/>
              <a:gdLst>
                <a:gd name="T0" fmla="*/ 31173 w 132"/>
                <a:gd name="T1" fmla="*/ 0 h 36"/>
                <a:gd name="T2" fmla="*/ 31173 w 132"/>
                <a:gd name="T3" fmla="*/ 15875 h 36"/>
                <a:gd name="T4" fmla="*/ 0 w 132"/>
                <a:gd name="T5" fmla="*/ 23813 h 36"/>
                <a:gd name="T6" fmla="*/ 38966 w 132"/>
                <a:gd name="T7" fmla="*/ 39687 h 36"/>
                <a:gd name="T8" fmla="*/ 54552 w 132"/>
                <a:gd name="T9" fmla="*/ 47625 h 36"/>
                <a:gd name="T10" fmla="*/ 85725 w 132"/>
                <a:gd name="T11" fmla="*/ 47625 h 36"/>
                <a:gd name="T12" fmla="*/ 109105 w 132"/>
                <a:gd name="T13" fmla="*/ 31750 h 36"/>
                <a:gd name="T14" fmla="*/ 171450 w 132"/>
                <a:gd name="T15" fmla="*/ 39687 h 36"/>
                <a:gd name="T16" fmla="*/ 140277 w 132"/>
                <a:gd name="T17" fmla="*/ 23813 h 36"/>
                <a:gd name="T18" fmla="*/ 93518 w 132"/>
                <a:gd name="T19" fmla="*/ 0 h 36"/>
                <a:gd name="T20" fmla="*/ 31173 w 132"/>
                <a:gd name="T21" fmla="*/ 0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2"/>
                <a:gd name="T34" fmla="*/ 0 h 36"/>
                <a:gd name="T35" fmla="*/ 132 w 132"/>
                <a:gd name="T36" fmla="*/ 36 h 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2" h="36">
                  <a:moveTo>
                    <a:pt x="24" y="0"/>
                  </a:moveTo>
                  <a:lnTo>
                    <a:pt x="24" y="12"/>
                  </a:lnTo>
                  <a:lnTo>
                    <a:pt x="0" y="18"/>
                  </a:lnTo>
                  <a:lnTo>
                    <a:pt x="30" y="30"/>
                  </a:lnTo>
                  <a:lnTo>
                    <a:pt x="42" y="36"/>
                  </a:lnTo>
                  <a:lnTo>
                    <a:pt x="66" y="36"/>
                  </a:lnTo>
                  <a:lnTo>
                    <a:pt x="84" y="24"/>
                  </a:lnTo>
                  <a:lnTo>
                    <a:pt x="132" y="30"/>
                  </a:lnTo>
                  <a:lnTo>
                    <a:pt x="108" y="18"/>
                  </a:lnTo>
                  <a:lnTo>
                    <a:pt x="72" y="0"/>
                  </a:lnTo>
                  <a:lnTo>
                    <a:pt x="24" y="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11" name="Freeform 279"/>
            <p:cNvSpPr>
              <a:spLocks/>
            </p:cNvSpPr>
            <p:nvPr/>
          </p:nvSpPr>
          <p:spPr bwMode="auto">
            <a:xfrm>
              <a:off x="6448620" y="3102931"/>
              <a:ext cx="74805" cy="45188"/>
            </a:xfrm>
            <a:custGeom>
              <a:avLst/>
              <a:gdLst>
                <a:gd name="T0" fmla="*/ 0 w 60"/>
                <a:gd name="T1" fmla="*/ 15346 h 36"/>
                <a:gd name="T2" fmla="*/ 46672 w 60"/>
                <a:gd name="T3" fmla="*/ 0 h 36"/>
                <a:gd name="T4" fmla="*/ 77787 w 60"/>
                <a:gd name="T5" fmla="*/ 7673 h 36"/>
                <a:gd name="T6" fmla="*/ 77787 w 60"/>
                <a:gd name="T7" fmla="*/ 23019 h 36"/>
                <a:gd name="T8" fmla="*/ 70008 w 60"/>
                <a:gd name="T9" fmla="*/ 46038 h 36"/>
                <a:gd name="T10" fmla="*/ 38894 w 60"/>
                <a:gd name="T11" fmla="*/ 30692 h 36"/>
                <a:gd name="T12" fmla="*/ 0 w 60"/>
                <a:gd name="T13" fmla="*/ 15346 h 36"/>
                <a:gd name="T14" fmla="*/ 0 60000 65536"/>
                <a:gd name="T15" fmla="*/ 0 60000 65536"/>
                <a:gd name="T16" fmla="*/ 0 60000 65536"/>
                <a:gd name="T17" fmla="*/ 0 60000 65536"/>
                <a:gd name="T18" fmla="*/ 0 60000 65536"/>
                <a:gd name="T19" fmla="*/ 0 60000 65536"/>
                <a:gd name="T20" fmla="*/ 0 60000 65536"/>
                <a:gd name="T21" fmla="*/ 0 w 60"/>
                <a:gd name="T22" fmla="*/ 0 h 36"/>
                <a:gd name="T23" fmla="*/ 60 w 60"/>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0" h="36">
                  <a:moveTo>
                    <a:pt x="0" y="12"/>
                  </a:moveTo>
                  <a:lnTo>
                    <a:pt x="36" y="0"/>
                  </a:lnTo>
                  <a:lnTo>
                    <a:pt x="60" y="6"/>
                  </a:lnTo>
                  <a:lnTo>
                    <a:pt x="60" y="18"/>
                  </a:lnTo>
                  <a:lnTo>
                    <a:pt x="54" y="36"/>
                  </a:lnTo>
                  <a:lnTo>
                    <a:pt x="30" y="24"/>
                  </a:lnTo>
                  <a:lnTo>
                    <a:pt x="0" y="12"/>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12" name="Freeform 280"/>
            <p:cNvSpPr>
              <a:spLocks/>
            </p:cNvSpPr>
            <p:nvPr/>
          </p:nvSpPr>
          <p:spPr bwMode="auto">
            <a:xfrm>
              <a:off x="6364678" y="3017305"/>
              <a:ext cx="30533" cy="60769"/>
            </a:xfrm>
            <a:custGeom>
              <a:avLst/>
              <a:gdLst>
                <a:gd name="T0" fmla="*/ 0 w 24"/>
                <a:gd name="T1" fmla="*/ 61912 h 48"/>
                <a:gd name="T2" fmla="*/ 7938 w 24"/>
                <a:gd name="T3" fmla="*/ 7739 h 48"/>
                <a:gd name="T4" fmla="*/ 23813 w 24"/>
                <a:gd name="T5" fmla="*/ 0 h 48"/>
                <a:gd name="T6" fmla="*/ 31750 w 24"/>
                <a:gd name="T7" fmla="*/ 30956 h 48"/>
                <a:gd name="T8" fmla="*/ 31750 w 24"/>
                <a:gd name="T9" fmla="*/ 61912 h 48"/>
                <a:gd name="T10" fmla="*/ 0 w 24"/>
                <a:gd name="T11" fmla="*/ 61912 h 48"/>
                <a:gd name="T12" fmla="*/ 0 60000 65536"/>
                <a:gd name="T13" fmla="*/ 0 60000 65536"/>
                <a:gd name="T14" fmla="*/ 0 60000 65536"/>
                <a:gd name="T15" fmla="*/ 0 60000 65536"/>
                <a:gd name="T16" fmla="*/ 0 60000 65536"/>
                <a:gd name="T17" fmla="*/ 0 60000 65536"/>
                <a:gd name="T18" fmla="*/ 0 w 24"/>
                <a:gd name="T19" fmla="*/ 0 h 48"/>
                <a:gd name="T20" fmla="*/ 24 w 24"/>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4" h="48">
                  <a:moveTo>
                    <a:pt x="0" y="48"/>
                  </a:moveTo>
                  <a:lnTo>
                    <a:pt x="6" y="6"/>
                  </a:lnTo>
                  <a:lnTo>
                    <a:pt x="18" y="0"/>
                  </a:lnTo>
                  <a:lnTo>
                    <a:pt x="24" y="24"/>
                  </a:lnTo>
                  <a:lnTo>
                    <a:pt x="24" y="48"/>
                  </a:lnTo>
                  <a:lnTo>
                    <a:pt x="0" y="48"/>
                  </a:lnTo>
                  <a:close/>
                </a:path>
              </a:pathLst>
            </a:custGeom>
            <a:solidFill>
              <a:srgbClr val="598E27"/>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13" name="Freeform 281"/>
            <p:cNvSpPr>
              <a:spLocks/>
            </p:cNvSpPr>
            <p:nvPr/>
          </p:nvSpPr>
          <p:spPr bwMode="auto">
            <a:xfrm>
              <a:off x="6357009" y="2954948"/>
              <a:ext cx="38166" cy="46747"/>
            </a:xfrm>
            <a:custGeom>
              <a:avLst/>
              <a:gdLst>
                <a:gd name="T0" fmla="*/ 0 w 30"/>
                <a:gd name="T1" fmla="*/ 15446 h 37"/>
                <a:gd name="T2" fmla="*/ 31750 w 30"/>
                <a:gd name="T3" fmla="*/ 0 h 37"/>
                <a:gd name="T4" fmla="*/ 39687 w 30"/>
                <a:gd name="T5" fmla="*/ 30892 h 37"/>
                <a:gd name="T6" fmla="*/ 31750 w 30"/>
                <a:gd name="T7" fmla="*/ 47625 h 37"/>
                <a:gd name="T8" fmla="*/ 0 w 30"/>
                <a:gd name="T9" fmla="*/ 15446 h 37"/>
                <a:gd name="T10" fmla="*/ 0 60000 65536"/>
                <a:gd name="T11" fmla="*/ 0 60000 65536"/>
                <a:gd name="T12" fmla="*/ 0 60000 65536"/>
                <a:gd name="T13" fmla="*/ 0 60000 65536"/>
                <a:gd name="T14" fmla="*/ 0 60000 65536"/>
                <a:gd name="T15" fmla="*/ 0 w 30"/>
                <a:gd name="T16" fmla="*/ 0 h 37"/>
                <a:gd name="T17" fmla="*/ 30 w 30"/>
                <a:gd name="T18" fmla="*/ 37 h 37"/>
              </a:gdLst>
              <a:ahLst/>
              <a:cxnLst>
                <a:cxn ang="T10">
                  <a:pos x="T0" y="T1"/>
                </a:cxn>
                <a:cxn ang="T11">
                  <a:pos x="T2" y="T3"/>
                </a:cxn>
                <a:cxn ang="T12">
                  <a:pos x="T4" y="T5"/>
                </a:cxn>
                <a:cxn ang="T13">
                  <a:pos x="T6" y="T7"/>
                </a:cxn>
                <a:cxn ang="T14">
                  <a:pos x="T8" y="T9"/>
                </a:cxn>
              </a:cxnLst>
              <a:rect l="T15" t="T16" r="T17" b="T18"/>
              <a:pathLst>
                <a:path w="30" h="37">
                  <a:moveTo>
                    <a:pt x="0" y="12"/>
                  </a:moveTo>
                  <a:lnTo>
                    <a:pt x="24" y="0"/>
                  </a:lnTo>
                  <a:lnTo>
                    <a:pt x="30" y="24"/>
                  </a:lnTo>
                  <a:lnTo>
                    <a:pt x="24" y="37"/>
                  </a:lnTo>
                  <a:lnTo>
                    <a:pt x="0" y="12"/>
                  </a:lnTo>
                  <a:close/>
                </a:path>
              </a:pathLst>
            </a:custGeom>
            <a:solidFill>
              <a:srgbClr val="598E27"/>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14" name="Freeform 282"/>
            <p:cNvSpPr>
              <a:spLocks/>
            </p:cNvSpPr>
            <p:nvPr/>
          </p:nvSpPr>
          <p:spPr bwMode="auto">
            <a:xfrm>
              <a:off x="7143259" y="3140402"/>
              <a:ext cx="38167" cy="7791"/>
            </a:xfrm>
            <a:custGeom>
              <a:avLst/>
              <a:gdLst>
                <a:gd name="T0" fmla="*/ 31750 w 30"/>
                <a:gd name="T1" fmla="*/ 0 h 6"/>
                <a:gd name="T2" fmla="*/ 39688 w 30"/>
                <a:gd name="T3" fmla="*/ 0 h 6"/>
                <a:gd name="T4" fmla="*/ 0 w 30"/>
                <a:gd name="T5" fmla="*/ 7938 h 6"/>
                <a:gd name="T6" fmla="*/ 31750 w 30"/>
                <a:gd name="T7" fmla="*/ 0 h 6"/>
                <a:gd name="T8" fmla="*/ 0 60000 65536"/>
                <a:gd name="T9" fmla="*/ 0 60000 65536"/>
                <a:gd name="T10" fmla="*/ 0 60000 65536"/>
                <a:gd name="T11" fmla="*/ 0 60000 65536"/>
                <a:gd name="T12" fmla="*/ 0 w 30"/>
                <a:gd name="T13" fmla="*/ 0 h 6"/>
                <a:gd name="T14" fmla="*/ 30 w 30"/>
                <a:gd name="T15" fmla="*/ 6 h 6"/>
              </a:gdLst>
              <a:ahLst/>
              <a:cxnLst>
                <a:cxn ang="T8">
                  <a:pos x="T0" y="T1"/>
                </a:cxn>
                <a:cxn ang="T9">
                  <a:pos x="T2" y="T3"/>
                </a:cxn>
                <a:cxn ang="T10">
                  <a:pos x="T4" y="T5"/>
                </a:cxn>
                <a:cxn ang="T11">
                  <a:pos x="T6" y="T7"/>
                </a:cxn>
              </a:cxnLst>
              <a:rect l="T12" t="T13" r="T14" b="T15"/>
              <a:pathLst>
                <a:path w="30" h="6">
                  <a:moveTo>
                    <a:pt x="24" y="0"/>
                  </a:moveTo>
                  <a:lnTo>
                    <a:pt x="30" y="0"/>
                  </a:lnTo>
                  <a:lnTo>
                    <a:pt x="0" y="6"/>
                  </a:lnTo>
                  <a:lnTo>
                    <a:pt x="24" y="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15" name="Rectangle 283"/>
            <p:cNvSpPr>
              <a:spLocks noChangeArrowheads="1"/>
            </p:cNvSpPr>
            <p:nvPr/>
          </p:nvSpPr>
          <p:spPr bwMode="auto">
            <a:xfrm>
              <a:off x="7008890" y="3367822"/>
              <a:ext cx="0" cy="3117"/>
            </a:xfrm>
            <a:prstGeom prst="rect">
              <a:avLst/>
            </a:prstGeom>
            <a:solidFill>
              <a:schemeClr val="bg1">
                <a:lumMod val="85000"/>
              </a:schemeClr>
            </a:solidFill>
            <a:ln w="9525">
              <a:solidFill>
                <a:schemeClr val="bg1">
                  <a:lumMod val="95000"/>
                </a:schemeClr>
              </a:solidFill>
              <a:miter lim="800000"/>
              <a:headEnd/>
              <a:tailEnd/>
            </a:ln>
          </p:spPr>
          <p:txBody>
            <a:bodyPr lIns="91372" tIns="45686" rIns="91372" bIns="45686"/>
            <a:lstStyle/>
            <a:p>
              <a:pPr defTabSz="843107">
                <a:defRPr/>
              </a:pPr>
              <a:endParaRPr lang="en-US" sz="1600" kern="0" dirty="0">
                <a:solidFill>
                  <a:srgbClr val="263147"/>
                </a:solidFill>
              </a:endParaRPr>
            </a:p>
          </p:txBody>
        </p:sp>
        <p:sp>
          <p:nvSpPr>
            <p:cNvPr id="116" name="Freeform 284"/>
            <p:cNvSpPr>
              <a:spLocks/>
            </p:cNvSpPr>
            <p:nvPr/>
          </p:nvSpPr>
          <p:spPr bwMode="auto">
            <a:xfrm>
              <a:off x="6787529" y="2993904"/>
              <a:ext cx="445783" cy="176075"/>
            </a:xfrm>
            <a:custGeom>
              <a:avLst/>
              <a:gdLst>
                <a:gd name="T0" fmla="*/ 267131 w 59"/>
                <a:gd name="T1" fmla="*/ 155990 h 23"/>
                <a:gd name="T2" fmla="*/ 282844 w 59"/>
                <a:gd name="T3" fmla="*/ 163789 h 23"/>
                <a:gd name="T4" fmla="*/ 369269 w 59"/>
                <a:gd name="T5" fmla="*/ 155990 h 23"/>
                <a:gd name="T6" fmla="*/ 408553 w 59"/>
                <a:gd name="T7" fmla="*/ 148190 h 23"/>
                <a:gd name="T8" fmla="*/ 447836 w 59"/>
                <a:gd name="T9" fmla="*/ 140391 h 23"/>
                <a:gd name="T10" fmla="*/ 463550 w 59"/>
                <a:gd name="T11" fmla="*/ 148190 h 23"/>
                <a:gd name="T12" fmla="*/ 455693 w 59"/>
                <a:gd name="T13" fmla="*/ 124792 h 23"/>
                <a:gd name="T14" fmla="*/ 455693 w 59"/>
                <a:gd name="T15" fmla="*/ 70195 h 23"/>
                <a:gd name="T16" fmla="*/ 463550 w 59"/>
                <a:gd name="T17" fmla="*/ 62396 h 23"/>
                <a:gd name="T18" fmla="*/ 432123 w 59"/>
                <a:gd name="T19" fmla="*/ 23398 h 23"/>
                <a:gd name="T20" fmla="*/ 416409 w 59"/>
                <a:gd name="T21" fmla="*/ 7799 h 23"/>
                <a:gd name="T22" fmla="*/ 392839 w 59"/>
                <a:gd name="T23" fmla="*/ 7799 h 23"/>
                <a:gd name="T24" fmla="*/ 384982 w 59"/>
                <a:gd name="T25" fmla="*/ 0 h 23"/>
                <a:gd name="T26" fmla="*/ 384982 w 59"/>
                <a:gd name="T27" fmla="*/ 0 h 23"/>
                <a:gd name="T28" fmla="*/ 353555 w 59"/>
                <a:gd name="T29" fmla="*/ 23398 h 23"/>
                <a:gd name="T30" fmla="*/ 314271 w 59"/>
                <a:gd name="T31" fmla="*/ 23398 h 23"/>
                <a:gd name="T32" fmla="*/ 306414 w 59"/>
                <a:gd name="T33" fmla="*/ 23398 h 23"/>
                <a:gd name="T34" fmla="*/ 306414 w 59"/>
                <a:gd name="T35" fmla="*/ 23398 h 23"/>
                <a:gd name="T36" fmla="*/ 274987 w 59"/>
                <a:gd name="T37" fmla="*/ 7799 h 23"/>
                <a:gd name="T38" fmla="*/ 251417 w 59"/>
                <a:gd name="T39" fmla="*/ 0 h 23"/>
                <a:gd name="T40" fmla="*/ 188563 w 59"/>
                <a:gd name="T41" fmla="*/ 0 h 23"/>
                <a:gd name="T42" fmla="*/ 172849 w 59"/>
                <a:gd name="T43" fmla="*/ 0 h 23"/>
                <a:gd name="T44" fmla="*/ 149279 w 59"/>
                <a:gd name="T45" fmla="*/ 7799 h 23"/>
                <a:gd name="T46" fmla="*/ 133565 w 59"/>
                <a:gd name="T47" fmla="*/ 23398 h 23"/>
                <a:gd name="T48" fmla="*/ 94281 w 59"/>
                <a:gd name="T49" fmla="*/ 31198 h 23"/>
                <a:gd name="T50" fmla="*/ 86425 w 59"/>
                <a:gd name="T51" fmla="*/ 23398 h 23"/>
                <a:gd name="T52" fmla="*/ 78568 w 59"/>
                <a:gd name="T53" fmla="*/ 23398 h 23"/>
                <a:gd name="T54" fmla="*/ 62854 w 59"/>
                <a:gd name="T55" fmla="*/ 46797 h 23"/>
                <a:gd name="T56" fmla="*/ 31427 w 59"/>
                <a:gd name="T57" fmla="*/ 46797 h 23"/>
                <a:gd name="T58" fmla="*/ 0 w 59"/>
                <a:gd name="T59" fmla="*/ 70195 h 23"/>
                <a:gd name="T60" fmla="*/ 15714 w 59"/>
                <a:gd name="T61" fmla="*/ 93594 h 23"/>
                <a:gd name="T62" fmla="*/ 31427 w 59"/>
                <a:gd name="T63" fmla="*/ 132591 h 23"/>
                <a:gd name="T64" fmla="*/ 47141 w 59"/>
                <a:gd name="T65" fmla="*/ 155990 h 23"/>
                <a:gd name="T66" fmla="*/ 117852 w 59"/>
                <a:gd name="T67" fmla="*/ 163789 h 23"/>
                <a:gd name="T68" fmla="*/ 125709 w 59"/>
                <a:gd name="T69" fmla="*/ 163789 h 23"/>
                <a:gd name="T70" fmla="*/ 180706 w 59"/>
                <a:gd name="T71" fmla="*/ 179388 h 23"/>
                <a:gd name="T72" fmla="*/ 212133 w 59"/>
                <a:gd name="T73" fmla="*/ 163789 h 23"/>
                <a:gd name="T74" fmla="*/ 243560 w 59"/>
                <a:gd name="T75" fmla="*/ 179388 h 23"/>
                <a:gd name="T76" fmla="*/ 243560 w 59"/>
                <a:gd name="T77" fmla="*/ 179388 h 23"/>
                <a:gd name="T78" fmla="*/ 243560 w 59"/>
                <a:gd name="T79" fmla="*/ 179388 h 23"/>
                <a:gd name="T80" fmla="*/ 267131 w 59"/>
                <a:gd name="T81" fmla="*/ 155990 h 2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9"/>
                <a:gd name="T124" fmla="*/ 0 h 23"/>
                <a:gd name="T125" fmla="*/ 59 w 59"/>
                <a:gd name="T126" fmla="*/ 23 h 2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9" h="23">
                  <a:moveTo>
                    <a:pt x="34" y="20"/>
                  </a:moveTo>
                  <a:cubicBezTo>
                    <a:pt x="36" y="21"/>
                    <a:pt x="36" y="21"/>
                    <a:pt x="36" y="21"/>
                  </a:cubicBezTo>
                  <a:cubicBezTo>
                    <a:pt x="47" y="20"/>
                    <a:pt x="47" y="20"/>
                    <a:pt x="47" y="20"/>
                  </a:cubicBezTo>
                  <a:cubicBezTo>
                    <a:pt x="52" y="19"/>
                    <a:pt x="52" y="19"/>
                    <a:pt x="52" y="19"/>
                  </a:cubicBezTo>
                  <a:cubicBezTo>
                    <a:pt x="57" y="18"/>
                    <a:pt x="57" y="18"/>
                    <a:pt x="57" y="18"/>
                  </a:cubicBezTo>
                  <a:cubicBezTo>
                    <a:pt x="59" y="19"/>
                    <a:pt x="59" y="19"/>
                    <a:pt x="59" y="19"/>
                  </a:cubicBezTo>
                  <a:cubicBezTo>
                    <a:pt x="59" y="19"/>
                    <a:pt x="58" y="16"/>
                    <a:pt x="58" y="16"/>
                  </a:cubicBezTo>
                  <a:cubicBezTo>
                    <a:pt x="58" y="15"/>
                    <a:pt x="58" y="9"/>
                    <a:pt x="58" y="9"/>
                  </a:cubicBezTo>
                  <a:cubicBezTo>
                    <a:pt x="59" y="8"/>
                    <a:pt x="59" y="8"/>
                    <a:pt x="59" y="8"/>
                  </a:cubicBezTo>
                  <a:cubicBezTo>
                    <a:pt x="55" y="3"/>
                    <a:pt x="55" y="3"/>
                    <a:pt x="55" y="3"/>
                  </a:cubicBezTo>
                  <a:cubicBezTo>
                    <a:pt x="53" y="1"/>
                    <a:pt x="53" y="1"/>
                    <a:pt x="53" y="1"/>
                  </a:cubicBezTo>
                  <a:cubicBezTo>
                    <a:pt x="50" y="1"/>
                    <a:pt x="50" y="1"/>
                    <a:pt x="50" y="1"/>
                  </a:cubicBezTo>
                  <a:cubicBezTo>
                    <a:pt x="49" y="0"/>
                    <a:pt x="49" y="0"/>
                    <a:pt x="49" y="0"/>
                  </a:cubicBezTo>
                  <a:cubicBezTo>
                    <a:pt x="49" y="0"/>
                    <a:pt x="49" y="0"/>
                    <a:pt x="49" y="0"/>
                  </a:cubicBezTo>
                  <a:cubicBezTo>
                    <a:pt x="45" y="3"/>
                    <a:pt x="45" y="3"/>
                    <a:pt x="45" y="3"/>
                  </a:cubicBezTo>
                  <a:cubicBezTo>
                    <a:pt x="40" y="3"/>
                    <a:pt x="40" y="3"/>
                    <a:pt x="40" y="3"/>
                  </a:cubicBezTo>
                  <a:cubicBezTo>
                    <a:pt x="39" y="3"/>
                    <a:pt x="39" y="3"/>
                    <a:pt x="39" y="3"/>
                  </a:cubicBezTo>
                  <a:cubicBezTo>
                    <a:pt x="39" y="3"/>
                    <a:pt x="39" y="3"/>
                    <a:pt x="39" y="3"/>
                  </a:cubicBezTo>
                  <a:cubicBezTo>
                    <a:pt x="35" y="1"/>
                    <a:pt x="35" y="1"/>
                    <a:pt x="35" y="1"/>
                  </a:cubicBezTo>
                  <a:cubicBezTo>
                    <a:pt x="32" y="0"/>
                    <a:pt x="32" y="0"/>
                    <a:pt x="32" y="0"/>
                  </a:cubicBezTo>
                  <a:cubicBezTo>
                    <a:pt x="24" y="0"/>
                    <a:pt x="24" y="0"/>
                    <a:pt x="24" y="0"/>
                  </a:cubicBezTo>
                  <a:cubicBezTo>
                    <a:pt x="22" y="0"/>
                    <a:pt x="22" y="0"/>
                    <a:pt x="22" y="0"/>
                  </a:cubicBezTo>
                  <a:cubicBezTo>
                    <a:pt x="19" y="1"/>
                    <a:pt x="19" y="1"/>
                    <a:pt x="19" y="1"/>
                  </a:cubicBezTo>
                  <a:cubicBezTo>
                    <a:pt x="17" y="3"/>
                    <a:pt x="17" y="3"/>
                    <a:pt x="17" y="3"/>
                  </a:cubicBezTo>
                  <a:cubicBezTo>
                    <a:pt x="12" y="4"/>
                    <a:pt x="12" y="4"/>
                    <a:pt x="12" y="4"/>
                  </a:cubicBezTo>
                  <a:cubicBezTo>
                    <a:pt x="11" y="3"/>
                    <a:pt x="11" y="3"/>
                    <a:pt x="11" y="3"/>
                  </a:cubicBezTo>
                  <a:cubicBezTo>
                    <a:pt x="10" y="3"/>
                    <a:pt x="10" y="3"/>
                    <a:pt x="10" y="3"/>
                  </a:cubicBezTo>
                  <a:cubicBezTo>
                    <a:pt x="8" y="6"/>
                    <a:pt x="8" y="6"/>
                    <a:pt x="8" y="6"/>
                  </a:cubicBezTo>
                  <a:cubicBezTo>
                    <a:pt x="4" y="6"/>
                    <a:pt x="4" y="6"/>
                    <a:pt x="4" y="6"/>
                  </a:cubicBezTo>
                  <a:cubicBezTo>
                    <a:pt x="0" y="9"/>
                    <a:pt x="0" y="9"/>
                    <a:pt x="0" y="9"/>
                  </a:cubicBezTo>
                  <a:cubicBezTo>
                    <a:pt x="2" y="12"/>
                    <a:pt x="2" y="12"/>
                    <a:pt x="2" y="12"/>
                  </a:cubicBezTo>
                  <a:cubicBezTo>
                    <a:pt x="4" y="17"/>
                    <a:pt x="4" y="17"/>
                    <a:pt x="4" y="17"/>
                  </a:cubicBezTo>
                  <a:cubicBezTo>
                    <a:pt x="6" y="20"/>
                    <a:pt x="6" y="20"/>
                    <a:pt x="6" y="20"/>
                  </a:cubicBezTo>
                  <a:cubicBezTo>
                    <a:pt x="15" y="21"/>
                    <a:pt x="15" y="21"/>
                    <a:pt x="15" y="21"/>
                  </a:cubicBezTo>
                  <a:cubicBezTo>
                    <a:pt x="16" y="21"/>
                    <a:pt x="16" y="21"/>
                    <a:pt x="16" y="21"/>
                  </a:cubicBezTo>
                  <a:cubicBezTo>
                    <a:pt x="23" y="23"/>
                    <a:pt x="23" y="23"/>
                    <a:pt x="23" y="23"/>
                  </a:cubicBezTo>
                  <a:cubicBezTo>
                    <a:pt x="27" y="21"/>
                    <a:pt x="27" y="21"/>
                    <a:pt x="27" y="21"/>
                  </a:cubicBezTo>
                  <a:cubicBezTo>
                    <a:pt x="31" y="23"/>
                    <a:pt x="31" y="23"/>
                    <a:pt x="31" y="23"/>
                  </a:cubicBezTo>
                  <a:cubicBezTo>
                    <a:pt x="31" y="23"/>
                    <a:pt x="31" y="23"/>
                    <a:pt x="31" y="23"/>
                  </a:cubicBezTo>
                  <a:cubicBezTo>
                    <a:pt x="31" y="23"/>
                    <a:pt x="31" y="23"/>
                    <a:pt x="31" y="23"/>
                  </a:cubicBezTo>
                  <a:lnTo>
                    <a:pt x="34" y="2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17" name="Freeform 285"/>
            <p:cNvSpPr>
              <a:spLocks/>
            </p:cNvSpPr>
            <p:nvPr/>
          </p:nvSpPr>
          <p:spPr bwMode="auto">
            <a:xfrm>
              <a:off x="6998216" y="3140324"/>
              <a:ext cx="174039" cy="143352"/>
            </a:xfrm>
            <a:custGeom>
              <a:avLst/>
              <a:gdLst>
                <a:gd name="T0" fmla="*/ 32549 w 139"/>
                <a:gd name="T1" fmla="*/ 146050 h 114"/>
                <a:gd name="T2" fmla="*/ 79421 w 139"/>
                <a:gd name="T3" fmla="*/ 122989 h 114"/>
                <a:gd name="T4" fmla="*/ 95044 w 139"/>
                <a:gd name="T5" fmla="*/ 115303 h 114"/>
                <a:gd name="T6" fmla="*/ 149727 w 139"/>
                <a:gd name="T7" fmla="*/ 84555 h 114"/>
                <a:gd name="T8" fmla="*/ 165351 w 139"/>
                <a:gd name="T9" fmla="*/ 30747 h 114"/>
                <a:gd name="T10" fmla="*/ 180975 w 139"/>
                <a:gd name="T11" fmla="*/ 7687 h 114"/>
                <a:gd name="T12" fmla="*/ 180975 w 139"/>
                <a:gd name="T13" fmla="*/ 0 h 114"/>
                <a:gd name="T14" fmla="*/ 149727 w 139"/>
                <a:gd name="T15" fmla="*/ 7687 h 114"/>
                <a:gd name="T16" fmla="*/ 63797 w 139"/>
                <a:gd name="T17" fmla="*/ 15374 h 114"/>
                <a:gd name="T18" fmla="*/ 48173 w 139"/>
                <a:gd name="T19" fmla="*/ 7687 h 114"/>
                <a:gd name="T20" fmla="*/ 24738 w 139"/>
                <a:gd name="T21" fmla="*/ 30747 h 114"/>
                <a:gd name="T22" fmla="*/ 24738 w 139"/>
                <a:gd name="T23" fmla="*/ 30747 h 114"/>
                <a:gd name="T24" fmla="*/ 32549 w 139"/>
                <a:gd name="T25" fmla="*/ 61495 h 114"/>
                <a:gd name="T26" fmla="*/ 0 w 139"/>
                <a:gd name="T27" fmla="*/ 130676 h 114"/>
                <a:gd name="T28" fmla="*/ 16926 w 139"/>
                <a:gd name="T29" fmla="*/ 130676 h 114"/>
                <a:gd name="T30" fmla="*/ 32549 w 139"/>
                <a:gd name="T31" fmla="*/ 146050 h 1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9"/>
                <a:gd name="T49" fmla="*/ 0 h 114"/>
                <a:gd name="T50" fmla="*/ 139 w 139"/>
                <a:gd name="T51" fmla="*/ 114 h 1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9" h="114">
                  <a:moveTo>
                    <a:pt x="25" y="114"/>
                  </a:moveTo>
                  <a:lnTo>
                    <a:pt x="61" y="96"/>
                  </a:lnTo>
                  <a:lnTo>
                    <a:pt x="73" y="90"/>
                  </a:lnTo>
                  <a:lnTo>
                    <a:pt x="115" y="66"/>
                  </a:lnTo>
                  <a:lnTo>
                    <a:pt x="127" y="24"/>
                  </a:lnTo>
                  <a:lnTo>
                    <a:pt x="139" y="6"/>
                  </a:lnTo>
                  <a:lnTo>
                    <a:pt x="139" y="0"/>
                  </a:lnTo>
                  <a:lnTo>
                    <a:pt x="115" y="6"/>
                  </a:lnTo>
                  <a:lnTo>
                    <a:pt x="49" y="12"/>
                  </a:lnTo>
                  <a:lnTo>
                    <a:pt x="37" y="6"/>
                  </a:lnTo>
                  <a:lnTo>
                    <a:pt x="19" y="24"/>
                  </a:lnTo>
                  <a:lnTo>
                    <a:pt x="25" y="48"/>
                  </a:lnTo>
                  <a:lnTo>
                    <a:pt x="0" y="102"/>
                  </a:lnTo>
                  <a:lnTo>
                    <a:pt x="13" y="102"/>
                  </a:lnTo>
                  <a:lnTo>
                    <a:pt x="25" y="114"/>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18" name="Freeform 286"/>
            <p:cNvSpPr>
              <a:spLocks/>
            </p:cNvSpPr>
            <p:nvPr/>
          </p:nvSpPr>
          <p:spPr bwMode="auto">
            <a:xfrm>
              <a:off x="6975315" y="3254144"/>
              <a:ext cx="122133" cy="113747"/>
            </a:xfrm>
            <a:custGeom>
              <a:avLst/>
              <a:gdLst>
                <a:gd name="T0" fmla="*/ 119144 w 97"/>
                <a:gd name="T1" fmla="*/ 30903 h 90"/>
                <a:gd name="T2" fmla="*/ 119144 w 97"/>
                <a:gd name="T3" fmla="*/ 0 h 90"/>
                <a:gd name="T4" fmla="*/ 103433 w 97"/>
                <a:gd name="T5" fmla="*/ 7726 h 90"/>
                <a:gd name="T6" fmla="*/ 56299 w 97"/>
                <a:gd name="T7" fmla="*/ 30903 h 90"/>
                <a:gd name="T8" fmla="*/ 40588 w 97"/>
                <a:gd name="T9" fmla="*/ 15452 h 90"/>
                <a:gd name="T10" fmla="*/ 23567 w 97"/>
                <a:gd name="T11" fmla="*/ 15452 h 90"/>
                <a:gd name="T12" fmla="*/ 15711 w 97"/>
                <a:gd name="T13" fmla="*/ 23177 h 90"/>
                <a:gd name="T14" fmla="*/ 0 w 97"/>
                <a:gd name="T15" fmla="*/ 54081 h 90"/>
                <a:gd name="T16" fmla="*/ 23567 w 97"/>
                <a:gd name="T17" fmla="*/ 115887 h 90"/>
                <a:gd name="T18" fmla="*/ 32732 w 97"/>
                <a:gd name="T19" fmla="*/ 115887 h 90"/>
                <a:gd name="T20" fmla="*/ 32732 w 97"/>
                <a:gd name="T21" fmla="*/ 115887 h 90"/>
                <a:gd name="T22" fmla="*/ 32732 w 97"/>
                <a:gd name="T23" fmla="*/ 115887 h 90"/>
                <a:gd name="T24" fmla="*/ 48443 w 97"/>
                <a:gd name="T25" fmla="*/ 115887 h 90"/>
                <a:gd name="T26" fmla="*/ 64155 w 97"/>
                <a:gd name="T27" fmla="*/ 100435 h 90"/>
                <a:gd name="T28" fmla="*/ 87722 w 97"/>
                <a:gd name="T29" fmla="*/ 100435 h 90"/>
                <a:gd name="T30" fmla="*/ 95577 w 97"/>
                <a:gd name="T31" fmla="*/ 84984 h 90"/>
                <a:gd name="T32" fmla="*/ 79866 w 97"/>
                <a:gd name="T33" fmla="*/ 46355 h 90"/>
                <a:gd name="T34" fmla="*/ 111289 w 97"/>
                <a:gd name="T35" fmla="*/ 38629 h 90"/>
                <a:gd name="T36" fmla="*/ 127000 w 97"/>
                <a:gd name="T37" fmla="*/ 30903 h 90"/>
                <a:gd name="T38" fmla="*/ 119144 w 97"/>
                <a:gd name="T39" fmla="*/ 30903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7"/>
                <a:gd name="T61" fmla="*/ 0 h 90"/>
                <a:gd name="T62" fmla="*/ 97 w 97"/>
                <a:gd name="T63" fmla="*/ 90 h 9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19" name="Freeform 287"/>
            <p:cNvSpPr>
              <a:spLocks/>
            </p:cNvSpPr>
            <p:nvPr/>
          </p:nvSpPr>
          <p:spPr bwMode="auto">
            <a:xfrm>
              <a:off x="6975315" y="3254144"/>
              <a:ext cx="122133" cy="113747"/>
            </a:xfrm>
            <a:custGeom>
              <a:avLst/>
              <a:gdLst>
                <a:gd name="T0" fmla="*/ 119144 w 97"/>
                <a:gd name="T1" fmla="*/ 30903 h 90"/>
                <a:gd name="T2" fmla="*/ 119144 w 97"/>
                <a:gd name="T3" fmla="*/ 0 h 90"/>
                <a:gd name="T4" fmla="*/ 103433 w 97"/>
                <a:gd name="T5" fmla="*/ 7726 h 90"/>
                <a:gd name="T6" fmla="*/ 56299 w 97"/>
                <a:gd name="T7" fmla="*/ 30903 h 90"/>
                <a:gd name="T8" fmla="*/ 40588 w 97"/>
                <a:gd name="T9" fmla="*/ 15452 h 90"/>
                <a:gd name="T10" fmla="*/ 23567 w 97"/>
                <a:gd name="T11" fmla="*/ 15452 h 90"/>
                <a:gd name="T12" fmla="*/ 15711 w 97"/>
                <a:gd name="T13" fmla="*/ 23177 h 90"/>
                <a:gd name="T14" fmla="*/ 0 w 97"/>
                <a:gd name="T15" fmla="*/ 54081 h 90"/>
                <a:gd name="T16" fmla="*/ 23567 w 97"/>
                <a:gd name="T17" fmla="*/ 115887 h 90"/>
                <a:gd name="T18" fmla="*/ 32732 w 97"/>
                <a:gd name="T19" fmla="*/ 115887 h 90"/>
                <a:gd name="T20" fmla="*/ 32732 w 97"/>
                <a:gd name="T21" fmla="*/ 115887 h 90"/>
                <a:gd name="T22" fmla="*/ 32732 w 97"/>
                <a:gd name="T23" fmla="*/ 115887 h 90"/>
                <a:gd name="T24" fmla="*/ 48443 w 97"/>
                <a:gd name="T25" fmla="*/ 115887 h 90"/>
                <a:gd name="T26" fmla="*/ 64155 w 97"/>
                <a:gd name="T27" fmla="*/ 100435 h 90"/>
                <a:gd name="T28" fmla="*/ 87722 w 97"/>
                <a:gd name="T29" fmla="*/ 100435 h 90"/>
                <a:gd name="T30" fmla="*/ 95577 w 97"/>
                <a:gd name="T31" fmla="*/ 84984 h 90"/>
                <a:gd name="T32" fmla="*/ 79866 w 97"/>
                <a:gd name="T33" fmla="*/ 46355 h 90"/>
                <a:gd name="T34" fmla="*/ 111289 w 97"/>
                <a:gd name="T35" fmla="*/ 38629 h 90"/>
                <a:gd name="T36" fmla="*/ 127000 w 97"/>
                <a:gd name="T37" fmla="*/ 30903 h 90"/>
                <a:gd name="T38" fmla="*/ 119144 w 97"/>
                <a:gd name="T39" fmla="*/ 30903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7"/>
                <a:gd name="T61" fmla="*/ 0 h 90"/>
                <a:gd name="T62" fmla="*/ 97 w 97"/>
                <a:gd name="T63" fmla="*/ 90 h 9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20" name="Freeform 288"/>
            <p:cNvSpPr>
              <a:spLocks/>
            </p:cNvSpPr>
            <p:nvPr/>
          </p:nvSpPr>
          <p:spPr bwMode="auto">
            <a:xfrm>
              <a:off x="7398189" y="3469106"/>
              <a:ext cx="114498" cy="76349"/>
            </a:xfrm>
            <a:custGeom>
              <a:avLst/>
              <a:gdLst>
                <a:gd name="T0" fmla="*/ 23812 w 90"/>
                <a:gd name="T1" fmla="*/ 62230 h 60"/>
                <a:gd name="T2" fmla="*/ 87312 w 90"/>
                <a:gd name="T3" fmla="*/ 77787 h 60"/>
                <a:gd name="T4" fmla="*/ 103187 w 90"/>
                <a:gd name="T5" fmla="*/ 38894 h 60"/>
                <a:gd name="T6" fmla="*/ 119062 w 90"/>
                <a:gd name="T7" fmla="*/ 31115 h 60"/>
                <a:gd name="T8" fmla="*/ 111125 w 90"/>
                <a:gd name="T9" fmla="*/ 0 h 60"/>
                <a:gd name="T10" fmla="*/ 39687 w 90"/>
                <a:gd name="T11" fmla="*/ 23336 h 60"/>
                <a:gd name="T12" fmla="*/ 7937 w 90"/>
                <a:gd name="T13" fmla="*/ 7779 h 60"/>
                <a:gd name="T14" fmla="*/ 0 w 90"/>
                <a:gd name="T15" fmla="*/ 31115 h 60"/>
                <a:gd name="T16" fmla="*/ 23812 w 90"/>
                <a:gd name="T17" fmla="*/ 62230 h 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60"/>
                <a:gd name="T29" fmla="*/ 90 w 90"/>
                <a:gd name="T30" fmla="*/ 60 h 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60">
                  <a:moveTo>
                    <a:pt x="18" y="48"/>
                  </a:moveTo>
                  <a:lnTo>
                    <a:pt x="66" y="60"/>
                  </a:lnTo>
                  <a:lnTo>
                    <a:pt x="78" y="30"/>
                  </a:lnTo>
                  <a:lnTo>
                    <a:pt x="90" y="24"/>
                  </a:lnTo>
                  <a:lnTo>
                    <a:pt x="84" y="0"/>
                  </a:lnTo>
                  <a:lnTo>
                    <a:pt x="30" y="18"/>
                  </a:lnTo>
                  <a:lnTo>
                    <a:pt x="6" y="6"/>
                  </a:lnTo>
                  <a:lnTo>
                    <a:pt x="0" y="24"/>
                  </a:lnTo>
                  <a:lnTo>
                    <a:pt x="18" y="48"/>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21" name="Freeform 289"/>
            <p:cNvSpPr>
              <a:spLocks/>
            </p:cNvSpPr>
            <p:nvPr/>
          </p:nvSpPr>
          <p:spPr bwMode="auto">
            <a:xfrm>
              <a:off x="7415019" y="3498713"/>
              <a:ext cx="180145" cy="213471"/>
            </a:xfrm>
            <a:custGeom>
              <a:avLst/>
              <a:gdLst>
                <a:gd name="T0" fmla="*/ 70247 w 24"/>
                <a:gd name="T1" fmla="*/ 46605 h 28"/>
                <a:gd name="T2" fmla="*/ 78052 w 24"/>
                <a:gd name="T3" fmla="*/ 46605 h 28"/>
                <a:gd name="T4" fmla="*/ 70247 w 24"/>
                <a:gd name="T5" fmla="*/ 100977 h 28"/>
                <a:gd name="T6" fmla="*/ 31221 w 24"/>
                <a:gd name="T7" fmla="*/ 132046 h 28"/>
                <a:gd name="T8" fmla="*/ 0 w 24"/>
                <a:gd name="T9" fmla="*/ 139814 h 28"/>
                <a:gd name="T10" fmla="*/ 7805 w 24"/>
                <a:gd name="T11" fmla="*/ 163116 h 28"/>
                <a:gd name="T12" fmla="*/ 31221 w 24"/>
                <a:gd name="T13" fmla="*/ 217488 h 28"/>
                <a:gd name="T14" fmla="*/ 85857 w 24"/>
                <a:gd name="T15" fmla="*/ 178651 h 28"/>
                <a:gd name="T16" fmla="*/ 132689 w 24"/>
                <a:gd name="T17" fmla="*/ 116511 h 28"/>
                <a:gd name="T18" fmla="*/ 156104 w 24"/>
                <a:gd name="T19" fmla="*/ 85442 h 28"/>
                <a:gd name="T20" fmla="*/ 187325 w 24"/>
                <a:gd name="T21" fmla="*/ 54372 h 28"/>
                <a:gd name="T22" fmla="*/ 124883 w 24"/>
                <a:gd name="T23" fmla="*/ 7767 h 28"/>
                <a:gd name="T24" fmla="*/ 101468 w 24"/>
                <a:gd name="T25" fmla="*/ 0 h 28"/>
                <a:gd name="T26" fmla="*/ 101468 w 24"/>
                <a:gd name="T27" fmla="*/ 0 h 28"/>
                <a:gd name="T28" fmla="*/ 85857 w 24"/>
                <a:gd name="T29" fmla="*/ 7767 h 28"/>
                <a:gd name="T30" fmla="*/ 70247 w 24"/>
                <a:gd name="T31" fmla="*/ 46605 h 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
                <a:gd name="T49" fmla="*/ 0 h 28"/>
                <a:gd name="T50" fmla="*/ 24 w 24"/>
                <a:gd name="T51" fmla="*/ 28 h 2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 h="28">
                  <a:moveTo>
                    <a:pt x="9" y="6"/>
                  </a:moveTo>
                  <a:cubicBezTo>
                    <a:pt x="10" y="6"/>
                    <a:pt x="10" y="6"/>
                    <a:pt x="10" y="6"/>
                  </a:cubicBezTo>
                  <a:cubicBezTo>
                    <a:pt x="9" y="13"/>
                    <a:pt x="9" y="13"/>
                    <a:pt x="9" y="13"/>
                  </a:cubicBezTo>
                  <a:cubicBezTo>
                    <a:pt x="4" y="17"/>
                    <a:pt x="4" y="17"/>
                    <a:pt x="4" y="17"/>
                  </a:cubicBezTo>
                  <a:cubicBezTo>
                    <a:pt x="4" y="17"/>
                    <a:pt x="3" y="18"/>
                    <a:pt x="0" y="18"/>
                  </a:cubicBezTo>
                  <a:cubicBezTo>
                    <a:pt x="1" y="21"/>
                    <a:pt x="1" y="21"/>
                    <a:pt x="1" y="21"/>
                  </a:cubicBezTo>
                  <a:cubicBezTo>
                    <a:pt x="4" y="28"/>
                    <a:pt x="4" y="28"/>
                    <a:pt x="4" y="28"/>
                  </a:cubicBezTo>
                  <a:cubicBezTo>
                    <a:pt x="11" y="23"/>
                    <a:pt x="11" y="23"/>
                    <a:pt x="11" y="23"/>
                  </a:cubicBezTo>
                  <a:cubicBezTo>
                    <a:pt x="17" y="15"/>
                    <a:pt x="17" y="15"/>
                    <a:pt x="17" y="15"/>
                  </a:cubicBezTo>
                  <a:cubicBezTo>
                    <a:pt x="20" y="11"/>
                    <a:pt x="20" y="11"/>
                    <a:pt x="20" y="11"/>
                  </a:cubicBezTo>
                  <a:cubicBezTo>
                    <a:pt x="24" y="7"/>
                    <a:pt x="24" y="7"/>
                    <a:pt x="24" y="7"/>
                  </a:cubicBezTo>
                  <a:cubicBezTo>
                    <a:pt x="16" y="1"/>
                    <a:pt x="16" y="1"/>
                    <a:pt x="16" y="1"/>
                  </a:cubicBezTo>
                  <a:cubicBezTo>
                    <a:pt x="13" y="0"/>
                    <a:pt x="13" y="0"/>
                    <a:pt x="13" y="0"/>
                  </a:cubicBezTo>
                  <a:cubicBezTo>
                    <a:pt x="13" y="0"/>
                    <a:pt x="13" y="0"/>
                    <a:pt x="13" y="0"/>
                  </a:cubicBezTo>
                  <a:cubicBezTo>
                    <a:pt x="11" y="1"/>
                    <a:pt x="11" y="1"/>
                    <a:pt x="11" y="1"/>
                  </a:cubicBezTo>
                  <a:lnTo>
                    <a:pt x="9" y="6"/>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22" name="Freeform 290"/>
            <p:cNvSpPr>
              <a:spLocks/>
            </p:cNvSpPr>
            <p:nvPr/>
          </p:nvSpPr>
          <p:spPr bwMode="auto">
            <a:xfrm>
              <a:off x="7189035" y="3635825"/>
              <a:ext cx="254952" cy="162051"/>
            </a:xfrm>
            <a:custGeom>
              <a:avLst/>
              <a:gdLst>
                <a:gd name="T0" fmla="*/ 233923 w 34"/>
                <a:gd name="T1" fmla="*/ 0 h 21"/>
                <a:gd name="T2" fmla="*/ 140354 w 34"/>
                <a:gd name="T3" fmla="*/ 31448 h 21"/>
                <a:gd name="T4" fmla="*/ 109164 w 34"/>
                <a:gd name="T5" fmla="*/ 55033 h 21"/>
                <a:gd name="T6" fmla="*/ 23392 w 34"/>
                <a:gd name="T7" fmla="*/ 55033 h 21"/>
                <a:gd name="T8" fmla="*/ 0 w 34"/>
                <a:gd name="T9" fmla="*/ 62895 h 21"/>
                <a:gd name="T10" fmla="*/ 7797 w 34"/>
                <a:gd name="T11" fmla="*/ 94343 h 21"/>
                <a:gd name="T12" fmla="*/ 38987 w 34"/>
                <a:gd name="T13" fmla="*/ 165100 h 21"/>
                <a:gd name="T14" fmla="*/ 93569 w 34"/>
                <a:gd name="T15" fmla="*/ 149376 h 21"/>
                <a:gd name="T16" fmla="*/ 116962 w 34"/>
                <a:gd name="T17" fmla="*/ 149376 h 21"/>
                <a:gd name="T18" fmla="*/ 148151 w 34"/>
                <a:gd name="T19" fmla="*/ 117929 h 21"/>
                <a:gd name="T20" fmla="*/ 194936 w 34"/>
                <a:gd name="T21" fmla="*/ 102205 h 21"/>
                <a:gd name="T22" fmla="*/ 265113 w 34"/>
                <a:gd name="T23" fmla="*/ 78619 h 21"/>
                <a:gd name="T24" fmla="*/ 241721 w 34"/>
                <a:gd name="T25" fmla="*/ 23586 h 21"/>
                <a:gd name="T26" fmla="*/ 233923 w 34"/>
                <a:gd name="T27" fmla="*/ 0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21"/>
                <a:gd name="T44" fmla="*/ 34 w 34"/>
                <a:gd name="T45" fmla="*/ 21 h 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21">
                  <a:moveTo>
                    <a:pt x="30" y="0"/>
                  </a:moveTo>
                  <a:cubicBezTo>
                    <a:pt x="25" y="2"/>
                    <a:pt x="18" y="3"/>
                    <a:pt x="18" y="4"/>
                  </a:cubicBezTo>
                  <a:cubicBezTo>
                    <a:pt x="16" y="5"/>
                    <a:pt x="14" y="7"/>
                    <a:pt x="14" y="7"/>
                  </a:cubicBezTo>
                  <a:cubicBezTo>
                    <a:pt x="3" y="7"/>
                    <a:pt x="3" y="7"/>
                    <a:pt x="3" y="7"/>
                  </a:cubicBezTo>
                  <a:cubicBezTo>
                    <a:pt x="0" y="8"/>
                    <a:pt x="0" y="8"/>
                    <a:pt x="0" y="8"/>
                  </a:cubicBezTo>
                  <a:cubicBezTo>
                    <a:pt x="1" y="12"/>
                    <a:pt x="1" y="12"/>
                    <a:pt x="1" y="12"/>
                  </a:cubicBezTo>
                  <a:cubicBezTo>
                    <a:pt x="5" y="21"/>
                    <a:pt x="5" y="21"/>
                    <a:pt x="5" y="21"/>
                  </a:cubicBezTo>
                  <a:cubicBezTo>
                    <a:pt x="12" y="19"/>
                    <a:pt x="12" y="19"/>
                    <a:pt x="12" y="19"/>
                  </a:cubicBezTo>
                  <a:cubicBezTo>
                    <a:pt x="15" y="19"/>
                    <a:pt x="15" y="19"/>
                    <a:pt x="15" y="19"/>
                  </a:cubicBezTo>
                  <a:cubicBezTo>
                    <a:pt x="19" y="15"/>
                    <a:pt x="19" y="15"/>
                    <a:pt x="19" y="15"/>
                  </a:cubicBezTo>
                  <a:cubicBezTo>
                    <a:pt x="25" y="13"/>
                    <a:pt x="25" y="13"/>
                    <a:pt x="25" y="13"/>
                  </a:cubicBezTo>
                  <a:cubicBezTo>
                    <a:pt x="34" y="10"/>
                    <a:pt x="34" y="10"/>
                    <a:pt x="34" y="10"/>
                  </a:cubicBezTo>
                  <a:cubicBezTo>
                    <a:pt x="31" y="3"/>
                    <a:pt x="31" y="3"/>
                    <a:pt x="31" y="3"/>
                  </a:cubicBezTo>
                  <a:lnTo>
                    <a:pt x="30" y="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23" name="Freeform 291"/>
            <p:cNvSpPr>
              <a:spLocks/>
            </p:cNvSpPr>
            <p:nvPr/>
          </p:nvSpPr>
          <p:spPr bwMode="auto">
            <a:xfrm>
              <a:off x="7008894" y="3283680"/>
              <a:ext cx="473263" cy="414475"/>
            </a:xfrm>
            <a:custGeom>
              <a:avLst/>
              <a:gdLst>
                <a:gd name="T0" fmla="*/ 492125 w 63"/>
                <a:gd name="T1" fmla="*/ 265877 h 54"/>
                <a:gd name="T2" fmla="*/ 429633 w 63"/>
                <a:gd name="T3" fmla="*/ 250237 h 54"/>
                <a:gd name="T4" fmla="*/ 406198 w 63"/>
                <a:gd name="T5" fmla="*/ 218957 h 54"/>
                <a:gd name="T6" fmla="*/ 414010 w 63"/>
                <a:gd name="T7" fmla="*/ 195498 h 54"/>
                <a:gd name="T8" fmla="*/ 406198 w 63"/>
                <a:gd name="T9" fmla="*/ 195498 h 54"/>
                <a:gd name="T10" fmla="*/ 374952 w 63"/>
                <a:gd name="T11" fmla="*/ 179858 h 54"/>
                <a:gd name="T12" fmla="*/ 359329 w 63"/>
                <a:gd name="T13" fmla="*/ 132938 h 54"/>
                <a:gd name="T14" fmla="*/ 328083 w 63"/>
                <a:gd name="T15" fmla="*/ 101659 h 54"/>
                <a:gd name="T16" fmla="*/ 328083 w 63"/>
                <a:gd name="T17" fmla="*/ 93839 h 54"/>
                <a:gd name="T18" fmla="*/ 304649 w 63"/>
                <a:gd name="T19" fmla="*/ 93839 h 54"/>
                <a:gd name="T20" fmla="*/ 281214 w 63"/>
                <a:gd name="T21" fmla="*/ 78199 h 54"/>
                <a:gd name="T22" fmla="*/ 218722 w 63"/>
                <a:gd name="T23" fmla="*/ 70379 h 54"/>
                <a:gd name="T24" fmla="*/ 195288 w 63"/>
                <a:gd name="T25" fmla="*/ 46919 h 54"/>
                <a:gd name="T26" fmla="*/ 117173 w 63"/>
                <a:gd name="T27" fmla="*/ 7820 h 54"/>
                <a:gd name="T28" fmla="*/ 85927 w 63"/>
                <a:gd name="T29" fmla="*/ 0 h 54"/>
                <a:gd name="T30" fmla="*/ 93738 w 63"/>
                <a:gd name="T31" fmla="*/ 0 h 54"/>
                <a:gd name="T32" fmla="*/ 78115 w 63"/>
                <a:gd name="T33" fmla="*/ 7820 h 54"/>
                <a:gd name="T34" fmla="*/ 46869 w 63"/>
                <a:gd name="T35" fmla="*/ 15640 h 54"/>
                <a:gd name="T36" fmla="*/ 62492 w 63"/>
                <a:gd name="T37" fmla="*/ 54739 h 54"/>
                <a:gd name="T38" fmla="*/ 54681 w 63"/>
                <a:gd name="T39" fmla="*/ 70379 h 54"/>
                <a:gd name="T40" fmla="*/ 31246 w 63"/>
                <a:gd name="T41" fmla="*/ 70379 h 54"/>
                <a:gd name="T42" fmla="*/ 15623 w 63"/>
                <a:gd name="T43" fmla="*/ 86019 h 54"/>
                <a:gd name="T44" fmla="*/ 0 w 63"/>
                <a:gd name="T45" fmla="*/ 86019 h 54"/>
                <a:gd name="T46" fmla="*/ 15623 w 63"/>
                <a:gd name="T47" fmla="*/ 117299 h 54"/>
                <a:gd name="T48" fmla="*/ 70304 w 63"/>
                <a:gd name="T49" fmla="*/ 226777 h 54"/>
                <a:gd name="T50" fmla="*/ 101550 w 63"/>
                <a:gd name="T51" fmla="*/ 258057 h 54"/>
                <a:gd name="T52" fmla="*/ 117173 w 63"/>
                <a:gd name="T53" fmla="*/ 304976 h 54"/>
                <a:gd name="T54" fmla="*/ 132796 w 63"/>
                <a:gd name="T55" fmla="*/ 359716 h 54"/>
                <a:gd name="T56" fmla="*/ 187476 w 63"/>
                <a:gd name="T57" fmla="*/ 414455 h 54"/>
                <a:gd name="T58" fmla="*/ 187476 w 63"/>
                <a:gd name="T59" fmla="*/ 422275 h 54"/>
                <a:gd name="T60" fmla="*/ 210911 w 63"/>
                <a:gd name="T61" fmla="*/ 414455 h 54"/>
                <a:gd name="T62" fmla="*/ 296837 w 63"/>
                <a:gd name="T63" fmla="*/ 414455 h 54"/>
                <a:gd name="T64" fmla="*/ 328083 w 63"/>
                <a:gd name="T65" fmla="*/ 390995 h 54"/>
                <a:gd name="T66" fmla="*/ 421821 w 63"/>
                <a:gd name="T67" fmla="*/ 359716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3"/>
                <a:gd name="T103" fmla="*/ 0 h 54"/>
                <a:gd name="T104" fmla="*/ 63 w 63"/>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3" h="54">
                  <a:moveTo>
                    <a:pt x="63" y="34"/>
                  </a:moveTo>
                  <a:cubicBezTo>
                    <a:pt x="55" y="32"/>
                    <a:pt x="55" y="32"/>
                    <a:pt x="55" y="32"/>
                  </a:cubicBezTo>
                  <a:cubicBezTo>
                    <a:pt x="52" y="28"/>
                    <a:pt x="52" y="28"/>
                    <a:pt x="52" y="28"/>
                  </a:cubicBezTo>
                  <a:cubicBezTo>
                    <a:pt x="53" y="25"/>
                    <a:pt x="53" y="25"/>
                    <a:pt x="53" y="25"/>
                  </a:cubicBezTo>
                  <a:cubicBezTo>
                    <a:pt x="52" y="25"/>
                    <a:pt x="52" y="25"/>
                    <a:pt x="52" y="25"/>
                  </a:cubicBezTo>
                  <a:cubicBezTo>
                    <a:pt x="48" y="23"/>
                    <a:pt x="48" y="23"/>
                    <a:pt x="48" y="23"/>
                  </a:cubicBezTo>
                  <a:cubicBezTo>
                    <a:pt x="46" y="17"/>
                    <a:pt x="46" y="17"/>
                    <a:pt x="46" y="17"/>
                  </a:cubicBezTo>
                  <a:cubicBezTo>
                    <a:pt x="42" y="13"/>
                    <a:pt x="42" y="13"/>
                    <a:pt x="42" y="13"/>
                  </a:cubicBezTo>
                  <a:cubicBezTo>
                    <a:pt x="42" y="12"/>
                    <a:pt x="42" y="12"/>
                    <a:pt x="42" y="12"/>
                  </a:cubicBezTo>
                  <a:cubicBezTo>
                    <a:pt x="39" y="12"/>
                    <a:pt x="39" y="12"/>
                    <a:pt x="39" y="12"/>
                  </a:cubicBezTo>
                  <a:cubicBezTo>
                    <a:pt x="36" y="10"/>
                    <a:pt x="36" y="10"/>
                    <a:pt x="36" y="10"/>
                  </a:cubicBezTo>
                  <a:cubicBezTo>
                    <a:pt x="28" y="9"/>
                    <a:pt x="28" y="9"/>
                    <a:pt x="28" y="9"/>
                  </a:cubicBezTo>
                  <a:cubicBezTo>
                    <a:pt x="25" y="6"/>
                    <a:pt x="25" y="6"/>
                    <a:pt x="25" y="6"/>
                  </a:cubicBezTo>
                  <a:cubicBezTo>
                    <a:pt x="15" y="1"/>
                    <a:pt x="15" y="1"/>
                    <a:pt x="15" y="1"/>
                  </a:cubicBezTo>
                  <a:cubicBezTo>
                    <a:pt x="11" y="0"/>
                    <a:pt x="11" y="0"/>
                    <a:pt x="11" y="0"/>
                  </a:cubicBezTo>
                  <a:cubicBezTo>
                    <a:pt x="12" y="0"/>
                    <a:pt x="12" y="0"/>
                    <a:pt x="12" y="0"/>
                  </a:cubicBezTo>
                  <a:cubicBezTo>
                    <a:pt x="10" y="1"/>
                    <a:pt x="10" y="1"/>
                    <a:pt x="10" y="1"/>
                  </a:cubicBezTo>
                  <a:cubicBezTo>
                    <a:pt x="6" y="2"/>
                    <a:pt x="6" y="2"/>
                    <a:pt x="6" y="2"/>
                  </a:cubicBezTo>
                  <a:cubicBezTo>
                    <a:pt x="8" y="7"/>
                    <a:pt x="8" y="7"/>
                    <a:pt x="8" y="7"/>
                  </a:cubicBezTo>
                  <a:cubicBezTo>
                    <a:pt x="7" y="9"/>
                    <a:pt x="7" y="9"/>
                    <a:pt x="7" y="9"/>
                  </a:cubicBezTo>
                  <a:cubicBezTo>
                    <a:pt x="4" y="9"/>
                    <a:pt x="4" y="9"/>
                    <a:pt x="4" y="9"/>
                  </a:cubicBezTo>
                  <a:cubicBezTo>
                    <a:pt x="2" y="11"/>
                    <a:pt x="2" y="11"/>
                    <a:pt x="2" y="11"/>
                  </a:cubicBezTo>
                  <a:cubicBezTo>
                    <a:pt x="0" y="11"/>
                    <a:pt x="0" y="11"/>
                    <a:pt x="0" y="11"/>
                  </a:cubicBezTo>
                  <a:cubicBezTo>
                    <a:pt x="2" y="15"/>
                    <a:pt x="2" y="15"/>
                    <a:pt x="2" y="15"/>
                  </a:cubicBezTo>
                  <a:cubicBezTo>
                    <a:pt x="9" y="29"/>
                    <a:pt x="9" y="29"/>
                    <a:pt x="9" y="29"/>
                  </a:cubicBezTo>
                  <a:cubicBezTo>
                    <a:pt x="13" y="33"/>
                    <a:pt x="13" y="33"/>
                    <a:pt x="13" y="33"/>
                  </a:cubicBezTo>
                  <a:cubicBezTo>
                    <a:pt x="15" y="39"/>
                    <a:pt x="15" y="39"/>
                    <a:pt x="15" y="39"/>
                  </a:cubicBezTo>
                  <a:cubicBezTo>
                    <a:pt x="17" y="46"/>
                    <a:pt x="17" y="46"/>
                    <a:pt x="17" y="46"/>
                  </a:cubicBezTo>
                  <a:cubicBezTo>
                    <a:pt x="24" y="53"/>
                    <a:pt x="24" y="53"/>
                    <a:pt x="24" y="53"/>
                  </a:cubicBezTo>
                  <a:cubicBezTo>
                    <a:pt x="24" y="54"/>
                    <a:pt x="24" y="54"/>
                    <a:pt x="24" y="54"/>
                  </a:cubicBezTo>
                  <a:cubicBezTo>
                    <a:pt x="27" y="53"/>
                    <a:pt x="27" y="53"/>
                    <a:pt x="27" y="53"/>
                  </a:cubicBezTo>
                  <a:cubicBezTo>
                    <a:pt x="38" y="53"/>
                    <a:pt x="38" y="53"/>
                    <a:pt x="38" y="53"/>
                  </a:cubicBezTo>
                  <a:cubicBezTo>
                    <a:pt x="38" y="53"/>
                    <a:pt x="40" y="51"/>
                    <a:pt x="42" y="50"/>
                  </a:cubicBezTo>
                  <a:cubicBezTo>
                    <a:pt x="42" y="49"/>
                    <a:pt x="49" y="48"/>
                    <a:pt x="54" y="46"/>
                  </a:cubicBezTo>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24" name="Freeform 292"/>
            <p:cNvSpPr>
              <a:spLocks/>
            </p:cNvSpPr>
            <p:nvPr/>
          </p:nvSpPr>
          <p:spPr bwMode="auto">
            <a:xfrm>
              <a:off x="7414980" y="3545453"/>
              <a:ext cx="74806" cy="90375"/>
            </a:xfrm>
            <a:custGeom>
              <a:avLst/>
              <a:gdLst>
                <a:gd name="T0" fmla="*/ 0 w 10"/>
                <a:gd name="T1" fmla="*/ 92075 h 12"/>
                <a:gd name="T2" fmla="*/ 31115 w 10"/>
                <a:gd name="T3" fmla="*/ 84402 h 12"/>
                <a:gd name="T4" fmla="*/ 70009 w 10"/>
                <a:gd name="T5" fmla="*/ 53710 h 12"/>
                <a:gd name="T6" fmla="*/ 77788 w 10"/>
                <a:gd name="T7" fmla="*/ 0 h 12"/>
                <a:gd name="T8" fmla="*/ 70009 w 10"/>
                <a:gd name="T9" fmla="*/ 0 h 12"/>
                <a:gd name="T10" fmla="*/ 0 60000 65536"/>
                <a:gd name="T11" fmla="*/ 0 60000 65536"/>
                <a:gd name="T12" fmla="*/ 0 60000 65536"/>
                <a:gd name="T13" fmla="*/ 0 60000 65536"/>
                <a:gd name="T14" fmla="*/ 0 60000 65536"/>
                <a:gd name="T15" fmla="*/ 0 w 10"/>
                <a:gd name="T16" fmla="*/ 0 h 12"/>
                <a:gd name="T17" fmla="*/ 10 w 10"/>
                <a:gd name="T18" fmla="*/ 12 h 12"/>
              </a:gdLst>
              <a:ahLst/>
              <a:cxnLst>
                <a:cxn ang="T10">
                  <a:pos x="T0" y="T1"/>
                </a:cxn>
                <a:cxn ang="T11">
                  <a:pos x="T2" y="T3"/>
                </a:cxn>
                <a:cxn ang="T12">
                  <a:pos x="T4" y="T5"/>
                </a:cxn>
                <a:cxn ang="T13">
                  <a:pos x="T6" y="T7"/>
                </a:cxn>
                <a:cxn ang="T14">
                  <a:pos x="T8" y="T9"/>
                </a:cxn>
              </a:cxnLst>
              <a:rect l="T15" t="T16" r="T17" b="T18"/>
              <a:pathLst>
                <a:path w="10" h="12">
                  <a:moveTo>
                    <a:pt x="0" y="12"/>
                  </a:moveTo>
                  <a:cubicBezTo>
                    <a:pt x="3" y="12"/>
                    <a:pt x="4" y="11"/>
                    <a:pt x="4" y="11"/>
                  </a:cubicBezTo>
                  <a:cubicBezTo>
                    <a:pt x="9" y="7"/>
                    <a:pt x="9" y="7"/>
                    <a:pt x="9" y="7"/>
                  </a:cubicBezTo>
                  <a:cubicBezTo>
                    <a:pt x="10" y="0"/>
                    <a:pt x="10" y="0"/>
                    <a:pt x="10" y="0"/>
                  </a:cubicBezTo>
                  <a:cubicBezTo>
                    <a:pt x="9" y="0"/>
                    <a:pt x="9" y="0"/>
                    <a:pt x="9" y="0"/>
                  </a:cubicBezTo>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25" name="Freeform 293"/>
            <p:cNvSpPr>
              <a:spLocks/>
            </p:cNvSpPr>
            <p:nvPr/>
          </p:nvSpPr>
          <p:spPr bwMode="auto">
            <a:xfrm>
              <a:off x="7089808" y="3130975"/>
              <a:ext cx="239684" cy="246192"/>
            </a:xfrm>
            <a:custGeom>
              <a:avLst/>
              <a:gdLst>
                <a:gd name="T0" fmla="*/ 218082 w 192"/>
                <a:gd name="T1" fmla="*/ 156766 h 192"/>
                <a:gd name="T2" fmla="*/ 171350 w 192"/>
                <a:gd name="T3" fmla="*/ 117574 h 192"/>
                <a:gd name="T4" fmla="*/ 171350 w 192"/>
                <a:gd name="T5" fmla="*/ 86221 h 192"/>
                <a:gd name="T6" fmla="*/ 179139 w 192"/>
                <a:gd name="T7" fmla="*/ 54868 h 192"/>
                <a:gd name="T8" fmla="*/ 147984 w 192"/>
                <a:gd name="T9" fmla="*/ 7838 h 192"/>
                <a:gd name="T10" fmla="*/ 132407 w 192"/>
                <a:gd name="T11" fmla="*/ 0 h 192"/>
                <a:gd name="T12" fmla="*/ 93464 w 192"/>
                <a:gd name="T13" fmla="*/ 7838 h 192"/>
                <a:gd name="T14" fmla="*/ 85675 w 192"/>
                <a:gd name="T15" fmla="*/ 7838 h 192"/>
                <a:gd name="T16" fmla="*/ 85675 w 192"/>
                <a:gd name="T17" fmla="*/ 15677 h 192"/>
                <a:gd name="T18" fmla="*/ 70098 w 192"/>
                <a:gd name="T19" fmla="*/ 39191 h 192"/>
                <a:gd name="T20" fmla="*/ 54521 w 192"/>
                <a:gd name="T21" fmla="*/ 94059 h 192"/>
                <a:gd name="T22" fmla="*/ 0 w 192"/>
                <a:gd name="T23" fmla="*/ 125413 h 192"/>
                <a:gd name="T24" fmla="*/ 0 w 192"/>
                <a:gd name="T25" fmla="*/ 156766 h 192"/>
                <a:gd name="T26" fmla="*/ 31155 w 192"/>
                <a:gd name="T27" fmla="*/ 164604 h 192"/>
                <a:gd name="T28" fmla="*/ 109041 w 192"/>
                <a:gd name="T29" fmla="*/ 203795 h 192"/>
                <a:gd name="T30" fmla="*/ 132407 w 192"/>
                <a:gd name="T31" fmla="*/ 227310 h 192"/>
                <a:gd name="T32" fmla="*/ 194716 w 192"/>
                <a:gd name="T33" fmla="*/ 235148 h 192"/>
                <a:gd name="T34" fmla="*/ 218082 w 192"/>
                <a:gd name="T35" fmla="*/ 250825 h 192"/>
                <a:gd name="T36" fmla="*/ 241448 w 192"/>
                <a:gd name="T37" fmla="*/ 250825 h 192"/>
                <a:gd name="T38" fmla="*/ 233660 w 192"/>
                <a:gd name="T39" fmla="*/ 235148 h 192"/>
                <a:gd name="T40" fmla="*/ 249237 w 192"/>
                <a:gd name="T41" fmla="*/ 227310 h 192"/>
                <a:gd name="T42" fmla="*/ 233660 w 192"/>
                <a:gd name="T43" fmla="*/ 195957 h 192"/>
                <a:gd name="T44" fmla="*/ 218082 w 192"/>
                <a:gd name="T45" fmla="*/ 156766 h 1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2"/>
                <a:gd name="T70" fmla="*/ 0 h 192"/>
                <a:gd name="T71" fmla="*/ 192 w 192"/>
                <a:gd name="T72" fmla="*/ 192 h 19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2" h="192">
                  <a:moveTo>
                    <a:pt x="168" y="120"/>
                  </a:moveTo>
                  <a:lnTo>
                    <a:pt x="132" y="90"/>
                  </a:lnTo>
                  <a:lnTo>
                    <a:pt x="132" y="66"/>
                  </a:lnTo>
                  <a:lnTo>
                    <a:pt x="138" y="42"/>
                  </a:lnTo>
                  <a:lnTo>
                    <a:pt x="114" y="6"/>
                  </a:lnTo>
                  <a:lnTo>
                    <a:pt x="102" y="0"/>
                  </a:lnTo>
                  <a:lnTo>
                    <a:pt x="72" y="6"/>
                  </a:lnTo>
                  <a:lnTo>
                    <a:pt x="66" y="6"/>
                  </a:lnTo>
                  <a:lnTo>
                    <a:pt x="66" y="12"/>
                  </a:lnTo>
                  <a:lnTo>
                    <a:pt x="54" y="30"/>
                  </a:lnTo>
                  <a:lnTo>
                    <a:pt x="42" y="72"/>
                  </a:lnTo>
                  <a:lnTo>
                    <a:pt x="0" y="96"/>
                  </a:lnTo>
                  <a:lnTo>
                    <a:pt x="0" y="120"/>
                  </a:lnTo>
                  <a:lnTo>
                    <a:pt x="24" y="126"/>
                  </a:lnTo>
                  <a:lnTo>
                    <a:pt x="84" y="156"/>
                  </a:lnTo>
                  <a:lnTo>
                    <a:pt x="102" y="174"/>
                  </a:lnTo>
                  <a:lnTo>
                    <a:pt x="150" y="180"/>
                  </a:lnTo>
                  <a:lnTo>
                    <a:pt x="168" y="192"/>
                  </a:lnTo>
                  <a:lnTo>
                    <a:pt x="186" y="192"/>
                  </a:lnTo>
                  <a:lnTo>
                    <a:pt x="180" y="180"/>
                  </a:lnTo>
                  <a:lnTo>
                    <a:pt x="192" y="174"/>
                  </a:lnTo>
                  <a:lnTo>
                    <a:pt x="180" y="150"/>
                  </a:lnTo>
                  <a:lnTo>
                    <a:pt x="168" y="12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26" name="Freeform 294"/>
            <p:cNvSpPr>
              <a:spLocks/>
            </p:cNvSpPr>
            <p:nvPr/>
          </p:nvSpPr>
          <p:spPr bwMode="auto">
            <a:xfrm>
              <a:off x="7227204" y="3064044"/>
              <a:ext cx="451891" cy="419147"/>
            </a:xfrm>
            <a:custGeom>
              <a:avLst/>
              <a:gdLst>
                <a:gd name="T0" fmla="*/ 415078 w 60"/>
                <a:gd name="T1" fmla="*/ 295044 h 55"/>
                <a:gd name="T2" fmla="*/ 415078 w 60"/>
                <a:gd name="T3" fmla="*/ 295044 h 55"/>
                <a:gd name="T4" fmla="*/ 430742 w 60"/>
                <a:gd name="T5" fmla="*/ 248458 h 55"/>
                <a:gd name="T6" fmla="*/ 399415 w 60"/>
                <a:gd name="T7" fmla="*/ 232929 h 55"/>
                <a:gd name="T8" fmla="*/ 399415 w 60"/>
                <a:gd name="T9" fmla="*/ 194108 h 55"/>
                <a:gd name="T10" fmla="*/ 407247 w 60"/>
                <a:gd name="T11" fmla="*/ 163051 h 55"/>
                <a:gd name="T12" fmla="*/ 415078 w 60"/>
                <a:gd name="T13" fmla="*/ 93172 h 55"/>
                <a:gd name="T14" fmla="*/ 383752 w 60"/>
                <a:gd name="T15" fmla="*/ 85407 h 55"/>
                <a:gd name="T16" fmla="*/ 352425 w 60"/>
                <a:gd name="T17" fmla="*/ 62114 h 55"/>
                <a:gd name="T18" fmla="*/ 313267 w 60"/>
                <a:gd name="T19" fmla="*/ 38822 h 55"/>
                <a:gd name="T20" fmla="*/ 281940 w 60"/>
                <a:gd name="T21" fmla="*/ 46586 h 55"/>
                <a:gd name="T22" fmla="*/ 242782 w 60"/>
                <a:gd name="T23" fmla="*/ 62114 h 55"/>
                <a:gd name="T24" fmla="*/ 234950 w 60"/>
                <a:gd name="T25" fmla="*/ 77643 h 55"/>
                <a:gd name="T26" fmla="*/ 203623 w 60"/>
                <a:gd name="T27" fmla="*/ 85407 h 55"/>
                <a:gd name="T28" fmla="*/ 172297 w 60"/>
                <a:gd name="T29" fmla="*/ 85407 h 55"/>
                <a:gd name="T30" fmla="*/ 148802 w 60"/>
                <a:gd name="T31" fmla="*/ 69879 h 55"/>
                <a:gd name="T32" fmla="*/ 117475 w 60"/>
                <a:gd name="T33" fmla="*/ 69879 h 55"/>
                <a:gd name="T34" fmla="*/ 117475 w 60"/>
                <a:gd name="T35" fmla="*/ 46586 h 55"/>
                <a:gd name="T36" fmla="*/ 93980 w 60"/>
                <a:gd name="T37" fmla="*/ 31057 h 55"/>
                <a:gd name="T38" fmla="*/ 93980 w 60"/>
                <a:gd name="T39" fmla="*/ 15529 h 55"/>
                <a:gd name="T40" fmla="*/ 78317 w 60"/>
                <a:gd name="T41" fmla="*/ 0 h 55"/>
                <a:gd name="T42" fmla="*/ 46990 w 60"/>
                <a:gd name="T43" fmla="*/ 23293 h 55"/>
                <a:gd name="T44" fmla="*/ 23495 w 60"/>
                <a:gd name="T45" fmla="*/ 15529 h 55"/>
                <a:gd name="T46" fmla="*/ 0 w 60"/>
                <a:gd name="T47" fmla="*/ 0 h 55"/>
                <a:gd name="T48" fmla="*/ 0 w 60"/>
                <a:gd name="T49" fmla="*/ 0 h 55"/>
                <a:gd name="T50" fmla="*/ 0 w 60"/>
                <a:gd name="T51" fmla="*/ 54350 h 55"/>
                <a:gd name="T52" fmla="*/ 7832 w 60"/>
                <a:gd name="T53" fmla="*/ 77643 h 55"/>
                <a:gd name="T54" fmla="*/ 7832 w 60"/>
                <a:gd name="T55" fmla="*/ 77643 h 55"/>
                <a:gd name="T56" fmla="*/ 39158 w 60"/>
                <a:gd name="T57" fmla="*/ 124229 h 55"/>
                <a:gd name="T58" fmla="*/ 31327 w 60"/>
                <a:gd name="T59" fmla="*/ 155286 h 55"/>
                <a:gd name="T60" fmla="*/ 31327 w 60"/>
                <a:gd name="T61" fmla="*/ 186343 h 55"/>
                <a:gd name="T62" fmla="*/ 78317 w 60"/>
                <a:gd name="T63" fmla="*/ 225165 h 55"/>
                <a:gd name="T64" fmla="*/ 93980 w 60"/>
                <a:gd name="T65" fmla="*/ 263987 h 55"/>
                <a:gd name="T66" fmla="*/ 109643 w 60"/>
                <a:gd name="T67" fmla="*/ 295044 h 55"/>
                <a:gd name="T68" fmla="*/ 117475 w 60"/>
                <a:gd name="T69" fmla="*/ 279515 h 55"/>
                <a:gd name="T70" fmla="*/ 148802 w 60"/>
                <a:gd name="T71" fmla="*/ 302808 h 55"/>
                <a:gd name="T72" fmla="*/ 180128 w 60"/>
                <a:gd name="T73" fmla="*/ 341630 h 55"/>
                <a:gd name="T74" fmla="*/ 219287 w 60"/>
                <a:gd name="T75" fmla="*/ 372687 h 55"/>
                <a:gd name="T76" fmla="*/ 266277 w 60"/>
                <a:gd name="T77" fmla="*/ 380451 h 55"/>
                <a:gd name="T78" fmla="*/ 305435 w 60"/>
                <a:gd name="T79" fmla="*/ 372687 h 55"/>
                <a:gd name="T80" fmla="*/ 328930 w 60"/>
                <a:gd name="T81" fmla="*/ 403744 h 55"/>
                <a:gd name="T82" fmla="*/ 415078 w 60"/>
                <a:gd name="T83" fmla="*/ 427037 h 55"/>
                <a:gd name="T84" fmla="*/ 430742 w 60"/>
                <a:gd name="T85" fmla="*/ 427037 h 55"/>
                <a:gd name="T86" fmla="*/ 430742 w 60"/>
                <a:gd name="T87" fmla="*/ 395980 h 55"/>
                <a:gd name="T88" fmla="*/ 469900 w 60"/>
                <a:gd name="T89" fmla="*/ 380451 h 55"/>
                <a:gd name="T90" fmla="*/ 462068 w 60"/>
                <a:gd name="T91" fmla="*/ 357158 h 55"/>
                <a:gd name="T92" fmla="*/ 454237 w 60"/>
                <a:gd name="T93" fmla="*/ 341630 h 55"/>
                <a:gd name="T94" fmla="*/ 422910 w 60"/>
                <a:gd name="T95" fmla="*/ 310572 h 55"/>
                <a:gd name="T96" fmla="*/ 415078 w 60"/>
                <a:gd name="T97" fmla="*/ 295044 h 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0"/>
                <a:gd name="T148" fmla="*/ 0 h 55"/>
                <a:gd name="T149" fmla="*/ 60 w 60"/>
                <a:gd name="T150" fmla="*/ 55 h 5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0" h="55">
                  <a:moveTo>
                    <a:pt x="53" y="38"/>
                  </a:moveTo>
                  <a:cubicBezTo>
                    <a:pt x="53" y="38"/>
                    <a:pt x="53" y="38"/>
                    <a:pt x="53" y="38"/>
                  </a:cubicBezTo>
                  <a:cubicBezTo>
                    <a:pt x="55" y="32"/>
                    <a:pt x="55" y="32"/>
                    <a:pt x="55" y="32"/>
                  </a:cubicBezTo>
                  <a:cubicBezTo>
                    <a:pt x="51" y="30"/>
                    <a:pt x="51" y="30"/>
                    <a:pt x="51" y="30"/>
                  </a:cubicBezTo>
                  <a:cubicBezTo>
                    <a:pt x="51" y="25"/>
                    <a:pt x="51" y="25"/>
                    <a:pt x="51" y="25"/>
                  </a:cubicBezTo>
                  <a:cubicBezTo>
                    <a:pt x="52" y="21"/>
                    <a:pt x="52" y="21"/>
                    <a:pt x="52" y="21"/>
                  </a:cubicBezTo>
                  <a:cubicBezTo>
                    <a:pt x="53" y="12"/>
                    <a:pt x="53" y="12"/>
                    <a:pt x="53" y="12"/>
                  </a:cubicBezTo>
                  <a:cubicBezTo>
                    <a:pt x="49" y="11"/>
                    <a:pt x="49" y="11"/>
                    <a:pt x="49" y="11"/>
                  </a:cubicBezTo>
                  <a:cubicBezTo>
                    <a:pt x="45" y="8"/>
                    <a:pt x="45" y="8"/>
                    <a:pt x="45" y="8"/>
                  </a:cubicBezTo>
                  <a:cubicBezTo>
                    <a:pt x="40" y="5"/>
                    <a:pt x="40" y="5"/>
                    <a:pt x="40" y="5"/>
                  </a:cubicBezTo>
                  <a:cubicBezTo>
                    <a:pt x="36" y="6"/>
                    <a:pt x="36" y="6"/>
                    <a:pt x="36" y="6"/>
                  </a:cubicBezTo>
                  <a:cubicBezTo>
                    <a:pt x="31" y="8"/>
                    <a:pt x="31" y="8"/>
                    <a:pt x="31" y="8"/>
                  </a:cubicBezTo>
                  <a:cubicBezTo>
                    <a:pt x="30" y="10"/>
                    <a:pt x="30" y="10"/>
                    <a:pt x="30" y="10"/>
                  </a:cubicBezTo>
                  <a:cubicBezTo>
                    <a:pt x="26" y="11"/>
                    <a:pt x="26" y="11"/>
                    <a:pt x="26" y="11"/>
                  </a:cubicBezTo>
                  <a:cubicBezTo>
                    <a:pt x="22" y="11"/>
                    <a:pt x="22" y="11"/>
                    <a:pt x="22" y="11"/>
                  </a:cubicBezTo>
                  <a:cubicBezTo>
                    <a:pt x="19" y="9"/>
                    <a:pt x="19" y="9"/>
                    <a:pt x="19" y="9"/>
                  </a:cubicBezTo>
                  <a:cubicBezTo>
                    <a:pt x="15" y="9"/>
                    <a:pt x="15" y="9"/>
                    <a:pt x="15" y="9"/>
                  </a:cubicBezTo>
                  <a:cubicBezTo>
                    <a:pt x="15" y="6"/>
                    <a:pt x="15" y="6"/>
                    <a:pt x="15" y="6"/>
                  </a:cubicBezTo>
                  <a:cubicBezTo>
                    <a:pt x="12" y="4"/>
                    <a:pt x="12" y="4"/>
                    <a:pt x="12" y="4"/>
                  </a:cubicBezTo>
                  <a:cubicBezTo>
                    <a:pt x="12" y="2"/>
                    <a:pt x="12" y="2"/>
                    <a:pt x="12" y="2"/>
                  </a:cubicBezTo>
                  <a:cubicBezTo>
                    <a:pt x="10" y="0"/>
                    <a:pt x="10" y="0"/>
                    <a:pt x="10" y="0"/>
                  </a:cubicBezTo>
                  <a:cubicBezTo>
                    <a:pt x="6" y="3"/>
                    <a:pt x="6" y="3"/>
                    <a:pt x="6" y="3"/>
                  </a:cubicBezTo>
                  <a:cubicBezTo>
                    <a:pt x="3" y="2"/>
                    <a:pt x="3" y="2"/>
                    <a:pt x="3" y="2"/>
                  </a:cubicBezTo>
                  <a:cubicBezTo>
                    <a:pt x="0" y="0"/>
                    <a:pt x="0" y="0"/>
                    <a:pt x="0" y="0"/>
                  </a:cubicBezTo>
                  <a:cubicBezTo>
                    <a:pt x="0" y="0"/>
                    <a:pt x="0" y="0"/>
                    <a:pt x="0" y="0"/>
                  </a:cubicBezTo>
                  <a:cubicBezTo>
                    <a:pt x="0" y="0"/>
                    <a:pt x="0" y="6"/>
                    <a:pt x="0" y="7"/>
                  </a:cubicBezTo>
                  <a:cubicBezTo>
                    <a:pt x="0" y="7"/>
                    <a:pt x="1" y="10"/>
                    <a:pt x="1" y="10"/>
                  </a:cubicBezTo>
                  <a:cubicBezTo>
                    <a:pt x="1" y="10"/>
                    <a:pt x="1" y="10"/>
                    <a:pt x="1" y="10"/>
                  </a:cubicBezTo>
                  <a:cubicBezTo>
                    <a:pt x="5" y="16"/>
                    <a:pt x="5" y="16"/>
                    <a:pt x="5" y="16"/>
                  </a:cubicBezTo>
                  <a:cubicBezTo>
                    <a:pt x="4" y="20"/>
                    <a:pt x="4" y="20"/>
                    <a:pt x="4" y="20"/>
                  </a:cubicBezTo>
                  <a:cubicBezTo>
                    <a:pt x="4" y="24"/>
                    <a:pt x="4" y="24"/>
                    <a:pt x="4" y="24"/>
                  </a:cubicBezTo>
                  <a:cubicBezTo>
                    <a:pt x="10" y="29"/>
                    <a:pt x="10" y="29"/>
                    <a:pt x="10" y="29"/>
                  </a:cubicBezTo>
                  <a:cubicBezTo>
                    <a:pt x="12" y="34"/>
                    <a:pt x="12" y="34"/>
                    <a:pt x="12" y="34"/>
                  </a:cubicBezTo>
                  <a:cubicBezTo>
                    <a:pt x="14" y="38"/>
                    <a:pt x="14" y="38"/>
                    <a:pt x="14" y="38"/>
                  </a:cubicBezTo>
                  <a:cubicBezTo>
                    <a:pt x="15" y="36"/>
                    <a:pt x="15" y="36"/>
                    <a:pt x="15" y="36"/>
                  </a:cubicBezTo>
                  <a:cubicBezTo>
                    <a:pt x="19" y="39"/>
                    <a:pt x="19" y="39"/>
                    <a:pt x="19" y="39"/>
                  </a:cubicBezTo>
                  <a:cubicBezTo>
                    <a:pt x="23" y="44"/>
                    <a:pt x="23" y="44"/>
                    <a:pt x="23" y="44"/>
                  </a:cubicBezTo>
                  <a:cubicBezTo>
                    <a:pt x="28" y="48"/>
                    <a:pt x="28" y="48"/>
                    <a:pt x="28" y="48"/>
                  </a:cubicBezTo>
                  <a:cubicBezTo>
                    <a:pt x="34" y="49"/>
                    <a:pt x="34" y="49"/>
                    <a:pt x="34" y="49"/>
                  </a:cubicBezTo>
                  <a:cubicBezTo>
                    <a:pt x="39" y="48"/>
                    <a:pt x="39" y="48"/>
                    <a:pt x="39" y="48"/>
                  </a:cubicBezTo>
                  <a:cubicBezTo>
                    <a:pt x="42" y="52"/>
                    <a:pt x="42" y="52"/>
                    <a:pt x="42" y="52"/>
                  </a:cubicBezTo>
                  <a:cubicBezTo>
                    <a:pt x="53" y="55"/>
                    <a:pt x="53" y="55"/>
                    <a:pt x="53" y="55"/>
                  </a:cubicBezTo>
                  <a:cubicBezTo>
                    <a:pt x="55" y="55"/>
                    <a:pt x="55" y="55"/>
                    <a:pt x="55" y="55"/>
                  </a:cubicBezTo>
                  <a:cubicBezTo>
                    <a:pt x="55" y="51"/>
                    <a:pt x="55" y="51"/>
                    <a:pt x="55" y="51"/>
                  </a:cubicBezTo>
                  <a:cubicBezTo>
                    <a:pt x="60" y="49"/>
                    <a:pt x="60" y="49"/>
                    <a:pt x="60" y="49"/>
                  </a:cubicBezTo>
                  <a:cubicBezTo>
                    <a:pt x="59" y="46"/>
                    <a:pt x="59" y="46"/>
                    <a:pt x="59" y="46"/>
                  </a:cubicBezTo>
                  <a:cubicBezTo>
                    <a:pt x="58" y="44"/>
                    <a:pt x="58" y="44"/>
                    <a:pt x="58" y="44"/>
                  </a:cubicBezTo>
                  <a:cubicBezTo>
                    <a:pt x="54" y="40"/>
                    <a:pt x="54" y="40"/>
                    <a:pt x="54" y="40"/>
                  </a:cubicBezTo>
                  <a:cubicBezTo>
                    <a:pt x="53" y="38"/>
                    <a:pt x="53" y="38"/>
                    <a:pt x="53" y="38"/>
                  </a:cubicBezTo>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27" name="Freeform 295"/>
            <p:cNvSpPr>
              <a:spLocks/>
            </p:cNvSpPr>
            <p:nvPr/>
          </p:nvSpPr>
          <p:spPr bwMode="auto">
            <a:xfrm>
              <a:off x="7625658" y="3148192"/>
              <a:ext cx="392350" cy="373961"/>
            </a:xfrm>
            <a:custGeom>
              <a:avLst/>
              <a:gdLst>
                <a:gd name="T0" fmla="*/ 219686 w 52"/>
                <a:gd name="T1" fmla="*/ 365449 h 49"/>
                <a:gd name="T2" fmla="*/ 251070 w 52"/>
                <a:gd name="T3" fmla="*/ 349898 h 49"/>
                <a:gd name="T4" fmla="*/ 227532 w 52"/>
                <a:gd name="T5" fmla="*/ 318796 h 49"/>
                <a:gd name="T6" fmla="*/ 211840 w 52"/>
                <a:gd name="T7" fmla="*/ 287694 h 49"/>
                <a:gd name="T8" fmla="*/ 235378 w 52"/>
                <a:gd name="T9" fmla="*/ 264367 h 49"/>
                <a:gd name="T10" fmla="*/ 266761 w 52"/>
                <a:gd name="T11" fmla="*/ 264367 h 49"/>
                <a:gd name="T12" fmla="*/ 313837 w 52"/>
                <a:gd name="T13" fmla="*/ 194388 h 49"/>
                <a:gd name="T14" fmla="*/ 329529 w 52"/>
                <a:gd name="T15" fmla="*/ 163286 h 49"/>
                <a:gd name="T16" fmla="*/ 345221 w 52"/>
                <a:gd name="T17" fmla="*/ 124408 h 49"/>
                <a:gd name="T18" fmla="*/ 321683 w 52"/>
                <a:gd name="T19" fmla="*/ 108857 h 49"/>
                <a:gd name="T20" fmla="*/ 321683 w 52"/>
                <a:gd name="T21" fmla="*/ 69980 h 49"/>
                <a:gd name="T22" fmla="*/ 407988 w 52"/>
                <a:gd name="T23" fmla="*/ 54429 h 49"/>
                <a:gd name="T24" fmla="*/ 400142 w 52"/>
                <a:gd name="T25" fmla="*/ 46653 h 49"/>
                <a:gd name="T26" fmla="*/ 368758 w 52"/>
                <a:gd name="T27" fmla="*/ 7776 h 49"/>
                <a:gd name="T28" fmla="*/ 345221 w 52"/>
                <a:gd name="T29" fmla="*/ 0 h 49"/>
                <a:gd name="T30" fmla="*/ 290299 w 52"/>
                <a:gd name="T31" fmla="*/ 7776 h 49"/>
                <a:gd name="T32" fmla="*/ 251070 w 52"/>
                <a:gd name="T33" fmla="*/ 23327 h 49"/>
                <a:gd name="T34" fmla="*/ 251070 w 52"/>
                <a:gd name="T35" fmla="*/ 46653 h 49"/>
                <a:gd name="T36" fmla="*/ 235378 w 52"/>
                <a:gd name="T37" fmla="*/ 85531 h 49"/>
                <a:gd name="T38" fmla="*/ 219686 w 52"/>
                <a:gd name="T39" fmla="*/ 93306 h 49"/>
                <a:gd name="T40" fmla="*/ 219686 w 52"/>
                <a:gd name="T41" fmla="*/ 108857 h 49"/>
                <a:gd name="T42" fmla="*/ 211840 w 52"/>
                <a:gd name="T43" fmla="*/ 116633 h 49"/>
                <a:gd name="T44" fmla="*/ 203994 w 52"/>
                <a:gd name="T45" fmla="*/ 147735 h 49"/>
                <a:gd name="T46" fmla="*/ 156918 w 52"/>
                <a:gd name="T47" fmla="*/ 163286 h 49"/>
                <a:gd name="T48" fmla="*/ 133381 w 52"/>
                <a:gd name="T49" fmla="*/ 178837 h 49"/>
                <a:gd name="T50" fmla="*/ 109843 w 52"/>
                <a:gd name="T51" fmla="*/ 217714 h 49"/>
                <a:gd name="T52" fmla="*/ 62767 w 52"/>
                <a:gd name="T53" fmla="*/ 217714 h 49"/>
                <a:gd name="T54" fmla="*/ 31384 w 52"/>
                <a:gd name="T55" fmla="*/ 209939 h 49"/>
                <a:gd name="T56" fmla="*/ 0 w 52"/>
                <a:gd name="T57" fmla="*/ 209939 h 49"/>
                <a:gd name="T58" fmla="*/ 7846 w 52"/>
                <a:gd name="T59" fmla="*/ 225490 h 49"/>
                <a:gd name="T60" fmla="*/ 39230 w 52"/>
                <a:gd name="T61" fmla="*/ 256592 h 49"/>
                <a:gd name="T62" fmla="*/ 47076 w 52"/>
                <a:gd name="T63" fmla="*/ 272143 h 49"/>
                <a:gd name="T64" fmla="*/ 54921 w 52"/>
                <a:gd name="T65" fmla="*/ 295469 h 49"/>
                <a:gd name="T66" fmla="*/ 15692 w 52"/>
                <a:gd name="T67" fmla="*/ 311020 h 49"/>
                <a:gd name="T68" fmla="*/ 15692 w 52"/>
                <a:gd name="T69" fmla="*/ 342122 h 49"/>
                <a:gd name="T70" fmla="*/ 54921 w 52"/>
                <a:gd name="T71" fmla="*/ 334347 h 49"/>
                <a:gd name="T72" fmla="*/ 141227 w 52"/>
                <a:gd name="T73" fmla="*/ 334347 h 49"/>
                <a:gd name="T74" fmla="*/ 172610 w 52"/>
                <a:gd name="T75" fmla="*/ 381000 h 49"/>
                <a:gd name="T76" fmla="*/ 188302 w 52"/>
                <a:gd name="T77" fmla="*/ 373224 h 49"/>
                <a:gd name="T78" fmla="*/ 219686 w 52"/>
                <a:gd name="T79" fmla="*/ 365449 h 4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2"/>
                <a:gd name="T121" fmla="*/ 0 h 49"/>
                <a:gd name="T122" fmla="*/ 52 w 52"/>
                <a:gd name="T123" fmla="*/ 49 h 4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2" h="49">
                  <a:moveTo>
                    <a:pt x="28" y="47"/>
                  </a:moveTo>
                  <a:cubicBezTo>
                    <a:pt x="32" y="45"/>
                    <a:pt x="32" y="45"/>
                    <a:pt x="32" y="45"/>
                  </a:cubicBezTo>
                  <a:cubicBezTo>
                    <a:pt x="29" y="41"/>
                    <a:pt x="29" y="41"/>
                    <a:pt x="29" y="41"/>
                  </a:cubicBezTo>
                  <a:cubicBezTo>
                    <a:pt x="27" y="37"/>
                    <a:pt x="27" y="37"/>
                    <a:pt x="27" y="37"/>
                  </a:cubicBezTo>
                  <a:cubicBezTo>
                    <a:pt x="30" y="34"/>
                    <a:pt x="30" y="34"/>
                    <a:pt x="30" y="34"/>
                  </a:cubicBezTo>
                  <a:cubicBezTo>
                    <a:pt x="34" y="34"/>
                    <a:pt x="34" y="34"/>
                    <a:pt x="34" y="34"/>
                  </a:cubicBezTo>
                  <a:cubicBezTo>
                    <a:pt x="40" y="25"/>
                    <a:pt x="40" y="25"/>
                    <a:pt x="40" y="25"/>
                  </a:cubicBezTo>
                  <a:cubicBezTo>
                    <a:pt x="42" y="21"/>
                    <a:pt x="42" y="21"/>
                    <a:pt x="42" y="21"/>
                  </a:cubicBezTo>
                  <a:cubicBezTo>
                    <a:pt x="44" y="16"/>
                    <a:pt x="44" y="16"/>
                    <a:pt x="44" y="16"/>
                  </a:cubicBezTo>
                  <a:cubicBezTo>
                    <a:pt x="41" y="14"/>
                    <a:pt x="41" y="14"/>
                    <a:pt x="41" y="14"/>
                  </a:cubicBezTo>
                  <a:cubicBezTo>
                    <a:pt x="41" y="9"/>
                    <a:pt x="41" y="9"/>
                    <a:pt x="41" y="9"/>
                  </a:cubicBezTo>
                  <a:cubicBezTo>
                    <a:pt x="52" y="7"/>
                    <a:pt x="52" y="7"/>
                    <a:pt x="52" y="7"/>
                  </a:cubicBezTo>
                  <a:cubicBezTo>
                    <a:pt x="51" y="6"/>
                    <a:pt x="51" y="6"/>
                    <a:pt x="51" y="6"/>
                  </a:cubicBezTo>
                  <a:cubicBezTo>
                    <a:pt x="47" y="1"/>
                    <a:pt x="47" y="1"/>
                    <a:pt x="47" y="1"/>
                  </a:cubicBezTo>
                  <a:cubicBezTo>
                    <a:pt x="44" y="0"/>
                    <a:pt x="44" y="0"/>
                    <a:pt x="44" y="0"/>
                  </a:cubicBezTo>
                  <a:cubicBezTo>
                    <a:pt x="37" y="1"/>
                    <a:pt x="37" y="1"/>
                    <a:pt x="37" y="1"/>
                  </a:cubicBezTo>
                  <a:cubicBezTo>
                    <a:pt x="32" y="3"/>
                    <a:pt x="32" y="3"/>
                    <a:pt x="32" y="3"/>
                  </a:cubicBezTo>
                  <a:cubicBezTo>
                    <a:pt x="32" y="6"/>
                    <a:pt x="32" y="6"/>
                    <a:pt x="32" y="6"/>
                  </a:cubicBezTo>
                  <a:cubicBezTo>
                    <a:pt x="32" y="6"/>
                    <a:pt x="31" y="11"/>
                    <a:pt x="30" y="11"/>
                  </a:cubicBezTo>
                  <a:cubicBezTo>
                    <a:pt x="30" y="11"/>
                    <a:pt x="28" y="12"/>
                    <a:pt x="28" y="12"/>
                  </a:cubicBezTo>
                  <a:cubicBezTo>
                    <a:pt x="28" y="14"/>
                    <a:pt x="28" y="14"/>
                    <a:pt x="28" y="14"/>
                  </a:cubicBezTo>
                  <a:cubicBezTo>
                    <a:pt x="27" y="15"/>
                    <a:pt x="27" y="15"/>
                    <a:pt x="27" y="15"/>
                  </a:cubicBezTo>
                  <a:cubicBezTo>
                    <a:pt x="26" y="19"/>
                    <a:pt x="26" y="19"/>
                    <a:pt x="26" y="19"/>
                  </a:cubicBezTo>
                  <a:cubicBezTo>
                    <a:pt x="26" y="19"/>
                    <a:pt x="21" y="21"/>
                    <a:pt x="20" y="21"/>
                  </a:cubicBezTo>
                  <a:cubicBezTo>
                    <a:pt x="20" y="21"/>
                    <a:pt x="17" y="23"/>
                    <a:pt x="17" y="23"/>
                  </a:cubicBezTo>
                  <a:cubicBezTo>
                    <a:pt x="14" y="28"/>
                    <a:pt x="14" y="28"/>
                    <a:pt x="14" y="28"/>
                  </a:cubicBezTo>
                  <a:cubicBezTo>
                    <a:pt x="14" y="28"/>
                    <a:pt x="9" y="28"/>
                    <a:pt x="8" y="28"/>
                  </a:cubicBezTo>
                  <a:cubicBezTo>
                    <a:pt x="7" y="28"/>
                    <a:pt x="4" y="27"/>
                    <a:pt x="4" y="27"/>
                  </a:cubicBezTo>
                  <a:cubicBezTo>
                    <a:pt x="0" y="27"/>
                    <a:pt x="0" y="27"/>
                    <a:pt x="0" y="27"/>
                  </a:cubicBezTo>
                  <a:cubicBezTo>
                    <a:pt x="1" y="29"/>
                    <a:pt x="1" y="29"/>
                    <a:pt x="1" y="29"/>
                  </a:cubicBezTo>
                  <a:cubicBezTo>
                    <a:pt x="5" y="33"/>
                    <a:pt x="5" y="33"/>
                    <a:pt x="5" y="33"/>
                  </a:cubicBezTo>
                  <a:cubicBezTo>
                    <a:pt x="6" y="35"/>
                    <a:pt x="6" y="35"/>
                    <a:pt x="6" y="35"/>
                  </a:cubicBezTo>
                  <a:cubicBezTo>
                    <a:pt x="7" y="38"/>
                    <a:pt x="7" y="38"/>
                    <a:pt x="7" y="38"/>
                  </a:cubicBezTo>
                  <a:cubicBezTo>
                    <a:pt x="2" y="40"/>
                    <a:pt x="2" y="40"/>
                    <a:pt x="2" y="40"/>
                  </a:cubicBezTo>
                  <a:cubicBezTo>
                    <a:pt x="2" y="44"/>
                    <a:pt x="2" y="44"/>
                    <a:pt x="2" y="44"/>
                  </a:cubicBezTo>
                  <a:cubicBezTo>
                    <a:pt x="7" y="43"/>
                    <a:pt x="7" y="43"/>
                    <a:pt x="7" y="43"/>
                  </a:cubicBezTo>
                  <a:cubicBezTo>
                    <a:pt x="18" y="43"/>
                    <a:pt x="18" y="43"/>
                    <a:pt x="18" y="43"/>
                  </a:cubicBezTo>
                  <a:cubicBezTo>
                    <a:pt x="22" y="49"/>
                    <a:pt x="22" y="49"/>
                    <a:pt x="22" y="49"/>
                  </a:cubicBezTo>
                  <a:cubicBezTo>
                    <a:pt x="24" y="48"/>
                    <a:pt x="24" y="48"/>
                    <a:pt x="24" y="48"/>
                  </a:cubicBezTo>
                  <a:lnTo>
                    <a:pt x="28" y="47"/>
                  </a:lnTo>
                  <a:close/>
                </a:path>
              </a:pathLst>
            </a:custGeom>
            <a:solidFill>
              <a:schemeClr val="bg1">
                <a:lumMod val="85000"/>
              </a:schemeClr>
            </a:solidFill>
            <a:ln w="9525">
              <a:solidFill>
                <a:sysClr val="window" lastClr="FFFFFF"/>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28" name="Freeform 296"/>
            <p:cNvSpPr>
              <a:spLocks/>
            </p:cNvSpPr>
            <p:nvPr/>
          </p:nvSpPr>
          <p:spPr bwMode="auto">
            <a:xfrm>
              <a:off x="7790538" y="3185528"/>
              <a:ext cx="696154" cy="729225"/>
            </a:xfrm>
            <a:custGeom>
              <a:avLst/>
              <a:gdLst>
                <a:gd name="T0" fmla="*/ 668920 w 553"/>
                <a:gd name="T1" fmla="*/ 304466 h 571"/>
                <a:gd name="T2" fmla="*/ 716046 w 553"/>
                <a:gd name="T3" fmla="*/ 234205 h 571"/>
                <a:gd name="T4" fmla="*/ 723900 w 553"/>
                <a:gd name="T5" fmla="*/ 218591 h 571"/>
                <a:gd name="T6" fmla="*/ 653212 w 553"/>
                <a:gd name="T7" fmla="*/ 195171 h 571"/>
                <a:gd name="T8" fmla="*/ 596923 w 553"/>
                <a:gd name="T9" fmla="*/ 249819 h 571"/>
                <a:gd name="T10" fmla="*/ 534089 w 553"/>
                <a:gd name="T11" fmla="*/ 249819 h 571"/>
                <a:gd name="T12" fmla="*/ 494818 w 553"/>
                <a:gd name="T13" fmla="*/ 234205 h 571"/>
                <a:gd name="T14" fmla="*/ 463401 w 553"/>
                <a:gd name="T15" fmla="*/ 257625 h 571"/>
                <a:gd name="T16" fmla="*/ 377004 w 553"/>
                <a:gd name="T17" fmla="*/ 242012 h 571"/>
                <a:gd name="T18" fmla="*/ 322024 w 553"/>
                <a:gd name="T19" fmla="*/ 156137 h 571"/>
                <a:gd name="T20" fmla="*/ 267044 w 553"/>
                <a:gd name="T21" fmla="*/ 109296 h 571"/>
                <a:gd name="T22" fmla="*/ 274899 w 553"/>
                <a:gd name="T23" fmla="*/ 62455 h 571"/>
                <a:gd name="T24" fmla="*/ 298461 w 553"/>
                <a:gd name="T25" fmla="*/ 0 h 571"/>
                <a:gd name="T26" fmla="*/ 219919 w 553"/>
                <a:gd name="T27" fmla="*/ 0 h 571"/>
                <a:gd name="T28" fmla="*/ 235627 w 553"/>
                <a:gd name="T29" fmla="*/ 15614 h 571"/>
                <a:gd name="T30" fmla="*/ 149231 w 553"/>
                <a:gd name="T31" fmla="*/ 70261 h 571"/>
                <a:gd name="T32" fmla="*/ 157085 w 553"/>
                <a:gd name="T33" fmla="*/ 124909 h 571"/>
                <a:gd name="T34" fmla="*/ 94251 w 553"/>
                <a:gd name="T35" fmla="*/ 226398 h 571"/>
                <a:gd name="T36" fmla="*/ 39271 w 553"/>
                <a:gd name="T37" fmla="*/ 249819 h 571"/>
                <a:gd name="T38" fmla="*/ 78542 w 553"/>
                <a:gd name="T39" fmla="*/ 312273 h 571"/>
                <a:gd name="T40" fmla="*/ 15708 w 553"/>
                <a:gd name="T41" fmla="*/ 335694 h 571"/>
                <a:gd name="T42" fmla="*/ 0 w 553"/>
                <a:gd name="T43" fmla="*/ 343501 h 571"/>
                <a:gd name="T44" fmla="*/ 54980 w 553"/>
                <a:gd name="T45" fmla="*/ 413762 h 571"/>
                <a:gd name="T46" fmla="*/ 117814 w 553"/>
                <a:gd name="T47" fmla="*/ 530864 h 571"/>
                <a:gd name="T48" fmla="*/ 180648 w 553"/>
                <a:gd name="T49" fmla="*/ 664882 h 571"/>
                <a:gd name="T50" fmla="*/ 227773 w 553"/>
                <a:gd name="T51" fmla="*/ 742950 h 571"/>
                <a:gd name="T52" fmla="*/ 282753 w 553"/>
                <a:gd name="T53" fmla="*/ 680495 h 571"/>
                <a:gd name="T54" fmla="*/ 298461 w 553"/>
                <a:gd name="T55" fmla="*/ 594620 h 571"/>
                <a:gd name="T56" fmla="*/ 361295 w 553"/>
                <a:gd name="T57" fmla="*/ 499637 h 571"/>
                <a:gd name="T58" fmla="*/ 447692 w 553"/>
                <a:gd name="T59" fmla="*/ 429376 h 571"/>
                <a:gd name="T60" fmla="*/ 510526 w 553"/>
                <a:gd name="T61" fmla="*/ 382535 h 571"/>
                <a:gd name="T62" fmla="*/ 486963 w 553"/>
                <a:gd name="T63" fmla="*/ 304466 h 571"/>
                <a:gd name="T64" fmla="*/ 502672 w 553"/>
                <a:gd name="T65" fmla="*/ 281046 h 571"/>
                <a:gd name="T66" fmla="*/ 549797 w 553"/>
                <a:gd name="T67" fmla="*/ 296659 h 571"/>
                <a:gd name="T68" fmla="*/ 589069 w 553"/>
                <a:gd name="T69" fmla="*/ 320080 h 571"/>
                <a:gd name="T70" fmla="*/ 604777 w 553"/>
                <a:gd name="T71" fmla="*/ 343501 h 571"/>
                <a:gd name="T72" fmla="*/ 604777 w 553"/>
                <a:gd name="T73" fmla="*/ 398148 h 571"/>
                <a:gd name="T74" fmla="*/ 645357 w 553"/>
                <a:gd name="T75" fmla="*/ 327887 h 57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53"/>
                <a:gd name="T115" fmla="*/ 0 h 571"/>
                <a:gd name="T116" fmla="*/ 553 w 553"/>
                <a:gd name="T117" fmla="*/ 571 h 57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53" h="571">
                  <a:moveTo>
                    <a:pt x="493" y="252"/>
                  </a:moveTo>
                  <a:lnTo>
                    <a:pt x="511" y="234"/>
                  </a:lnTo>
                  <a:lnTo>
                    <a:pt x="523" y="198"/>
                  </a:lnTo>
                  <a:lnTo>
                    <a:pt x="547" y="180"/>
                  </a:lnTo>
                  <a:lnTo>
                    <a:pt x="553" y="168"/>
                  </a:lnTo>
                  <a:lnTo>
                    <a:pt x="529" y="150"/>
                  </a:lnTo>
                  <a:lnTo>
                    <a:pt x="499" y="150"/>
                  </a:lnTo>
                  <a:lnTo>
                    <a:pt x="474" y="168"/>
                  </a:lnTo>
                  <a:lnTo>
                    <a:pt x="456" y="192"/>
                  </a:lnTo>
                  <a:lnTo>
                    <a:pt x="432" y="192"/>
                  </a:lnTo>
                  <a:lnTo>
                    <a:pt x="408" y="192"/>
                  </a:lnTo>
                  <a:lnTo>
                    <a:pt x="390" y="180"/>
                  </a:lnTo>
                  <a:lnTo>
                    <a:pt x="378" y="180"/>
                  </a:lnTo>
                  <a:lnTo>
                    <a:pt x="366" y="198"/>
                  </a:lnTo>
                  <a:lnTo>
                    <a:pt x="354" y="198"/>
                  </a:lnTo>
                  <a:lnTo>
                    <a:pt x="330" y="192"/>
                  </a:lnTo>
                  <a:lnTo>
                    <a:pt x="288" y="186"/>
                  </a:lnTo>
                  <a:lnTo>
                    <a:pt x="228" y="156"/>
                  </a:lnTo>
                  <a:lnTo>
                    <a:pt x="246" y="120"/>
                  </a:lnTo>
                  <a:lnTo>
                    <a:pt x="216" y="108"/>
                  </a:lnTo>
                  <a:lnTo>
                    <a:pt x="204" y="84"/>
                  </a:lnTo>
                  <a:lnTo>
                    <a:pt x="216" y="66"/>
                  </a:lnTo>
                  <a:lnTo>
                    <a:pt x="210" y="48"/>
                  </a:lnTo>
                  <a:lnTo>
                    <a:pt x="234" y="12"/>
                  </a:lnTo>
                  <a:lnTo>
                    <a:pt x="228" y="0"/>
                  </a:lnTo>
                  <a:lnTo>
                    <a:pt x="192" y="0"/>
                  </a:lnTo>
                  <a:lnTo>
                    <a:pt x="168" y="0"/>
                  </a:lnTo>
                  <a:lnTo>
                    <a:pt x="174" y="6"/>
                  </a:lnTo>
                  <a:lnTo>
                    <a:pt x="180" y="12"/>
                  </a:lnTo>
                  <a:lnTo>
                    <a:pt x="114" y="24"/>
                  </a:lnTo>
                  <a:lnTo>
                    <a:pt x="114" y="54"/>
                  </a:lnTo>
                  <a:lnTo>
                    <a:pt x="132" y="66"/>
                  </a:lnTo>
                  <a:lnTo>
                    <a:pt x="120" y="96"/>
                  </a:lnTo>
                  <a:lnTo>
                    <a:pt x="108" y="120"/>
                  </a:lnTo>
                  <a:lnTo>
                    <a:pt x="72" y="174"/>
                  </a:lnTo>
                  <a:lnTo>
                    <a:pt x="48" y="174"/>
                  </a:lnTo>
                  <a:lnTo>
                    <a:pt x="30" y="192"/>
                  </a:lnTo>
                  <a:lnTo>
                    <a:pt x="42" y="216"/>
                  </a:lnTo>
                  <a:lnTo>
                    <a:pt x="60" y="240"/>
                  </a:lnTo>
                  <a:lnTo>
                    <a:pt x="36" y="252"/>
                  </a:lnTo>
                  <a:lnTo>
                    <a:pt x="12" y="258"/>
                  </a:lnTo>
                  <a:lnTo>
                    <a:pt x="0" y="264"/>
                  </a:lnTo>
                  <a:lnTo>
                    <a:pt x="24" y="294"/>
                  </a:lnTo>
                  <a:lnTo>
                    <a:pt x="42" y="318"/>
                  </a:lnTo>
                  <a:lnTo>
                    <a:pt x="78" y="294"/>
                  </a:lnTo>
                  <a:lnTo>
                    <a:pt x="90" y="408"/>
                  </a:lnTo>
                  <a:lnTo>
                    <a:pt x="108" y="457"/>
                  </a:lnTo>
                  <a:lnTo>
                    <a:pt x="138" y="511"/>
                  </a:lnTo>
                  <a:lnTo>
                    <a:pt x="156" y="541"/>
                  </a:lnTo>
                  <a:lnTo>
                    <a:pt x="174" y="571"/>
                  </a:lnTo>
                  <a:lnTo>
                    <a:pt x="192" y="553"/>
                  </a:lnTo>
                  <a:lnTo>
                    <a:pt x="216" y="523"/>
                  </a:lnTo>
                  <a:lnTo>
                    <a:pt x="222" y="499"/>
                  </a:lnTo>
                  <a:lnTo>
                    <a:pt x="228" y="457"/>
                  </a:lnTo>
                  <a:lnTo>
                    <a:pt x="234" y="420"/>
                  </a:lnTo>
                  <a:lnTo>
                    <a:pt x="276" y="384"/>
                  </a:lnTo>
                  <a:lnTo>
                    <a:pt x="318" y="354"/>
                  </a:lnTo>
                  <a:lnTo>
                    <a:pt x="342" y="330"/>
                  </a:lnTo>
                  <a:lnTo>
                    <a:pt x="360" y="300"/>
                  </a:lnTo>
                  <a:lnTo>
                    <a:pt x="390" y="294"/>
                  </a:lnTo>
                  <a:lnTo>
                    <a:pt x="378" y="246"/>
                  </a:lnTo>
                  <a:lnTo>
                    <a:pt x="372" y="234"/>
                  </a:lnTo>
                  <a:lnTo>
                    <a:pt x="378" y="228"/>
                  </a:lnTo>
                  <a:lnTo>
                    <a:pt x="384" y="216"/>
                  </a:lnTo>
                  <a:lnTo>
                    <a:pt x="402" y="216"/>
                  </a:lnTo>
                  <a:lnTo>
                    <a:pt x="420" y="228"/>
                  </a:lnTo>
                  <a:lnTo>
                    <a:pt x="456" y="234"/>
                  </a:lnTo>
                  <a:lnTo>
                    <a:pt x="450" y="246"/>
                  </a:lnTo>
                  <a:lnTo>
                    <a:pt x="444" y="258"/>
                  </a:lnTo>
                  <a:lnTo>
                    <a:pt x="462" y="264"/>
                  </a:lnTo>
                  <a:lnTo>
                    <a:pt x="456" y="288"/>
                  </a:lnTo>
                  <a:lnTo>
                    <a:pt x="462" y="306"/>
                  </a:lnTo>
                  <a:lnTo>
                    <a:pt x="474" y="282"/>
                  </a:lnTo>
                  <a:lnTo>
                    <a:pt x="493" y="252"/>
                  </a:lnTo>
                  <a:close/>
                </a:path>
              </a:pathLst>
            </a:custGeom>
            <a:solidFill>
              <a:srgbClr val="B7BE16"/>
            </a:solidFill>
            <a:ln w="9525">
              <a:solidFill>
                <a:sysClr val="window" lastClr="FFFFFF">
                  <a:lumMod val="85000"/>
                </a:sys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29" name="Freeform 297"/>
            <p:cNvSpPr>
              <a:spLocks/>
            </p:cNvSpPr>
            <p:nvPr/>
          </p:nvSpPr>
          <p:spPr bwMode="auto">
            <a:xfrm>
              <a:off x="7611921" y="3103005"/>
              <a:ext cx="346550" cy="258657"/>
            </a:xfrm>
            <a:custGeom>
              <a:avLst/>
              <a:gdLst>
                <a:gd name="T0" fmla="*/ 329026 w 46"/>
                <a:gd name="T1" fmla="*/ 23252 h 34"/>
                <a:gd name="T2" fmla="*/ 297690 w 46"/>
                <a:gd name="T3" fmla="*/ 31003 h 34"/>
                <a:gd name="T4" fmla="*/ 274189 w 46"/>
                <a:gd name="T5" fmla="*/ 31003 h 34"/>
                <a:gd name="T6" fmla="*/ 266355 w 46"/>
                <a:gd name="T7" fmla="*/ 7751 h 34"/>
                <a:gd name="T8" fmla="*/ 258521 w 46"/>
                <a:gd name="T9" fmla="*/ 0 h 34"/>
                <a:gd name="T10" fmla="*/ 235019 w 46"/>
                <a:gd name="T11" fmla="*/ 23252 h 34"/>
                <a:gd name="T12" fmla="*/ 219351 w 46"/>
                <a:gd name="T13" fmla="*/ 38754 h 34"/>
                <a:gd name="T14" fmla="*/ 188015 w 46"/>
                <a:gd name="T15" fmla="*/ 46504 h 34"/>
                <a:gd name="T16" fmla="*/ 172347 w 46"/>
                <a:gd name="T17" fmla="*/ 31003 h 34"/>
                <a:gd name="T18" fmla="*/ 148845 w 46"/>
                <a:gd name="T19" fmla="*/ 31003 h 34"/>
                <a:gd name="T20" fmla="*/ 117509 w 46"/>
                <a:gd name="T21" fmla="*/ 23252 h 34"/>
                <a:gd name="T22" fmla="*/ 109675 w 46"/>
                <a:gd name="T23" fmla="*/ 62006 h 34"/>
                <a:gd name="T24" fmla="*/ 70506 w 46"/>
                <a:gd name="T25" fmla="*/ 77507 h 34"/>
                <a:gd name="T26" fmla="*/ 54838 w 46"/>
                <a:gd name="T27" fmla="*/ 93009 h 34"/>
                <a:gd name="T28" fmla="*/ 31336 w 46"/>
                <a:gd name="T29" fmla="*/ 85258 h 34"/>
                <a:gd name="T30" fmla="*/ 15668 w 46"/>
                <a:gd name="T31" fmla="*/ 77507 h 34"/>
                <a:gd name="T32" fmla="*/ 7834 w 46"/>
                <a:gd name="T33" fmla="*/ 124012 h 34"/>
                <a:gd name="T34" fmla="*/ 0 w 46"/>
                <a:gd name="T35" fmla="*/ 155015 h 34"/>
                <a:gd name="T36" fmla="*/ 0 w 46"/>
                <a:gd name="T37" fmla="*/ 193768 h 34"/>
                <a:gd name="T38" fmla="*/ 31336 w 46"/>
                <a:gd name="T39" fmla="*/ 209270 h 34"/>
                <a:gd name="T40" fmla="*/ 15668 w 46"/>
                <a:gd name="T41" fmla="*/ 255774 h 34"/>
                <a:gd name="T42" fmla="*/ 15668 w 46"/>
                <a:gd name="T43" fmla="*/ 255774 h 34"/>
                <a:gd name="T44" fmla="*/ 47004 w 46"/>
                <a:gd name="T45" fmla="*/ 255774 h 34"/>
                <a:gd name="T46" fmla="*/ 78340 w 46"/>
                <a:gd name="T47" fmla="*/ 263525 h 34"/>
                <a:gd name="T48" fmla="*/ 125343 w 46"/>
                <a:gd name="T49" fmla="*/ 263525 h 34"/>
                <a:gd name="T50" fmla="*/ 148845 w 46"/>
                <a:gd name="T51" fmla="*/ 224771 h 34"/>
                <a:gd name="T52" fmla="*/ 172347 w 46"/>
                <a:gd name="T53" fmla="*/ 209270 h 34"/>
                <a:gd name="T54" fmla="*/ 219351 w 46"/>
                <a:gd name="T55" fmla="*/ 193768 h 34"/>
                <a:gd name="T56" fmla="*/ 227185 w 46"/>
                <a:gd name="T57" fmla="*/ 162765 h 34"/>
                <a:gd name="T58" fmla="*/ 235019 w 46"/>
                <a:gd name="T59" fmla="*/ 155015 h 34"/>
                <a:gd name="T60" fmla="*/ 235019 w 46"/>
                <a:gd name="T61" fmla="*/ 139513 h 34"/>
                <a:gd name="T62" fmla="*/ 250687 w 46"/>
                <a:gd name="T63" fmla="*/ 131763 h 34"/>
                <a:gd name="T64" fmla="*/ 266355 w 46"/>
                <a:gd name="T65" fmla="*/ 93009 h 34"/>
                <a:gd name="T66" fmla="*/ 266355 w 46"/>
                <a:gd name="T67" fmla="*/ 69757 h 34"/>
                <a:gd name="T68" fmla="*/ 305524 w 46"/>
                <a:gd name="T69" fmla="*/ 54255 h 34"/>
                <a:gd name="T70" fmla="*/ 360362 w 46"/>
                <a:gd name="T71" fmla="*/ 46504 h 34"/>
                <a:gd name="T72" fmla="*/ 344694 w 46"/>
                <a:gd name="T73" fmla="*/ 23252 h 34"/>
                <a:gd name="T74" fmla="*/ 329026 w 46"/>
                <a:gd name="T75" fmla="*/ 23252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6"/>
                <a:gd name="T115" fmla="*/ 0 h 34"/>
                <a:gd name="T116" fmla="*/ 46 w 46"/>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6" h="34">
                  <a:moveTo>
                    <a:pt x="42" y="3"/>
                  </a:moveTo>
                  <a:cubicBezTo>
                    <a:pt x="38" y="4"/>
                    <a:pt x="38" y="4"/>
                    <a:pt x="38" y="4"/>
                  </a:cubicBezTo>
                  <a:cubicBezTo>
                    <a:pt x="35" y="4"/>
                    <a:pt x="35" y="4"/>
                    <a:pt x="35" y="4"/>
                  </a:cubicBezTo>
                  <a:cubicBezTo>
                    <a:pt x="34" y="1"/>
                    <a:pt x="34" y="1"/>
                    <a:pt x="34" y="1"/>
                  </a:cubicBezTo>
                  <a:cubicBezTo>
                    <a:pt x="33" y="0"/>
                    <a:pt x="33" y="0"/>
                    <a:pt x="33" y="0"/>
                  </a:cubicBezTo>
                  <a:cubicBezTo>
                    <a:pt x="30" y="3"/>
                    <a:pt x="30" y="3"/>
                    <a:pt x="30" y="3"/>
                  </a:cubicBezTo>
                  <a:cubicBezTo>
                    <a:pt x="28" y="5"/>
                    <a:pt x="28" y="5"/>
                    <a:pt x="28" y="5"/>
                  </a:cubicBezTo>
                  <a:cubicBezTo>
                    <a:pt x="24" y="6"/>
                    <a:pt x="24" y="6"/>
                    <a:pt x="24" y="6"/>
                  </a:cubicBezTo>
                  <a:cubicBezTo>
                    <a:pt x="22" y="4"/>
                    <a:pt x="22" y="4"/>
                    <a:pt x="22" y="4"/>
                  </a:cubicBezTo>
                  <a:cubicBezTo>
                    <a:pt x="19" y="4"/>
                    <a:pt x="19" y="4"/>
                    <a:pt x="19" y="4"/>
                  </a:cubicBezTo>
                  <a:cubicBezTo>
                    <a:pt x="15" y="3"/>
                    <a:pt x="15" y="3"/>
                    <a:pt x="15" y="3"/>
                  </a:cubicBezTo>
                  <a:cubicBezTo>
                    <a:pt x="14" y="8"/>
                    <a:pt x="14" y="8"/>
                    <a:pt x="14" y="8"/>
                  </a:cubicBezTo>
                  <a:cubicBezTo>
                    <a:pt x="9" y="10"/>
                    <a:pt x="9" y="10"/>
                    <a:pt x="9" y="10"/>
                  </a:cubicBezTo>
                  <a:cubicBezTo>
                    <a:pt x="7" y="12"/>
                    <a:pt x="7" y="12"/>
                    <a:pt x="7" y="12"/>
                  </a:cubicBezTo>
                  <a:cubicBezTo>
                    <a:pt x="4" y="11"/>
                    <a:pt x="4" y="11"/>
                    <a:pt x="4" y="11"/>
                  </a:cubicBezTo>
                  <a:cubicBezTo>
                    <a:pt x="2" y="10"/>
                    <a:pt x="2" y="10"/>
                    <a:pt x="2" y="10"/>
                  </a:cubicBezTo>
                  <a:cubicBezTo>
                    <a:pt x="1" y="16"/>
                    <a:pt x="1" y="16"/>
                    <a:pt x="1" y="16"/>
                  </a:cubicBezTo>
                  <a:cubicBezTo>
                    <a:pt x="0" y="20"/>
                    <a:pt x="0" y="20"/>
                    <a:pt x="0" y="20"/>
                  </a:cubicBezTo>
                  <a:cubicBezTo>
                    <a:pt x="0" y="25"/>
                    <a:pt x="0" y="25"/>
                    <a:pt x="0" y="25"/>
                  </a:cubicBezTo>
                  <a:cubicBezTo>
                    <a:pt x="4" y="27"/>
                    <a:pt x="4" y="27"/>
                    <a:pt x="4" y="27"/>
                  </a:cubicBezTo>
                  <a:cubicBezTo>
                    <a:pt x="2" y="33"/>
                    <a:pt x="2" y="33"/>
                    <a:pt x="2" y="33"/>
                  </a:cubicBezTo>
                  <a:cubicBezTo>
                    <a:pt x="2" y="33"/>
                    <a:pt x="2" y="33"/>
                    <a:pt x="2" y="33"/>
                  </a:cubicBezTo>
                  <a:cubicBezTo>
                    <a:pt x="6" y="33"/>
                    <a:pt x="6" y="33"/>
                    <a:pt x="6" y="33"/>
                  </a:cubicBezTo>
                  <a:cubicBezTo>
                    <a:pt x="6" y="33"/>
                    <a:pt x="9" y="34"/>
                    <a:pt x="10" y="34"/>
                  </a:cubicBezTo>
                  <a:cubicBezTo>
                    <a:pt x="11" y="34"/>
                    <a:pt x="16" y="34"/>
                    <a:pt x="16" y="34"/>
                  </a:cubicBezTo>
                  <a:cubicBezTo>
                    <a:pt x="19" y="29"/>
                    <a:pt x="19" y="29"/>
                    <a:pt x="19" y="29"/>
                  </a:cubicBezTo>
                  <a:cubicBezTo>
                    <a:pt x="19" y="29"/>
                    <a:pt x="22" y="27"/>
                    <a:pt x="22" y="27"/>
                  </a:cubicBezTo>
                  <a:cubicBezTo>
                    <a:pt x="23" y="27"/>
                    <a:pt x="28" y="25"/>
                    <a:pt x="28" y="25"/>
                  </a:cubicBezTo>
                  <a:cubicBezTo>
                    <a:pt x="29" y="21"/>
                    <a:pt x="29" y="21"/>
                    <a:pt x="29" y="21"/>
                  </a:cubicBezTo>
                  <a:cubicBezTo>
                    <a:pt x="30" y="20"/>
                    <a:pt x="30" y="20"/>
                    <a:pt x="30" y="20"/>
                  </a:cubicBezTo>
                  <a:cubicBezTo>
                    <a:pt x="30" y="18"/>
                    <a:pt x="30" y="18"/>
                    <a:pt x="30" y="18"/>
                  </a:cubicBezTo>
                  <a:cubicBezTo>
                    <a:pt x="30" y="18"/>
                    <a:pt x="32" y="17"/>
                    <a:pt x="32" y="17"/>
                  </a:cubicBezTo>
                  <a:cubicBezTo>
                    <a:pt x="33" y="17"/>
                    <a:pt x="34" y="12"/>
                    <a:pt x="34" y="12"/>
                  </a:cubicBezTo>
                  <a:cubicBezTo>
                    <a:pt x="34" y="9"/>
                    <a:pt x="34" y="9"/>
                    <a:pt x="34" y="9"/>
                  </a:cubicBezTo>
                  <a:cubicBezTo>
                    <a:pt x="39" y="7"/>
                    <a:pt x="39" y="7"/>
                    <a:pt x="39" y="7"/>
                  </a:cubicBezTo>
                  <a:cubicBezTo>
                    <a:pt x="46" y="6"/>
                    <a:pt x="46" y="6"/>
                    <a:pt x="46" y="6"/>
                  </a:cubicBezTo>
                  <a:cubicBezTo>
                    <a:pt x="44" y="3"/>
                    <a:pt x="44" y="3"/>
                    <a:pt x="44" y="3"/>
                  </a:cubicBezTo>
                  <a:lnTo>
                    <a:pt x="42" y="3"/>
                  </a:lnTo>
                  <a:close/>
                </a:path>
              </a:pathLst>
            </a:custGeom>
            <a:solidFill>
              <a:schemeClr val="bg1">
                <a:lumMod val="85000"/>
              </a:schemeClr>
            </a:solidFill>
            <a:ln w="9525">
              <a:solidFill>
                <a:sysClr val="window" lastClr="FFFFFF"/>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30" name="Freeform 299"/>
            <p:cNvSpPr>
              <a:spLocks/>
            </p:cNvSpPr>
            <p:nvPr/>
          </p:nvSpPr>
          <p:spPr bwMode="auto">
            <a:xfrm>
              <a:off x="6657771" y="2450123"/>
              <a:ext cx="152666" cy="105957"/>
            </a:xfrm>
            <a:custGeom>
              <a:avLst/>
              <a:gdLst>
                <a:gd name="T0" fmla="*/ 150813 w 20"/>
                <a:gd name="T1" fmla="*/ 30843 h 14"/>
                <a:gd name="T2" fmla="*/ 134938 w 20"/>
                <a:gd name="T3" fmla="*/ 15421 h 14"/>
                <a:gd name="T4" fmla="*/ 119062 w 20"/>
                <a:gd name="T5" fmla="*/ 0 h 14"/>
                <a:gd name="T6" fmla="*/ 103187 w 20"/>
                <a:gd name="T7" fmla="*/ 7711 h 14"/>
                <a:gd name="T8" fmla="*/ 71438 w 20"/>
                <a:gd name="T9" fmla="*/ 0 h 14"/>
                <a:gd name="T10" fmla="*/ 39688 w 20"/>
                <a:gd name="T11" fmla="*/ 0 h 14"/>
                <a:gd name="T12" fmla="*/ 7938 w 20"/>
                <a:gd name="T13" fmla="*/ 7711 h 14"/>
                <a:gd name="T14" fmla="*/ 7938 w 20"/>
                <a:gd name="T15" fmla="*/ 38554 h 14"/>
                <a:gd name="T16" fmla="*/ 0 w 20"/>
                <a:gd name="T17" fmla="*/ 46264 h 14"/>
                <a:gd name="T18" fmla="*/ 15875 w 20"/>
                <a:gd name="T19" fmla="*/ 46264 h 14"/>
                <a:gd name="T20" fmla="*/ 31750 w 20"/>
                <a:gd name="T21" fmla="*/ 53975 h 14"/>
                <a:gd name="T22" fmla="*/ 47625 w 20"/>
                <a:gd name="T23" fmla="*/ 61686 h 14"/>
                <a:gd name="T24" fmla="*/ 55562 w 20"/>
                <a:gd name="T25" fmla="*/ 77107 h 14"/>
                <a:gd name="T26" fmla="*/ 47625 w 20"/>
                <a:gd name="T27" fmla="*/ 92529 h 14"/>
                <a:gd name="T28" fmla="*/ 55562 w 20"/>
                <a:gd name="T29" fmla="*/ 92529 h 14"/>
                <a:gd name="T30" fmla="*/ 71438 w 20"/>
                <a:gd name="T31" fmla="*/ 107950 h 14"/>
                <a:gd name="T32" fmla="*/ 87312 w 20"/>
                <a:gd name="T33" fmla="*/ 100239 h 14"/>
                <a:gd name="T34" fmla="*/ 103187 w 20"/>
                <a:gd name="T35" fmla="*/ 92529 h 14"/>
                <a:gd name="T36" fmla="*/ 127000 w 20"/>
                <a:gd name="T37" fmla="*/ 92529 h 14"/>
                <a:gd name="T38" fmla="*/ 127000 w 20"/>
                <a:gd name="T39" fmla="*/ 69396 h 14"/>
                <a:gd name="T40" fmla="*/ 142875 w 20"/>
                <a:gd name="T41" fmla="*/ 53975 h 14"/>
                <a:gd name="T42" fmla="*/ 158750 w 20"/>
                <a:gd name="T43" fmla="*/ 30843 h 14"/>
                <a:gd name="T44" fmla="*/ 150813 w 20"/>
                <a:gd name="T45" fmla="*/ 30843 h 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0"/>
                <a:gd name="T70" fmla="*/ 0 h 14"/>
                <a:gd name="T71" fmla="*/ 20 w 20"/>
                <a:gd name="T72" fmla="*/ 14 h 1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0" h="14">
                  <a:moveTo>
                    <a:pt x="19" y="4"/>
                  </a:moveTo>
                  <a:cubicBezTo>
                    <a:pt x="17" y="2"/>
                    <a:pt x="17" y="2"/>
                    <a:pt x="17" y="2"/>
                  </a:cubicBezTo>
                  <a:cubicBezTo>
                    <a:pt x="15" y="0"/>
                    <a:pt x="15" y="0"/>
                    <a:pt x="15" y="0"/>
                  </a:cubicBezTo>
                  <a:cubicBezTo>
                    <a:pt x="13" y="1"/>
                    <a:pt x="13" y="1"/>
                    <a:pt x="13" y="1"/>
                  </a:cubicBezTo>
                  <a:cubicBezTo>
                    <a:pt x="9" y="0"/>
                    <a:pt x="9" y="0"/>
                    <a:pt x="9" y="0"/>
                  </a:cubicBezTo>
                  <a:cubicBezTo>
                    <a:pt x="5" y="0"/>
                    <a:pt x="5" y="0"/>
                    <a:pt x="5" y="0"/>
                  </a:cubicBezTo>
                  <a:cubicBezTo>
                    <a:pt x="1" y="1"/>
                    <a:pt x="1" y="1"/>
                    <a:pt x="1" y="1"/>
                  </a:cubicBezTo>
                  <a:cubicBezTo>
                    <a:pt x="1" y="3"/>
                    <a:pt x="1" y="5"/>
                    <a:pt x="1" y="5"/>
                  </a:cubicBezTo>
                  <a:cubicBezTo>
                    <a:pt x="0" y="6"/>
                    <a:pt x="0" y="6"/>
                    <a:pt x="0" y="6"/>
                  </a:cubicBezTo>
                  <a:cubicBezTo>
                    <a:pt x="2" y="6"/>
                    <a:pt x="2" y="6"/>
                    <a:pt x="2" y="6"/>
                  </a:cubicBezTo>
                  <a:cubicBezTo>
                    <a:pt x="4" y="7"/>
                    <a:pt x="4" y="7"/>
                    <a:pt x="4" y="7"/>
                  </a:cubicBezTo>
                  <a:cubicBezTo>
                    <a:pt x="6" y="8"/>
                    <a:pt x="6" y="8"/>
                    <a:pt x="6" y="8"/>
                  </a:cubicBezTo>
                  <a:cubicBezTo>
                    <a:pt x="7" y="10"/>
                    <a:pt x="7" y="10"/>
                    <a:pt x="7" y="10"/>
                  </a:cubicBezTo>
                  <a:cubicBezTo>
                    <a:pt x="6" y="12"/>
                    <a:pt x="6" y="12"/>
                    <a:pt x="6" y="12"/>
                  </a:cubicBezTo>
                  <a:cubicBezTo>
                    <a:pt x="7" y="12"/>
                    <a:pt x="7" y="12"/>
                    <a:pt x="7" y="12"/>
                  </a:cubicBezTo>
                  <a:cubicBezTo>
                    <a:pt x="9" y="14"/>
                    <a:pt x="9" y="14"/>
                    <a:pt x="9" y="14"/>
                  </a:cubicBezTo>
                  <a:cubicBezTo>
                    <a:pt x="11" y="13"/>
                    <a:pt x="11" y="13"/>
                    <a:pt x="11" y="13"/>
                  </a:cubicBezTo>
                  <a:cubicBezTo>
                    <a:pt x="13" y="12"/>
                    <a:pt x="13" y="12"/>
                    <a:pt x="13" y="12"/>
                  </a:cubicBezTo>
                  <a:cubicBezTo>
                    <a:pt x="13" y="12"/>
                    <a:pt x="15" y="12"/>
                    <a:pt x="16" y="12"/>
                  </a:cubicBezTo>
                  <a:cubicBezTo>
                    <a:pt x="17" y="12"/>
                    <a:pt x="16" y="9"/>
                    <a:pt x="16" y="9"/>
                  </a:cubicBezTo>
                  <a:cubicBezTo>
                    <a:pt x="18" y="7"/>
                    <a:pt x="18" y="7"/>
                    <a:pt x="18" y="7"/>
                  </a:cubicBezTo>
                  <a:cubicBezTo>
                    <a:pt x="20" y="4"/>
                    <a:pt x="20" y="4"/>
                    <a:pt x="20" y="4"/>
                  </a:cubicBezTo>
                  <a:cubicBezTo>
                    <a:pt x="19" y="4"/>
                    <a:pt x="19" y="4"/>
                    <a:pt x="19" y="4"/>
                  </a:cubicBezTo>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31" name="Freeform 300"/>
            <p:cNvSpPr>
              <a:spLocks/>
            </p:cNvSpPr>
            <p:nvPr/>
          </p:nvSpPr>
          <p:spPr bwMode="auto">
            <a:xfrm>
              <a:off x="6724943" y="2303587"/>
              <a:ext cx="114499" cy="99724"/>
            </a:xfrm>
            <a:custGeom>
              <a:avLst/>
              <a:gdLst>
                <a:gd name="T0" fmla="*/ 71438 w 90"/>
                <a:gd name="T1" fmla="*/ 85969 h 78"/>
                <a:gd name="T2" fmla="*/ 103188 w 90"/>
                <a:gd name="T3" fmla="*/ 101600 h 78"/>
                <a:gd name="T4" fmla="*/ 111125 w 90"/>
                <a:gd name="T5" fmla="*/ 54708 h 78"/>
                <a:gd name="T6" fmla="*/ 111125 w 90"/>
                <a:gd name="T7" fmla="*/ 39077 h 78"/>
                <a:gd name="T8" fmla="*/ 119063 w 90"/>
                <a:gd name="T9" fmla="*/ 7815 h 78"/>
                <a:gd name="T10" fmla="*/ 111125 w 90"/>
                <a:gd name="T11" fmla="*/ 0 h 78"/>
                <a:gd name="T12" fmla="*/ 95250 w 90"/>
                <a:gd name="T13" fmla="*/ 0 h 78"/>
                <a:gd name="T14" fmla="*/ 47625 w 90"/>
                <a:gd name="T15" fmla="*/ 0 h 78"/>
                <a:gd name="T16" fmla="*/ 0 w 90"/>
                <a:gd name="T17" fmla="*/ 23446 h 78"/>
                <a:gd name="T18" fmla="*/ 0 w 90"/>
                <a:gd name="T19" fmla="*/ 39077 h 78"/>
                <a:gd name="T20" fmla="*/ 7938 w 90"/>
                <a:gd name="T21" fmla="*/ 54708 h 78"/>
                <a:gd name="T22" fmla="*/ 15875 w 90"/>
                <a:gd name="T23" fmla="*/ 62523 h 78"/>
                <a:gd name="T24" fmla="*/ 23813 w 90"/>
                <a:gd name="T25" fmla="*/ 70338 h 78"/>
                <a:gd name="T26" fmla="*/ 15875 w 90"/>
                <a:gd name="T27" fmla="*/ 78154 h 78"/>
                <a:gd name="T28" fmla="*/ 47625 w 90"/>
                <a:gd name="T29" fmla="*/ 70338 h 78"/>
                <a:gd name="T30" fmla="*/ 71438 w 90"/>
                <a:gd name="T31" fmla="*/ 85969 h 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0"/>
                <a:gd name="T49" fmla="*/ 0 h 78"/>
                <a:gd name="T50" fmla="*/ 90 w 90"/>
                <a:gd name="T51" fmla="*/ 78 h 7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0" h="78">
                  <a:moveTo>
                    <a:pt x="54" y="66"/>
                  </a:moveTo>
                  <a:lnTo>
                    <a:pt x="78" y="78"/>
                  </a:lnTo>
                  <a:lnTo>
                    <a:pt x="84" y="42"/>
                  </a:lnTo>
                  <a:lnTo>
                    <a:pt x="84" y="30"/>
                  </a:lnTo>
                  <a:lnTo>
                    <a:pt x="90" y="6"/>
                  </a:lnTo>
                  <a:lnTo>
                    <a:pt x="84" y="0"/>
                  </a:lnTo>
                  <a:lnTo>
                    <a:pt x="72" y="0"/>
                  </a:lnTo>
                  <a:lnTo>
                    <a:pt x="36" y="0"/>
                  </a:lnTo>
                  <a:lnTo>
                    <a:pt x="0" y="18"/>
                  </a:lnTo>
                  <a:lnTo>
                    <a:pt x="0" y="30"/>
                  </a:lnTo>
                  <a:lnTo>
                    <a:pt x="6" y="42"/>
                  </a:lnTo>
                  <a:lnTo>
                    <a:pt x="12" y="48"/>
                  </a:lnTo>
                  <a:lnTo>
                    <a:pt x="18" y="54"/>
                  </a:lnTo>
                  <a:lnTo>
                    <a:pt x="12" y="60"/>
                  </a:lnTo>
                  <a:lnTo>
                    <a:pt x="36" y="54"/>
                  </a:lnTo>
                  <a:lnTo>
                    <a:pt x="54" y="66"/>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32" name="Freeform 301"/>
            <p:cNvSpPr>
              <a:spLocks/>
            </p:cNvSpPr>
            <p:nvPr/>
          </p:nvSpPr>
          <p:spPr bwMode="auto">
            <a:xfrm>
              <a:off x="6720364" y="2457898"/>
              <a:ext cx="224418" cy="207239"/>
            </a:xfrm>
            <a:custGeom>
              <a:avLst/>
              <a:gdLst>
                <a:gd name="T0" fmla="*/ 233362 w 30"/>
                <a:gd name="T1" fmla="*/ 109479 h 27"/>
                <a:gd name="T2" fmla="*/ 210026 w 30"/>
                <a:gd name="T3" fmla="*/ 86019 h 27"/>
                <a:gd name="T4" fmla="*/ 178911 w 30"/>
                <a:gd name="T5" fmla="*/ 23460 h 27"/>
                <a:gd name="T6" fmla="*/ 155575 w 30"/>
                <a:gd name="T7" fmla="*/ 15640 h 27"/>
                <a:gd name="T8" fmla="*/ 132238 w 30"/>
                <a:gd name="T9" fmla="*/ 0 h 27"/>
                <a:gd name="T10" fmla="*/ 108902 w 30"/>
                <a:gd name="T11" fmla="*/ 15640 h 27"/>
                <a:gd name="T12" fmla="*/ 85566 w 30"/>
                <a:gd name="T13" fmla="*/ 23460 h 27"/>
                <a:gd name="T14" fmla="*/ 93345 w 30"/>
                <a:gd name="T15" fmla="*/ 23460 h 27"/>
                <a:gd name="T16" fmla="*/ 77787 w 30"/>
                <a:gd name="T17" fmla="*/ 46920 h 27"/>
                <a:gd name="T18" fmla="*/ 62230 w 30"/>
                <a:gd name="T19" fmla="*/ 62559 h 27"/>
                <a:gd name="T20" fmla="*/ 62230 w 30"/>
                <a:gd name="T21" fmla="*/ 86019 h 27"/>
                <a:gd name="T22" fmla="*/ 38894 w 30"/>
                <a:gd name="T23" fmla="*/ 86019 h 27"/>
                <a:gd name="T24" fmla="*/ 23336 w 30"/>
                <a:gd name="T25" fmla="*/ 93839 h 27"/>
                <a:gd name="T26" fmla="*/ 7779 w 30"/>
                <a:gd name="T27" fmla="*/ 101659 h 27"/>
                <a:gd name="T28" fmla="*/ 7779 w 30"/>
                <a:gd name="T29" fmla="*/ 109479 h 27"/>
                <a:gd name="T30" fmla="*/ 15557 w 30"/>
                <a:gd name="T31" fmla="*/ 140759 h 27"/>
                <a:gd name="T32" fmla="*/ 0 w 30"/>
                <a:gd name="T33" fmla="*/ 156399 h 27"/>
                <a:gd name="T34" fmla="*/ 7779 w 30"/>
                <a:gd name="T35" fmla="*/ 179858 h 27"/>
                <a:gd name="T36" fmla="*/ 7779 w 30"/>
                <a:gd name="T37" fmla="*/ 195498 h 27"/>
                <a:gd name="T38" fmla="*/ 23336 w 30"/>
                <a:gd name="T39" fmla="*/ 187678 h 27"/>
                <a:gd name="T40" fmla="*/ 54451 w 30"/>
                <a:gd name="T41" fmla="*/ 187678 h 27"/>
                <a:gd name="T42" fmla="*/ 101124 w 30"/>
                <a:gd name="T43" fmla="*/ 203318 h 27"/>
                <a:gd name="T44" fmla="*/ 155575 w 30"/>
                <a:gd name="T45" fmla="*/ 203318 h 27"/>
                <a:gd name="T46" fmla="*/ 186690 w 30"/>
                <a:gd name="T47" fmla="*/ 211138 h 27"/>
                <a:gd name="T48" fmla="*/ 202247 w 30"/>
                <a:gd name="T49" fmla="*/ 164218 h 27"/>
                <a:gd name="T50" fmla="*/ 210026 w 30"/>
                <a:gd name="T51" fmla="*/ 164218 h 27"/>
                <a:gd name="T52" fmla="*/ 202247 w 30"/>
                <a:gd name="T53" fmla="*/ 132939 h 27"/>
                <a:gd name="T54" fmla="*/ 225583 w 30"/>
                <a:gd name="T55" fmla="*/ 125119 h 27"/>
                <a:gd name="T56" fmla="*/ 233362 w 30"/>
                <a:gd name="T57" fmla="*/ 109479 h 2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0"/>
                <a:gd name="T88" fmla="*/ 0 h 27"/>
                <a:gd name="T89" fmla="*/ 30 w 30"/>
                <a:gd name="T90" fmla="*/ 27 h 2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0" h="27">
                  <a:moveTo>
                    <a:pt x="30" y="14"/>
                  </a:moveTo>
                  <a:cubicBezTo>
                    <a:pt x="27" y="11"/>
                    <a:pt x="27" y="11"/>
                    <a:pt x="27" y="11"/>
                  </a:cubicBezTo>
                  <a:cubicBezTo>
                    <a:pt x="23" y="3"/>
                    <a:pt x="23" y="3"/>
                    <a:pt x="23" y="3"/>
                  </a:cubicBezTo>
                  <a:cubicBezTo>
                    <a:pt x="20" y="2"/>
                    <a:pt x="20" y="2"/>
                    <a:pt x="20" y="2"/>
                  </a:cubicBezTo>
                  <a:cubicBezTo>
                    <a:pt x="17" y="0"/>
                    <a:pt x="17" y="0"/>
                    <a:pt x="17" y="0"/>
                  </a:cubicBezTo>
                  <a:cubicBezTo>
                    <a:pt x="14" y="2"/>
                    <a:pt x="14" y="2"/>
                    <a:pt x="14" y="2"/>
                  </a:cubicBezTo>
                  <a:cubicBezTo>
                    <a:pt x="11" y="3"/>
                    <a:pt x="11" y="3"/>
                    <a:pt x="11" y="3"/>
                  </a:cubicBezTo>
                  <a:cubicBezTo>
                    <a:pt x="12" y="3"/>
                    <a:pt x="12" y="3"/>
                    <a:pt x="12" y="3"/>
                  </a:cubicBezTo>
                  <a:cubicBezTo>
                    <a:pt x="10" y="6"/>
                    <a:pt x="10" y="6"/>
                    <a:pt x="10" y="6"/>
                  </a:cubicBezTo>
                  <a:cubicBezTo>
                    <a:pt x="8" y="8"/>
                    <a:pt x="8" y="8"/>
                    <a:pt x="8" y="8"/>
                  </a:cubicBezTo>
                  <a:cubicBezTo>
                    <a:pt x="8" y="8"/>
                    <a:pt x="9" y="11"/>
                    <a:pt x="8" y="11"/>
                  </a:cubicBezTo>
                  <a:cubicBezTo>
                    <a:pt x="7" y="11"/>
                    <a:pt x="5" y="11"/>
                    <a:pt x="5" y="11"/>
                  </a:cubicBezTo>
                  <a:cubicBezTo>
                    <a:pt x="3" y="12"/>
                    <a:pt x="3" y="12"/>
                    <a:pt x="3" y="12"/>
                  </a:cubicBezTo>
                  <a:cubicBezTo>
                    <a:pt x="1" y="13"/>
                    <a:pt x="1" y="13"/>
                    <a:pt x="1" y="13"/>
                  </a:cubicBezTo>
                  <a:cubicBezTo>
                    <a:pt x="1" y="14"/>
                    <a:pt x="1" y="14"/>
                    <a:pt x="1" y="14"/>
                  </a:cubicBezTo>
                  <a:cubicBezTo>
                    <a:pt x="2" y="18"/>
                    <a:pt x="2" y="18"/>
                    <a:pt x="2" y="18"/>
                  </a:cubicBezTo>
                  <a:cubicBezTo>
                    <a:pt x="0" y="20"/>
                    <a:pt x="0" y="20"/>
                    <a:pt x="0" y="20"/>
                  </a:cubicBezTo>
                  <a:cubicBezTo>
                    <a:pt x="1" y="23"/>
                    <a:pt x="1" y="23"/>
                    <a:pt x="1" y="23"/>
                  </a:cubicBezTo>
                  <a:cubicBezTo>
                    <a:pt x="1" y="25"/>
                    <a:pt x="1" y="25"/>
                    <a:pt x="1" y="25"/>
                  </a:cubicBezTo>
                  <a:cubicBezTo>
                    <a:pt x="3" y="24"/>
                    <a:pt x="3" y="24"/>
                    <a:pt x="3" y="24"/>
                  </a:cubicBezTo>
                  <a:cubicBezTo>
                    <a:pt x="7" y="24"/>
                    <a:pt x="7" y="24"/>
                    <a:pt x="7" y="24"/>
                  </a:cubicBezTo>
                  <a:cubicBezTo>
                    <a:pt x="13" y="26"/>
                    <a:pt x="13" y="26"/>
                    <a:pt x="13" y="26"/>
                  </a:cubicBezTo>
                  <a:cubicBezTo>
                    <a:pt x="20" y="26"/>
                    <a:pt x="20" y="26"/>
                    <a:pt x="20" y="26"/>
                  </a:cubicBezTo>
                  <a:cubicBezTo>
                    <a:pt x="24" y="27"/>
                    <a:pt x="24" y="27"/>
                    <a:pt x="24" y="27"/>
                  </a:cubicBezTo>
                  <a:cubicBezTo>
                    <a:pt x="26" y="21"/>
                    <a:pt x="26" y="21"/>
                    <a:pt x="26" y="21"/>
                  </a:cubicBezTo>
                  <a:cubicBezTo>
                    <a:pt x="27" y="21"/>
                    <a:pt x="27" y="21"/>
                    <a:pt x="27" y="21"/>
                  </a:cubicBezTo>
                  <a:cubicBezTo>
                    <a:pt x="26" y="17"/>
                    <a:pt x="26" y="17"/>
                    <a:pt x="26" y="17"/>
                  </a:cubicBezTo>
                  <a:cubicBezTo>
                    <a:pt x="29" y="16"/>
                    <a:pt x="29" y="16"/>
                    <a:pt x="29" y="16"/>
                  </a:cubicBezTo>
                  <a:lnTo>
                    <a:pt x="30" y="14"/>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33" name="Freeform 302"/>
            <p:cNvSpPr>
              <a:spLocks/>
            </p:cNvSpPr>
            <p:nvPr/>
          </p:nvSpPr>
          <p:spPr bwMode="auto">
            <a:xfrm>
              <a:off x="6665393" y="2373771"/>
              <a:ext cx="183198" cy="105957"/>
            </a:xfrm>
            <a:custGeom>
              <a:avLst/>
              <a:gdLst>
                <a:gd name="T0" fmla="*/ 63500 w 24"/>
                <a:gd name="T1" fmla="*/ 77107 h 14"/>
                <a:gd name="T2" fmla="*/ 95250 w 24"/>
                <a:gd name="T3" fmla="*/ 84818 h 14"/>
                <a:gd name="T4" fmla="*/ 111125 w 24"/>
                <a:gd name="T5" fmla="*/ 77107 h 14"/>
                <a:gd name="T6" fmla="*/ 127000 w 24"/>
                <a:gd name="T7" fmla="*/ 92529 h 14"/>
                <a:gd name="T8" fmla="*/ 142875 w 24"/>
                <a:gd name="T9" fmla="*/ 107950 h 14"/>
                <a:gd name="T10" fmla="*/ 166688 w 24"/>
                <a:gd name="T11" fmla="*/ 100239 h 14"/>
                <a:gd name="T12" fmla="*/ 190500 w 24"/>
                <a:gd name="T13" fmla="*/ 84818 h 14"/>
                <a:gd name="T14" fmla="*/ 182563 w 24"/>
                <a:gd name="T15" fmla="*/ 77107 h 14"/>
                <a:gd name="T16" fmla="*/ 166688 w 24"/>
                <a:gd name="T17" fmla="*/ 38554 h 14"/>
                <a:gd name="T18" fmla="*/ 166688 w 24"/>
                <a:gd name="T19" fmla="*/ 30843 h 14"/>
                <a:gd name="T20" fmla="*/ 134938 w 24"/>
                <a:gd name="T21" fmla="*/ 15421 h 14"/>
                <a:gd name="T22" fmla="*/ 111125 w 24"/>
                <a:gd name="T23" fmla="*/ 0 h 14"/>
                <a:gd name="T24" fmla="*/ 79375 w 24"/>
                <a:gd name="T25" fmla="*/ 7711 h 14"/>
                <a:gd name="T26" fmla="*/ 71438 w 24"/>
                <a:gd name="T27" fmla="*/ 38554 h 14"/>
                <a:gd name="T28" fmla="*/ 63500 w 24"/>
                <a:gd name="T29" fmla="*/ 46264 h 14"/>
                <a:gd name="T30" fmla="*/ 39688 w 24"/>
                <a:gd name="T31" fmla="*/ 23132 h 14"/>
                <a:gd name="T32" fmla="*/ 23813 w 24"/>
                <a:gd name="T33" fmla="*/ 23132 h 14"/>
                <a:gd name="T34" fmla="*/ 7938 w 24"/>
                <a:gd name="T35" fmla="*/ 61686 h 14"/>
                <a:gd name="T36" fmla="*/ 0 w 24"/>
                <a:gd name="T37" fmla="*/ 84818 h 14"/>
                <a:gd name="T38" fmla="*/ 31750 w 24"/>
                <a:gd name="T39" fmla="*/ 77107 h 14"/>
                <a:gd name="T40" fmla="*/ 63500 w 24"/>
                <a:gd name="T41" fmla="*/ 77107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
                <a:gd name="T64" fmla="*/ 0 h 14"/>
                <a:gd name="T65" fmla="*/ 24 w 24"/>
                <a:gd name="T66" fmla="*/ 14 h 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 h="14">
                  <a:moveTo>
                    <a:pt x="8" y="10"/>
                  </a:moveTo>
                  <a:cubicBezTo>
                    <a:pt x="12" y="11"/>
                    <a:pt x="12" y="11"/>
                    <a:pt x="12" y="11"/>
                  </a:cubicBezTo>
                  <a:cubicBezTo>
                    <a:pt x="14" y="10"/>
                    <a:pt x="14" y="10"/>
                    <a:pt x="14" y="10"/>
                  </a:cubicBezTo>
                  <a:cubicBezTo>
                    <a:pt x="16" y="12"/>
                    <a:pt x="16" y="12"/>
                    <a:pt x="16" y="12"/>
                  </a:cubicBezTo>
                  <a:cubicBezTo>
                    <a:pt x="18" y="14"/>
                    <a:pt x="18" y="14"/>
                    <a:pt x="18" y="14"/>
                  </a:cubicBezTo>
                  <a:cubicBezTo>
                    <a:pt x="21" y="13"/>
                    <a:pt x="21" y="13"/>
                    <a:pt x="21" y="13"/>
                  </a:cubicBezTo>
                  <a:cubicBezTo>
                    <a:pt x="24" y="11"/>
                    <a:pt x="24" y="11"/>
                    <a:pt x="24" y="11"/>
                  </a:cubicBezTo>
                  <a:cubicBezTo>
                    <a:pt x="23" y="10"/>
                    <a:pt x="23" y="10"/>
                    <a:pt x="23" y="10"/>
                  </a:cubicBezTo>
                  <a:cubicBezTo>
                    <a:pt x="21" y="5"/>
                    <a:pt x="21" y="5"/>
                    <a:pt x="21" y="5"/>
                  </a:cubicBezTo>
                  <a:cubicBezTo>
                    <a:pt x="21" y="4"/>
                    <a:pt x="21" y="4"/>
                    <a:pt x="21" y="4"/>
                  </a:cubicBezTo>
                  <a:cubicBezTo>
                    <a:pt x="17" y="2"/>
                    <a:pt x="17" y="2"/>
                    <a:pt x="17" y="2"/>
                  </a:cubicBezTo>
                  <a:cubicBezTo>
                    <a:pt x="14" y="0"/>
                    <a:pt x="14" y="0"/>
                    <a:pt x="14" y="0"/>
                  </a:cubicBezTo>
                  <a:cubicBezTo>
                    <a:pt x="10" y="1"/>
                    <a:pt x="10" y="1"/>
                    <a:pt x="10" y="1"/>
                  </a:cubicBezTo>
                  <a:cubicBezTo>
                    <a:pt x="9" y="5"/>
                    <a:pt x="9" y="5"/>
                    <a:pt x="9" y="5"/>
                  </a:cubicBezTo>
                  <a:cubicBezTo>
                    <a:pt x="8" y="6"/>
                    <a:pt x="8" y="6"/>
                    <a:pt x="8" y="6"/>
                  </a:cubicBezTo>
                  <a:cubicBezTo>
                    <a:pt x="5" y="3"/>
                    <a:pt x="5" y="3"/>
                    <a:pt x="5" y="3"/>
                  </a:cubicBezTo>
                  <a:cubicBezTo>
                    <a:pt x="3" y="3"/>
                    <a:pt x="3" y="3"/>
                    <a:pt x="3" y="3"/>
                  </a:cubicBezTo>
                  <a:cubicBezTo>
                    <a:pt x="3" y="3"/>
                    <a:pt x="1" y="7"/>
                    <a:pt x="1" y="8"/>
                  </a:cubicBezTo>
                  <a:cubicBezTo>
                    <a:pt x="1" y="8"/>
                    <a:pt x="0" y="10"/>
                    <a:pt x="0" y="11"/>
                  </a:cubicBezTo>
                  <a:cubicBezTo>
                    <a:pt x="4" y="10"/>
                    <a:pt x="4" y="10"/>
                    <a:pt x="4" y="10"/>
                  </a:cubicBezTo>
                  <a:lnTo>
                    <a:pt x="8" y="1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34" name="Freeform 303"/>
            <p:cNvSpPr>
              <a:spLocks/>
            </p:cNvSpPr>
            <p:nvPr/>
          </p:nvSpPr>
          <p:spPr bwMode="auto">
            <a:xfrm>
              <a:off x="5798291" y="3797886"/>
              <a:ext cx="181671" cy="138679"/>
            </a:xfrm>
            <a:custGeom>
              <a:avLst/>
              <a:gdLst>
                <a:gd name="T0" fmla="*/ 70842 w 24"/>
                <a:gd name="T1" fmla="*/ 78493 h 18"/>
                <a:gd name="T2" fmla="*/ 102327 w 24"/>
                <a:gd name="T3" fmla="*/ 78493 h 18"/>
                <a:gd name="T4" fmla="*/ 118070 w 24"/>
                <a:gd name="T5" fmla="*/ 102041 h 18"/>
                <a:gd name="T6" fmla="*/ 125941 w 24"/>
                <a:gd name="T7" fmla="*/ 109891 h 18"/>
                <a:gd name="T8" fmla="*/ 141684 w 24"/>
                <a:gd name="T9" fmla="*/ 117740 h 18"/>
                <a:gd name="T10" fmla="*/ 157427 w 24"/>
                <a:gd name="T11" fmla="*/ 141288 h 18"/>
                <a:gd name="T12" fmla="*/ 173169 w 24"/>
                <a:gd name="T13" fmla="*/ 133439 h 18"/>
                <a:gd name="T14" fmla="*/ 188912 w 24"/>
                <a:gd name="T15" fmla="*/ 125589 h 18"/>
                <a:gd name="T16" fmla="*/ 188912 w 24"/>
                <a:gd name="T17" fmla="*/ 94192 h 18"/>
                <a:gd name="T18" fmla="*/ 188912 w 24"/>
                <a:gd name="T19" fmla="*/ 62795 h 18"/>
                <a:gd name="T20" fmla="*/ 181041 w 24"/>
                <a:gd name="T21" fmla="*/ 62795 h 18"/>
                <a:gd name="T22" fmla="*/ 165298 w 24"/>
                <a:gd name="T23" fmla="*/ 23548 h 18"/>
                <a:gd name="T24" fmla="*/ 157427 w 24"/>
                <a:gd name="T25" fmla="*/ 7849 h 18"/>
                <a:gd name="T26" fmla="*/ 125941 w 24"/>
                <a:gd name="T27" fmla="*/ 15699 h 18"/>
                <a:gd name="T28" fmla="*/ 94456 w 24"/>
                <a:gd name="T29" fmla="*/ 15699 h 18"/>
                <a:gd name="T30" fmla="*/ 94456 w 24"/>
                <a:gd name="T31" fmla="*/ 7849 h 18"/>
                <a:gd name="T32" fmla="*/ 55099 w 24"/>
                <a:gd name="T33" fmla="*/ 0 h 18"/>
                <a:gd name="T34" fmla="*/ 39357 w 24"/>
                <a:gd name="T35" fmla="*/ 0 h 18"/>
                <a:gd name="T36" fmla="*/ 39357 w 24"/>
                <a:gd name="T37" fmla="*/ 7849 h 18"/>
                <a:gd name="T38" fmla="*/ 39357 w 24"/>
                <a:gd name="T39" fmla="*/ 31397 h 18"/>
                <a:gd name="T40" fmla="*/ 23614 w 24"/>
                <a:gd name="T41" fmla="*/ 31397 h 18"/>
                <a:gd name="T42" fmla="*/ 0 w 24"/>
                <a:gd name="T43" fmla="*/ 47096 h 18"/>
                <a:gd name="T44" fmla="*/ 7871 w 24"/>
                <a:gd name="T45" fmla="*/ 47096 h 18"/>
                <a:gd name="T46" fmla="*/ 47228 w 24"/>
                <a:gd name="T47" fmla="*/ 102041 h 18"/>
                <a:gd name="T48" fmla="*/ 62971 w 24"/>
                <a:gd name="T49" fmla="*/ 94192 h 18"/>
                <a:gd name="T50" fmla="*/ 70842 w 24"/>
                <a:gd name="T51" fmla="*/ 78493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4"/>
                <a:gd name="T79" fmla="*/ 0 h 18"/>
                <a:gd name="T80" fmla="*/ 24 w 24"/>
                <a:gd name="T81" fmla="*/ 18 h 1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4" h="18">
                  <a:moveTo>
                    <a:pt x="9" y="10"/>
                  </a:moveTo>
                  <a:cubicBezTo>
                    <a:pt x="13" y="10"/>
                    <a:pt x="13" y="10"/>
                    <a:pt x="13" y="10"/>
                  </a:cubicBezTo>
                  <a:cubicBezTo>
                    <a:pt x="15" y="13"/>
                    <a:pt x="15" y="13"/>
                    <a:pt x="15" y="13"/>
                  </a:cubicBezTo>
                  <a:cubicBezTo>
                    <a:pt x="16" y="14"/>
                    <a:pt x="16" y="14"/>
                    <a:pt x="16" y="14"/>
                  </a:cubicBezTo>
                  <a:cubicBezTo>
                    <a:pt x="18" y="15"/>
                    <a:pt x="18" y="15"/>
                    <a:pt x="18" y="15"/>
                  </a:cubicBezTo>
                  <a:cubicBezTo>
                    <a:pt x="18" y="15"/>
                    <a:pt x="19" y="18"/>
                    <a:pt x="20" y="18"/>
                  </a:cubicBezTo>
                  <a:cubicBezTo>
                    <a:pt x="20" y="18"/>
                    <a:pt x="21" y="17"/>
                    <a:pt x="22" y="17"/>
                  </a:cubicBezTo>
                  <a:cubicBezTo>
                    <a:pt x="23" y="17"/>
                    <a:pt x="24" y="16"/>
                    <a:pt x="24" y="16"/>
                  </a:cubicBezTo>
                  <a:cubicBezTo>
                    <a:pt x="24" y="12"/>
                    <a:pt x="24" y="12"/>
                    <a:pt x="24" y="12"/>
                  </a:cubicBezTo>
                  <a:cubicBezTo>
                    <a:pt x="24" y="8"/>
                    <a:pt x="24" y="8"/>
                    <a:pt x="24" y="8"/>
                  </a:cubicBezTo>
                  <a:cubicBezTo>
                    <a:pt x="23" y="8"/>
                    <a:pt x="23" y="8"/>
                    <a:pt x="23" y="8"/>
                  </a:cubicBezTo>
                  <a:cubicBezTo>
                    <a:pt x="21" y="3"/>
                    <a:pt x="21" y="3"/>
                    <a:pt x="21" y="3"/>
                  </a:cubicBezTo>
                  <a:cubicBezTo>
                    <a:pt x="21" y="3"/>
                    <a:pt x="21" y="1"/>
                    <a:pt x="20" y="1"/>
                  </a:cubicBezTo>
                  <a:cubicBezTo>
                    <a:pt x="20" y="1"/>
                    <a:pt x="16" y="2"/>
                    <a:pt x="16" y="2"/>
                  </a:cubicBezTo>
                  <a:cubicBezTo>
                    <a:pt x="12" y="2"/>
                    <a:pt x="12" y="2"/>
                    <a:pt x="12" y="2"/>
                  </a:cubicBezTo>
                  <a:cubicBezTo>
                    <a:pt x="12" y="1"/>
                    <a:pt x="12" y="1"/>
                    <a:pt x="12" y="1"/>
                  </a:cubicBezTo>
                  <a:cubicBezTo>
                    <a:pt x="7" y="0"/>
                    <a:pt x="7" y="0"/>
                    <a:pt x="7" y="0"/>
                  </a:cubicBezTo>
                  <a:cubicBezTo>
                    <a:pt x="5" y="0"/>
                    <a:pt x="5" y="0"/>
                    <a:pt x="5" y="0"/>
                  </a:cubicBezTo>
                  <a:cubicBezTo>
                    <a:pt x="5" y="1"/>
                    <a:pt x="5" y="1"/>
                    <a:pt x="5" y="1"/>
                  </a:cubicBezTo>
                  <a:cubicBezTo>
                    <a:pt x="5" y="4"/>
                    <a:pt x="5" y="4"/>
                    <a:pt x="5" y="4"/>
                  </a:cubicBezTo>
                  <a:cubicBezTo>
                    <a:pt x="3" y="4"/>
                    <a:pt x="3" y="4"/>
                    <a:pt x="3" y="4"/>
                  </a:cubicBezTo>
                  <a:cubicBezTo>
                    <a:pt x="0" y="6"/>
                    <a:pt x="0" y="6"/>
                    <a:pt x="0" y="6"/>
                  </a:cubicBezTo>
                  <a:cubicBezTo>
                    <a:pt x="1" y="6"/>
                    <a:pt x="1" y="6"/>
                    <a:pt x="1" y="6"/>
                  </a:cubicBezTo>
                  <a:cubicBezTo>
                    <a:pt x="6" y="13"/>
                    <a:pt x="6" y="13"/>
                    <a:pt x="6" y="13"/>
                  </a:cubicBezTo>
                  <a:cubicBezTo>
                    <a:pt x="8" y="12"/>
                    <a:pt x="8" y="12"/>
                    <a:pt x="8" y="12"/>
                  </a:cubicBezTo>
                  <a:lnTo>
                    <a:pt x="9" y="1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35" name="Freeform 304"/>
            <p:cNvSpPr>
              <a:spLocks/>
            </p:cNvSpPr>
            <p:nvPr/>
          </p:nvSpPr>
          <p:spPr bwMode="auto">
            <a:xfrm>
              <a:off x="5753993" y="3698149"/>
              <a:ext cx="141980" cy="109072"/>
            </a:xfrm>
            <a:custGeom>
              <a:avLst/>
              <a:gdLst>
                <a:gd name="T0" fmla="*/ 69934 w 114"/>
                <a:gd name="T1" fmla="*/ 103281 h 85"/>
                <a:gd name="T2" fmla="*/ 85475 w 114"/>
                <a:gd name="T3" fmla="*/ 103281 h 85"/>
                <a:gd name="T4" fmla="*/ 101015 w 114"/>
                <a:gd name="T5" fmla="*/ 103281 h 85"/>
                <a:gd name="T6" fmla="*/ 139868 w 114"/>
                <a:gd name="T7" fmla="*/ 111125 h 85"/>
                <a:gd name="T8" fmla="*/ 147638 w 114"/>
                <a:gd name="T9" fmla="*/ 111125 h 85"/>
                <a:gd name="T10" fmla="*/ 132097 w 114"/>
                <a:gd name="T11" fmla="*/ 79749 h 85"/>
                <a:gd name="T12" fmla="*/ 124327 w 114"/>
                <a:gd name="T13" fmla="*/ 56216 h 85"/>
                <a:gd name="T14" fmla="*/ 124327 w 114"/>
                <a:gd name="T15" fmla="*/ 47065 h 85"/>
                <a:gd name="T16" fmla="*/ 124327 w 114"/>
                <a:gd name="T17" fmla="*/ 47065 h 85"/>
                <a:gd name="T18" fmla="*/ 108786 w 114"/>
                <a:gd name="T19" fmla="*/ 39221 h 85"/>
                <a:gd name="T20" fmla="*/ 93245 w 114"/>
                <a:gd name="T21" fmla="*/ 23532 h 85"/>
                <a:gd name="T22" fmla="*/ 54393 w 114"/>
                <a:gd name="T23" fmla="*/ 0 h 85"/>
                <a:gd name="T24" fmla="*/ 38852 w 114"/>
                <a:gd name="T25" fmla="*/ 7844 h 85"/>
                <a:gd name="T26" fmla="*/ 15541 w 114"/>
                <a:gd name="T27" fmla="*/ 7844 h 85"/>
                <a:gd name="T28" fmla="*/ 0 w 114"/>
                <a:gd name="T29" fmla="*/ 56216 h 85"/>
                <a:gd name="T30" fmla="*/ 15541 w 114"/>
                <a:gd name="T31" fmla="*/ 111125 h 85"/>
                <a:gd name="T32" fmla="*/ 23311 w 114"/>
                <a:gd name="T33" fmla="*/ 111125 h 85"/>
                <a:gd name="T34" fmla="*/ 31082 w 114"/>
                <a:gd name="T35" fmla="*/ 111125 h 85"/>
                <a:gd name="T36" fmla="*/ 69934 w 114"/>
                <a:gd name="T37" fmla="*/ 103281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4"/>
                <a:gd name="T58" fmla="*/ 0 h 85"/>
                <a:gd name="T59" fmla="*/ 114 w 114"/>
                <a:gd name="T60" fmla="*/ 85 h 8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4" h="85">
                  <a:moveTo>
                    <a:pt x="54" y="79"/>
                  </a:moveTo>
                  <a:lnTo>
                    <a:pt x="66" y="79"/>
                  </a:lnTo>
                  <a:lnTo>
                    <a:pt x="78" y="79"/>
                  </a:lnTo>
                  <a:lnTo>
                    <a:pt x="108" y="85"/>
                  </a:lnTo>
                  <a:lnTo>
                    <a:pt x="114" y="85"/>
                  </a:lnTo>
                  <a:lnTo>
                    <a:pt x="102" y="61"/>
                  </a:lnTo>
                  <a:lnTo>
                    <a:pt x="96" y="43"/>
                  </a:lnTo>
                  <a:lnTo>
                    <a:pt x="96" y="36"/>
                  </a:lnTo>
                  <a:lnTo>
                    <a:pt x="84" y="30"/>
                  </a:lnTo>
                  <a:lnTo>
                    <a:pt x="72" y="18"/>
                  </a:lnTo>
                  <a:lnTo>
                    <a:pt x="42" y="0"/>
                  </a:lnTo>
                  <a:lnTo>
                    <a:pt x="30" y="6"/>
                  </a:lnTo>
                  <a:lnTo>
                    <a:pt x="12" y="6"/>
                  </a:lnTo>
                  <a:lnTo>
                    <a:pt x="0" y="43"/>
                  </a:lnTo>
                  <a:lnTo>
                    <a:pt x="12" y="85"/>
                  </a:lnTo>
                  <a:lnTo>
                    <a:pt x="18" y="85"/>
                  </a:lnTo>
                  <a:lnTo>
                    <a:pt x="24" y="85"/>
                  </a:lnTo>
                  <a:lnTo>
                    <a:pt x="54" y="79"/>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36" name="Freeform 305"/>
            <p:cNvSpPr>
              <a:spLocks/>
            </p:cNvSpPr>
            <p:nvPr/>
          </p:nvSpPr>
          <p:spPr bwMode="auto">
            <a:xfrm>
              <a:off x="5761625" y="3431712"/>
              <a:ext cx="287011" cy="313193"/>
            </a:xfrm>
            <a:custGeom>
              <a:avLst/>
              <a:gdLst>
                <a:gd name="T0" fmla="*/ 47124 w 38"/>
                <a:gd name="T1" fmla="*/ 272391 h 41"/>
                <a:gd name="T2" fmla="*/ 86393 w 38"/>
                <a:gd name="T3" fmla="*/ 295739 h 41"/>
                <a:gd name="T4" fmla="*/ 102101 w 38"/>
                <a:gd name="T5" fmla="*/ 311304 h 41"/>
                <a:gd name="T6" fmla="*/ 117809 w 38"/>
                <a:gd name="T7" fmla="*/ 319087 h 41"/>
                <a:gd name="T8" fmla="*/ 117809 w 38"/>
                <a:gd name="T9" fmla="*/ 319087 h 41"/>
                <a:gd name="T10" fmla="*/ 141371 w 38"/>
                <a:gd name="T11" fmla="*/ 295739 h 41"/>
                <a:gd name="T12" fmla="*/ 157079 w 38"/>
                <a:gd name="T13" fmla="*/ 311304 h 41"/>
                <a:gd name="T14" fmla="*/ 164933 w 38"/>
                <a:gd name="T15" fmla="*/ 303522 h 41"/>
                <a:gd name="T16" fmla="*/ 274888 w 38"/>
                <a:gd name="T17" fmla="*/ 303522 h 41"/>
                <a:gd name="T18" fmla="*/ 298450 w 38"/>
                <a:gd name="T19" fmla="*/ 287957 h 41"/>
                <a:gd name="T20" fmla="*/ 282742 w 38"/>
                <a:gd name="T21" fmla="*/ 280174 h 41"/>
                <a:gd name="T22" fmla="*/ 259180 w 38"/>
                <a:gd name="T23" fmla="*/ 54478 h 41"/>
                <a:gd name="T24" fmla="*/ 282742 w 38"/>
                <a:gd name="T25" fmla="*/ 54478 h 41"/>
                <a:gd name="T26" fmla="*/ 212057 w 38"/>
                <a:gd name="T27" fmla="*/ 0 h 41"/>
                <a:gd name="T28" fmla="*/ 212057 w 38"/>
                <a:gd name="T29" fmla="*/ 23348 h 41"/>
                <a:gd name="T30" fmla="*/ 133517 w 38"/>
                <a:gd name="T31" fmla="*/ 23348 h 41"/>
                <a:gd name="T32" fmla="*/ 125663 w 38"/>
                <a:gd name="T33" fmla="*/ 85609 h 41"/>
                <a:gd name="T34" fmla="*/ 109955 w 38"/>
                <a:gd name="T35" fmla="*/ 101174 h 41"/>
                <a:gd name="T36" fmla="*/ 102101 w 38"/>
                <a:gd name="T37" fmla="*/ 155652 h 41"/>
                <a:gd name="T38" fmla="*/ 7854 w 38"/>
                <a:gd name="T39" fmla="*/ 147870 h 41"/>
                <a:gd name="T40" fmla="*/ 0 w 38"/>
                <a:gd name="T41" fmla="*/ 155652 h 41"/>
                <a:gd name="T42" fmla="*/ 23562 w 38"/>
                <a:gd name="T43" fmla="*/ 202348 h 41"/>
                <a:gd name="T44" fmla="*/ 23562 w 38"/>
                <a:gd name="T45" fmla="*/ 256826 h 41"/>
                <a:gd name="T46" fmla="*/ 7854 w 38"/>
                <a:gd name="T47" fmla="*/ 280174 h 41"/>
                <a:gd name="T48" fmla="*/ 31416 w 38"/>
                <a:gd name="T49" fmla="*/ 280174 h 41"/>
                <a:gd name="T50" fmla="*/ 47124 w 38"/>
                <a:gd name="T51" fmla="*/ 272391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8"/>
                <a:gd name="T79" fmla="*/ 0 h 41"/>
                <a:gd name="T80" fmla="*/ 38 w 38"/>
                <a:gd name="T81" fmla="*/ 41 h 4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8" h="41">
                  <a:moveTo>
                    <a:pt x="6" y="35"/>
                  </a:moveTo>
                  <a:cubicBezTo>
                    <a:pt x="11" y="38"/>
                    <a:pt x="11" y="38"/>
                    <a:pt x="11" y="38"/>
                  </a:cubicBezTo>
                  <a:cubicBezTo>
                    <a:pt x="13" y="40"/>
                    <a:pt x="13" y="40"/>
                    <a:pt x="13" y="40"/>
                  </a:cubicBezTo>
                  <a:cubicBezTo>
                    <a:pt x="15" y="41"/>
                    <a:pt x="15" y="41"/>
                    <a:pt x="15" y="41"/>
                  </a:cubicBezTo>
                  <a:cubicBezTo>
                    <a:pt x="15" y="41"/>
                    <a:pt x="15" y="41"/>
                    <a:pt x="15" y="41"/>
                  </a:cubicBezTo>
                  <a:cubicBezTo>
                    <a:pt x="18" y="38"/>
                    <a:pt x="18" y="38"/>
                    <a:pt x="18" y="38"/>
                  </a:cubicBezTo>
                  <a:cubicBezTo>
                    <a:pt x="20" y="40"/>
                    <a:pt x="20" y="40"/>
                    <a:pt x="20" y="40"/>
                  </a:cubicBezTo>
                  <a:cubicBezTo>
                    <a:pt x="21" y="39"/>
                    <a:pt x="21" y="39"/>
                    <a:pt x="21" y="39"/>
                  </a:cubicBezTo>
                  <a:cubicBezTo>
                    <a:pt x="35" y="39"/>
                    <a:pt x="35" y="39"/>
                    <a:pt x="35" y="39"/>
                  </a:cubicBezTo>
                  <a:cubicBezTo>
                    <a:pt x="38" y="37"/>
                    <a:pt x="38" y="37"/>
                    <a:pt x="38" y="37"/>
                  </a:cubicBezTo>
                  <a:cubicBezTo>
                    <a:pt x="36" y="36"/>
                    <a:pt x="36" y="36"/>
                    <a:pt x="36" y="36"/>
                  </a:cubicBezTo>
                  <a:cubicBezTo>
                    <a:pt x="33" y="7"/>
                    <a:pt x="33" y="7"/>
                    <a:pt x="33" y="7"/>
                  </a:cubicBezTo>
                  <a:cubicBezTo>
                    <a:pt x="36" y="7"/>
                    <a:pt x="36" y="7"/>
                    <a:pt x="36" y="7"/>
                  </a:cubicBezTo>
                  <a:cubicBezTo>
                    <a:pt x="27" y="0"/>
                    <a:pt x="27" y="0"/>
                    <a:pt x="27" y="0"/>
                  </a:cubicBezTo>
                  <a:cubicBezTo>
                    <a:pt x="27" y="3"/>
                    <a:pt x="27" y="3"/>
                    <a:pt x="27" y="3"/>
                  </a:cubicBezTo>
                  <a:cubicBezTo>
                    <a:pt x="17" y="3"/>
                    <a:pt x="17" y="3"/>
                    <a:pt x="17" y="3"/>
                  </a:cubicBezTo>
                  <a:cubicBezTo>
                    <a:pt x="16" y="11"/>
                    <a:pt x="16" y="11"/>
                    <a:pt x="16" y="11"/>
                  </a:cubicBezTo>
                  <a:cubicBezTo>
                    <a:pt x="14" y="13"/>
                    <a:pt x="14" y="13"/>
                    <a:pt x="14" y="13"/>
                  </a:cubicBezTo>
                  <a:cubicBezTo>
                    <a:pt x="14" y="13"/>
                    <a:pt x="14" y="20"/>
                    <a:pt x="13" y="20"/>
                  </a:cubicBezTo>
                  <a:cubicBezTo>
                    <a:pt x="13" y="20"/>
                    <a:pt x="5" y="19"/>
                    <a:pt x="1" y="19"/>
                  </a:cubicBezTo>
                  <a:cubicBezTo>
                    <a:pt x="0" y="20"/>
                    <a:pt x="0" y="20"/>
                    <a:pt x="0" y="20"/>
                  </a:cubicBezTo>
                  <a:cubicBezTo>
                    <a:pt x="3" y="26"/>
                    <a:pt x="3" y="26"/>
                    <a:pt x="3" y="26"/>
                  </a:cubicBezTo>
                  <a:cubicBezTo>
                    <a:pt x="3" y="33"/>
                    <a:pt x="3" y="33"/>
                    <a:pt x="3" y="33"/>
                  </a:cubicBezTo>
                  <a:cubicBezTo>
                    <a:pt x="1" y="36"/>
                    <a:pt x="1" y="36"/>
                    <a:pt x="1" y="36"/>
                  </a:cubicBezTo>
                  <a:cubicBezTo>
                    <a:pt x="4" y="36"/>
                    <a:pt x="4" y="36"/>
                    <a:pt x="4" y="36"/>
                  </a:cubicBezTo>
                  <a:lnTo>
                    <a:pt x="6" y="35"/>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37" name="Freeform 306"/>
            <p:cNvSpPr>
              <a:spLocks/>
            </p:cNvSpPr>
            <p:nvPr/>
          </p:nvSpPr>
          <p:spPr bwMode="auto">
            <a:xfrm>
              <a:off x="6749363" y="3300829"/>
              <a:ext cx="271744" cy="268007"/>
            </a:xfrm>
            <a:custGeom>
              <a:avLst/>
              <a:gdLst>
                <a:gd name="T0" fmla="*/ 0 w 36"/>
                <a:gd name="T1" fmla="*/ 39007 h 35"/>
                <a:gd name="T2" fmla="*/ 7849 w 36"/>
                <a:gd name="T3" fmla="*/ 62411 h 35"/>
                <a:gd name="T4" fmla="*/ 15699 w 36"/>
                <a:gd name="T5" fmla="*/ 78014 h 35"/>
                <a:gd name="T6" fmla="*/ 15699 w 36"/>
                <a:gd name="T7" fmla="*/ 273050 h 35"/>
                <a:gd name="T8" fmla="*/ 23548 w 36"/>
                <a:gd name="T9" fmla="*/ 273050 h 35"/>
                <a:gd name="T10" fmla="*/ 227630 w 36"/>
                <a:gd name="T11" fmla="*/ 273050 h 35"/>
                <a:gd name="T12" fmla="*/ 266876 w 36"/>
                <a:gd name="T13" fmla="*/ 249646 h 35"/>
                <a:gd name="T14" fmla="*/ 282575 w 36"/>
                <a:gd name="T15" fmla="*/ 234043 h 35"/>
                <a:gd name="T16" fmla="*/ 282575 w 36"/>
                <a:gd name="T17" fmla="*/ 234043 h 35"/>
                <a:gd name="T18" fmla="*/ 259027 w 36"/>
                <a:gd name="T19" fmla="*/ 179433 h 35"/>
                <a:gd name="T20" fmla="*/ 227630 w 36"/>
                <a:gd name="T21" fmla="*/ 117021 h 35"/>
                <a:gd name="T22" fmla="*/ 188383 w 36"/>
                <a:gd name="T23" fmla="*/ 62411 h 35"/>
                <a:gd name="T24" fmla="*/ 243328 w 36"/>
                <a:gd name="T25" fmla="*/ 93617 h 35"/>
                <a:gd name="T26" fmla="*/ 266876 w 36"/>
                <a:gd name="T27" fmla="*/ 70213 h 35"/>
                <a:gd name="T28" fmla="*/ 259027 w 36"/>
                <a:gd name="T29" fmla="*/ 70213 h 35"/>
                <a:gd name="T30" fmla="*/ 235479 w 36"/>
                <a:gd name="T31" fmla="*/ 7801 h 35"/>
                <a:gd name="T32" fmla="*/ 219781 w 36"/>
                <a:gd name="T33" fmla="*/ 23404 h 35"/>
                <a:gd name="T34" fmla="*/ 172685 w 36"/>
                <a:gd name="T35" fmla="*/ 15603 h 35"/>
                <a:gd name="T36" fmla="*/ 149137 w 36"/>
                <a:gd name="T37" fmla="*/ 7801 h 35"/>
                <a:gd name="T38" fmla="*/ 94192 w 36"/>
                <a:gd name="T39" fmla="*/ 23404 h 35"/>
                <a:gd name="T40" fmla="*/ 47096 w 36"/>
                <a:gd name="T41" fmla="*/ 0 h 35"/>
                <a:gd name="T42" fmla="*/ 15699 w 36"/>
                <a:gd name="T43" fmla="*/ 0 h 35"/>
                <a:gd name="T44" fmla="*/ 7849 w 36"/>
                <a:gd name="T45" fmla="*/ 15603 h 35"/>
                <a:gd name="T46" fmla="*/ 0 w 36"/>
                <a:gd name="T47" fmla="*/ 39007 h 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6"/>
                <a:gd name="T73" fmla="*/ 0 h 35"/>
                <a:gd name="T74" fmla="*/ 36 w 36"/>
                <a:gd name="T75" fmla="*/ 35 h 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6" h="35">
                  <a:moveTo>
                    <a:pt x="0" y="5"/>
                  </a:moveTo>
                  <a:cubicBezTo>
                    <a:pt x="0" y="5"/>
                    <a:pt x="1" y="7"/>
                    <a:pt x="1" y="8"/>
                  </a:cubicBezTo>
                  <a:cubicBezTo>
                    <a:pt x="1" y="8"/>
                    <a:pt x="2" y="10"/>
                    <a:pt x="2" y="10"/>
                  </a:cubicBezTo>
                  <a:cubicBezTo>
                    <a:pt x="2" y="10"/>
                    <a:pt x="1" y="35"/>
                    <a:pt x="2" y="35"/>
                  </a:cubicBezTo>
                  <a:cubicBezTo>
                    <a:pt x="2" y="35"/>
                    <a:pt x="2" y="35"/>
                    <a:pt x="3" y="35"/>
                  </a:cubicBezTo>
                  <a:cubicBezTo>
                    <a:pt x="7" y="35"/>
                    <a:pt x="29" y="35"/>
                    <a:pt x="29" y="35"/>
                  </a:cubicBezTo>
                  <a:cubicBezTo>
                    <a:pt x="34" y="32"/>
                    <a:pt x="34" y="32"/>
                    <a:pt x="34" y="32"/>
                  </a:cubicBezTo>
                  <a:cubicBezTo>
                    <a:pt x="36" y="30"/>
                    <a:pt x="36" y="30"/>
                    <a:pt x="36" y="30"/>
                  </a:cubicBezTo>
                  <a:cubicBezTo>
                    <a:pt x="36" y="30"/>
                    <a:pt x="36" y="30"/>
                    <a:pt x="36" y="30"/>
                  </a:cubicBezTo>
                  <a:cubicBezTo>
                    <a:pt x="33" y="23"/>
                    <a:pt x="33" y="23"/>
                    <a:pt x="33" y="23"/>
                  </a:cubicBezTo>
                  <a:cubicBezTo>
                    <a:pt x="29" y="15"/>
                    <a:pt x="29" y="15"/>
                    <a:pt x="29" y="15"/>
                  </a:cubicBezTo>
                  <a:cubicBezTo>
                    <a:pt x="24" y="8"/>
                    <a:pt x="24" y="8"/>
                    <a:pt x="24" y="8"/>
                  </a:cubicBezTo>
                  <a:cubicBezTo>
                    <a:pt x="31" y="12"/>
                    <a:pt x="31" y="12"/>
                    <a:pt x="31" y="12"/>
                  </a:cubicBezTo>
                  <a:cubicBezTo>
                    <a:pt x="34" y="9"/>
                    <a:pt x="34" y="9"/>
                    <a:pt x="34" y="9"/>
                  </a:cubicBezTo>
                  <a:cubicBezTo>
                    <a:pt x="33" y="9"/>
                    <a:pt x="33" y="9"/>
                    <a:pt x="33" y="9"/>
                  </a:cubicBezTo>
                  <a:cubicBezTo>
                    <a:pt x="30" y="1"/>
                    <a:pt x="30" y="1"/>
                    <a:pt x="30" y="1"/>
                  </a:cubicBezTo>
                  <a:cubicBezTo>
                    <a:pt x="28" y="3"/>
                    <a:pt x="28" y="3"/>
                    <a:pt x="28" y="3"/>
                  </a:cubicBezTo>
                  <a:cubicBezTo>
                    <a:pt x="22" y="2"/>
                    <a:pt x="22" y="2"/>
                    <a:pt x="22" y="2"/>
                  </a:cubicBezTo>
                  <a:cubicBezTo>
                    <a:pt x="19" y="1"/>
                    <a:pt x="19" y="1"/>
                    <a:pt x="19" y="1"/>
                  </a:cubicBezTo>
                  <a:cubicBezTo>
                    <a:pt x="12" y="3"/>
                    <a:pt x="12" y="3"/>
                    <a:pt x="12" y="3"/>
                  </a:cubicBezTo>
                  <a:cubicBezTo>
                    <a:pt x="6" y="0"/>
                    <a:pt x="6" y="0"/>
                    <a:pt x="6" y="0"/>
                  </a:cubicBezTo>
                  <a:cubicBezTo>
                    <a:pt x="2" y="0"/>
                    <a:pt x="2" y="0"/>
                    <a:pt x="2" y="0"/>
                  </a:cubicBezTo>
                  <a:cubicBezTo>
                    <a:pt x="1" y="2"/>
                    <a:pt x="1" y="2"/>
                    <a:pt x="1" y="2"/>
                  </a:cubicBezTo>
                  <a:lnTo>
                    <a:pt x="0" y="5"/>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38" name="Freeform 307"/>
            <p:cNvSpPr>
              <a:spLocks/>
            </p:cNvSpPr>
            <p:nvPr/>
          </p:nvSpPr>
          <p:spPr bwMode="auto">
            <a:xfrm>
              <a:off x="6378394" y="3254071"/>
              <a:ext cx="393877" cy="381752"/>
            </a:xfrm>
            <a:custGeom>
              <a:avLst/>
              <a:gdLst>
                <a:gd name="T0" fmla="*/ 31506 w 52"/>
                <a:gd name="T1" fmla="*/ 46672 h 50"/>
                <a:gd name="T2" fmla="*/ 23629 w 52"/>
                <a:gd name="T3" fmla="*/ 70009 h 50"/>
                <a:gd name="T4" fmla="*/ 15753 w 52"/>
                <a:gd name="T5" fmla="*/ 77787 h 50"/>
                <a:gd name="T6" fmla="*/ 0 w 52"/>
                <a:gd name="T7" fmla="*/ 93345 h 50"/>
                <a:gd name="T8" fmla="*/ 0 w 52"/>
                <a:gd name="T9" fmla="*/ 225583 h 50"/>
                <a:gd name="T10" fmla="*/ 47259 w 52"/>
                <a:gd name="T11" fmla="*/ 264477 h 50"/>
                <a:gd name="T12" fmla="*/ 70888 w 52"/>
                <a:gd name="T13" fmla="*/ 272256 h 50"/>
                <a:gd name="T14" fmla="*/ 133900 w 52"/>
                <a:gd name="T15" fmla="*/ 280035 h 50"/>
                <a:gd name="T16" fmla="*/ 149652 w 52"/>
                <a:gd name="T17" fmla="*/ 295592 h 50"/>
                <a:gd name="T18" fmla="*/ 181158 w 52"/>
                <a:gd name="T19" fmla="*/ 280035 h 50"/>
                <a:gd name="T20" fmla="*/ 370193 w 52"/>
                <a:gd name="T21" fmla="*/ 381158 h 50"/>
                <a:gd name="T22" fmla="*/ 370193 w 52"/>
                <a:gd name="T23" fmla="*/ 373380 h 50"/>
                <a:gd name="T24" fmla="*/ 370193 w 52"/>
                <a:gd name="T25" fmla="*/ 381158 h 50"/>
                <a:gd name="T26" fmla="*/ 378069 w 52"/>
                <a:gd name="T27" fmla="*/ 388937 h 50"/>
                <a:gd name="T28" fmla="*/ 378069 w 52"/>
                <a:gd name="T29" fmla="*/ 365601 h 50"/>
                <a:gd name="T30" fmla="*/ 401699 w 52"/>
                <a:gd name="T31" fmla="*/ 365601 h 50"/>
                <a:gd name="T32" fmla="*/ 409575 w 52"/>
                <a:gd name="T33" fmla="*/ 318928 h 50"/>
                <a:gd name="T34" fmla="*/ 401699 w 52"/>
                <a:gd name="T35" fmla="*/ 318928 h 50"/>
                <a:gd name="T36" fmla="*/ 401699 w 52"/>
                <a:gd name="T37" fmla="*/ 124460 h 50"/>
                <a:gd name="T38" fmla="*/ 393822 w 52"/>
                <a:gd name="T39" fmla="*/ 108902 h 50"/>
                <a:gd name="T40" fmla="*/ 385946 w 52"/>
                <a:gd name="T41" fmla="*/ 85566 h 50"/>
                <a:gd name="T42" fmla="*/ 393822 w 52"/>
                <a:gd name="T43" fmla="*/ 62230 h 50"/>
                <a:gd name="T44" fmla="*/ 401699 w 52"/>
                <a:gd name="T45" fmla="*/ 46672 h 50"/>
                <a:gd name="T46" fmla="*/ 378069 w 52"/>
                <a:gd name="T47" fmla="*/ 38894 h 50"/>
                <a:gd name="T48" fmla="*/ 354440 w 52"/>
                <a:gd name="T49" fmla="*/ 23336 h 50"/>
                <a:gd name="T50" fmla="*/ 322934 w 52"/>
                <a:gd name="T51" fmla="*/ 15557 h 50"/>
                <a:gd name="T52" fmla="*/ 275676 w 52"/>
                <a:gd name="T53" fmla="*/ 31115 h 50"/>
                <a:gd name="T54" fmla="*/ 275676 w 52"/>
                <a:gd name="T55" fmla="*/ 62230 h 50"/>
                <a:gd name="T56" fmla="*/ 228417 w 52"/>
                <a:gd name="T57" fmla="*/ 77787 h 50"/>
                <a:gd name="T58" fmla="*/ 196911 w 52"/>
                <a:gd name="T59" fmla="*/ 54451 h 50"/>
                <a:gd name="T60" fmla="*/ 173282 w 52"/>
                <a:gd name="T61" fmla="*/ 38894 h 50"/>
                <a:gd name="T62" fmla="*/ 157529 w 52"/>
                <a:gd name="T63" fmla="*/ 23336 h 50"/>
                <a:gd name="T64" fmla="*/ 102394 w 52"/>
                <a:gd name="T65" fmla="*/ 15557 h 50"/>
                <a:gd name="T66" fmla="*/ 63012 w 52"/>
                <a:gd name="T67" fmla="*/ 0 h 50"/>
                <a:gd name="T68" fmla="*/ 63012 w 52"/>
                <a:gd name="T69" fmla="*/ 15557 h 50"/>
                <a:gd name="T70" fmla="*/ 31506 w 52"/>
                <a:gd name="T71" fmla="*/ 46672 h 5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2"/>
                <a:gd name="T109" fmla="*/ 0 h 50"/>
                <a:gd name="T110" fmla="*/ 52 w 52"/>
                <a:gd name="T111" fmla="*/ 50 h 5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2" h="50">
                  <a:moveTo>
                    <a:pt x="4" y="6"/>
                  </a:moveTo>
                  <a:cubicBezTo>
                    <a:pt x="3" y="9"/>
                    <a:pt x="3" y="9"/>
                    <a:pt x="3" y="9"/>
                  </a:cubicBezTo>
                  <a:cubicBezTo>
                    <a:pt x="2" y="10"/>
                    <a:pt x="2" y="10"/>
                    <a:pt x="2" y="10"/>
                  </a:cubicBezTo>
                  <a:cubicBezTo>
                    <a:pt x="0" y="12"/>
                    <a:pt x="0" y="12"/>
                    <a:pt x="0" y="12"/>
                  </a:cubicBezTo>
                  <a:cubicBezTo>
                    <a:pt x="0" y="29"/>
                    <a:pt x="0" y="29"/>
                    <a:pt x="0" y="29"/>
                  </a:cubicBezTo>
                  <a:cubicBezTo>
                    <a:pt x="6" y="34"/>
                    <a:pt x="6" y="34"/>
                    <a:pt x="6" y="34"/>
                  </a:cubicBezTo>
                  <a:cubicBezTo>
                    <a:pt x="9" y="35"/>
                    <a:pt x="9" y="35"/>
                    <a:pt x="9" y="35"/>
                  </a:cubicBezTo>
                  <a:cubicBezTo>
                    <a:pt x="17" y="36"/>
                    <a:pt x="17" y="36"/>
                    <a:pt x="17" y="36"/>
                  </a:cubicBezTo>
                  <a:cubicBezTo>
                    <a:pt x="19" y="38"/>
                    <a:pt x="19" y="38"/>
                    <a:pt x="19" y="38"/>
                  </a:cubicBezTo>
                  <a:cubicBezTo>
                    <a:pt x="23" y="36"/>
                    <a:pt x="23" y="36"/>
                    <a:pt x="23" y="36"/>
                  </a:cubicBezTo>
                  <a:cubicBezTo>
                    <a:pt x="47" y="49"/>
                    <a:pt x="47" y="49"/>
                    <a:pt x="47" y="49"/>
                  </a:cubicBezTo>
                  <a:cubicBezTo>
                    <a:pt x="47" y="48"/>
                    <a:pt x="47" y="48"/>
                    <a:pt x="47" y="48"/>
                  </a:cubicBezTo>
                  <a:cubicBezTo>
                    <a:pt x="47" y="49"/>
                    <a:pt x="47" y="49"/>
                    <a:pt x="47" y="49"/>
                  </a:cubicBezTo>
                  <a:cubicBezTo>
                    <a:pt x="48" y="50"/>
                    <a:pt x="48" y="50"/>
                    <a:pt x="48" y="50"/>
                  </a:cubicBezTo>
                  <a:cubicBezTo>
                    <a:pt x="48" y="47"/>
                    <a:pt x="48" y="47"/>
                    <a:pt x="48" y="47"/>
                  </a:cubicBezTo>
                  <a:cubicBezTo>
                    <a:pt x="51" y="47"/>
                    <a:pt x="51" y="47"/>
                    <a:pt x="51" y="47"/>
                  </a:cubicBezTo>
                  <a:cubicBezTo>
                    <a:pt x="52" y="41"/>
                    <a:pt x="52" y="41"/>
                    <a:pt x="52" y="41"/>
                  </a:cubicBezTo>
                  <a:cubicBezTo>
                    <a:pt x="51" y="41"/>
                    <a:pt x="51" y="41"/>
                    <a:pt x="51" y="41"/>
                  </a:cubicBezTo>
                  <a:cubicBezTo>
                    <a:pt x="50" y="41"/>
                    <a:pt x="51" y="16"/>
                    <a:pt x="51" y="16"/>
                  </a:cubicBezTo>
                  <a:cubicBezTo>
                    <a:pt x="51" y="16"/>
                    <a:pt x="50" y="14"/>
                    <a:pt x="50" y="14"/>
                  </a:cubicBezTo>
                  <a:cubicBezTo>
                    <a:pt x="50" y="13"/>
                    <a:pt x="49" y="11"/>
                    <a:pt x="49" y="11"/>
                  </a:cubicBezTo>
                  <a:cubicBezTo>
                    <a:pt x="50" y="8"/>
                    <a:pt x="50" y="8"/>
                    <a:pt x="50" y="8"/>
                  </a:cubicBezTo>
                  <a:cubicBezTo>
                    <a:pt x="51" y="6"/>
                    <a:pt x="51" y="6"/>
                    <a:pt x="51" y="6"/>
                  </a:cubicBezTo>
                  <a:cubicBezTo>
                    <a:pt x="48" y="5"/>
                    <a:pt x="48" y="5"/>
                    <a:pt x="48" y="5"/>
                  </a:cubicBezTo>
                  <a:cubicBezTo>
                    <a:pt x="45" y="3"/>
                    <a:pt x="45" y="3"/>
                    <a:pt x="45" y="3"/>
                  </a:cubicBezTo>
                  <a:cubicBezTo>
                    <a:pt x="41" y="2"/>
                    <a:pt x="41" y="2"/>
                    <a:pt x="41" y="2"/>
                  </a:cubicBezTo>
                  <a:cubicBezTo>
                    <a:pt x="35" y="4"/>
                    <a:pt x="35" y="4"/>
                    <a:pt x="35" y="4"/>
                  </a:cubicBezTo>
                  <a:cubicBezTo>
                    <a:pt x="35" y="8"/>
                    <a:pt x="35" y="8"/>
                    <a:pt x="35" y="8"/>
                  </a:cubicBezTo>
                  <a:cubicBezTo>
                    <a:pt x="29" y="10"/>
                    <a:pt x="29" y="10"/>
                    <a:pt x="29" y="10"/>
                  </a:cubicBezTo>
                  <a:cubicBezTo>
                    <a:pt x="25" y="7"/>
                    <a:pt x="25" y="7"/>
                    <a:pt x="25" y="7"/>
                  </a:cubicBezTo>
                  <a:cubicBezTo>
                    <a:pt x="22" y="5"/>
                    <a:pt x="22" y="5"/>
                    <a:pt x="22" y="5"/>
                  </a:cubicBezTo>
                  <a:cubicBezTo>
                    <a:pt x="20" y="3"/>
                    <a:pt x="20" y="3"/>
                    <a:pt x="20" y="3"/>
                  </a:cubicBezTo>
                  <a:cubicBezTo>
                    <a:pt x="13" y="2"/>
                    <a:pt x="13" y="2"/>
                    <a:pt x="13" y="2"/>
                  </a:cubicBezTo>
                  <a:cubicBezTo>
                    <a:pt x="8" y="0"/>
                    <a:pt x="8" y="0"/>
                    <a:pt x="8" y="0"/>
                  </a:cubicBezTo>
                  <a:cubicBezTo>
                    <a:pt x="8" y="2"/>
                    <a:pt x="8" y="2"/>
                    <a:pt x="8" y="2"/>
                  </a:cubicBezTo>
                  <a:lnTo>
                    <a:pt x="4" y="6"/>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39" name="Freeform 308"/>
            <p:cNvSpPr>
              <a:spLocks/>
            </p:cNvSpPr>
            <p:nvPr/>
          </p:nvSpPr>
          <p:spPr bwMode="auto">
            <a:xfrm>
              <a:off x="6340257" y="3140403"/>
              <a:ext cx="99233" cy="190097"/>
            </a:xfrm>
            <a:custGeom>
              <a:avLst/>
              <a:gdLst>
                <a:gd name="T0" fmla="*/ 23813 w 78"/>
                <a:gd name="T1" fmla="*/ 15494 h 150"/>
                <a:gd name="T2" fmla="*/ 23813 w 78"/>
                <a:gd name="T3" fmla="*/ 38735 h 150"/>
                <a:gd name="T4" fmla="*/ 23813 w 78"/>
                <a:gd name="T5" fmla="*/ 69723 h 150"/>
                <a:gd name="T6" fmla="*/ 0 w 78"/>
                <a:gd name="T7" fmla="*/ 100711 h 150"/>
                <a:gd name="T8" fmla="*/ 0 w 78"/>
                <a:gd name="T9" fmla="*/ 116205 h 150"/>
                <a:gd name="T10" fmla="*/ 15875 w 78"/>
                <a:gd name="T11" fmla="*/ 131699 h 150"/>
                <a:gd name="T12" fmla="*/ 23813 w 78"/>
                <a:gd name="T13" fmla="*/ 139446 h 150"/>
                <a:gd name="T14" fmla="*/ 47625 w 78"/>
                <a:gd name="T15" fmla="*/ 154940 h 150"/>
                <a:gd name="T16" fmla="*/ 47625 w 78"/>
                <a:gd name="T17" fmla="*/ 185928 h 150"/>
                <a:gd name="T18" fmla="*/ 55563 w 78"/>
                <a:gd name="T19" fmla="*/ 193675 h 150"/>
                <a:gd name="T20" fmla="*/ 63500 w 78"/>
                <a:gd name="T21" fmla="*/ 185928 h 150"/>
                <a:gd name="T22" fmla="*/ 71438 w 78"/>
                <a:gd name="T23" fmla="*/ 162687 h 150"/>
                <a:gd name="T24" fmla="*/ 103188 w 78"/>
                <a:gd name="T25" fmla="*/ 131699 h 150"/>
                <a:gd name="T26" fmla="*/ 103188 w 78"/>
                <a:gd name="T27" fmla="*/ 116205 h 150"/>
                <a:gd name="T28" fmla="*/ 79375 w 78"/>
                <a:gd name="T29" fmla="*/ 108458 h 150"/>
                <a:gd name="T30" fmla="*/ 55563 w 78"/>
                <a:gd name="T31" fmla="*/ 92964 h 150"/>
                <a:gd name="T32" fmla="*/ 87313 w 78"/>
                <a:gd name="T33" fmla="*/ 46482 h 150"/>
                <a:gd name="T34" fmla="*/ 79375 w 78"/>
                <a:gd name="T35" fmla="*/ 15494 h 150"/>
                <a:gd name="T36" fmla="*/ 47625 w 78"/>
                <a:gd name="T37" fmla="*/ 0 h 150"/>
                <a:gd name="T38" fmla="*/ 31750 w 78"/>
                <a:gd name="T39" fmla="*/ 0 h 150"/>
                <a:gd name="T40" fmla="*/ 31750 w 78"/>
                <a:gd name="T41" fmla="*/ 7747 h 150"/>
                <a:gd name="T42" fmla="*/ 23813 w 78"/>
                <a:gd name="T43" fmla="*/ 15494 h 1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8"/>
                <a:gd name="T67" fmla="*/ 0 h 150"/>
                <a:gd name="T68" fmla="*/ 78 w 78"/>
                <a:gd name="T69" fmla="*/ 150 h 1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8" h="150">
                  <a:moveTo>
                    <a:pt x="18" y="12"/>
                  </a:moveTo>
                  <a:lnTo>
                    <a:pt x="18" y="30"/>
                  </a:lnTo>
                  <a:lnTo>
                    <a:pt x="18" y="54"/>
                  </a:lnTo>
                  <a:lnTo>
                    <a:pt x="0" y="78"/>
                  </a:lnTo>
                  <a:lnTo>
                    <a:pt x="0" y="90"/>
                  </a:lnTo>
                  <a:lnTo>
                    <a:pt x="12" y="102"/>
                  </a:lnTo>
                  <a:lnTo>
                    <a:pt x="18" y="108"/>
                  </a:lnTo>
                  <a:lnTo>
                    <a:pt x="36" y="120"/>
                  </a:lnTo>
                  <a:lnTo>
                    <a:pt x="36" y="144"/>
                  </a:lnTo>
                  <a:lnTo>
                    <a:pt x="42" y="150"/>
                  </a:lnTo>
                  <a:lnTo>
                    <a:pt x="48" y="144"/>
                  </a:lnTo>
                  <a:lnTo>
                    <a:pt x="54" y="126"/>
                  </a:lnTo>
                  <a:lnTo>
                    <a:pt x="78" y="102"/>
                  </a:lnTo>
                  <a:lnTo>
                    <a:pt x="78" y="90"/>
                  </a:lnTo>
                  <a:lnTo>
                    <a:pt x="60" y="84"/>
                  </a:lnTo>
                  <a:lnTo>
                    <a:pt x="42" y="72"/>
                  </a:lnTo>
                  <a:lnTo>
                    <a:pt x="66" y="36"/>
                  </a:lnTo>
                  <a:lnTo>
                    <a:pt x="60" y="12"/>
                  </a:lnTo>
                  <a:lnTo>
                    <a:pt x="36" y="0"/>
                  </a:lnTo>
                  <a:lnTo>
                    <a:pt x="24" y="0"/>
                  </a:lnTo>
                  <a:lnTo>
                    <a:pt x="24" y="6"/>
                  </a:lnTo>
                  <a:lnTo>
                    <a:pt x="18" y="12"/>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40" name="Freeform 311"/>
            <p:cNvSpPr>
              <a:spLocks/>
            </p:cNvSpPr>
            <p:nvPr/>
          </p:nvSpPr>
          <p:spPr bwMode="auto">
            <a:xfrm>
              <a:off x="5776880" y="3797874"/>
              <a:ext cx="59540" cy="46747"/>
            </a:xfrm>
            <a:custGeom>
              <a:avLst/>
              <a:gdLst>
                <a:gd name="T0" fmla="*/ 61912 w 48"/>
                <a:gd name="T1" fmla="*/ 31750 h 36"/>
                <a:gd name="T2" fmla="*/ 61912 w 48"/>
                <a:gd name="T3" fmla="*/ 7937 h 36"/>
                <a:gd name="T4" fmla="*/ 61912 w 48"/>
                <a:gd name="T5" fmla="*/ 0 h 36"/>
                <a:gd name="T6" fmla="*/ 46434 w 48"/>
                <a:gd name="T7" fmla="*/ 0 h 36"/>
                <a:gd name="T8" fmla="*/ 7739 w 48"/>
                <a:gd name="T9" fmla="*/ 7937 h 36"/>
                <a:gd name="T10" fmla="*/ 0 w 48"/>
                <a:gd name="T11" fmla="*/ 7937 h 36"/>
                <a:gd name="T12" fmla="*/ 23217 w 48"/>
                <a:gd name="T13" fmla="*/ 47625 h 36"/>
                <a:gd name="T14" fmla="*/ 46434 w 48"/>
                <a:gd name="T15" fmla="*/ 31750 h 36"/>
                <a:gd name="T16" fmla="*/ 61912 w 48"/>
                <a:gd name="T17" fmla="*/ 31750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
                <a:gd name="T28" fmla="*/ 0 h 36"/>
                <a:gd name="T29" fmla="*/ 48 w 48"/>
                <a:gd name="T30" fmla="*/ 36 h 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 h="36">
                  <a:moveTo>
                    <a:pt x="48" y="24"/>
                  </a:moveTo>
                  <a:lnTo>
                    <a:pt x="48" y="6"/>
                  </a:lnTo>
                  <a:lnTo>
                    <a:pt x="48" y="0"/>
                  </a:lnTo>
                  <a:lnTo>
                    <a:pt x="36" y="0"/>
                  </a:lnTo>
                  <a:lnTo>
                    <a:pt x="6" y="6"/>
                  </a:lnTo>
                  <a:lnTo>
                    <a:pt x="0" y="6"/>
                  </a:lnTo>
                  <a:lnTo>
                    <a:pt x="18" y="36"/>
                  </a:lnTo>
                  <a:lnTo>
                    <a:pt x="36" y="24"/>
                  </a:lnTo>
                  <a:lnTo>
                    <a:pt x="48" y="24"/>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41" name="Freeform 312"/>
            <p:cNvSpPr>
              <a:spLocks/>
            </p:cNvSpPr>
            <p:nvPr/>
          </p:nvSpPr>
          <p:spPr bwMode="auto">
            <a:xfrm>
              <a:off x="6689856" y="3531430"/>
              <a:ext cx="390823" cy="489267"/>
            </a:xfrm>
            <a:custGeom>
              <a:avLst/>
              <a:gdLst>
                <a:gd name="T0" fmla="*/ 289169 w 52"/>
                <a:gd name="T1" fmla="*/ 38943 h 64"/>
                <a:gd name="T2" fmla="*/ 85969 w 52"/>
                <a:gd name="T3" fmla="*/ 38943 h 64"/>
                <a:gd name="T4" fmla="*/ 78154 w 52"/>
                <a:gd name="T5" fmla="*/ 85675 h 64"/>
                <a:gd name="T6" fmla="*/ 54708 w 52"/>
                <a:gd name="T7" fmla="*/ 85675 h 64"/>
                <a:gd name="T8" fmla="*/ 54708 w 52"/>
                <a:gd name="T9" fmla="*/ 109041 h 64"/>
                <a:gd name="T10" fmla="*/ 46892 w 52"/>
                <a:gd name="T11" fmla="*/ 101253 h 64"/>
                <a:gd name="T12" fmla="*/ 39077 w 52"/>
                <a:gd name="T13" fmla="*/ 194717 h 64"/>
                <a:gd name="T14" fmla="*/ 15631 w 52"/>
                <a:gd name="T15" fmla="*/ 210294 h 64"/>
                <a:gd name="T16" fmla="*/ 7815 w 52"/>
                <a:gd name="T17" fmla="*/ 249238 h 64"/>
                <a:gd name="T18" fmla="*/ 0 w 52"/>
                <a:gd name="T19" fmla="*/ 272604 h 64"/>
                <a:gd name="T20" fmla="*/ 23446 w 52"/>
                <a:gd name="T21" fmla="*/ 319336 h 64"/>
                <a:gd name="T22" fmla="*/ 39077 w 52"/>
                <a:gd name="T23" fmla="*/ 350490 h 64"/>
                <a:gd name="T24" fmla="*/ 62523 w 52"/>
                <a:gd name="T25" fmla="*/ 389434 h 64"/>
                <a:gd name="T26" fmla="*/ 93785 w 52"/>
                <a:gd name="T27" fmla="*/ 405011 h 64"/>
                <a:gd name="T28" fmla="*/ 140677 w 52"/>
                <a:gd name="T29" fmla="*/ 451743 h 64"/>
                <a:gd name="T30" fmla="*/ 156308 w 52"/>
                <a:gd name="T31" fmla="*/ 475109 h 64"/>
                <a:gd name="T32" fmla="*/ 195385 w 52"/>
                <a:gd name="T33" fmla="*/ 475109 h 64"/>
                <a:gd name="T34" fmla="*/ 226646 w 52"/>
                <a:gd name="T35" fmla="*/ 498475 h 64"/>
                <a:gd name="T36" fmla="*/ 281354 w 52"/>
                <a:gd name="T37" fmla="*/ 490686 h 64"/>
                <a:gd name="T38" fmla="*/ 320431 w 52"/>
                <a:gd name="T39" fmla="*/ 475109 h 64"/>
                <a:gd name="T40" fmla="*/ 343877 w 52"/>
                <a:gd name="T41" fmla="*/ 475109 h 64"/>
                <a:gd name="T42" fmla="*/ 343877 w 52"/>
                <a:gd name="T43" fmla="*/ 459532 h 64"/>
                <a:gd name="T44" fmla="*/ 328246 w 52"/>
                <a:gd name="T45" fmla="*/ 443954 h 64"/>
                <a:gd name="T46" fmla="*/ 304800 w 52"/>
                <a:gd name="T47" fmla="*/ 420588 h 64"/>
                <a:gd name="T48" fmla="*/ 273539 w 52"/>
                <a:gd name="T49" fmla="*/ 397222 h 64"/>
                <a:gd name="T50" fmla="*/ 281354 w 52"/>
                <a:gd name="T51" fmla="*/ 373856 h 64"/>
                <a:gd name="T52" fmla="*/ 296985 w 52"/>
                <a:gd name="T53" fmla="*/ 373856 h 64"/>
                <a:gd name="T54" fmla="*/ 304800 w 52"/>
                <a:gd name="T55" fmla="*/ 327124 h 64"/>
                <a:gd name="T56" fmla="*/ 336062 w 52"/>
                <a:gd name="T57" fmla="*/ 295970 h 64"/>
                <a:gd name="T58" fmla="*/ 359508 w 52"/>
                <a:gd name="T59" fmla="*/ 249238 h 64"/>
                <a:gd name="T60" fmla="*/ 367323 w 52"/>
                <a:gd name="T61" fmla="*/ 163562 h 64"/>
                <a:gd name="T62" fmla="*/ 390769 w 52"/>
                <a:gd name="T63" fmla="*/ 147985 h 64"/>
                <a:gd name="T64" fmla="*/ 406400 w 52"/>
                <a:gd name="T65" fmla="*/ 140196 h 64"/>
                <a:gd name="T66" fmla="*/ 390769 w 52"/>
                <a:gd name="T67" fmla="*/ 101253 h 64"/>
                <a:gd name="T68" fmla="*/ 367323 w 52"/>
                <a:gd name="T69" fmla="*/ 31155 h 64"/>
                <a:gd name="T70" fmla="*/ 343877 w 52"/>
                <a:gd name="T71" fmla="*/ 0 h 64"/>
                <a:gd name="T72" fmla="*/ 328246 w 52"/>
                <a:gd name="T73" fmla="*/ 15577 h 64"/>
                <a:gd name="T74" fmla="*/ 289169 w 52"/>
                <a:gd name="T75" fmla="*/ 38943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2"/>
                <a:gd name="T115" fmla="*/ 0 h 64"/>
                <a:gd name="T116" fmla="*/ 52 w 52"/>
                <a:gd name="T117" fmla="*/ 64 h 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2" h="64">
                  <a:moveTo>
                    <a:pt x="37" y="5"/>
                  </a:moveTo>
                  <a:cubicBezTo>
                    <a:pt x="37" y="5"/>
                    <a:pt x="15" y="5"/>
                    <a:pt x="11" y="5"/>
                  </a:cubicBezTo>
                  <a:cubicBezTo>
                    <a:pt x="10" y="11"/>
                    <a:pt x="10" y="11"/>
                    <a:pt x="10" y="11"/>
                  </a:cubicBezTo>
                  <a:cubicBezTo>
                    <a:pt x="7" y="11"/>
                    <a:pt x="7" y="11"/>
                    <a:pt x="7" y="11"/>
                  </a:cubicBezTo>
                  <a:cubicBezTo>
                    <a:pt x="7" y="14"/>
                    <a:pt x="7" y="14"/>
                    <a:pt x="7" y="14"/>
                  </a:cubicBezTo>
                  <a:cubicBezTo>
                    <a:pt x="6" y="13"/>
                    <a:pt x="6" y="13"/>
                    <a:pt x="6" y="13"/>
                  </a:cubicBezTo>
                  <a:cubicBezTo>
                    <a:pt x="5" y="25"/>
                    <a:pt x="5" y="25"/>
                    <a:pt x="5" y="25"/>
                  </a:cubicBezTo>
                  <a:cubicBezTo>
                    <a:pt x="2" y="27"/>
                    <a:pt x="2" y="27"/>
                    <a:pt x="2" y="27"/>
                  </a:cubicBezTo>
                  <a:cubicBezTo>
                    <a:pt x="1" y="32"/>
                    <a:pt x="1" y="32"/>
                    <a:pt x="1" y="32"/>
                  </a:cubicBezTo>
                  <a:cubicBezTo>
                    <a:pt x="0" y="35"/>
                    <a:pt x="0" y="35"/>
                    <a:pt x="0" y="35"/>
                  </a:cubicBezTo>
                  <a:cubicBezTo>
                    <a:pt x="3" y="41"/>
                    <a:pt x="3" y="41"/>
                    <a:pt x="3" y="41"/>
                  </a:cubicBezTo>
                  <a:cubicBezTo>
                    <a:pt x="5" y="45"/>
                    <a:pt x="5" y="45"/>
                    <a:pt x="5" y="45"/>
                  </a:cubicBezTo>
                  <a:cubicBezTo>
                    <a:pt x="8" y="50"/>
                    <a:pt x="8" y="50"/>
                    <a:pt x="8" y="50"/>
                  </a:cubicBezTo>
                  <a:cubicBezTo>
                    <a:pt x="12" y="52"/>
                    <a:pt x="12" y="52"/>
                    <a:pt x="12" y="52"/>
                  </a:cubicBezTo>
                  <a:cubicBezTo>
                    <a:pt x="18" y="58"/>
                    <a:pt x="18" y="58"/>
                    <a:pt x="18" y="58"/>
                  </a:cubicBezTo>
                  <a:cubicBezTo>
                    <a:pt x="20" y="61"/>
                    <a:pt x="20" y="61"/>
                    <a:pt x="20" y="61"/>
                  </a:cubicBezTo>
                  <a:cubicBezTo>
                    <a:pt x="25" y="61"/>
                    <a:pt x="25" y="61"/>
                    <a:pt x="25" y="61"/>
                  </a:cubicBezTo>
                  <a:cubicBezTo>
                    <a:pt x="29" y="64"/>
                    <a:pt x="29" y="64"/>
                    <a:pt x="29" y="64"/>
                  </a:cubicBezTo>
                  <a:cubicBezTo>
                    <a:pt x="36" y="63"/>
                    <a:pt x="36" y="63"/>
                    <a:pt x="36" y="63"/>
                  </a:cubicBezTo>
                  <a:cubicBezTo>
                    <a:pt x="41" y="61"/>
                    <a:pt x="41" y="61"/>
                    <a:pt x="41" y="61"/>
                  </a:cubicBezTo>
                  <a:cubicBezTo>
                    <a:pt x="44" y="61"/>
                    <a:pt x="44" y="61"/>
                    <a:pt x="44" y="61"/>
                  </a:cubicBezTo>
                  <a:cubicBezTo>
                    <a:pt x="44" y="59"/>
                    <a:pt x="44" y="59"/>
                    <a:pt x="44" y="59"/>
                  </a:cubicBezTo>
                  <a:cubicBezTo>
                    <a:pt x="42" y="57"/>
                    <a:pt x="42" y="57"/>
                    <a:pt x="42" y="57"/>
                  </a:cubicBezTo>
                  <a:cubicBezTo>
                    <a:pt x="39" y="54"/>
                    <a:pt x="39" y="54"/>
                    <a:pt x="39" y="54"/>
                  </a:cubicBezTo>
                  <a:cubicBezTo>
                    <a:pt x="35" y="51"/>
                    <a:pt x="35" y="51"/>
                    <a:pt x="35" y="51"/>
                  </a:cubicBezTo>
                  <a:cubicBezTo>
                    <a:pt x="36" y="48"/>
                    <a:pt x="36" y="48"/>
                    <a:pt x="36" y="48"/>
                  </a:cubicBezTo>
                  <a:cubicBezTo>
                    <a:pt x="38" y="48"/>
                    <a:pt x="38" y="48"/>
                    <a:pt x="38" y="48"/>
                  </a:cubicBezTo>
                  <a:cubicBezTo>
                    <a:pt x="39" y="42"/>
                    <a:pt x="39" y="42"/>
                    <a:pt x="39" y="42"/>
                  </a:cubicBezTo>
                  <a:cubicBezTo>
                    <a:pt x="43" y="38"/>
                    <a:pt x="43" y="38"/>
                    <a:pt x="43" y="38"/>
                  </a:cubicBezTo>
                  <a:cubicBezTo>
                    <a:pt x="46" y="32"/>
                    <a:pt x="46" y="32"/>
                    <a:pt x="46" y="32"/>
                  </a:cubicBezTo>
                  <a:cubicBezTo>
                    <a:pt x="47" y="21"/>
                    <a:pt x="47" y="21"/>
                    <a:pt x="47" y="21"/>
                  </a:cubicBezTo>
                  <a:cubicBezTo>
                    <a:pt x="50" y="19"/>
                    <a:pt x="50" y="19"/>
                    <a:pt x="50" y="19"/>
                  </a:cubicBezTo>
                  <a:cubicBezTo>
                    <a:pt x="52" y="18"/>
                    <a:pt x="52" y="18"/>
                    <a:pt x="52" y="18"/>
                  </a:cubicBezTo>
                  <a:cubicBezTo>
                    <a:pt x="50" y="13"/>
                    <a:pt x="50" y="13"/>
                    <a:pt x="50" y="13"/>
                  </a:cubicBezTo>
                  <a:cubicBezTo>
                    <a:pt x="47" y="4"/>
                    <a:pt x="47" y="4"/>
                    <a:pt x="47" y="4"/>
                  </a:cubicBezTo>
                  <a:cubicBezTo>
                    <a:pt x="44" y="0"/>
                    <a:pt x="44" y="0"/>
                    <a:pt x="44" y="0"/>
                  </a:cubicBezTo>
                  <a:cubicBezTo>
                    <a:pt x="42" y="2"/>
                    <a:pt x="42" y="2"/>
                    <a:pt x="42" y="2"/>
                  </a:cubicBezTo>
                  <a:lnTo>
                    <a:pt x="37" y="5"/>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42" name="Freeform 313"/>
            <p:cNvSpPr>
              <a:spLocks/>
            </p:cNvSpPr>
            <p:nvPr/>
          </p:nvSpPr>
          <p:spPr bwMode="auto">
            <a:xfrm>
              <a:off x="5964669" y="3852412"/>
              <a:ext cx="143505" cy="144909"/>
            </a:xfrm>
            <a:custGeom>
              <a:avLst/>
              <a:gdLst>
                <a:gd name="T0" fmla="*/ 133517 w 19"/>
                <a:gd name="T1" fmla="*/ 77704 h 19"/>
                <a:gd name="T2" fmla="*/ 149225 w 19"/>
                <a:gd name="T3" fmla="*/ 46622 h 19"/>
                <a:gd name="T4" fmla="*/ 133517 w 19"/>
                <a:gd name="T5" fmla="*/ 15541 h 19"/>
                <a:gd name="T6" fmla="*/ 94247 w 19"/>
                <a:gd name="T7" fmla="*/ 23311 h 19"/>
                <a:gd name="T8" fmla="*/ 78539 w 19"/>
                <a:gd name="T9" fmla="*/ 7770 h 19"/>
                <a:gd name="T10" fmla="*/ 62832 w 19"/>
                <a:gd name="T11" fmla="*/ 7770 h 19"/>
                <a:gd name="T12" fmla="*/ 47124 w 19"/>
                <a:gd name="T13" fmla="*/ 0 h 19"/>
                <a:gd name="T14" fmla="*/ 39270 w 19"/>
                <a:gd name="T15" fmla="*/ 0 h 19"/>
                <a:gd name="T16" fmla="*/ 23562 w 19"/>
                <a:gd name="T17" fmla="*/ 0 h 19"/>
                <a:gd name="T18" fmla="*/ 7854 w 19"/>
                <a:gd name="T19" fmla="*/ 7770 h 19"/>
                <a:gd name="T20" fmla="*/ 15708 w 19"/>
                <a:gd name="T21" fmla="*/ 7770 h 19"/>
                <a:gd name="T22" fmla="*/ 15708 w 19"/>
                <a:gd name="T23" fmla="*/ 38852 h 19"/>
                <a:gd name="T24" fmla="*/ 15708 w 19"/>
                <a:gd name="T25" fmla="*/ 69933 h 19"/>
                <a:gd name="T26" fmla="*/ 0 w 19"/>
                <a:gd name="T27" fmla="*/ 77704 h 19"/>
                <a:gd name="T28" fmla="*/ 7854 w 19"/>
                <a:gd name="T29" fmla="*/ 85474 h 19"/>
                <a:gd name="T30" fmla="*/ 7854 w 19"/>
                <a:gd name="T31" fmla="*/ 108785 h 19"/>
                <a:gd name="T32" fmla="*/ 31416 w 19"/>
                <a:gd name="T33" fmla="*/ 124326 h 19"/>
                <a:gd name="T34" fmla="*/ 31416 w 19"/>
                <a:gd name="T35" fmla="*/ 147637 h 19"/>
                <a:gd name="T36" fmla="*/ 62832 w 19"/>
                <a:gd name="T37" fmla="*/ 147637 h 19"/>
                <a:gd name="T38" fmla="*/ 117809 w 19"/>
                <a:gd name="T39" fmla="*/ 124326 h 19"/>
                <a:gd name="T40" fmla="*/ 141371 w 19"/>
                <a:gd name="T41" fmla="*/ 124326 h 19"/>
                <a:gd name="T42" fmla="*/ 133517 w 19"/>
                <a:gd name="T43" fmla="*/ 101015 h 19"/>
                <a:gd name="T44" fmla="*/ 133517 w 19"/>
                <a:gd name="T45" fmla="*/ 77704 h 1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
                <a:gd name="T70" fmla="*/ 0 h 19"/>
                <a:gd name="T71" fmla="*/ 19 w 19"/>
                <a:gd name="T72" fmla="*/ 19 h 1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 h="19">
                  <a:moveTo>
                    <a:pt x="17" y="10"/>
                  </a:moveTo>
                  <a:cubicBezTo>
                    <a:pt x="19" y="6"/>
                    <a:pt x="19" y="6"/>
                    <a:pt x="19" y="6"/>
                  </a:cubicBezTo>
                  <a:cubicBezTo>
                    <a:pt x="17" y="2"/>
                    <a:pt x="17" y="2"/>
                    <a:pt x="17" y="2"/>
                  </a:cubicBezTo>
                  <a:cubicBezTo>
                    <a:pt x="12" y="3"/>
                    <a:pt x="12" y="3"/>
                    <a:pt x="12" y="3"/>
                  </a:cubicBezTo>
                  <a:cubicBezTo>
                    <a:pt x="10" y="1"/>
                    <a:pt x="10" y="1"/>
                    <a:pt x="10" y="1"/>
                  </a:cubicBezTo>
                  <a:cubicBezTo>
                    <a:pt x="8" y="1"/>
                    <a:pt x="8" y="1"/>
                    <a:pt x="8" y="1"/>
                  </a:cubicBezTo>
                  <a:cubicBezTo>
                    <a:pt x="6" y="0"/>
                    <a:pt x="6" y="0"/>
                    <a:pt x="6" y="0"/>
                  </a:cubicBezTo>
                  <a:cubicBezTo>
                    <a:pt x="5" y="0"/>
                    <a:pt x="5" y="0"/>
                    <a:pt x="5" y="0"/>
                  </a:cubicBezTo>
                  <a:cubicBezTo>
                    <a:pt x="3" y="0"/>
                    <a:pt x="3" y="0"/>
                    <a:pt x="3" y="0"/>
                  </a:cubicBezTo>
                  <a:cubicBezTo>
                    <a:pt x="1" y="1"/>
                    <a:pt x="1" y="1"/>
                    <a:pt x="1" y="1"/>
                  </a:cubicBezTo>
                  <a:cubicBezTo>
                    <a:pt x="2" y="1"/>
                    <a:pt x="2" y="1"/>
                    <a:pt x="2" y="1"/>
                  </a:cubicBezTo>
                  <a:cubicBezTo>
                    <a:pt x="2" y="5"/>
                    <a:pt x="2" y="5"/>
                    <a:pt x="2" y="5"/>
                  </a:cubicBezTo>
                  <a:cubicBezTo>
                    <a:pt x="2" y="9"/>
                    <a:pt x="2" y="9"/>
                    <a:pt x="2" y="9"/>
                  </a:cubicBezTo>
                  <a:cubicBezTo>
                    <a:pt x="2" y="9"/>
                    <a:pt x="1" y="10"/>
                    <a:pt x="0" y="10"/>
                  </a:cubicBezTo>
                  <a:cubicBezTo>
                    <a:pt x="1" y="11"/>
                    <a:pt x="1" y="11"/>
                    <a:pt x="1" y="11"/>
                  </a:cubicBezTo>
                  <a:cubicBezTo>
                    <a:pt x="1" y="11"/>
                    <a:pt x="0" y="14"/>
                    <a:pt x="1" y="14"/>
                  </a:cubicBezTo>
                  <a:cubicBezTo>
                    <a:pt x="1" y="14"/>
                    <a:pt x="4" y="16"/>
                    <a:pt x="4" y="16"/>
                  </a:cubicBezTo>
                  <a:cubicBezTo>
                    <a:pt x="4" y="19"/>
                    <a:pt x="4" y="19"/>
                    <a:pt x="4" y="19"/>
                  </a:cubicBezTo>
                  <a:cubicBezTo>
                    <a:pt x="8" y="19"/>
                    <a:pt x="8" y="19"/>
                    <a:pt x="8" y="19"/>
                  </a:cubicBezTo>
                  <a:cubicBezTo>
                    <a:pt x="15" y="16"/>
                    <a:pt x="15" y="16"/>
                    <a:pt x="15" y="16"/>
                  </a:cubicBezTo>
                  <a:cubicBezTo>
                    <a:pt x="18" y="16"/>
                    <a:pt x="18" y="16"/>
                    <a:pt x="18" y="16"/>
                  </a:cubicBezTo>
                  <a:cubicBezTo>
                    <a:pt x="17" y="13"/>
                    <a:pt x="17" y="13"/>
                    <a:pt x="17" y="13"/>
                  </a:cubicBezTo>
                  <a:lnTo>
                    <a:pt x="17" y="1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43" name="Freeform 314"/>
            <p:cNvSpPr>
              <a:spLocks/>
            </p:cNvSpPr>
            <p:nvPr/>
          </p:nvSpPr>
          <p:spPr bwMode="auto">
            <a:xfrm>
              <a:off x="5891379" y="3906953"/>
              <a:ext cx="102286" cy="90375"/>
            </a:xfrm>
            <a:custGeom>
              <a:avLst/>
              <a:gdLst>
                <a:gd name="T0" fmla="*/ 83571 w 14"/>
                <a:gd name="T1" fmla="*/ 53710 h 12"/>
                <a:gd name="T2" fmla="*/ 83571 w 14"/>
                <a:gd name="T3" fmla="*/ 30692 h 12"/>
                <a:gd name="T4" fmla="*/ 75974 w 14"/>
                <a:gd name="T5" fmla="*/ 23019 h 12"/>
                <a:gd name="T6" fmla="*/ 60779 w 14"/>
                <a:gd name="T7" fmla="*/ 30692 h 12"/>
                <a:gd name="T8" fmla="*/ 45584 w 14"/>
                <a:gd name="T9" fmla="*/ 7673 h 12"/>
                <a:gd name="T10" fmla="*/ 30389 w 14"/>
                <a:gd name="T11" fmla="*/ 0 h 12"/>
                <a:gd name="T12" fmla="*/ 22792 w 14"/>
                <a:gd name="T13" fmla="*/ 15346 h 12"/>
                <a:gd name="T14" fmla="*/ 7597 w 14"/>
                <a:gd name="T15" fmla="*/ 23019 h 12"/>
                <a:gd name="T16" fmla="*/ 0 w 14"/>
                <a:gd name="T17" fmla="*/ 38365 h 12"/>
                <a:gd name="T18" fmla="*/ 7597 w 14"/>
                <a:gd name="T19" fmla="*/ 46038 h 12"/>
                <a:gd name="T20" fmla="*/ 75974 w 14"/>
                <a:gd name="T21" fmla="*/ 92075 h 12"/>
                <a:gd name="T22" fmla="*/ 106363 w 14"/>
                <a:gd name="T23" fmla="*/ 92075 h 12"/>
                <a:gd name="T24" fmla="*/ 106363 w 14"/>
                <a:gd name="T25" fmla="*/ 69056 h 12"/>
                <a:gd name="T26" fmla="*/ 83571 w 14"/>
                <a:gd name="T27" fmla="*/ 53710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12"/>
                <a:gd name="T44" fmla="*/ 14 w 14"/>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12">
                  <a:moveTo>
                    <a:pt x="11" y="7"/>
                  </a:moveTo>
                  <a:cubicBezTo>
                    <a:pt x="10" y="7"/>
                    <a:pt x="11" y="4"/>
                    <a:pt x="11" y="4"/>
                  </a:cubicBezTo>
                  <a:cubicBezTo>
                    <a:pt x="10" y="3"/>
                    <a:pt x="10" y="3"/>
                    <a:pt x="10" y="3"/>
                  </a:cubicBezTo>
                  <a:cubicBezTo>
                    <a:pt x="9" y="3"/>
                    <a:pt x="8" y="4"/>
                    <a:pt x="8" y="4"/>
                  </a:cubicBezTo>
                  <a:cubicBezTo>
                    <a:pt x="7" y="4"/>
                    <a:pt x="6" y="1"/>
                    <a:pt x="6" y="1"/>
                  </a:cubicBezTo>
                  <a:cubicBezTo>
                    <a:pt x="4" y="0"/>
                    <a:pt x="4" y="0"/>
                    <a:pt x="4" y="0"/>
                  </a:cubicBezTo>
                  <a:cubicBezTo>
                    <a:pt x="3" y="2"/>
                    <a:pt x="3" y="2"/>
                    <a:pt x="3" y="2"/>
                  </a:cubicBezTo>
                  <a:cubicBezTo>
                    <a:pt x="1" y="3"/>
                    <a:pt x="1" y="3"/>
                    <a:pt x="1" y="3"/>
                  </a:cubicBezTo>
                  <a:cubicBezTo>
                    <a:pt x="0" y="5"/>
                    <a:pt x="0" y="5"/>
                    <a:pt x="0" y="5"/>
                  </a:cubicBezTo>
                  <a:cubicBezTo>
                    <a:pt x="1" y="6"/>
                    <a:pt x="1" y="6"/>
                    <a:pt x="1" y="6"/>
                  </a:cubicBezTo>
                  <a:cubicBezTo>
                    <a:pt x="10" y="12"/>
                    <a:pt x="10" y="12"/>
                    <a:pt x="10" y="12"/>
                  </a:cubicBezTo>
                  <a:cubicBezTo>
                    <a:pt x="14" y="12"/>
                    <a:pt x="14" y="12"/>
                    <a:pt x="14" y="12"/>
                  </a:cubicBezTo>
                  <a:cubicBezTo>
                    <a:pt x="14" y="9"/>
                    <a:pt x="14" y="9"/>
                    <a:pt x="14" y="9"/>
                  </a:cubicBezTo>
                  <a:cubicBezTo>
                    <a:pt x="14" y="9"/>
                    <a:pt x="11" y="7"/>
                    <a:pt x="11" y="7"/>
                  </a:cubicBez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44" name="Freeform 315"/>
            <p:cNvSpPr>
              <a:spLocks/>
            </p:cNvSpPr>
            <p:nvPr/>
          </p:nvSpPr>
          <p:spPr bwMode="auto">
            <a:xfrm>
              <a:off x="5844067" y="3875783"/>
              <a:ext cx="76333" cy="68560"/>
            </a:xfrm>
            <a:custGeom>
              <a:avLst/>
              <a:gdLst>
                <a:gd name="T0" fmla="*/ 71438 w 60"/>
                <a:gd name="T1" fmla="*/ 46567 h 54"/>
                <a:gd name="T2" fmla="*/ 79375 w 60"/>
                <a:gd name="T3" fmla="*/ 31044 h 54"/>
                <a:gd name="T4" fmla="*/ 71438 w 60"/>
                <a:gd name="T5" fmla="*/ 23283 h 54"/>
                <a:gd name="T6" fmla="*/ 55563 w 60"/>
                <a:gd name="T7" fmla="*/ 0 h 54"/>
                <a:gd name="T8" fmla="*/ 23813 w 60"/>
                <a:gd name="T9" fmla="*/ 0 h 54"/>
                <a:gd name="T10" fmla="*/ 15875 w 60"/>
                <a:gd name="T11" fmla="*/ 15522 h 54"/>
                <a:gd name="T12" fmla="*/ 0 w 60"/>
                <a:gd name="T13" fmla="*/ 23283 h 54"/>
                <a:gd name="T14" fmla="*/ 15875 w 60"/>
                <a:gd name="T15" fmla="*/ 38806 h 54"/>
                <a:gd name="T16" fmla="*/ 47625 w 60"/>
                <a:gd name="T17" fmla="*/ 69850 h 54"/>
                <a:gd name="T18" fmla="*/ 55563 w 60"/>
                <a:gd name="T19" fmla="*/ 54328 h 54"/>
                <a:gd name="T20" fmla="*/ 71438 w 60"/>
                <a:gd name="T21" fmla="*/ 46567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0"/>
                <a:gd name="T34" fmla="*/ 0 h 54"/>
                <a:gd name="T35" fmla="*/ 60 w 60"/>
                <a:gd name="T36" fmla="*/ 54 h 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0" h="54">
                  <a:moveTo>
                    <a:pt x="54" y="36"/>
                  </a:moveTo>
                  <a:lnTo>
                    <a:pt x="60" y="24"/>
                  </a:lnTo>
                  <a:lnTo>
                    <a:pt x="54" y="18"/>
                  </a:lnTo>
                  <a:lnTo>
                    <a:pt x="42" y="0"/>
                  </a:lnTo>
                  <a:lnTo>
                    <a:pt x="18" y="0"/>
                  </a:lnTo>
                  <a:lnTo>
                    <a:pt x="12" y="12"/>
                  </a:lnTo>
                  <a:lnTo>
                    <a:pt x="0" y="18"/>
                  </a:lnTo>
                  <a:lnTo>
                    <a:pt x="12" y="30"/>
                  </a:lnTo>
                  <a:lnTo>
                    <a:pt x="36" y="54"/>
                  </a:lnTo>
                  <a:lnTo>
                    <a:pt x="42" y="42"/>
                  </a:lnTo>
                  <a:lnTo>
                    <a:pt x="54" y="36"/>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45" name="Freeform 317"/>
            <p:cNvSpPr>
              <a:spLocks/>
            </p:cNvSpPr>
            <p:nvPr/>
          </p:nvSpPr>
          <p:spPr bwMode="auto">
            <a:xfrm>
              <a:off x="5955501" y="3140326"/>
              <a:ext cx="493110" cy="495499"/>
            </a:xfrm>
            <a:custGeom>
              <a:avLst/>
              <a:gdLst>
                <a:gd name="T0" fmla="*/ 78887 w 390"/>
                <a:gd name="T1" fmla="*/ 349494 h 390"/>
                <a:gd name="T2" fmla="*/ 283992 w 390"/>
                <a:gd name="T3" fmla="*/ 489292 h 390"/>
                <a:gd name="T4" fmla="*/ 299769 w 390"/>
                <a:gd name="T5" fmla="*/ 504825 h 390"/>
                <a:gd name="T6" fmla="*/ 323435 w 390"/>
                <a:gd name="T7" fmla="*/ 504825 h 390"/>
                <a:gd name="T8" fmla="*/ 370767 w 390"/>
                <a:gd name="T9" fmla="*/ 481525 h 390"/>
                <a:gd name="T10" fmla="*/ 512763 w 390"/>
                <a:gd name="T11" fmla="*/ 388327 h 390"/>
                <a:gd name="T12" fmla="*/ 504874 w 390"/>
                <a:gd name="T13" fmla="*/ 388327 h 390"/>
                <a:gd name="T14" fmla="*/ 481208 w 390"/>
                <a:gd name="T15" fmla="*/ 357261 h 390"/>
                <a:gd name="T16" fmla="*/ 465431 w 390"/>
                <a:gd name="T17" fmla="*/ 349494 h 390"/>
                <a:gd name="T18" fmla="*/ 449654 w 390"/>
                <a:gd name="T19" fmla="*/ 318428 h 390"/>
                <a:gd name="T20" fmla="*/ 457542 w 390"/>
                <a:gd name="T21" fmla="*/ 302895 h 390"/>
                <a:gd name="T22" fmla="*/ 457542 w 390"/>
                <a:gd name="T23" fmla="*/ 225230 h 390"/>
                <a:gd name="T24" fmla="*/ 449654 w 390"/>
                <a:gd name="T25" fmla="*/ 209697 h 390"/>
                <a:gd name="T26" fmla="*/ 457542 w 390"/>
                <a:gd name="T27" fmla="*/ 194163 h 390"/>
                <a:gd name="T28" fmla="*/ 449654 w 390"/>
                <a:gd name="T29" fmla="*/ 186397 h 390"/>
                <a:gd name="T30" fmla="*/ 449654 w 390"/>
                <a:gd name="T31" fmla="*/ 155331 h 390"/>
                <a:gd name="T32" fmla="*/ 425988 w 390"/>
                <a:gd name="T33" fmla="*/ 139798 h 390"/>
                <a:gd name="T34" fmla="*/ 418099 w 390"/>
                <a:gd name="T35" fmla="*/ 132031 h 390"/>
                <a:gd name="T36" fmla="*/ 402322 w 390"/>
                <a:gd name="T37" fmla="*/ 116498 h 390"/>
                <a:gd name="T38" fmla="*/ 402322 w 390"/>
                <a:gd name="T39" fmla="*/ 100965 h 390"/>
                <a:gd name="T40" fmla="*/ 425988 w 390"/>
                <a:gd name="T41" fmla="*/ 69899 h 390"/>
                <a:gd name="T42" fmla="*/ 425988 w 390"/>
                <a:gd name="T43" fmla="*/ 38833 h 390"/>
                <a:gd name="T44" fmla="*/ 425988 w 390"/>
                <a:gd name="T45" fmla="*/ 15533 h 390"/>
                <a:gd name="T46" fmla="*/ 433876 w 390"/>
                <a:gd name="T47" fmla="*/ 7767 h 390"/>
                <a:gd name="T48" fmla="*/ 433876 w 390"/>
                <a:gd name="T49" fmla="*/ 0 h 390"/>
                <a:gd name="T50" fmla="*/ 418099 w 390"/>
                <a:gd name="T51" fmla="*/ 7767 h 390"/>
                <a:gd name="T52" fmla="*/ 378656 w 390"/>
                <a:gd name="T53" fmla="*/ 15533 h 390"/>
                <a:gd name="T54" fmla="*/ 291880 w 390"/>
                <a:gd name="T55" fmla="*/ 15533 h 390"/>
                <a:gd name="T56" fmla="*/ 212994 w 390"/>
                <a:gd name="T57" fmla="*/ 38833 h 390"/>
                <a:gd name="T58" fmla="*/ 173551 w 390"/>
                <a:gd name="T59" fmla="*/ 62132 h 390"/>
                <a:gd name="T60" fmla="*/ 181439 w 390"/>
                <a:gd name="T61" fmla="*/ 100965 h 390"/>
                <a:gd name="T62" fmla="*/ 189328 w 390"/>
                <a:gd name="T63" fmla="*/ 139798 h 390"/>
                <a:gd name="T64" fmla="*/ 173551 w 390"/>
                <a:gd name="T65" fmla="*/ 147564 h 390"/>
                <a:gd name="T66" fmla="*/ 141996 w 390"/>
                <a:gd name="T67" fmla="*/ 155331 h 390"/>
                <a:gd name="T68" fmla="*/ 134107 w 390"/>
                <a:gd name="T69" fmla="*/ 170864 h 390"/>
                <a:gd name="T70" fmla="*/ 126219 w 390"/>
                <a:gd name="T71" fmla="*/ 186397 h 390"/>
                <a:gd name="T72" fmla="*/ 78887 w 390"/>
                <a:gd name="T73" fmla="*/ 201930 h 390"/>
                <a:gd name="T74" fmla="*/ 39443 w 390"/>
                <a:gd name="T75" fmla="*/ 225230 h 390"/>
                <a:gd name="T76" fmla="*/ 7889 w 390"/>
                <a:gd name="T77" fmla="*/ 248529 h 390"/>
                <a:gd name="T78" fmla="*/ 0 w 390"/>
                <a:gd name="T79" fmla="*/ 271829 h 390"/>
                <a:gd name="T80" fmla="*/ 7889 w 390"/>
                <a:gd name="T81" fmla="*/ 271829 h 390"/>
                <a:gd name="T82" fmla="*/ 7889 w 390"/>
                <a:gd name="T83" fmla="*/ 295128 h 390"/>
                <a:gd name="T84" fmla="*/ 78887 w 390"/>
                <a:gd name="T85" fmla="*/ 349494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90"/>
                <a:gd name="T130" fmla="*/ 0 h 390"/>
                <a:gd name="T131" fmla="*/ 390 w 390"/>
                <a:gd name="T132" fmla="*/ 390 h 39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46" name="Freeform 318"/>
            <p:cNvSpPr>
              <a:spLocks/>
            </p:cNvSpPr>
            <p:nvPr/>
          </p:nvSpPr>
          <p:spPr bwMode="auto">
            <a:xfrm>
              <a:off x="5955501" y="3140326"/>
              <a:ext cx="493110" cy="495499"/>
            </a:xfrm>
            <a:custGeom>
              <a:avLst/>
              <a:gdLst>
                <a:gd name="T0" fmla="*/ 78887 w 390"/>
                <a:gd name="T1" fmla="*/ 349494 h 390"/>
                <a:gd name="T2" fmla="*/ 283992 w 390"/>
                <a:gd name="T3" fmla="*/ 489292 h 390"/>
                <a:gd name="T4" fmla="*/ 299769 w 390"/>
                <a:gd name="T5" fmla="*/ 504825 h 390"/>
                <a:gd name="T6" fmla="*/ 323435 w 390"/>
                <a:gd name="T7" fmla="*/ 504825 h 390"/>
                <a:gd name="T8" fmla="*/ 370767 w 390"/>
                <a:gd name="T9" fmla="*/ 481525 h 390"/>
                <a:gd name="T10" fmla="*/ 512763 w 390"/>
                <a:gd name="T11" fmla="*/ 388327 h 390"/>
                <a:gd name="T12" fmla="*/ 504874 w 390"/>
                <a:gd name="T13" fmla="*/ 388327 h 390"/>
                <a:gd name="T14" fmla="*/ 481208 w 390"/>
                <a:gd name="T15" fmla="*/ 357261 h 390"/>
                <a:gd name="T16" fmla="*/ 465431 w 390"/>
                <a:gd name="T17" fmla="*/ 349494 h 390"/>
                <a:gd name="T18" fmla="*/ 449654 w 390"/>
                <a:gd name="T19" fmla="*/ 318428 h 390"/>
                <a:gd name="T20" fmla="*/ 457542 w 390"/>
                <a:gd name="T21" fmla="*/ 302895 h 390"/>
                <a:gd name="T22" fmla="*/ 457542 w 390"/>
                <a:gd name="T23" fmla="*/ 225230 h 390"/>
                <a:gd name="T24" fmla="*/ 449654 w 390"/>
                <a:gd name="T25" fmla="*/ 209697 h 390"/>
                <a:gd name="T26" fmla="*/ 457542 w 390"/>
                <a:gd name="T27" fmla="*/ 194163 h 390"/>
                <a:gd name="T28" fmla="*/ 449654 w 390"/>
                <a:gd name="T29" fmla="*/ 186397 h 390"/>
                <a:gd name="T30" fmla="*/ 449654 w 390"/>
                <a:gd name="T31" fmla="*/ 155331 h 390"/>
                <a:gd name="T32" fmla="*/ 425988 w 390"/>
                <a:gd name="T33" fmla="*/ 139798 h 390"/>
                <a:gd name="T34" fmla="*/ 418099 w 390"/>
                <a:gd name="T35" fmla="*/ 132031 h 390"/>
                <a:gd name="T36" fmla="*/ 402322 w 390"/>
                <a:gd name="T37" fmla="*/ 116498 h 390"/>
                <a:gd name="T38" fmla="*/ 402322 w 390"/>
                <a:gd name="T39" fmla="*/ 100965 h 390"/>
                <a:gd name="T40" fmla="*/ 425988 w 390"/>
                <a:gd name="T41" fmla="*/ 69899 h 390"/>
                <a:gd name="T42" fmla="*/ 425988 w 390"/>
                <a:gd name="T43" fmla="*/ 38833 h 390"/>
                <a:gd name="T44" fmla="*/ 425988 w 390"/>
                <a:gd name="T45" fmla="*/ 15533 h 390"/>
                <a:gd name="T46" fmla="*/ 433876 w 390"/>
                <a:gd name="T47" fmla="*/ 7767 h 390"/>
                <a:gd name="T48" fmla="*/ 433876 w 390"/>
                <a:gd name="T49" fmla="*/ 0 h 390"/>
                <a:gd name="T50" fmla="*/ 418099 w 390"/>
                <a:gd name="T51" fmla="*/ 7767 h 390"/>
                <a:gd name="T52" fmla="*/ 378656 w 390"/>
                <a:gd name="T53" fmla="*/ 15533 h 390"/>
                <a:gd name="T54" fmla="*/ 291880 w 390"/>
                <a:gd name="T55" fmla="*/ 15533 h 390"/>
                <a:gd name="T56" fmla="*/ 212994 w 390"/>
                <a:gd name="T57" fmla="*/ 38833 h 390"/>
                <a:gd name="T58" fmla="*/ 173551 w 390"/>
                <a:gd name="T59" fmla="*/ 62132 h 390"/>
                <a:gd name="T60" fmla="*/ 181439 w 390"/>
                <a:gd name="T61" fmla="*/ 100965 h 390"/>
                <a:gd name="T62" fmla="*/ 189328 w 390"/>
                <a:gd name="T63" fmla="*/ 139798 h 390"/>
                <a:gd name="T64" fmla="*/ 173551 w 390"/>
                <a:gd name="T65" fmla="*/ 147564 h 390"/>
                <a:gd name="T66" fmla="*/ 141996 w 390"/>
                <a:gd name="T67" fmla="*/ 155331 h 390"/>
                <a:gd name="T68" fmla="*/ 134107 w 390"/>
                <a:gd name="T69" fmla="*/ 170864 h 390"/>
                <a:gd name="T70" fmla="*/ 126219 w 390"/>
                <a:gd name="T71" fmla="*/ 186397 h 390"/>
                <a:gd name="T72" fmla="*/ 78887 w 390"/>
                <a:gd name="T73" fmla="*/ 201930 h 390"/>
                <a:gd name="T74" fmla="*/ 39443 w 390"/>
                <a:gd name="T75" fmla="*/ 225230 h 390"/>
                <a:gd name="T76" fmla="*/ 7889 w 390"/>
                <a:gd name="T77" fmla="*/ 248529 h 390"/>
                <a:gd name="T78" fmla="*/ 0 w 390"/>
                <a:gd name="T79" fmla="*/ 271829 h 390"/>
                <a:gd name="T80" fmla="*/ 7889 w 390"/>
                <a:gd name="T81" fmla="*/ 271829 h 390"/>
                <a:gd name="T82" fmla="*/ 7889 w 390"/>
                <a:gd name="T83" fmla="*/ 295128 h 390"/>
                <a:gd name="T84" fmla="*/ 78887 w 390"/>
                <a:gd name="T85" fmla="*/ 349494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90"/>
                <a:gd name="T130" fmla="*/ 0 h 390"/>
                <a:gd name="T131" fmla="*/ 390 w 390"/>
                <a:gd name="T132" fmla="*/ 390 h 39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47" name="Freeform 319"/>
            <p:cNvSpPr>
              <a:spLocks/>
            </p:cNvSpPr>
            <p:nvPr/>
          </p:nvSpPr>
          <p:spPr bwMode="auto">
            <a:xfrm>
              <a:off x="5993665" y="3103000"/>
              <a:ext cx="9160" cy="4675"/>
            </a:xfrm>
            <a:custGeom>
              <a:avLst/>
              <a:gdLst>
                <a:gd name="T0" fmla="*/ 9525 w 6"/>
                <a:gd name="T1" fmla="*/ 0 h 6"/>
                <a:gd name="T2" fmla="*/ 0 w 6"/>
                <a:gd name="T3" fmla="*/ 0 h 6"/>
                <a:gd name="T4" fmla="*/ 0 w 6"/>
                <a:gd name="T5" fmla="*/ 4763 h 6"/>
                <a:gd name="T6" fmla="*/ 9525 w 6"/>
                <a:gd name="T7" fmla="*/ 0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6" y="0"/>
                  </a:moveTo>
                  <a:lnTo>
                    <a:pt x="0" y="0"/>
                  </a:lnTo>
                  <a:lnTo>
                    <a:pt x="0" y="6"/>
                  </a:lnTo>
                  <a:lnTo>
                    <a:pt x="6" y="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48" name="Freeform 320"/>
            <p:cNvSpPr>
              <a:spLocks/>
            </p:cNvSpPr>
            <p:nvPr/>
          </p:nvSpPr>
          <p:spPr bwMode="auto">
            <a:xfrm>
              <a:off x="6010466" y="2993934"/>
              <a:ext cx="7633" cy="7791"/>
            </a:xfrm>
            <a:custGeom>
              <a:avLst/>
              <a:gdLst>
                <a:gd name="T0" fmla="*/ 0 w 6"/>
                <a:gd name="T1" fmla="*/ 0 h 6"/>
                <a:gd name="T2" fmla="*/ 0 w 6"/>
                <a:gd name="T3" fmla="*/ 0 h 6"/>
                <a:gd name="T4" fmla="*/ 7938 w 6"/>
                <a:gd name="T5" fmla="*/ 7938 h 6"/>
                <a:gd name="T6" fmla="*/ 0 w 6"/>
                <a:gd name="T7" fmla="*/ 0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0"/>
                  </a:moveTo>
                  <a:lnTo>
                    <a:pt x="0" y="0"/>
                  </a:lnTo>
                  <a:lnTo>
                    <a:pt x="6" y="6"/>
                  </a:lnTo>
                  <a:lnTo>
                    <a:pt x="0" y="0"/>
                  </a:lnTo>
                  <a:close/>
                </a:path>
              </a:pathLst>
            </a:custGeom>
            <a:solidFill>
              <a:schemeClr val="bg1"/>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49" name="Freeform 321"/>
            <p:cNvSpPr>
              <a:spLocks/>
            </p:cNvSpPr>
            <p:nvPr/>
          </p:nvSpPr>
          <p:spPr bwMode="auto">
            <a:xfrm>
              <a:off x="5941771" y="2929971"/>
              <a:ext cx="296171" cy="232168"/>
            </a:xfrm>
            <a:custGeom>
              <a:avLst/>
              <a:gdLst>
                <a:gd name="T0" fmla="*/ 268491 w 39"/>
                <a:gd name="T1" fmla="*/ 39423 h 30"/>
                <a:gd name="T2" fmla="*/ 252697 w 39"/>
                <a:gd name="T3" fmla="*/ 39423 h 30"/>
                <a:gd name="T4" fmla="*/ 229007 w 39"/>
                <a:gd name="T5" fmla="*/ 31538 h 30"/>
                <a:gd name="T6" fmla="*/ 213213 w 39"/>
                <a:gd name="T7" fmla="*/ 31538 h 30"/>
                <a:gd name="T8" fmla="*/ 205317 w 39"/>
                <a:gd name="T9" fmla="*/ 31538 h 30"/>
                <a:gd name="T10" fmla="*/ 197420 w 39"/>
                <a:gd name="T11" fmla="*/ 15769 h 30"/>
                <a:gd name="T12" fmla="*/ 102658 w 39"/>
                <a:gd name="T13" fmla="*/ 0 h 30"/>
                <a:gd name="T14" fmla="*/ 55278 w 39"/>
                <a:gd name="T15" fmla="*/ 7885 h 30"/>
                <a:gd name="T16" fmla="*/ 39484 w 39"/>
                <a:gd name="T17" fmla="*/ 0 h 30"/>
                <a:gd name="T18" fmla="*/ 23690 w 39"/>
                <a:gd name="T19" fmla="*/ 7885 h 30"/>
                <a:gd name="T20" fmla="*/ 0 w 39"/>
                <a:gd name="T21" fmla="*/ 23654 h 30"/>
                <a:gd name="T22" fmla="*/ 15794 w 39"/>
                <a:gd name="T23" fmla="*/ 63077 h 30"/>
                <a:gd name="T24" fmla="*/ 31587 w 39"/>
                <a:gd name="T25" fmla="*/ 47307 h 30"/>
                <a:gd name="T26" fmla="*/ 63174 w 39"/>
                <a:gd name="T27" fmla="*/ 55192 h 30"/>
                <a:gd name="T28" fmla="*/ 71071 w 39"/>
                <a:gd name="T29" fmla="*/ 63077 h 30"/>
                <a:gd name="T30" fmla="*/ 71071 w 39"/>
                <a:gd name="T31" fmla="*/ 63077 h 30"/>
                <a:gd name="T32" fmla="*/ 78968 w 39"/>
                <a:gd name="T33" fmla="*/ 70961 h 30"/>
                <a:gd name="T34" fmla="*/ 71071 w 39"/>
                <a:gd name="T35" fmla="*/ 94615 h 30"/>
                <a:gd name="T36" fmla="*/ 63174 w 39"/>
                <a:gd name="T37" fmla="*/ 134038 h 30"/>
                <a:gd name="T38" fmla="*/ 55278 w 39"/>
                <a:gd name="T39" fmla="*/ 157691 h 30"/>
                <a:gd name="T40" fmla="*/ 55278 w 39"/>
                <a:gd name="T41" fmla="*/ 173460 h 30"/>
                <a:gd name="T42" fmla="*/ 63174 w 39"/>
                <a:gd name="T43" fmla="*/ 173460 h 30"/>
                <a:gd name="T44" fmla="*/ 55278 w 39"/>
                <a:gd name="T45" fmla="*/ 181345 h 30"/>
                <a:gd name="T46" fmla="*/ 55278 w 39"/>
                <a:gd name="T47" fmla="*/ 189230 h 30"/>
                <a:gd name="T48" fmla="*/ 47381 w 39"/>
                <a:gd name="T49" fmla="*/ 212883 h 30"/>
                <a:gd name="T50" fmla="*/ 63174 w 39"/>
                <a:gd name="T51" fmla="*/ 212883 h 30"/>
                <a:gd name="T52" fmla="*/ 94762 w 39"/>
                <a:gd name="T53" fmla="*/ 236537 h 30"/>
                <a:gd name="T54" fmla="*/ 142142 w 39"/>
                <a:gd name="T55" fmla="*/ 220768 h 30"/>
                <a:gd name="T56" fmla="*/ 189523 w 39"/>
                <a:gd name="T57" fmla="*/ 212883 h 30"/>
                <a:gd name="T58" fmla="*/ 213213 w 39"/>
                <a:gd name="T59" fmla="*/ 181345 h 30"/>
                <a:gd name="T60" fmla="*/ 236904 w 39"/>
                <a:gd name="T61" fmla="*/ 149807 h 30"/>
                <a:gd name="T62" fmla="*/ 236904 w 39"/>
                <a:gd name="T63" fmla="*/ 134038 h 30"/>
                <a:gd name="T64" fmla="*/ 260594 w 39"/>
                <a:gd name="T65" fmla="*/ 86730 h 30"/>
                <a:gd name="T66" fmla="*/ 307975 w 39"/>
                <a:gd name="T67" fmla="*/ 55192 h 30"/>
                <a:gd name="T68" fmla="*/ 307975 w 39"/>
                <a:gd name="T69" fmla="*/ 47307 h 30"/>
                <a:gd name="T70" fmla="*/ 292181 w 39"/>
                <a:gd name="T71" fmla="*/ 47307 h 30"/>
                <a:gd name="T72" fmla="*/ 268491 w 39"/>
                <a:gd name="T73" fmla="*/ 39423 h 3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
                <a:gd name="T112" fmla="*/ 0 h 30"/>
                <a:gd name="T113" fmla="*/ 39 w 39"/>
                <a:gd name="T114" fmla="*/ 30 h 3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 h="30">
                  <a:moveTo>
                    <a:pt x="34" y="5"/>
                  </a:moveTo>
                  <a:cubicBezTo>
                    <a:pt x="34" y="5"/>
                    <a:pt x="33" y="5"/>
                    <a:pt x="32" y="5"/>
                  </a:cubicBezTo>
                  <a:cubicBezTo>
                    <a:pt x="32" y="5"/>
                    <a:pt x="29" y="4"/>
                    <a:pt x="29" y="4"/>
                  </a:cubicBezTo>
                  <a:cubicBezTo>
                    <a:pt x="27" y="4"/>
                    <a:pt x="27" y="4"/>
                    <a:pt x="27" y="4"/>
                  </a:cubicBezTo>
                  <a:cubicBezTo>
                    <a:pt x="26" y="4"/>
                    <a:pt x="26" y="4"/>
                    <a:pt x="26" y="4"/>
                  </a:cubicBezTo>
                  <a:cubicBezTo>
                    <a:pt x="25" y="2"/>
                    <a:pt x="25" y="2"/>
                    <a:pt x="25" y="2"/>
                  </a:cubicBezTo>
                  <a:cubicBezTo>
                    <a:pt x="13" y="0"/>
                    <a:pt x="13" y="0"/>
                    <a:pt x="13" y="0"/>
                  </a:cubicBezTo>
                  <a:cubicBezTo>
                    <a:pt x="7" y="1"/>
                    <a:pt x="7" y="1"/>
                    <a:pt x="7" y="1"/>
                  </a:cubicBezTo>
                  <a:cubicBezTo>
                    <a:pt x="5" y="0"/>
                    <a:pt x="5" y="0"/>
                    <a:pt x="5" y="0"/>
                  </a:cubicBezTo>
                  <a:cubicBezTo>
                    <a:pt x="3" y="1"/>
                    <a:pt x="3" y="1"/>
                    <a:pt x="3" y="1"/>
                  </a:cubicBezTo>
                  <a:cubicBezTo>
                    <a:pt x="3" y="1"/>
                    <a:pt x="1" y="3"/>
                    <a:pt x="0" y="3"/>
                  </a:cubicBezTo>
                  <a:cubicBezTo>
                    <a:pt x="2" y="8"/>
                    <a:pt x="2" y="8"/>
                    <a:pt x="2" y="8"/>
                  </a:cubicBezTo>
                  <a:cubicBezTo>
                    <a:pt x="4" y="6"/>
                    <a:pt x="4" y="6"/>
                    <a:pt x="4" y="6"/>
                  </a:cubicBezTo>
                  <a:cubicBezTo>
                    <a:pt x="8" y="7"/>
                    <a:pt x="8" y="7"/>
                    <a:pt x="8" y="7"/>
                  </a:cubicBezTo>
                  <a:cubicBezTo>
                    <a:pt x="9" y="8"/>
                    <a:pt x="9" y="8"/>
                    <a:pt x="9" y="8"/>
                  </a:cubicBezTo>
                  <a:cubicBezTo>
                    <a:pt x="9" y="8"/>
                    <a:pt x="9" y="8"/>
                    <a:pt x="9" y="8"/>
                  </a:cubicBezTo>
                  <a:cubicBezTo>
                    <a:pt x="10" y="9"/>
                    <a:pt x="10" y="9"/>
                    <a:pt x="10" y="9"/>
                  </a:cubicBezTo>
                  <a:cubicBezTo>
                    <a:pt x="9" y="12"/>
                    <a:pt x="9" y="12"/>
                    <a:pt x="9" y="12"/>
                  </a:cubicBezTo>
                  <a:cubicBezTo>
                    <a:pt x="8" y="17"/>
                    <a:pt x="8" y="17"/>
                    <a:pt x="8" y="17"/>
                  </a:cubicBezTo>
                  <a:cubicBezTo>
                    <a:pt x="7" y="20"/>
                    <a:pt x="7" y="20"/>
                    <a:pt x="7" y="20"/>
                  </a:cubicBezTo>
                  <a:cubicBezTo>
                    <a:pt x="7" y="22"/>
                    <a:pt x="7" y="22"/>
                    <a:pt x="7" y="22"/>
                  </a:cubicBezTo>
                  <a:cubicBezTo>
                    <a:pt x="8" y="22"/>
                    <a:pt x="8" y="22"/>
                    <a:pt x="8" y="22"/>
                  </a:cubicBezTo>
                  <a:cubicBezTo>
                    <a:pt x="7" y="23"/>
                    <a:pt x="7" y="23"/>
                    <a:pt x="7" y="23"/>
                  </a:cubicBezTo>
                  <a:cubicBezTo>
                    <a:pt x="7" y="24"/>
                    <a:pt x="7" y="24"/>
                    <a:pt x="7" y="24"/>
                  </a:cubicBezTo>
                  <a:cubicBezTo>
                    <a:pt x="6" y="27"/>
                    <a:pt x="6" y="27"/>
                    <a:pt x="6" y="27"/>
                  </a:cubicBezTo>
                  <a:cubicBezTo>
                    <a:pt x="8" y="27"/>
                    <a:pt x="8" y="27"/>
                    <a:pt x="8" y="27"/>
                  </a:cubicBezTo>
                  <a:cubicBezTo>
                    <a:pt x="12" y="30"/>
                    <a:pt x="12" y="30"/>
                    <a:pt x="12" y="30"/>
                  </a:cubicBezTo>
                  <a:cubicBezTo>
                    <a:pt x="18" y="28"/>
                    <a:pt x="18" y="28"/>
                    <a:pt x="18" y="28"/>
                  </a:cubicBezTo>
                  <a:cubicBezTo>
                    <a:pt x="24" y="27"/>
                    <a:pt x="24" y="27"/>
                    <a:pt x="24" y="27"/>
                  </a:cubicBezTo>
                  <a:cubicBezTo>
                    <a:pt x="27" y="23"/>
                    <a:pt x="27" y="23"/>
                    <a:pt x="27" y="23"/>
                  </a:cubicBezTo>
                  <a:cubicBezTo>
                    <a:pt x="30" y="19"/>
                    <a:pt x="30" y="19"/>
                    <a:pt x="30" y="19"/>
                  </a:cubicBezTo>
                  <a:cubicBezTo>
                    <a:pt x="30" y="17"/>
                    <a:pt x="30" y="17"/>
                    <a:pt x="30" y="17"/>
                  </a:cubicBezTo>
                  <a:cubicBezTo>
                    <a:pt x="33" y="11"/>
                    <a:pt x="33" y="11"/>
                    <a:pt x="33" y="11"/>
                  </a:cubicBezTo>
                  <a:cubicBezTo>
                    <a:pt x="39" y="7"/>
                    <a:pt x="39" y="7"/>
                    <a:pt x="39" y="7"/>
                  </a:cubicBezTo>
                  <a:cubicBezTo>
                    <a:pt x="39" y="6"/>
                    <a:pt x="39" y="6"/>
                    <a:pt x="39" y="6"/>
                  </a:cubicBezTo>
                  <a:cubicBezTo>
                    <a:pt x="37" y="6"/>
                    <a:pt x="37" y="6"/>
                    <a:pt x="37" y="6"/>
                  </a:cubicBezTo>
                  <a:lnTo>
                    <a:pt x="34" y="5"/>
                  </a:lnTo>
                  <a:close/>
                </a:path>
              </a:pathLst>
            </a:custGeom>
            <a:solidFill>
              <a:srgbClr val="598E27"/>
            </a:solidFill>
            <a:ln w="9525">
              <a:solidFill>
                <a:sysClr val="window" lastClr="FFFFFF">
                  <a:lumMod val="85000"/>
                </a:sys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50" name="Freeform 322"/>
            <p:cNvSpPr>
              <a:spLocks/>
            </p:cNvSpPr>
            <p:nvPr/>
          </p:nvSpPr>
          <p:spPr bwMode="auto">
            <a:xfrm>
              <a:off x="5941770" y="2976716"/>
              <a:ext cx="76333" cy="163608"/>
            </a:xfrm>
            <a:custGeom>
              <a:avLst/>
              <a:gdLst>
                <a:gd name="T0" fmla="*/ 55563 w 60"/>
                <a:gd name="T1" fmla="*/ 135187 h 127"/>
                <a:gd name="T2" fmla="*/ 55563 w 60"/>
                <a:gd name="T3" fmla="*/ 127312 h 127"/>
                <a:gd name="T4" fmla="*/ 55563 w 60"/>
                <a:gd name="T5" fmla="*/ 127312 h 127"/>
                <a:gd name="T6" fmla="*/ 55563 w 60"/>
                <a:gd name="T7" fmla="*/ 111562 h 127"/>
                <a:gd name="T8" fmla="*/ 63500 w 60"/>
                <a:gd name="T9" fmla="*/ 95812 h 127"/>
                <a:gd name="T10" fmla="*/ 63500 w 60"/>
                <a:gd name="T11" fmla="*/ 87937 h 127"/>
                <a:gd name="T12" fmla="*/ 63500 w 60"/>
                <a:gd name="T13" fmla="*/ 64312 h 127"/>
                <a:gd name="T14" fmla="*/ 71438 w 60"/>
                <a:gd name="T15" fmla="*/ 56437 h 127"/>
                <a:gd name="T16" fmla="*/ 71438 w 60"/>
                <a:gd name="T17" fmla="*/ 40687 h 127"/>
                <a:gd name="T18" fmla="*/ 79375 w 60"/>
                <a:gd name="T19" fmla="*/ 24937 h 127"/>
                <a:gd name="T20" fmla="*/ 71438 w 60"/>
                <a:gd name="T21" fmla="*/ 17062 h 127"/>
                <a:gd name="T22" fmla="*/ 63500 w 60"/>
                <a:gd name="T23" fmla="*/ 7875 h 127"/>
                <a:gd name="T24" fmla="*/ 39688 w 60"/>
                <a:gd name="T25" fmla="*/ 0 h 127"/>
                <a:gd name="T26" fmla="*/ 23813 w 60"/>
                <a:gd name="T27" fmla="*/ 7875 h 127"/>
                <a:gd name="T28" fmla="*/ 15875 w 60"/>
                <a:gd name="T29" fmla="*/ 17062 h 127"/>
                <a:gd name="T30" fmla="*/ 15875 w 60"/>
                <a:gd name="T31" fmla="*/ 17062 h 127"/>
                <a:gd name="T32" fmla="*/ 7938 w 60"/>
                <a:gd name="T33" fmla="*/ 17062 h 127"/>
                <a:gd name="T34" fmla="*/ 15875 w 60"/>
                <a:gd name="T35" fmla="*/ 48562 h 127"/>
                <a:gd name="T36" fmla="*/ 15875 w 60"/>
                <a:gd name="T37" fmla="*/ 80062 h 127"/>
                <a:gd name="T38" fmla="*/ 0 w 60"/>
                <a:gd name="T39" fmla="*/ 119437 h 127"/>
                <a:gd name="T40" fmla="*/ 15875 w 60"/>
                <a:gd name="T41" fmla="*/ 127312 h 127"/>
                <a:gd name="T42" fmla="*/ 15875 w 60"/>
                <a:gd name="T43" fmla="*/ 166687 h 127"/>
                <a:gd name="T44" fmla="*/ 47625 w 60"/>
                <a:gd name="T45" fmla="*/ 166687 h 127"/>
                <a:gd name="T46" fmla="*/ 55563 w 60"/>
                <a:gd name="T47" fmla="*/ 150937 h 127"/>
                <a:gd name="T48" fmla="*/ 55563 w 60"/>
                <a:gd name="T49" fmla="*/ 135187 h 12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127"/>
                <a:gd name="T77" fmla="*/ 60 w 60"/>
                <a:gd name="T78" fmla="*/ 127 h 12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127">
                  <a:moveTo>
                    <a:pt x="42" y="103"/>
                  </a:moveTo>
                  <a:lnTo>
                    <a:pt x="42" y="97"/>
                  </a:lnTo>
                  <a:lnTo>
                    <a:pt x="42" y="85"/>
                  </a:lnTo>
                  <a:lnTo>
                    <a:pt x="48" y="73"/>
                  </a:lnTo>
                  <a:lnTo>
                    <a:pt x="48" y="67"/>
                  </a:lnTo>
                  <a:lnTo>
                    <a:pt x="48" y="49"/>
                  </a:lnTo>
                  <a:lnTo>
                    <a:pt x="54" y="43"/>
                  </a:lnTo>
                  <a:lnTo>
                    <a:pt x="54" y="31"/>
                  </a:lnTo>
                  <a:lnTo>
                    <a:pt x="60" y="19"/>
                  </a:lnTo>
                  <a:lnTo>
                    <a:pt x="54" y="13"/>
                  </a:lnTo>
                  <a:lnTo>
                    <a:pt x="48" y="6"/>
                  </a:lnTo>
                  <a:lnTo>
                    <a:pt x="30" y="0"/>
                  </a:lnTo>
                  <a:lnTo>
                    <a:pt x="18" y="6"/>
                  </a:lnTo>
                  <a:lnTo>
                    <a:pt x="12" y="13"/>
                  </a:lnTo>
                  <a:lnTo>
                    <a:pt x="6" y="13"/>
                  </a:lnTo>
                  <a:lnTo>
                    <a:pt x="12" y="37"/>
                  </a:lnTo>
                  <a:lnTo>
                    <a:pt x="12" y="61"/>
                  </a:lnTo>
                  <a:lnTo>
                    <a:pt x="0" y="91"/>
                  </a:lnTo>
                  <a:lnTo>
                    <a:pt x="12" y="97"/>
                  </a:lnTo>
                  <a:lnTo>
                    <a:pt x="12" y="127"/>
                  </a:lnTo>
                  <a:lnTo>
                    <a:pt x="36" y="127"/>
                  </a:lnTo>
                  <a:lnTo>
                    <a:pt x="42" y="115"/>
                  </a:lnTo>
                  <a:lnTo>
                    <a:pt x="42" y="103"/>
                  </a:lnTo>
                  <a:close/>
                </a:path>
              </a:pathLst>
            </a:custGeom>
            <a:solidFill>
              <a:srgbClr val="598E27"/>
            </a:solidFill>
            <a:ln w="9525">
              <a:solidFill>
                <a:sysClr val="window" lastClr="FFFFFF">
                  <a:lumMod val="85000"/>
                </a:sys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51" name="Freeform 323"/>
            <p:cNvSpPr>
              <a:spLocks/>
            </p:cNvSpPr>
            <p:nvPr/>
          </p:nvSpPr>
          <p:spPr bwMode="auto">
            <a:xfrm>
              <a:off x="6002836" y="3001725"/>
              <a:ext cx="15267" cy="62327"/>
            </a:xfrm>
            <a:custGeom>
              <a:avLst/>
              <a:gdLst>
                <a:gd name="T0" fmla="*/ 7938 w 12"/>
                <a:gd name="T1" fmla="*/ 31750 h 48"/>
                <a:gd name="T2" fmla="*/ 0 w 12"/>
                <a:gd name="T3" fmla="*/ 39687 h 48"/>
                <a:gd name="T4" fmla="*/ 0 w 12"/>
                <a:gd name="T5" fmla="*/ 63500 h 48"/>
                <a:gd name="T6" fmla="*/ 7938 w 12"/>
                <a:gd name="T7" fmla="*/ 23813 h 48"/>
                <a:gd name="T8" fmla="*/ 15875 w 12"/>
                <a:gd name="T9" fmla="*/ 0 h 48"/>
                <a:gd name="T10" fmla="*/ 7938 w 12"/>
                <a:gd name="T11" fmla="*/ 15875 h 48"/>
                <a:gd name="T12" fmla="*/ 7938 w 12"/>
                <a:gd name="T13" fmla="*/ 31750 h 48"/>
                <a:gd name="T14" fmla="*/ 0 60000 65536"/>
                <a:gd name="T15" fmla="*/ 0 60000 65536"/>
                <a:gd name="T16" fmla="*/ 0 60000 65536"/>
                <a:gd name="T17" fmla="*/ 0 60000 65536"/>
                <a:gd name="T18" fmla="*/ 0 60000 65536"/>
                <a:gd name="T19" fmla="*/ 0 60000 65536"/>
                <a:gd name="T20" fmla="*/ 0 60000 65536"/>
                <a:gd name="T21" fmla="*/ 0 w 12"/>
                <a:gd name="T22" fmla="*/ 0 h 48"/>
                <a:gd name="T23" fmla="*/ 12 w 12"/>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48">
                  <a:moveTo>
                    <a:pt x="6" y="24"/>
                  </a:moveTo>
                  <a:lnTo>
                    <a:pt x="0" y="30"/>
                  </a:lnTo>
                  <a:lnTo>
                    <a:pt x="0" y="48"/>
                  </a:lnTo>
                  <a:lnTo>
                    <a:pt x="6" y="18"/>
                  </a:lnTo>
                  <a:lnTo>
                    <a:pt x="12" y="0"/>
                  </a:lnTo>
                  <a:lnTo>
                    <a:pt x="6" y="12"/>
                  </a:lnTo>
                  <a:lnTo>
                    <a:pt x="6" y="24"/>
                  </a:lnTo>
                  <a:close/>
                </a:path>
              </a:pathLst>
            </a:custGeom>
            <a:solidFill>
              <a:schemeClr val="bg1"/>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52" name="Freeform 324"/>
            <p:cNvSpPr>
              <a:spLocks/>
            </p:cNvSpPr>
            <p:nvPr/>
          </p:nvSpPr>
          <p:spPr bwMode="auto">
            <a:xfrm>
              <a:off x="5989099" y="3107648"/>
              <a:ext cx="4581" cy="32723"/>
            </a:xfrm>
            <a:custGeom>
              <a:avLst/>
              <a:gdLst>
                <a:gd name="T0" fmla="*/ 4763 w 6"/>
                <a:gd name="T1" fmla="*/ 0 h 24"/>
                <a:gd name="T2" fmla="*/ 4763 w 6"/>
                <a:gd name="T3" fmla="*/ 16669 h 24"/>
                <a:gd name="T4" fmla="*/ 0 w 6"/>
                <a:gd name="T5" fmla="*/ 33337 h 24"/>
                <a:gd name="T6" fmla="*/ 4763 w 6"/>
                <a:gd name="T7" fmla="*/ 8334 h 24"/>
                <a:gd name="T8" fmla="*/ 4763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6" y="0"/>
                  </a:moveTo>
                  <a:lnTo>
                    <a:pt x="6" y="12"/>
                  </a:lnTo>
                  <a:lnTo>
                    <a:pt x="0" y="24"/>
                  </a:lnTo>
                  <a:lnTo>
                    <a:pt x="6" y="6"/>
                  </a:lnTo>
                  <a:lnTo>
                    <a:pt x="6" y="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53" name="Freeform 325"/>
            <p:cNvSpPr>
              <a:spLocks/>
            </p:cNvSpPr>
            <p:nvPr/>
          </p:nvSpPr>
          <p:spPr bwMode="auto">
            <a:xfrm>
              <a:off x="5993665" y="3064028"/>
              <a:ext cx="9160" cy="21815"/>
            </a:xfrm>
            <a:custGeom>
              <a:avLst/>
              <a:gdLst>
                <a:gd name="T0" fmla="*/ 0 w 6"/>
                <a:gd name="T1" fmla="*/ 22225 h 18"/>
                <a:gd name="T2" fmla="*/ 9525 w 6"/>
                <a:gd name="T3" fmla="*/ 0 h 18"/>
                <a:gd name="T4" fmla="*/ 9525 w 6"/>
                <a:gd name="T5" fmla="*/ 14817 h 18"/>
                <a:gd name="T6" fmla="*/ 0 w 6"/>
                <a:gd name="T7" fmla="*/ 22225 h 18"/>
                <a:gd name="T8" fmla="*/ 0 60000 65536"/>
                <a:gd name="T9" fmla="*/ 0 60000 65536"/>
                <a:gd name="T10" fmla="*/ 0 60000 65536"/>
                <a:gd name="T11" fmla="*/ 0 60000 65536"/>
                <a:gd name="T12" fmla="*/ 0 w 6"/>
                <a:gd name="T13" fmla="*/ 0 h 18"/>
                <a:gd name="T14" fmla="*/ 6 w 6"/>
                <a:gd name="T15" fmla="*/ 18 h 18"/>
              </a:gdLst>
              <a:ahLst/>
              <a:cxnLst>
                <a:cxn ang="T8">
                  <a:pos x="T0" y="T1"/>
                </a:cxn>
                <a:cxn ang="T9">
                  <a:pos x="T2" y="T3"/>
                </a:cxn>
                <a:cxn ang="T10">
                  <a:pos x="T4" y="T5"/>
                </a:cxn>
                <a:cxn ang="T11">
                  <a:pos x="T6" y="T7"/>
                </a:cxn>
              </a:cxnLst>
              <a:rect l="T12" t="T13" r="T14" b="T15"/>
              <a:pathLst>
                <a:path w="6" h="18">
                  <a:moveTo>
                    <a:pt x="0" y="18"/>
                  </a:moveTo>
                  <a:lnTo>
                    <a:pt x="6" y="0"/>
                  </a:lnTo>
                  <a:lnTo>
                    <a:pt x="6" y="12"/>
                  </a:lnTo>
                  <a:lnTo>
                    <a:pt x="0" y="18"/>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54" name="Freeform 326"/>
            <p:cNvSpPr>
              <a:spLocks/>
            </p:cNvSpPr>
            <p:nvPr/>
          </p:nvSpPr>
          <p:spPr bwMode="auto">
            <a:xfrm>
              <a:off x="5993665" y="3085791"/>
              <a:ext cx="0" cy="17140"/>
            </a:xfrm>
            <a:custGeom>
              <a:avLst/>
              <a:gdLst>
                <a:gd name="T0" fmla="*/ 17462 h 12"/>
                <a:gd name="T1" fmla="*/ 0 h 12"/>
                <a:gd name="T2" fmla="*/ 17462 h 12"/>
                <a:gd name="T3" fmla="*/ 17462 h 12"/>
                <a:gd name="T4" fmla="*/ 0 60000 65536"/>
                <a:gd name="T5" fmla="*/ 0 60000 65536"/>
                <a:gd name="T6" fmla="*/ 0 60000 65536"/>
                <a:gd name="T7" fmla="*/ 0 60000 65536"/>
                <a:gd name="T8" fmla="*/ 0 h 12"/>
                <a:gd name="T9" fmla="*/ 12 h 12"/>
              </a:gdLst>
              <a:ahLst/>
              <a:cxnLst>
                <a:cxn ang="T4">
                  <a:pos x="0" y="T0"/>
                </a:cxn>
                <a:cxn ang="T5">
                  <a:pos x="0" y="T1"/>
                </a:cxn>
                <a:cxn ang="T6">
                  <a:pos x="0" y="T2"/>
                </a:cxn>
                <a:cxn ang="T7">
                  <a:pos x="0" y="T3"/>
                </a:cxn>
              </a:cxnLst>
              <a:rect l="0" t="T8" r="0" b="T9"/>
              <a:pathLst>
                <a:path h="12">
                  <a:moveTo>
                    <a:pt x="0" y="12"/>
                  </a:moveTo>
                  <a:lnTo>
                    <a:pt x="0" y="0"/>
                  </a:lnTo>
                  <a:lnTo>
                    <a:pt x="0" y="12"/>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55" name="Freeform 327"/>
            <p:cNvSpPr>
              <a:spLocks/>
            </p:cNvSpPr>
            <p:nvPr/>
          </p:nvSpPr>
          <p:spPr bwMode="auto">
            <a:xfrm>
              <a:off x="7360029" y="3131047"/>
              <a:ext cx="24426" cy="17141"/>
            </a:xfrm>
            <a:custGeom>
              <a:avLst/>
              <a:gdLst>
                <a:gd name="T0" fmla="*/ 0 w 18"/>
                <a:gd name="T1" fmla="*/ 0 h 12"/>
                <a:gd name="T2" fmla="*/ 25400 w 18"/>
                <a:gd name="T3" fmla="*/ 17463 h 12"/>
                <a:gd name="T4" fmla="*/ 25400 w 18"/>
                <a:gd name="T5" fmla="*/ 17463 h 12"/>
                <a:gd name="T6" fmla="*/ 8467 w 18"/>
                <a:gd name="T7" fmla="*/ 0 h 12"/>
                <a:gd name="T8" fmla="*/ 0 w 18"/>
                <a:gd name="T9" fmla="*/ 0 h 12"/>
                <a:gd name="T10" fmla="*/ 0 60000 65536"/>
                <a:gd name="T11" fmla="*/ 0 60000 65536"/>
                <a:gd name="T12" fmla="*/ 0 60000 65536"/>
                <a:gd name="T13" fmla="*/ 0 60000 65536"/>
                <a:gd name="T14" fmla="*/ 0 60000 65536"/>
                <a:gd name="T15" fmla="*/ 0 w 18"/>
                <a:gd name="T16" fmla="*/ 0 h 12"/>
                <a:gd name="T17" fmla="*/ 18 w 18"/>
                <a:gd name="T18" fmla="*/ 12 h 12"/>
              </a:gdLst>
              <a:ahLst/>
              <a:cxnLst>
                <a:cxn ang="T10">
                  <a:pos x="T0" y="T1"/>
                </a:cxn>
                <a:cxn ang="T11">
                  <a:pos x="T2" y="T3"/>
                </a:cxn>
                <a:cxn ang="T12">
                  <a:pos x="T4" y="T5"/>
                </a:cxn>
                <a:cxn ang="T13">
                  <a:pos x="T6" y="T7"/>
                </a:cxn>
                <a:cxn ang="T14">
                  <a:pos x="T8" y="T9"/>
                </a:cxn>
              </a:cxnLst>
              <a:rect l="T15" t="T16" r="T17" b="T18"/>
              <a:pathLst>
                <a:path w="18" h="12">
                  <a:moveTo>
                    <a:pt x="0" y="0"/>
                  </a:moveTo>
                  <a:lnTo>
                    <a:pt x="18" y="12"/>
                  </a:lnTo>
                  <a:lnTo>
                    <a:pt x="6" y="0"/>
                  </a:lnTo>
                  <a:lnTo>
                    <a:pt x="0" y="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56" name="Freeform 328"/>
            <p:cNvSpPr>
              <a:spLocks/>
            </p:cNvSpPr>
            <p:nvPr/>
          </p:nvSpPr>
          <p:spPr bwMode="auto">
            <a:xfrm>
              <a:off x="7324911" y="3093651"/>
              <a:ext cx="13739" cy="23373"/>
            </a:xfrm>
            <a:custGeom>
              <a:avLst/>
              <a:gdLst>
                <a:gd name="T0" fmla="*/ 0 w 12"/>
                <a:gd name="T1" fmla="*/ 0 h 18"/>
                <a:gd name="T2" fmla="*/ 14287 w 12"/>
                <a:gd name="T3" fmla="*/ 23813 h 18"/>
                <a:gd name="T4" fmla="*/ 14287 w 12"/>
                <a:gd name="T5" fmla="*/ 15875 h 18"/>
                <a:gd name="T6" fmla="*/ 0 w 12"/>
                <a:gd name="T7" fmla="*/ 0 h 18"/>
                <a:gd name="T8" fmla="*/ 0 60000 65536"/>
                <a:gd name="T9" fmla="*/ 0 60000 65536"/>
                <a:gd name="T10" fmla="*/ 0 60000 65536"/>
                <a:gd name="T11" fmla="*/ 0 60000 65536"/>
                <a:gd name="T12" fmla="*/ 0 w 12"/>
                <a:gd name="T13" fmla="*/ 0 h 18"/>
                <a:gd name="T14" fmla="*/ 12 w 12"/>
                <a:gd name="T15" fmla="*/ 18 h 18"/>
              </a:gdLst>
              <a:ahLst/>
              <a:cxnLst>
                <a:cxn ang="T8">
                  <a:pos x="T0" y="T1"/>
                </a:cxn>
                <a:cxn ang="T9">
                  <a:pos x="T2" y="T3"/>
                </a:cxn>
                <a:cxn ang="T10">
                  <a:pos x="T4" y="T5"/>
                </a:cxn>
                <a:cxn ang="T11">
                  <a:pos x="T6" y="T7"/>
                </a:cxn>
              </a:cxnLst>
              <a:rect l="T12" t="T13" r="T14" b="T15"/>
              <a:pathLst>
                <a:path w="12" h="18">
                  <a:moveTo>
                    <a:pt x="0" y="0"/>
                  </a:moveTo>
                  <a:lnTo>
                    <a:pt x="12" y="18"/>
                  </a:lnTo>
                  <a:lnTo>
                    <a:pt x="12" y="12"/>
                  </a:lnTo>
                  <a:lnTo>
                    <a:pt x="0" y="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57" name="Freeform 334"/>
            <p:cNvSpPr>
              <a:spLocks/>
            </p:cNvSpPr>
            <p:nvPr/>
          </p:nvSpPr>
          <p:spPr bwMode="auto">
            <a:xfrm>
              <a:off x="6657768" y="1706816"/>
              <a:ext cx="256478" cy="574967"/>
            </a:xfrm>
            <a:custGeom>
              <a:avLst/>
              <a:gdLst>
                <a:gd name="T0" fmla="*/ 266700 w 34"/>
                <a:gd name="T1" fmla="*/ 429578 h 75"/>
                <a:gd name="T2" fmla="*/ 251012 w 34"/>
                <a:gd name="T3" fmla="*/ 421767 h 75"/>
                <a:gd name="T4" fmla="*/ 235323 w 34"/>
                <a:gd name="T5" fmla="*/ 406146 h 75"/>
                <a:gd name="T6" fmla="*/ 243168 w 34"/>
                <a:gd name="T7" fmla="*/ 367094 h 75"/>
                <a:gd name="T8" fmla="*/ 235323 w 34"/>
                <a:gd name="T9" fmla="*/ 351473 h 75"/>
                <a:gd name="T10" fmla="*/ 235323 w 34"/>
                <a:gd name="T11" fmla="*/ 335852 h 75"/>
                <a:gd name="T12" fmla="*/ 227479 w 34"/>
                <a:gd name="T13" fmla="*/ 328041 h 75"/>
                <a:gd name="T14" fmla="*/ 227479 w 34"/>
                <a:gd name="T15" fmla="*/ 312420 h 75"/>
                <a:gd name="T16" fmla="*/ 219635 w 34"/>
                <a:gd name="T17" fmla="*/ 296799 h 75"/>
                <a:gd name="T18" fmla="*/ 235323 w 34"/>
                <a:gd name="T19" fmla="*/ 281178 h 75"/>
                <a:gd name="T20" fmla="*/ 211791 w 34"/>
                <a:gd name="T21" fmla="*/ 210884 h 75"/>
                <a:gd name="T22" fmla="*/ 235323 w 34"/>
                <a:gd name="T23" fmla="*/ 164021 h 75"/>
                <a:gd name="T24" fmla="*/ 219635 w 34"/>
                <a:gd name="T25" fmla="*/ 132779 h 75"/>
                <a:gd name="T26" fmla="*/ 196103 w 34"/>
                <a:gd name="T27" fmla="*/ 117158 h 75"/>
                <a:gd name="T28" fmla="*/ 196103 w 34"/>
                <a:gd name="T29" fmla="*/ 109347 h 75"/>
                <a:gd name="T30" fmla="*/ 196103 w 34"/>
                <a:gd name="T31" fmla="*/ 78105 h 75"/>
                <a:gd name="T32" fmla="*/ 196103 w 34"/>
                <a:gd name="T33" fmla="*/ 78105 h 75"/>
                <a:gd name="T34" fmla="*/ 203947 w 34"/>
                <a:gd name="T35" fmla="*/ 70295 h 75"/>
                <a:gd name="T36" fmla="*/ 203947 w 34"/>
                <a:gd name="T37" fmla="*/ 62484 h 75"/>
                <a:gd name="T38" fmla="*/ 211791 w 34"/>
                <a:gd name="T39" fmla="*/ 46863 h 75"/>
                <a:gd name="T40" fmla="*/ 211791 w 34"/>
                <a:gd name="T41" fmla="*/ 23432 h 75"/>
                <a:gd name="T42" fmla="*/ 188259 w 34"/>
                <a:gd name="T43" fmla="*/ 0 h 75"/>
                <a:gd name="T44" fmla="*/ 149038 w 34"/>
                <a:gd name="T45" fmla="*/ 7811 h 75"/>
                <a:gd name="T46" fmla="*/ 133350 w 34"/>
                <a:gd name="T47" fmla="*/ 23432 h 75"/>
                <a:gd name="T48" fmla="*/ 117662 w 34"/>
                <a:gd name="T49" fmla="*/ 62484 h 75"/>
                <a:gd name="T50" fmla="*/ 94129 w 34"/>
                <a:gd name="T51" fmla="*/ 85916 h 75"/>
                <a:gd name="T52" fmla="*/ 86285 w 34"/>
                <a:gd name="T53" fmla="*/ 78105 h 75"/>
                <a:gd name="T54" fmla="*/ 62753 w 34"/>
                <a:gd name="T55" fmla="*/ 85916 h 75"/>
                <a:gd name="T56" fmla="*/ 39221 w 34"/>
                <a:gd name="T57" fmla="*/ 78105 h 75"/>
                <a:gd name="T58" fmla="*/ 23532 w 34"/>
                <a:gd name="T59" fmla="*/ 62484 h 75"/>
                <a:gd name="T60" fmla="*/ 15688 w 34"/>
                <a:gd name="T61" fmla="*/ 46863 h 75"/>
                <a:gd name="T62" fmla="*/ 7844 w 34"/>
                <a:gd name="T63" fmla="*/ 62484 h 75"/>
                <a:gd name="T64" fmla="*/ 0 w 34"/>
                <a:gd name="T65" fmla="*/ 62484 h 75"/>
                <a:gd name="T66" fmla="*/ 7844 w 34"/>
                <a:gd name="T67" fmla="*/ 78105 h 75"/>
                <a:gd name="T68" fmla="*/ 31376 w 34"/>
                <a:gd name="T69" fmla="*/ 101537 h 75"/>
                <a:gd name="T70" fmla="*/ 47065 w 34"/>
                <a:gd name="T71" fmla="*/ 109347 h 75"/>
                <a:gd name="T72" fmla="*/ 54909 w 34"/>
                <a:gd name="T73" fmla="*/ 109347 h 75"/>
                <a:gd name="T74" fmla="*/ 70597 w 34"/>
                <a:gd name="T75" fmla="*/ 148400 h 75"/>
                <a:gd name="T76" fmla="*/ 70597 w 34"/>
                <a:gd name="T77" fmla="*/ 179642 h 75"/>
                <a:gd name="T78" fmla="*/ 70597 w 34"/>
                <a:gd name="T79" fmla="*/ 203073 h 75"/>
                <a:gd name="T80" fmla="*/ 78441 w 34"/>
                <a:gd name="T81" fmla="*/ 226505 h 75"/>
                <a:gd name="T82" fmla="*/ 78441 w 34"/>
                <a:gd name="T83" fmla="*/ 234315 h 75"/>
                <a:gd name="T84" fmla="*/ 78441 w 34"/>
                <a:gd name="T85" fmla="*/ 273368 h 75"/>
                <a:gd name="T86" fmla="*/ 78441 w 34"/>
                <a:gd name="T87" fmla="*/ 281178 h 75"/>
                <a:gd name="T88" fmla="*/ 94129 w 34"/>
                <a:gd name="T89" fmla="*/ 281178 h 75"/>
                <a:gd name="T90" fmla="*/ 109818 w 34"/>
                <a:gd name="T91" fmla="*/ 312420 h 75"/>
                <a:gd name="T92" fmla="*/ 70597 w 34"/>
                <a:gd name="T93" fmla="*/ 382715 h 75"/>
                <a:gd name="T94" fmla="*/ 31376 w 34"/>
                <a:gd name="T95" fmla="*/ 413957 h 75"/>
                <a:gd name="T96" fmla="*/ 7844 w 34"/>
                <a:gd name="T97" fmla="*/ 453009 h 75"/>
                <a:gd name="T98" fmla="*/ 15688 w 34"/>
                <a:gd name="T99" fmla="*/ 515493 h 75"/>
                <a:gd name="T100" fmla="*/ 23532 w 34"/>
                <a:gd name="T101" fmla="*/ 554546 h 75"/>
                <a:gd name="T102" fmla="*/ 39221 w 34"/>
                <a:gd name="T103" fmla="*/ 570167 h 75"/>
                <a:gd name="T104" fmla="*/ 54909 w 34"/>
                <a:gd name="T105" fmla="*/ 585788 h 75"/>
                <a:gd name="T106" fmla="*/ 94129 w 34"/>
                <a:gd name="T107" fmla="*/ 585788 h 75"/>
                <a:gd name="T108" fmla="*/ 156882 w 34"/>
                <a:gd name="T109" fmla="*/ 562356 h 75"/>
                <a:gd name="T110" fmla="*/ 172571 w 34"/>
                <a:gd name="T111" fmla="*/ 562356 h 75"/>
                <a:gd name="T112" fmla="*/ 266700 w 34"/>
                <a:gd name="T113" fmla="*/ 453009 h 75"/>
                <a:gd name="T114" fmla="*/ 266700 w 34"/>
                <a:gd name="T115" fmla="*/ 429578 h 7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4"/>
                <a:gd name="T175" fmla="*/ 0 h 75"/>
                <a:gd name="T176" fmla="*/ 34 w 34"/>
                <a:gd name="T177" fmla="*/ 75 h 7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4" h="75">
                  <a:moveTo>
                    <a:pt x="34" y="55"/>
                  </a:moveTo>
                  <a:cubicBezTo>
                    <a:pt x="32" y="54"/>
                    <a:pt x="32" y="54"/>
                    <a:pt x="32" y="54"/>
                  </a:cubicBezTo>
                  <a:cubicBezTo>
                    <a:pt x="30" y="52"/>
                    <a:pt x="30" y="52"/>
                    <a:pt x="30" y="52"/>
                  </a:cubicBezTo>
                  <a:cubicBezTo>
                    <a:pt x="31" y="47"/>
                    <a:pt x="31" y="47"/>
                    <a:pt x="31" y="47"/>
                  </a:cubicBezTo>
                  <a:cubicBezTo>
                    <a:pt x="31" y="47"/>
                    <a:pt x="30" y="46"/>
                    <a:pt x="30" y="45"/>
                  </a:cubicBezTo>
                  <a:cubicBezTo>
                    <a:pt x="29" y="45"/>
                    <a:pt x="30" y="43"/>
                    <a:pt x="30" y="43"/>
                  </a:cubicBezTo>
                  <a:cubicBezTo>
                    <a:pt x="29" y="42"/>
                    <a:pt x="29" y="42"/>
                    <a:pt x="29" y="42"/>
                  </a:cubicBezTo>
                  <a:cubicBezTo>
                    <a:pt x="29" y="40"/>
                    <a:pt x="29" y="40"/>
                    <a:pt x="29" y="40"/>
                  </a:cubicBezTo>
                  <a:cubicBezTo>
                    <a:pt x="28" y="38"/>
                    <a:pt x="28" y="38"/>
                    <a:pt x="28" y="38"/>
                  </a:cubicBezTo>
                  <a:cubicBezTo>
                    <a:pt x="30" y="36"/>
                    <a:pt x="30" y="36"/>
                    <a:pt x="30" y="36"/>
                  </a:cubicBezTo>
                  <a:cubicBezTo>
                    <a:pt x="27" y="27"/>
                    <a:pt x="27" y="27"/>
                    <a:pt x="27" y="27"/>
                  </a:cubicBezTo>
                  <a:cubicBezTo>
                    <a:pt x="30" y="21"/>
                    <a:pt x="30" y="21"/>
                    <a:pt x="30" y="21"/>
                  </a:cubicBezTo>
                  <a:cubicBezTo>
                    <a:pt x="28" y="17"/>
                    <a:pt x="28" y="17"/>
                    <a:pt x="28" y="17"/>
                  </a:cubicBezTo>
                  <a:cubicBezTo>
                    <a:pt x="25" y="15"/>
                    <a:pt x="25" y="15"/>
                    <a:pt x="25" y="15"/>
                  </a:cubicBezTo>
                  <a:cubicBezTo>
                    <a:pt x="25" y="14"/>
                    <a:pt x="25" y="14"/>
                    <a:pt x="25" y="14"/>
                  </a:cubicBezTo>
                  <a:cubicBezTo>
                    <a:pt x="25" y="10"/>
                    <a:pt x="25" y="10"/>
                    <a:pt x="25" y="10"/>
                  </a:cubicBezTo>
                  <a:cubicBezTo>
                    <a:pt x="25" y="10"/>
                    <a:pt x="25" y="10"/>
                    <a:pt x="25" y="10"/>
                  </a:cubicBezTo>
                  <a:cubicBezTo>
                    <a:pt x="26" y="9"/>
                    <a:pt x="26" y="9"/>
                    <a:pt x="26" y="9"/>
                  </a:cubicBezTo>
                  <a:cubicBezTo>
                    <a:pt x="26" y="8"/>
                    <a:pt x="26" y="8"/>
                    <a:pt x="26" y="8"/>
                  </a:cubicBezTo>
                  <a:cubicBezTo>
                    <a:pt x="27" y="6"/>
                    <a:pt x="27" y="6"/>
                    <a:pt x="27" y="6"/>
                  </a:cubicBezTo>
                  <a:cubicBezTo>
                    <a:pt x="27" y="3"/>
                    <a:pt x="27" y="3"/>
                    <a:pt x="27" y="3"/>
                  </a:cubicBezTo>
                  <a:cubicBezTo>
                    <a:pt x="24" y="0"/>
                    <a:pt x="24" y="0"/>
                    <a:pt x="24" y="0"/>
                  </a:cubicBezTo>
                  <a:cubicBezTo>
                    <a:pt x="19" y="1"/>
                    <a:pt x="19" y="1"/>
                    <a:pt x="19" y="1"/>
                  </a:cubicBezTo>
                  <a:cubicBezTo>
                    <a:pt x="17" y="3"/>
                    <a:pt x="17" y="3"/>
                    <a:pt x="17" y="3"/>
                  </a:cubicBezTo>
                  <a:cubicBezTo>
                    <a:pt x="15" y="8"/>
                    <a:pt x="15" y="8"/>
                    <a:pt x="15" y="8"/>
                  </a:cubicBezTo>
                  <a:cubicBezTo>
                    <a:pt x="12" y="11"/>
                    <a:pt x="12" y="11"/>
                    <a:pt x="12" y="11"/>
                  </a:cubicBezTo>
                  <a:cubicBezTo>
                    <a:pt x="11" y="10"/>
                    <a:pt x="11" y="10"/>
                    <a:pt x="11" y="10"/>
                  </a:cubicBezTo>
                  <a:cubicBezTo>
                    <a:pt x="8" y="11"/>
                    <a:pt x="8" y="11"/>
                    <a:pt x="8" y="11"/>
                  </a:cubicBezTo>
                  <a:cubicBezTo>
                    <a:pt x="5" y="10"/>
                    <a:pt x="5" y="10"/>
                    <a:pt x="5" y="10"/>
                  </a:cubicBezTo>
                  <a:cubicBezTo>
                    <a:pt x="3" y="8"/>
                    <a:pt x="3" y="8"/>
                    <a:pt x="3" y="8"/>
                  </a:cubicBezTo>
                  <a:cubicBezTo>
                    <a:pt x="2" y="6"/>
                    <a:pt x="2" y="6"/>
                    <a:pt x="2" y="6"/>
                  </a:cubicBezTo>
                  <a:cubicBezTo>
                    <a:pt x="1" y="8"/>
                    <a:pt x="1" y="8"/>
                    <a:pt x="1" y="8"/>
                  </a:cubicBezTo>
                  <a:cubicBezTo>
                    <a:pt x="0" y="8"/>
                    <a:pt x="0" y="8"/>
                    <a:pt x="0" y="8"/>
                  </a:cubicBezTo>
                  <a:cubicBezTo>
                    <a:pt x="1" y="10"/>
                    <a:pt x="1" y="10"/>
                    <a:pt x="1" y="10"/>
                  </a:cubicBezTo>
                  <a:cubicBezTo>
                    <a:pt x="4" y="13"/>
                    <a:pt x="4" y="13"/>
                    <a:pt x="4" y="13"/>
                  </a:cubicBezTo>
                  <a:cubicBezTo>
                    <a:pt x="6" y="14"/>
                    <a:pt x="6" y="14"/>
                    <a:pt x="6" y="14"/>
                  </a:cubicBezTo>
                  <a:cubicBezTo>
                    <a:pt x="7" y="14"/>
                    <a:pt x="7" y="14"/>
                    <a:pt x="7" y="14"/>
                  </a:cubicBezTo>
                  <a:cubicBezTo>
                    <a:pt x="9" y="19"/>
                    <a:pt x="9" y="19"/>
                    <a:pt x="9" y="19"/>
                  </a:cubicBezTo>
                  <a:cubicBezTo>
                    <a:pt x="9" y="23"/>
                    <a:pt x="9" y="23"/>
                    <a:pt x="9" y="23"/>
                  </a:cubicBezTo>
                  <a:cubicBezTo>
                    <a:pt x="9" y="26"/>
                    <a:pt x="9" y="26"/>
                    <a:pt x="9" y="26"/>
                  </a:cubicBezTo>
                  <a:cubicBezTo>
                    <a:pt x="10" y="29"/>
                    <a:pt x="10" y="29"/>
                    <a:pt x="10" y="29"/>
                  </a:cubicBezTo>
                  <a:cubicBezTo>
                    <a:pt x="10" y="30"/>
                    <a:pt x="10" y="30"/>
                    <a:pt x="10" y="30"/>
                  </a:cubicBezTo>
                  <a:cubicBezTo>
                    <a:pt x="10" y="35"/>
                    <a:pt x="10" y="35"/>
                    <a:pt x="10" y="35"/>
                  </a:cubicBezTo>
                  <a:cubicBezTo>
                    <a:pt x="10" y="36"/>
                    <a:pt x="10" y="36"/>
                    <a:pt x="10" y="36"/>
                  </a:cubicBezTo>
                  <a:cubicBezTo>
                    <a:pt x="12" y="36"/>
                    <a:pt x="12" y="36"/>
                    <a:pt x="12" y="36"/>
                  </a:cubicBezTo>
                  <a:cubicBezTo>
                    <a:pt x="14" y="40"/>
                    <a:pt x="14" y="40"/>
                    <a:pt x="14" y="40"/>
                  </a:cubicBezTo>
                  <a:cubicBezTo>
                    <a:pt x="9" y="49"/>
                    <a:pt x="9" y="49"/>
                    <a:pt x="9" y="49"/>
                  </a:cubicBezTo>
                  <a:cubicBezTo>
                    <a:pt x="4" y="53"/>
                    <a:pt x="4" y="53"/>
                    <a:pt x="4" y="53"/>
                  </a:cubicBezTo>
                  <a:cubicBezTo>
                    <a:pt x="1" y="58"/>
                    <a:pt x="1" y="58"/>
                    <a:pt x="1" y="58"/>
                  </a:cubicBezTo>
                  <a:cubicBezTo>
                    <a:pt x="2" y="66"/>
                    <a:pt x="2" y="66"/>
                    <a:pt x="2" y="66"/>
                  </a:cubicBezTo>
                  <a:cubicBezTo>
                    <a:pt x="3" y="71"/>
                    <a:pt x="3" y="71"/>
                    <a:pt x="3" y="71"/>
                  </a:cubicBezTo>
                  <a:cubicBezTo>
                    <a:pt x="5" y="73"/>
                    <a:pt x="5" y="73"/>
                    <a:pt x="5" y="73"/>
                  </a:cubicBezTo>
                  <a:cubicBezTo>
                    <a:pt x="7" y="75"/>
                    <a:pt x="7" y="75"/>
                    <a:pt x="7" y="75"/>
                  </a:cubicBezTo>
                  <a:cubicBezTo>
                    <a:pt x="12" y="75"/>
                    <a:pt x="12" y="75"/>
                    <a:pt x="12" y="75"/>
                  </a:cubicBezTo>
                  <a:cubicBezTo>
                    <a:pt x="20" y="72"/>
                    <a:pt x="20" y="72"/>
                    <a:pt x="20" y="72"/>
                  </a:cubicBezTo>
                  <a:cubicBezTo>
                    <a:pt x="22" y="72"/>
                    <a:pt x="22" y="72"/>
                    <a:pt x="22" y="72"/>
                  </a:cubicBezTo>
                  <a:cubicBezTo>
                    <a:pt x="34" y="58"/>
                    <a:pt x="34" y="58"/>
                    <a:pt x="34" y="58"/>
                  </a:cubicBezTo>
                  <a:lnTo>
                    <a:pt x="34" y="55"/>
                  </a:lnTo>
                  <a:close/>
                </a:path>
              </a:pathLst>
            </a:custGeom>
            <a:solidFill>
              <a:srgbClr val="598E27"/>
            </a:solidFill>
            <a:ln w="9525">
              <a:solidFill>
                <a:sysClr val="window" lastClr="FFFFFF">
                  <a:lumMod val="85000"/>
                </a:sys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58" name="Freeform 335"/>
            <p:cNvSpPr>
              <a:spLocks/>
            </p:cNvSpPr>
            <p:nvPr/>
          </p:nvSpPr>
          <p:spPr bwMode="auto">
            <a:xfrm>
              <a:off x="6921884" y="2618389"/>
              <a:ext cx="15267" cy="7791"/>
            </a:xfrm>
            <a:custGeom>
              <a:avLst/>
              <a:gdLst>
                <a:gd name="T0" fmla="*/ 15875 w 12"/>
                <a:gd name="T1" fmla="*/ 7937 h 6"/>
                <a:gd name="T2" fmla="*/ 0 w 12"/>
                <a:gd name="T3" fmla="*/ 0 h 6"/>
                <a:gd name="T4" fmla="*/ 0 w 12"/>
                <a:gd name="T5" fmla="*/ 7937 h 6"/>
                <a:gd name="T6" fmla="*/ 15875 w 12"/>
                <a:gd name="T7" fmla="*/ 7937 h 6"/>
                <a:gd name="T8" fmla="*/ 0 60000 65536"/>
                <a:gd name="T9" fmla="*/ 0 60000 65536"/>
                <a:gd name="T10" fmla="*/ 0 60000 65536"/>
                <a:gd name="T11" fmla="*/ 0 60000 65536"/>
                <a:gd name="T12" fmla="*/ 0 w 12"/>
                <a:gd name="T13" fmla="*/ 0 h 6"/>
                <a:gd name="T14" fmla="*/ 12 w 12"/>
                <a:gd name="T15" fmla="*/ 6 h 6"/>
              </a:gdLst>
              <a:ahLst/>
              <a:cxnLst>
                <a:cxn ang="T8">
                  <a:pos x="T0" y="T1"/>
                </a:cxn>
                <a:cxn ang="T9">
                  <a:pos x="T2" y="T3"/>
                </a:cxn>
                <a:cxn ang="T10">
                  <a:pos x="T4" y="T5"/>
                </a:cxn>
                <a:cxn ang="T11">
                  <a:pos x="T6" y="T7"/>
                </a:cxn>
              </a:cxnLst>
              <a:rect l="T12" t="T13" r="T14" b="T15"/>
              <a:pathLst>
                <a:path w="12" h="6">
                  <a:moveTo>
                    <a:pt x="12" y="6"/>
                  </a:moveTo>
                  <a:lnTo>
                    <a:pt x="0" y="0"/>
                  </a:lnTo>
                  <a:lnTo>
                    <a:pt x="0" y="6"/>
                  </a:lnTo>
                  <a:lnTo>
                    <a:pt x="12" y="6"/>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59" name="Freeform 336"/>
            <p:cNvSpPr>
              <a:spLocks/>
            </p:cNvSpPr>
            <p:nvPr/>
          </p:nvSpPr>
          <p:spPr bwMode="auto">
            <a:xfrm>
              <a:off x="6824166" y="1061720"/>
              <a:ext cx="3647178" cy="1992904"/>
            </a:xfrm>
            <a:custGeom>
              <a:avLst/>
              <a:gdLst>
                <a:gd name="T0" fmla="*/ 3690460 w 483"/>
                <a:gd name="T1" fmla="*/ 695026 h 260"/>
                <a:gd name="T2" fmla="*/ 3541272 w 483"/>
                <a:gd name="T3" fmla="*/ 757500 h 260"/>
                <a:gd name="T4" fmla="*/ 3384231 w 483"/>
                <a:gd name="T5" fmla="*/ 695026 h 260"/>
                <a:gd name="T6" fmla="*/ 3164374 w 483"/>
                <a:gd name="T7" fmla="*/ 601315 h 260"/>
                <a:gd name="T8" fmla="*/ 2842440 w 483"/>
                <a:gd name="T9" fmla="*/ 460747 h 260"/>
                <a:gd name="T10" fmla="*/ 2685399 w 483"/>
                <a:gd name="T11" fmla="*/ 546650 h 260"/>
                <a:gd name="T12" fmla="*/ 2536210 w 483"/>
                <a:gd name="T13" fmla="*/ 570077 h 260"/>
                <a:gd name="T14" fmla="*/ 2449838 w 483"/>
                <a:gd name="T15" fmla="*/ 398273 h 260"/>
                <a:gd name="T16" fmla="*/ 2253537 w 483"/>
                <a:gd name="T17" fmla="*/ 413892 h 260"/>
                <a:gd name="T18" fmla="*/ 2072940 w 483"/>
                <a:gd name="T19" fmla="*/ 343608 h 260"/>
                <a:gd name="T20" fmla="*/ 2057236 w 483"/>
                <a:gd name="T21" fmla="*/ 304562 h 260"/>
                <a:gd name="T22" fmla="*/ 1994419 w 483"/>
                <a:gd name="T23" fmla="*/ 62474 h 260"/>
                <a:gd name="T24" fmla="*/ 1696041 w 483"/>
                <a:gd name="T25" fmla="*/ 148376 h 260"/>
                <a:gd name="T26" fmla="*/ 1326995 w 483"/>
                <a:gd name="T27" fmla="*/ 421701 h 260"/>
                <a:gd name="T28" fmla="*/ 1193511 w 483"/>
                <a:gd name="T29" fmla="*/ 460747 h 260"/>
                <a:gd name="T30" fmla="*/ 1122842 w 483"/>
                <a:gd name="T31" fmla="*/ 593505 h 260"/>
                <a:gd name="T32" fmla="*/ 1005062 w 483"/>
                <a:gd name="T33" fmla="*/ 546650 h 260"/>
                <a:gd name="T34" fmla="*/ 1036470 w 483"/>
                <a:gd name="T35" fmla="*/ 734072 h 260"/>
                <a:gd name="T36" fmla="*/ 816613 w 483"/>
                <a:gd name="T37" fmla="*/ 741882 h 260"/>
                <a:gd name="T38" fmla="*/ 651720 w 483"/>
                <a:gd name="T39" fmla="*/ 757500 h 260"/>
                <a:gd name="T40" fmla="*/ 463271 w 483"/>
                <a:gd name="T41" fmla="*/ 874639 h 260"/>
                <a:gd name="T42" fmla="*/ 416158 w 483"/>
                <a:gd name="T43" fmla="*/ 773119 h 260"/>
                <a:gd name="T44" fmla="*/ 384750 w 483"/>
                <a:gd name="T45" fmla="*/ 905876 h 260"/>
                <a:gd name="T46" fmla="*/ 306230 w 483"/>
                <a:gd name="T47" fmla="*/ 1007397 h 260"/>
                <a:gd name="T48" fmla="*/ 243413 w 483"/>
                <a:gd name="T49" fmla="*/ 1062062 h 260"/>
                <a:gd name="T50" fmla="*/ 180597 w 483"/>
                <a:gd name="T51" fmla="*/ 921495 h 260"/>
                <a:gd name="T52" fmla="*/ 172745 w 483"/>
                <a:gd name="T53" fmla="*/ 882449 h 260"/>
                <a:gd name="T54" fmla="*/ 282674 w 483"/>
                <a:gd name="T55" fmla="*/ 788737 h 260"/>
                <a:gd name="T56" fmla="*/ 102077 w 483"/>
                <a:gd name="T57" fmla="*/ 679407 h 260"/>
                <a:gd name="T58" fmla="*/ 31408 w 483"/>
                <a:gd name="T59" fmla="*/ 734072 h 260"/>
                <a:gd name="T60" fmla="*/ 62816 w 483"/>
                <a:gd name="T61" fmla="*/ 835593 h 260"/>
                <a:gd name="T62" fmla="*/ 62816 w 483"/>
                <a:gd name="T63" fmla="*/ 1007397 h 260"/>
                <a:gd name="T64" fmla="*/ 86372 w 483"/>
                <a:gd name="T65" fmla="*/ 1116727 h 260"/>
                <a:gd name="T66" fmla="*/ 15704 w 483"/>
                <a:gd name="T67" fmla="*/ 1280722 h 260"/>
                <a:gd name="T68" fmla="*/ 70668 w 483"/>
                <a:gd name="T69" fmla="*/ 1452526 h 260"/>
                <a:gd name="T70" fmla="*/ 117781 w 483"/>
                <a:gd name="T71" fmla="*/ 1600902 h 260"/>
                <a:gd name="T72" fmla="*/ 266970 w 483"/>
                <a:gd name="T73" fmla="*/ 1710232 h 260"/>
                <a:gd name="T74" fmla="*/ 204153 w 483"/>
                <a:gd name="T75" fmla="*/ 1811753 h 260"/>
                <a:gd name="T76" fmla="*/ 353342 w 483"/>
                <a:gd name="T77" fmla="*/ 1936701 h 260"/>
                <a:gd name="T78" fmla="*/ 463271 w 483"/>
                <a:gd name="T79" fmla="*/ 1999176 h 260"/>
                <a:gd name="T80" fmla="*/ 494679 w 483"/>
                <a:gd name="T81" fmla="*/ 1905464 h 260"/>
                <a:gd name="T82" fmla="*/ 494679 w 483"/>
                <a:gd name="T83" fmla="*/ 1749279 h 260"/>
                <a:gd name="T84" fmla="*/ 643868 w 483"/>
                <a:gd name="T85" fmla="*/ 1632139 h 260"/>
                <a:gd name="T86" fmla="*/ 855873 w 483"/>
                <a:gd name="T87" fmla="*/ 1530619 h 260"/>
                <a:gd name="T88" fmla="*/ 1256327 w 483"/>
                <a:gd name="T89" fmla="*/ 1585284 h 260"/>
                <a:gd name="T90" fmla="*/ 1499740 w 483"/>
                <a:gd name="T91" fmla="*/ 1733660 h 260"/>
                <a:gd name="T92" fmla="*/ 1758858 w 483"/>
                <a:gd name="T93" fmla="*/ 1647758 h 260"/>
                <a:gd name="T94" fmla="*/ 2159312 w 483"/>
                <a:gd name="T95" fmla="*/ 1686804 h 260"/>
                <a:gd name="T96" fmla="*/ 2410578 w 483"/>
                <a:gd name="T97" fmla="*/ 1561856 h 260"/>
                <a:gd name="T98" fmla="*/ 2583323 w 483"/>
                <a:gd name="T99" fmla="*/ 1866418 h 260"/>
                <a:gd name="T100" fmla="*/ 2630435 w 483"/>
                <a:gd name="T101" fmla="*/ 1952320 h 260"/>
                <a:gd name="T102" fmla="*/ 2826736 w 483"/>
                <a:gd name="T103" fmla="*/ 1585284 h 260"/>
                <a:gd name="T104" fmla="*/ 2677547 w 483"/>
                <a:gd name="T105" fmla="*/ 1499382 h 260"/>
                <a:gd name="T106" fmla="*/ 2913108 w 483"/>
                <a:gd name="T107" fmla="*/ 1280722 h 260"/>
                <a:gd name="T108" fmla="*/ 3164374 w 483"/>
                <a:gd name="T109" fmla="*/ 1296340 h 260"/>
                <a:gd name="T110" fmla="*/ 3305710 w 483"/>
                <a:gd name="T111" fmla="*/ 1210438 h 260"/>
                <a:gd name="T112" fmla="*/ 3290006 w 483"/>
                <a:gd name="T113" fmla="*/ 1296340 h 260"/>
                <a:gd name="T114" fmla="*/ 3266450 w 483"/>
                <a:gd name="T115" fmla="*/ 1577474 h 260"/>
                <a:gd name="T116" fmla="*/ 3352823 w 483"/>
                <a:gd name="T117" fmla="*/ 1436907 h 260"/>
                <a:gd name="T118" fmla="*/ 3415639 w 483"/>
                <a:gd name="T119" fmla="*/ 1257294 h 260"/>
                <a:gd name="T120" fmla="*/ 3588384 w 483"/>
                <a:gd name="T121" fmla="*/ 1218248 h 260"/>
                <a:gd name="T122" fmla="*/ 3761129 w 483"/>
                <a:gd name="T123" fmla="*/ 1093299 h 2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83"/>
                <a:gd name="T187" fmla="*/ 0 h 260"/>
                <a:gd name="T188" fmla="*/ 483 w 483"/>
                <a:gd name="T189" fmla="*/ 260 h 2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83" h="260">
                  <a:moveTo>
                    <a:pt x="482" y="127"/>
                  </a:moveTo>
                  <a:cubicBezTo>
                    <a:pt x="483" y="96"/>
                    <a:pt x="483" y="96"/>
                    <a:pt x="483" y="96"/>
                  </a:cubicBezTo>
                  <a:cubicBezTo>
                    <a:pt x="480" y="95"/>
                    <a:pt x="480" y="95"/>
                    <a:pt x="480" y="95"/>
                  </a:cubicBezTo>
                  <a:cubicBezTo>
                    <a:pt x="478" y="94"/>
                    <a:pt x="478" y="94"/>
                    <a:pt x="478" y="94"/>
                  </a:cubicBezTo>
                  <a:cubicBezTo>
                    <a:pt x="478" y="94"/>
                    <a:pt x="474" y="90"/>
                    <a:pt x="474" y="90"/>
                  </a:cubicBezTo>
                  <a:cubicBezTo>
                    <a:pt x="473" y="89"/>
                    <a:pt x="470" y="89"/>
                    <a:pt x="470" y="89"/>
                  </a:cubicBezTo>
                  <a:cubicBezTo>
                    <a:pt x="463" y="88"/>
                    <a:pt x="463" y="88"/>
                    <a:pt x="463" y="88"/>
                  </a:cubicBezTo>
                  <a:cubicBezTo>
                    <a:pt x="459" y="87"/>
                    <a:pt x="459" y="87"/>
                    <a:pt x="459" y="87"/>
                  </a:cubicBezTo>
                  <a:cubicBezTo>
                    <a:pt x="456" y="87"/>
                    <a:pt x="456" y="87"/>
                    <a:pt x="456" y="87"/>
                  </a:cubicBezTo>
                  <a:cubicBezTo>
                    <a:pt x="454" y="87"/>
                    <a:pt x="454" y="87"/>
                    <a:pt x="454" y="87"/>
                  </a:cubicBezTo>
                  <a:cubicBezTo>
                    <a:pt x="455" y="95"/>
                    <a:pt x="455" y="95"/>
                    <a:pt x="455" y="95"/>
                  </a:cubicBezTo>
                  <a:cubicBezTo>
                    <a:pt x="455" y="95"/>
                    <a:pt x="451" y="97"/>
                    <a:pt x="451" y="97"/>
                  </a:cubicBezTo>
                  <a:cubicBezTo>
                    <a:pt x="450" y="97"/>
                    <a:pt x="448" y="94"/>
                    <a:pt x="448" y="94"/>
                  </a:cubicBezTo>
                  <a:cubicBezTo>
                    <a:pt x="445" y="91"/>
                    <a:pt x="445" y="91"/>
                    <a:pt x="445" y="91"/>
                  </a:cubicBezTo>
                  <a:cubicBezTo>
                    <a:pt x="445" y="89"/>
                    <a:pt x="445" y="89"/>
                    <a:pt x="445" y="89"/>
                  </a:cubicBezTo>
                  <a:cubicBezTo>
                    <a:pt x="440" y="89"/>
                    <a:pt x="440" y="89"/>
                    <a:pt x="440" y="89"/>
                  </a:cubicBezTo>
                  <a:cubicBezTo>
                    <a:pt x="437" y="90"/>
                    <a:pt x="437" y="90"/>
                    <a:pt x="437" y="90"/>
                  </a:cubicBezTo>
                  <a:cubicBezTo>
                    <a:pt x="431" y="89"/>
                    <a:pt x="431" y="89"/>
                    <a:pt x="431" y="89"/>
                  </a:cubicBezTo>
                  <a:cubicBezTo>
                    <a:pt x="426" y="89"/>
                    <a:pt x="426" y="89"/>
                    <a:pt x="426" y="89"/>
                  </a:cubicBezTo>
                  <a:cubicBezTo>
                    <a:pt x="423" y="90"/>
                    <a:pt x="423" y="90"/>
                    <a:pt x="423" y="90"/>
                  </a:cubicBezTo>
                  <a:cubicBezTo>
                    <a:pt x="419" y="87"/>
                    <a:pt x="419" y="87"/>
                    <a:pt x="419" y="87"/>
                  </a:cubicBezTo>
                  <a:cubicBezTo>
                    <a:pt x="419" y="80"/>
                    <a:pt x="419" y="80"/>
                    <a:pt x="419" y="80"/>
                  </a:cubicBezTo>
                  <a:cubicBezTo>
                    <a:pt x="413" y="77"/>
                    <a:pt x="413" y="77"/>
                    <a:pt x="413" y="77"/>
                  </a:cubicBezTo>
                  <a:cubicBezTo>
                    <a:pt x="403" y="77"/>
                    <a:pt x="403" y="77"/>
                    <a:pt x="403" y="77"/>
                  </a:cubicBezTo>
                  <a:cubicBezTo>
                    <a:pt x="394" y="77"/>
                    <a:pt x="394" y="77"/>
                    <a:pt x="394" y="77"/>
                  </a:cubicBezTo>
                  <a:cubicBezTo>
                    <a:pt x="393" y="75"/>
                    <a:pt x="393" y="75"/>
                    <a:pt x="393" y="75"/>
                  </a:cubicBezTo>
                  <a:cubicBezTo>
                    <a:pt x="392" y="72"/>
                    <a:pt x="392" y="72"/>
                    <a:pt x="392" y="72"/>
                  </a:cubicBezTo>
                  <a:cubicBezTo>
                    <a:pt x="386" y="69"/>
                    <a:pt x="386" y="69"/>
                    <a:pt x="386" y="69"/>
                  </a:cubicBezTo>
                  <a:cubicBezTo>
                    <a:pt x="386" y="64"/>
                    <a:pt x="386" y="64"/>
                    <a:pt x="386" y="64"/>
                  </a:cubicBezTo>
                  <a:cubicBezTo>
                    <a:pt x="362" y="59"/>
                    <a:pt x="362" y="59"/>
                    <a:pt x="362" y="59"/>
                  </a:cubicBezTo>
                  <a:cubicBezTo>
                    <a:pt x="361" y="61"/>
                    <a:pt x="361" y="61"/>
                    <a:pt x="361" y="61"/>
                  </a:cubicBezTo>
                  <a:cubicBezTo>
                    <a:pt x="356" y="65"/>
                    <a:pt x="356" y="65"/>
                    <a:pt x="356" y="65"/>
                  </a:cubicBezTo>
                  <a:cubicBezTo>
                    <a:pt x="357" y="71"/>
                    <a:pt x="357" y="71"/>
                    <a:pt x="357" y="71"/>
                  </a:cubicBezTo>
                  <a:cubicBezTo>
                    <a:pt x="351" y="73"/>
                    <a:pt x="351" y="73"/>
                    <a:pt x="351" y="73"/>
                  </a:cubicBezTo>
                  <a:cubicBezTo>
                    <a:pt x="347" y="72"/>
                    <a:pt x="347" y="72"/>
                    <a:pt x="347" y="72"/>
                  </a:cubicBezTo>
                  <a:cubicBezTo>
                    <a:pt x="342" y="70"/>
                    <a:pt x="342" y="70"/>
                    <a:pt x="342" y="70"/>
                  </a:cubicBezTo>
                  <a:cubicBezTo>
                    <a:pt x="340" y="72"/>
                    <a:pt x="340" y="72"/>
                    <a:pt x="340" y="72"/>
                  </a:cubicBezTo>
                  <a:cubicBezTo>
                    <a:pt x="336" y="71"/>
                    <a:pt x="336" y="71"/>
                    <a:pt x="336" y="71"/>
                  </a:cubicBezTo>
                  <a:cubicBezTo>
                    <a:pt x="332" y="68"/>
                    <a:pt x="332" y="68"/>
                    <a:pt x="332" y="68"/>
                  </a:cubicBezTo>
                  <a:cubicBezTo>
                    <a:pt x="331" y="74"/>
                    <a:pt x="331" y="74"/>
                    <a:pt x="331" y="74"/>
                  </a:cubicBezTo>
                  <a:cubicBezTo>
                    <a:pt x="328" y="78"/>
                    <a:pt x="328" y="78"/>
                    <a:pt x="328" y="78"/>
                  </a:cubicBezTo>
                  <a:cubicBezTo>
                    <a:pt x="323" y="73"/>
                    <a:pt x="323" y="73"/>
                    <a:pt x="323" y="73"/>
                  </a:cubicBezTo>
                  <a:cubicBezTo>
                    <a:pt x="320" y="67"/>
                    <a:pt x="320" y="67"/>
                    <a:pt x="320" y="67"/>
                  </a:cubicBezTo>
                  <a:cubicBezTo>
                    <a:pt x="323" y="60"/>
                    <a:pt x="323" y="60"/>
                    <a:pt x="323" y="60"/>
                  </a:cubicBezTo>
                  <a:cubicBezTo>
                    <a:pt x="323" y="57"/>
                    <a:pt x="323" y="57"/>
                    <a:pt x="323" y="57"/>
                  </a:cubicBezTo>
                  <a:cubicBezTo>
                    <a:pt x="320" y="52"/>
                    <a:pt x="320" y="52"/>
                    <a:pt x="320" y="52"/>
                  </a:cubicBezTo>
                  <a:cubicBezTo>
                    <a:pt x="316" y="51"/>
                    <a:pt x="316" y="51"/>
                    <a:pt x="316" y="51"/>
                  </a:cubicBezTo>
                  <a:cubicBezTo>
                    <a:pt x="312" y="51"/>
                    <a:pt x="312" y="51"/>
                    <a:pt x="312" y="51"/>
                  </a:cubicBezTo>
                  <a:cubicBezTo>
                    <a:pt x="310" y="49"/>
                    <a:pt x="310" y="49"/>
                    <a:pt x="310" y="49"/>
                  </a:cubicBezTo>
                  <a:cubicBezTo>
                    <a:pt x="306" y="46"/>
                    <a:pt x="306" y="46"/>
                    <a:pt x="306" y="46"/>
                  </a:cubicBezTo>
                  <a:cubicBezTo>
                    <a:pt x="303" y="50"/>
                    <a:pt x="303" y="50"/>
                    <a:pt x="303" y="50"/>
                  </a:cubicBezTo>
                  <a:cubicBezTo>
                    <a:pt x="301" y="55"/>
                    <a:pt x="301" y="55"/>
                    <a:pt x="301" y="55"/>
                  </a:cubicBezTo>
                  <a:cubicBezTo>
                    <a:pt x="292" y="55"/>
                    <a:pt x="292" y="55"/>
                    <a:pt x="292" y="55"/>
                  </a:cubicBezTo>
                  <a:cubicBezTo>
                    <a:pt x="287" y="53"/>
                    <a:pt x="287" y="53"/>
                    <a:pt x="287" y="53"/>
                  </a:cubicBezTo>
                  <a:cubicBezTo>
                    <a:pt x="286" y="49"/>
                    <a:pt x="286" y="49"/>
                    <a:pt x="286" y="49"/>
                  </a:cubicBezTo>
                  <a:cubicBezTo>
                    <a:pt x="277" y="49"/>
                    <a:pt x="277" y="49"/>
                    <a:pt x="277" y="49"/>
                  </a:cubicBezTo>
                  <a:cubicBezTo>
                    <a:pt x="272" y="52"/>
                    <a:pt x="272" y="52"/>
                    <a:pt x="272" y="52"/>
                  </a:cubicBezTo>
                  <a:cubicBezTo>
                    <a:pt x="271" y="49"/>
                    <a:pt x="271" y="49"/>
                    <a:pt x="271" y="49"/>
                  </a:cubicBezTo>
                  <a:cubicBezTo>
                    <a:pt x="268" y="45"/>
                    <a:pt x="268" y="45"/>
                    <a:pt x="268" y="45"/>
                  </a:cubicBezTo>
                  <a:cubicBezTo>
                    <a:pt x="264" y="44"/>
                    <a:pt x="264" y="44"/>
                    <a:pt x="264" y="44"/>
                  </a:cubicBezTo>
                  <a:cubicBezTo>
                    <a:pt x="259" y="49"/>
                    <a:pt x="259" y="49"/>
                    <a:pt x="259" y="49"/>
                  </a:cubicBezTo>
                  <a:cubicBezTo>
                    <a:pt x="253" y="52"/>
                    <a:pt x="253" y="52"/>
                    <a:pt x="253" y="52"/>
                  </a:cubicBezTo>
                  <a:cubicBezTo>
                    <a:pt x="247" y="57"/>
                    <a:pt x="247" y="57"/>
                    <a:pt x="247" y="57"/>
                  </a:cubicBezTo>
                  <a:cubicBezTo>
                    <a:pt x="251" y="51"/>
                    <a:pt x="251" y="51"/>
                    <a:pt x="251" y="51"/>
                  </a:cubicBezTo>
                  <a:cubicBezTo>
                    <a:pt x="255" y="48"/>
                    <a:pt x="255" y="48"/>
                    <a:pt x="255" y="48"/>
                  </a:cubicBezTo>
                  <a:cubicBezTo>
                    <a:pt x="262" y="39"/>
                    <a:pt x="262" y="39"/>
                    <a:pt x="262" y="39"/>
                  </a:cubicBezTo>
                  <a:cubicBezTo>
                    <a:pt x="266" y="35"/>
                    <a:pt x="266" y="35"/>
                    <a:pt x="266" y="35"/>
                  </a:cubicBezTo>
                  <a:cubicBezTo>
                    <a:pt x="270" y="29"/>
                    <a:pt x="270" y="29"/>
                    <a:pt x="270" y="29"/>
                  </a:cubicBezTo>
                  <a:cubicBezTo>
                    <a:pt x="268" y="19"/>
                    <a:pt x="268" y="19"/>
                    <a:pt x="268" y="19"/>
                  </a:cubicBezTo>
                  <a:cubicBezTo>
                    <a:pt x="260" y="12"/>
                    <a:pt x="260" y="12"/>
                    <a:pt x="260" y="12"/>
                  </a:cubicBezTo>
                  <a:cubicBezTo>
                    <a:pt x="254" y="11"/>
                    <a:pt x="254" y="11"/>
                    <a:pt x="254" y="11"/>
                  </a:cubicBezTo>
                  <a:cubicBezTo>
                    <a:pt x="254" y="8"/>
                    <a:pt x="254" y="8"/>
                    <a:pt x="254" y="8"/>
                  </a:cubicBezTo>
                  <a:cubicBezTo>
                    <a:pt x="249" y="1"/>
                    <a:pt x="249" y="1"/>
                    <a:pt x="249" y="1"/>
                  </a:cubicBezTo>
                  <a:cubicBezTo>
                    <a:pt x="249" y="1"/>
                    <a:pt x="242" y="0"/>
                    <a:pt x="241" y="0"/>
                  </a:cubicBezTo>
                  <a:cubicBezTo>
                    <a:pt x="241" y="1"/>
                    <a:pt x="233" y="9"/>
                    <a:pt x="233" y="9"/>
                  </a:cubicBezTo>
                  <a:cubicBezTo>
                    <a:pt x="231" y="16"/>
                    <a:pt x="231" y="16"/>
                    <a:pt x="231" y="16"/>
                  </a:cubicBezTo>
                  <a:cubicBezTo>
                    <a:pt x="222" y="22"/>
                    <a:pt x="222" y="22"/>
                    <a:pt x="222" y="22"/>
                  </a:cubicBezTo>
                  <a:cubicBezTo>
                    <a:pt x="216" y="19"/>
                    <a:pt x="216" y="19"/>
                    <a:pt x="216" y="19"/>
                  </a:cubicBezTo>
                  <a:cubicBezTo>
                    <a:pt x="206" y="23"/>
                    <a:pt x="206" y="23"/>
                    <a:pt x="206" y="23"/>
                  </a:cubicBezTo>
                  <a:cubicBezTo>
                    <a:pt x="195" y="29"/>
                    <a:pt x="195" y="29"/>
                    <a:pt x="195" y="29"/>
                  </a:cubicBezTo>
                  <a:cubicBezTo>
                    <a:pt x="190" y="35"/>
                    <a:pt x="190" y="35"/>
                    <a:pt x="190" y="35"/>
                  </a:cubicBezTo>
                  <a:cubicBezTo>
                    <a:pt x="190" y="35"/>
                    <a:pt x="189" y="46"/>
                    <a:pt x="188" y="46"/>
                  </a:cubicBezTo>
                  <a:cubicBezTo>
                    <a:pt x="187" y="46"/>
                    <a:pt x="172" y="50"/>
                    <a:pt x="172" y="50"/>
                  </a:cubicBezTo>
                  <a:cubicBezTo>
                    <a:pt x="169" y="54"/>
                    <a:pt x="169" y="54"/>
                    <a:pt x="169" y="54"/>
                  </a:cubicBezTo>
                  <a:cubicBezTo>
                    <a:pt x="169" y="54"/>
                    <a:pt x="171" y="63"/>
                    <a:pt x="170" y="64"/>
                  </a:cubicBezTo>
                  <a:cubicBezTo>
                    <a:pt x="170" y="64"/>
                    <a:pt x="167" y="63"/>
                    <a:pt x="167" y="63"/>
                  </a:cubicBezTo>
                  <a:cubicBezTo>
                    <a:pt x="162" y="61"/>
                    <a:pt x="162" y="61"/>
                    <a:pt x="162" y="61"/>
                  </a:cubicBezTo>
                  <a:cubicBezTo>
                    <a:pt x="162" y="61"/>
                    <a:pt x="160" y="65"/>
                    <a:pt x="158" y="66"/>
                  </a:cubicBezTo>
                  <a:cubicBezTo>
                    <a:pt x="155" y="67"/>
                    <a:pt x="155" y="62"/>
                    <a:pt x="155" y="62"/>
                  </a:cubicBezTo>
                  <a:cubicBezTo>
                    <a:pt x="152" y="59"/>
                    <a:pt x="152" y="59"/>
                    <a:pt x="152" y="59"/>
                  </a:cubicBezTo>
                  <a:cubicBezTo>
                    <a:pt x="150" y="59"/>
                    <a:pt x="150" y="59"/>
                    <a:pt x="150" y="59"/>
                  </a:cubicBezTo>
                  <a:cubicBezTo>
                    <a:pt x="148" y="65"/>
                    <a:pt x="148" y="65"/>
                    <a:pt x="148" y="65"/>
                  </a:cubicBezTo>
                  <a:cubicBezTo>
                    <a:pt x="148" y="65"/>
                    <a:pt x="148" y="70"/>
                    <a:pt x="148" y="70"/>
                  </a:cubicBezTo>
                  <a:cubicBezTo>
                    <a:pt x="149" y="71"/>
                    <a:pt x="148" y="79"/>
                    <a:pt x="148" y="79"/>
                  </a:cubicBezTo>
                  <a:cubicBezTo>
                    <a:pt x="145" y="80"/>
                    <a:pt x="145" y="80"/>
                    <a:pt x="145" y="80"/>
                  </a:cubicBezTo>
                  <a:cubicBezTo>
                    <a:pt x="143" y="76"/>
                    <a:pt x="143" y="76"/>
                    <a:pt x="143" y="76"/>
                  </a:cubicBezTo>
                  <a:cubicBezTo>
                    <a:pt x="145" y="68"/>
                    <a:pt x="145" y="68"/>
                    <a:pt x="145" y="68"/>
                  </a:cubicBezTo>
                  <a:cubicBezTo>
                    <a:pt x="144" y="63"/>
                    <a:pt x="144" y="63"/>
                    <a:pt x="144" y="63"/>
                  </a:cubicBezTo>
                  <a:cubicBezTo>
                    <a:pt x="143" y="58"/>
                    <a:pt x="143" y="58"/>
                    <a:pt x="143" y="58"/>
                  </a:cubicBezTo>
                  <a:cubicBezTo>
                    <a:pt x="137" y="56"/>
                    <a:pt x="137" y="56"/>
                    <a:pt x="137" y="56"/>
                  </a:cubicBezTo>
                  <a:cubicBezTo>
                    <a:pt x="131" y="56"/>
                    <a:pt x="131" y="56"/>
                    <a:pt x="131" y="56"/>
                  </a:cubicBezTo>
                  <a:cubicBezTo>
                    <a:pt x="128" y="70"/>
                    <a:pt x="128" y="70"/>
                    <a:pt x="128" y="70"/>
                  </a:cubicBezTo>
                  <a:cubicBezTo>
                    <a:pt x="125" y="73"/>
                    <a:pt x="125" y="73"/>
                    <a:pt x="125" y="73"/>
                  </a:cubicBezTo>
                  <a:cubicBezTo>
                    <a:pt x="123" y="76"/>
                    <a:pt x="123" y="76"/>
                    <a:pt x="123" y="76"/>
                  </a:cubicBezTo>
                  <a:cubicBezTo>
                    <a:pt x="126" y="81"/>
                    <a:pt x="126" y="81"/>
                    <a:pt x="126" y="81"/>
                  </a:cubicBezTo>
                  <a:cubicBezTo>
                    <a:pt x="125" y="86"/>
                    <a:pt x="125" y="86"/>
                    <a:pt x="125" y="86"/>
                  </a:cubicBezTo>
                  <a:cubicBezTo>
                    <a:pt x="126" y="88"/>
                    <a:pt x="126" y="88"/>
                    <a:pt x="126" y="88"/>
                  </a:cubicBezTo>
                  <a:cubicBezTo>
                    <a:pt x="132" y="94"/>
                    <a:pt x="132" y="94"/>
                    <a:pt x="132" y="94"/>
                  </a:cubicBezTo>
                  <a:cubicBezTo>
                    <a:pt x="128" y="101"/>
                    <a:pt x="128" y="101"/>
                    <a:pt x="128" y="101"/>
                  </a:cubicBezTo>
                  <a:cubicBezTo>
                    <a:pt x="121" y="94"/>
                    <a:pt x="121" y="94"/>
                    <a:pt x="121" y="94"/>
                  </a:cubicBezTo>
                  <a:cubicBezTo>
                    <a:pt x="113" y="88"/>
                    <a:pt x="113" y="88"/>
                    <a:pt x="113" y="88"/>
                  </a:cubicBezTo>
                  <a:cubicBezTo>
                    <a:pt x="108" y="88"/>
                    <a:pt x="108" y="88"/>
                    <a:pt x="108" y="88"/>
                  </a:cubicBezTo>
                  <a:cubicBezTo>
                    <a:pt x="103" y="88"/>
                    <a:pt x="103" y="88"/>
                    <a:pt x="103" y="88"/>
                  </a:cubicBezTo>
                  <a:cubicBezTo>
                    <a:pt x="104" y="95"/>
                    <a:pt x="104" y="95"/>
                    <a:pt x="104" y="95"/>
                  </a:cubicBezTo>
                  <a:cubicBezTo>
                    <a:pt x="102" y="96"/>
                    <a:pt x="102" y="96"/>
                    <a:pt x="102" y="96"/>
                  </a:cubicBezTo>
                  <a:cubicBezTo>
                    <a:pt x="98" y="95"/>
                    <a:pt x="98" y="95"/>
                    <a:pt x="98" y="95"/>
                  </a:cubicBezTo>
                  <a:cubicBezTo>
                    <a:pt x="93" y="97"/>
                    <a:pt x="93" y="97"/>
                    <a:pt x="93" y="97"/>
                  </a:cubicBezTo>
                  <a:cubicBezTo>
                    <a:pt x="89" y="98"/>
                    <a:pt x="89" y="98"/>
                    <a:pt x="89" y="98"/>
                  </a:cubicBezTo>
                  <a:cubicBezTo>
                    <a:pt x="85" y="99"/>
                    <a:pt x="85" y="99"/>
                    <a:pt x="85" y="99"/>
                  </a:cubicBezTo>
                  <a:cubicBezTo>
                    <a:pt x="83" y="97"/>
                    <a:pt x="83" y="97"/>
                    <a:pt x="83" y="97"/>
                  </a:cubicBezTo>
                  <a:cubicBezTo>
                    <a:pt x="79" y="98"/>
                    <a:pt x="79" y="98"/>
                    <a:pt x="79" y="98"/>
                  </a:cubicBezTo>
                  <a:cubicBezTo>
                    <a:pt x="73" y="102"/>
                    <a:pt x="73" y="102"/>
                    <a:pt x="73" y="102"/>
                  </a:cubicBezTo>
                  <a:cubicBezTo>
                    <a:pt x="66" y="106"/>
                    <a:pt x="66" y="106"/>
                    <a:pt x="66" y="106"/>
                  </a:cubicBezTo>
                  <a:cubicBezTo>
                    <a:pt x="64" y="107"/>
                    <a:pt x="64" y="107"/>
                    <a:pt x="64" y="107"/>
                  </a:cubicBezTo>
                  <a:cubicBezTo>
                    <a:pt x="62" y="112"/>
                    <a:pt x="62" y="112"/>
                    <a:pt x="62" y="112"/>
                  </a:cubicBezTo>
                  <a:cubicBezTo>
                    <a:pt x="59" y="112"/>
                    <a:pt x="59" y="112"/>
                    <a:pt x="59" y="112"/>
                  </a:cubicBezTo>
                  <a:cubicBezTo>
                    <a:pt x="56" y="109"/>
                    <a:pt x="56" y="109"/>
                    <a:pt x="56" y="109"/>
                  </a:cubicBezTo>
                  <a:cubicBezTo>
                    <a:pt x="57" y="106"/>
                    <a:pt x="57" y="106"/>
                    <a:pt x="57" y="106"/>
                  </a:cubicBezTo>
                  <a:cubicBezTo>
                    <a:pt x="60" y="104"/>
                    <a:pt x="60" y="104"/>
                    <a:pt x="60" y="104"/>
                  </a:cubicBezTo>
                  <a:cubicBezTo>
                    <a:pt x="59" y="100"/>
                    <a:pt x="59" y="100"/>
                    <a:pt x="59" y="100"/>
                  </a:cubicBezTo>
                  <a:cubicBezTo>
                    <a:pt x="55" y="99"/>
                    <a:pt x="55" y="99"/>
                    <a:pt x="55" y="99"/>
                  </a:cubicBezTo>
                  <a:cubicBezTo>
                    <a:pt x="53" y="99"/>
                    <a:pt x="53" y="99"/>
                    <a:pt x="53" y="99"/>
                  </a:cubicBezTo>
                  <a:cubicBezTo>
                    <a:pt x="50" y="98"/>
                    <a:pt x="50" y="98"/>
                    <a:pt x="50" y="98"/>
                  </a:cubicBezTo>
                  <a:cubicBezTo>
                    <a:pt x="52" y="102"/>
                    <a:pt x="52" y="102"/>
                    <a:pt x="52" y="102"/>
                  </a:cubicBezTo>
                  <a:cubicBezTo>
                    <a:pt x="52" y="109"/>
                    <a:pt x="52" y="109"/>
                    <a:pt x="52" y="109"/>
                  </a:cubicBezTo>
                  <a:cubicBezTo>
                    <a:pt x="54" y="112"/>
                    <a:pt x="54" y="112"/>
                    <a:pt x="54" y="112"/>
                  </a:cubicBezTo>
                  <a:cubicBezTo>
                    <a:pt x="52" y="118"/>
                    <a:pt x="52" y="118"/>
                    <a:pt x="52" y="118"/>
                  </a:cubicBezTo>
                  <a:cubicBezTo>
                    <a:pt x="49" y="116"/>
                    <a:pt x="49" y="116"/>
                    <a:pt x="49" y="116"/>
                  </a:cubicBezTo>
                  <a:cubicBezTo>
                    <a:pt x="46" y="116"/>
                    <a:pt x="46" y="116"/>
                    <a:pt x="46" y="116"/>
                  </a:cubicBezTo>
                  <a:cubicBezTo>
                    <a:pt x="43" y="118"/>
                    <a:pt x="43" y="118"/>
                    <a:pt x="43" y="118"/>
                  </a:cubicBezTo>
                  <a:cubicBezTo>
                    <a:pt x="40" y="121"/>
                    <a:pt x="40" y="121"/>
                    <a:pt x="40" y="121"/>
                  </a:cubicBezTo>
                  <a:cubicBezTo>
                    <a:pt x="38" y="123"/>
                    <a:pt x="38" y="123"/>
                    <a:pt x="38" y="123"/>
                  </a:cubicBezTo>
                  <a:cubicBezTo>
                    <a:pt x="41" y="130"/>
                    <a:pt x="41" y="130"/>
                    <a:pt x="41" y="130"/>
                  </a:cubicBezTo>
                  <a:cubicBezTo>
                    <a:pt x="41" y="130"/>
                    <a:pt x="39" y="129"/>
                    <a:pt x="39" y="129"/>
                  </a:cubicBezTo>
                  <a:cubicBezTo>
                    <a:pt x="38" y="128"/>
                    <a:pt x="33" y="128"/>
                    <a:pt x="33" y="128"/>
                  </a:cubicBezTo>
                  <a:cubicBezTo>
                    <a:pt x="30" y="127"/>
                    <a:pt x="30" y="127"/>
                    <a:pt x="30" y="127"/>
                  </a:cubicBezTo>
                  <a:cubicBezTo>
                    <a:pt x="30" y="129"/>
                    <a:pt x="30" y="129"/>
                    <a:pt x="30" y="129"/>
                  </a:cubicBezTo>
                  <a:cubicBezTo>
                    <a:pt x="32" y="132"/>
                    <a:pt x="32" y="132"/>
                    <a:pt x="32" y="132"/>
                  </a:cubicBezTo>
                  <a:cubicBezTo>
                    <a:pt x="33" y="135"/>
                    <a:pt x="33" y="135"/>
                    <a:pt x="33" y="135"/>
                  </a:cubicBezTo>
                  <a:cubicBezTo>
                    <a:pt x="31" y="136"/>
                    <a:pt x="31" y="136"/>
                    <a:pt x="31" y="136"/>
                  </a:cubicBezTo>
                  <a:cubicBezTo>
                    <a:pt x="26" y="133"/>
                    <a:pt x="26" y="133"/>
                    <a:pt x="26" y="133"/>
                  </a:cubicBezTo>
                  <a:cubicBezTo>
                    <a:pt x="23" y="130"/>
                    <a:pt x="23" y="130"/>
                    <a:pt x="23" y="130"/>
                  </a:cubicBezTo>
                  <a:cubicBezTo>
                    <a:pt x="23" y="128"/>
                    <a:pt x="23" y="128"/>
                    <a:pt x="23" y="128"/>
                  </a:cubicBezTo>
                  <a:cubicBezTo>
                    <a:pt x="21" y="123"/>
                    <a:pt x="21" y="123"/>
                    <a:pt x="21" y="123"/>
                  </a:cubicBezTo>
                  <a:cubicBezTo>
                    <a:pt x="23" y="121"/>
                    <a:pt x="23" y="121"/>
                    <a:pt x="23" y="121"/>
                  </a:cubicBezTo>
                  <a:cubicBezTo>
                    <a:pt x="23" y="118"/>
                    <a:pt x="23" y="118"/>
                    <a:pt x="23" y="118"/>
                  </a:cubicBezTo>
                  <a:cubicBezTo>
                    <a:pt x="19" y="116"/>
                    <a:pt x="19" y="116"/>
                    <a:pt x="19" y="116"/>
                  </a:cubicBezTo>
                  <a:cubicBezTo>
                    <a:pt x="15" y="113"/>
                    <a:pt x="15" y="113"/>
                    <a:pt x="15" y="113"/>
                  </a:cubicBezTo>
                  <a:cubicBezTo>
                    <a:pt x="14" y="111"/>
                    <a:pt x="14" y="111"/>
                    <a:pt x="14" y="111"/>
                  </a:cubicBezTo>
                  <a:cubicBezTo>
                    <a:pt x="16" y="111"/>
                    <a:pt x="16" y="111"/>
                    <a:pt x="16" y="111"/>
                  </a:cubicBezTo>
                  <a:cubicBezTo>
                    <a:pt x="18" y="112"/>
                    <a:pt x="18" y="112"/>
                    <a:pt x="18" y="112"/>
                  </a:cubicBezTo>
                  <a:cubicBezTo>
                    <a:pt x="18" y="112"/>
                    <a:pt x="22" y="113"/>
                    <a:pt x="22" y="113"/>
                  </a:cubicBezTo>
                  <a:cubicBezTo>
                    <a:pt x="23" y="113"/>
                    <a:pt x="24" y="116"/>
                    <a:pt x="24" y="116"/>
                  </a:cubicBezTo>
                  <a:cubicBezTo>
                    <a:pt x="31" y="118"/>
                    <a:pt x="31" y="118"/>
                    <a:pt x="31" y="118"/>
                  </a:cubicBezTo>
                  <a:cubicBezTo>
                    <a:pt x="38" y="117"/>
                    <a:pt x="38" y="117"/>
                    <a:pt x="38" y="117"/>
                  </a:cubicBezTo>
                  <a:cubicBezTo>
                    <a:pt x="42" y="114"/>
                    <a:pt x="42" y="114"/>
                    <a:pt x="42" y="114"/>
                  </a:cubicBezTo>
                  <a:cubicBezTo>
                    <a:pt x="43" y="109"/>
                    <a:pt x="43" y="109"/>
                    <a:pt x="43" y="109"/>
                  </a:cubicBezTo>
                  <a:cubicBezTo>
                    <a:pt x="36" y="101"/>
                    <a:pt x="36" y="101"/>
                    <a:pt x="36" y="101"/>
                  </a:cubicBezTo>
                  <a:cubicBezTo>
                    <a:pt x="30" y="97"/>
                    <a:pt x="30" y="97"/>
                    <a:pt x="30" y="97"/>
                  </a:cubicBezTo>
                  <a:cubicBezTo>
                    <a:pt x="26" y="93"/>
                    <a:pt x="26" y="93"/>
                    <a:pt x="26" y="93"/>
                  </a:cubicBezTo>
                  <a:cubicBezTo>
                    <a:pt x="20" y="91"/>
                    <a:pt x="20" y="91"/>
                    <a:pt x="20" y="91"/>
                  </a:cubicBezTo>
                  <a:cubicBezTo>
                    <a:pt x="17" y="90"/>
                    <a:pt x="17" y="90"/>
                    <a:pt x="17" y="90"/>
                  </a:cubicBezTo>
                  <a:cubicBezTo>
                    <a:pt x="17" y="87"/>
                    <a:pt x="17" y="87"/>
                    <a:pt x="17" y="87"/>
                  </a:cubicBezTo>
                  <a:cubicBezTo>
                    <a:pt x="13" y="87"/>
                    <a:pt x="13" y="87"/>
                    <a:pt x="13" y="87"/>
                  </a:cubicBezTo>
                  <a:cubicBezTo>
                    <a:pt x="10" y="87"/>
                    <a:pt x="10" y="87"/>
                    <a:pt x="10" y="87"/>
                  </a:cubicBezTo>
                  <a:cubicBezTo>
                    <a:pt x="9" y="87"/>
                    <a:pt x="9" y="87"/>
                    <a:pt x="9" y="87"/>
                  </a:cubicBezTo>
                  <a:cubicBezTo>
                    <a:pt x="8" y="89"/>
                    <a:pt x="8" y="89"/>
                    <a:pt x="8" y="89"/>
                  </a:cubicBezTo>
                  <a:cubicBezTo>
                    <a:pt x="4" y="93"/>
                    <a:pt x="4" y="93"/>
                    <a:pt x="4" y="93"/>
                  </a:cubicBezTo>
                  <a:cubicBezTo>
                    <a:pt x="4" y="93"/>
                    <a:pt x="4" y="93"/>
                    <a:pt x="4" y="93"/>
                  </a:cubicBezTo>
                  <a:cubicBezTo>
                    <a:pt x="4" y="94"/>
                    <a:pt x="4" y="94"/>
                    <a:pt x="4" y="94"/>
                  </a:cubicBezTo>
                  <a:cubicBezTo>
                    <a:pt x="3" y="95"/>
                    <a:pt x="3" y="95"/>
                    <a:pt x="3" y="95"/>
                  </a:cubicBezTo>
                  <a:cubicBezTo>
                    <a:pt x="3" y="96"/>
                    <a:pt x="3" y="96"/>
                    <a:pt x="3" y="96"/>
                  </a:cubicBezTo>
                  <a:cubicBezTo>
                    <a:pt x="2" y="99"/>
                    <a:pt x="2" y="99"/>
                    <a:pt x="2" y="99"/>
                  </a:cubicBezTo>
                  <a:cubicBezTo>
                    <a:pt x="3" y="100"/>
                    <a:pt x="3" y="100"/>
                    <a:pt x="3" y="100"/>
                  </a:cubicBezTo>
                  <a:cubicBezTo>
                    <a:pt x="6" y="102"/>
                    <a:pt x="6" y="102"/>
                    <a:pt x="6" y="102"/>
                  </a:cubicBezTo>
                  <a:cubicBezTo>
                    <a:pt x="8" y="107"/>
                    <a:pt x="8" y="107"/>
                    <a:pt x="8" y="107"/>
                  </a:cubicBezTo>
                  <a:cubicBezTo>
                    <a:pt x="4" y="112"/>
                    <a:pt x="4" y="112"/>
                    <a:pt x="4" y="112"/>
                  </a:cubicBezTo>
                  <a:cubicBezTo>
                    <a:pt x="8" y="122"/>
                    <a:pt x="8" y="122"/>
                    <a:pt x="8" y="122"/>
                  </a:cubicBezTo>
                  <a:cubicBezTo>
                    <a:pt x="6" y="124"/>
                    <a:pt x="6" y="124"/>
                    <a:pt x="6" y="124"/>
                  </a:cubicBezTo>
                  <a:cubicBezTo>
                    <a:pt x="7" y="126"/>
                    <a:pt x="7" y="126"/>
                    <a:pt x="7" y="126"/>
                  </a:cubicBezTo>
                  <a:cubicBezTo>
                    <a:pt x="6" y="127"/>
                    <a:pt x="6" y="127"/>
                    <a:pt x="6" y="127"/>
                  </a:cubicBezTo>
                  <a:cubicBezTo>
                    <a:pt x="8" y="129"/>
                    <a:pt x="8" y="129"/>
                    <a:pt x="8" y="129"/>
                  </a:cubicBezTo>
                  <a:cubicBezTo>
                    <a:pt x="8" y="129"/>
                    <a:pt x="7" y="131"/>
                    <a:pt x="7" y="131"/>
                  </a:cubicBezTo>
                  <a:cubicBezTo>
                    <a:pt x="8" y="131"/>
                    <a:pt x="9" y="133"/>
                    <a:pt x="9" y="133"/>
                  </a:cubicBezTo>
                  <a:cubicBezTo>
                    <a:pt x="8" y="137"/>
                    <a:pt x="8" y="137"/>
                    <a:pt x="8" y="137"/>
                  </a:cubicBezTo>
                  <a:cubicBezTo>
                    <a:pt x="10" y="140"/>
                    <a:pt x="10" y="140"/>
                    <a:pt x="10" y="140"/>
                  </a:cubicBezTo>
                  <a:cubicBezTo>
                    <a:pt x="12" y="141"/>
                    <a:pt x="12" y="141"/>
                    <a:pt x="12" y="141"/>
                  </a:cubicBezTo>
                  <a:cubicBezTo>
                    <a:pt x="11" y="143"/>
                    <a:pt x="11" y="143"/>
                    <a:pt x="11" y="143"/>
                  </a:cubicBezTo>
                  <a:cubicBezTo>
                    <a:pt x="0" y="157"/>
                    <a:pt x="0" y="157"/>
                    <a:pt x="0" y="157"/>
                  </a:cubicBezTo>
                  <a:cubicBezTo>
                    <a:pt x="2" y="157"/>
                    <a:pt x="2" y="157"/>
                    <a:pt x="2" y="157"/>
                  </a:cubicBezTo>
                  <a:cubicBezTo>
                    <a:pt x="4" y="158"/>
                    <a:pt x="4" y="158"/>
                    <a:pt x="4" y="158"/>
                  </a:cubicBezTo>
                  <a:cubicBezTo>
                    <a:pt x="4" y="163"/>
                    <a:pt x="4" y="163"/>
                    <a:pt x="4" y="163"/>
                  </a:cubicBezTo>
                  <a:cubicBezTo>
                    <a:pt x="1" y="163"/>
                    <a:pt x="1" y="163"/>
                    <a:pt x="1" y="163"/>
                  </a:cubicBezTo>
                  <a:cubicBezTo>
                    <a:pt x="2" y="164"/>
                    <a:pt x="2" y="164"/>
                    <a:pt x="2" y="164"/>
                  </a:cubicBezTo>
                  <a:cubicBezTo>
                    <a:pt x="1" y="168"/>
                    <a:pt x="1" y="168"/>
                    <a:pt x="1" y="168"/>
                  </a:cubicBezTo>
                  <a:cubicBezTo>
                    <a:pt x="1" y="171"/>
                    <a:pt x="1" y="171"/>
                    <a:pt x="1" y="171"/>
                  </a:cubicBezTo>
                  <a:cubicBezTo>
                    <a:pt x="0" y="178"/>
                    <a:pt x="0" y="178"/>
                    <a:pt x="0" y="178"/>
                  </a:cubicBezTo>
                  <a:cubicBezTo>
                    <a:pt x="2" y="183"/>
                    <a:pt x="2" y="183"/>
                    <a:pt x="2" y="183"/>
                  </a:cubicBezTo>
                  <a:cubicBezTo>
                    <a:pt x="6" y="185"/>
                    <a:pt x="6" y="185"/>
                    <a:pt x="6" y="185"/>
                  </a:cubicBezTo>
                  <a:cubicBezTo>
                    <a:pt x="9" y="186"/>
                    <a:pt x="9" y="186"/>
                    <a:pt x="9" y="186"/>
                  </a:cubicBezTo>
                  <a:cubicBezTo>
                    <a:pt x="13" y="195"/>
                    <a:pt x="13" y="195"/>
                    <a:pt x="13" y="195"/>
                  </a:cubicBezTo>
                  <a:cubicBezTo>
                    <a:pt x="16" y="197"/>
                    <a:pt x="16" y="197"/>
                    <a:pt x="16" y="197"/>
                  </a:cubicBezTo>
                  <a:cubicBezTo>
                    <a:pt x="15" y="199"/>
                    <a:pt x="15" y="199"/>
                    <a:pt x="15" y="199"/>
                  </a:cubicBezTo>
                  <a:cubicBezTo>
                    <a:pt x="12" y="201"/>
                    <a:pt x="12" y="201"/>
                    <a:pt x="12" y="201"/>
                  </a:cubicBezTo>
                  <a:cubicBezTo>
                    <a:pt x="13" y="204"/>
                    <a:pt x="13" y="204"/>
                    <a:pt x="13" y="204"/>
                  </a:cubicBezTo>
                  <a:cubicBezTo>
                    <a:pt x="15" y="205"/>
                    <a:pt x="15" y="205"/>
                    <a:pt x="15" y="205"/>
                  </a:cubicBezTo>
                  <a:cubicBezTo>
                    <a:pt x="18" y="205"/>
                    <a:pt x="18" y="205"/>
                    <a:pt x="18" y="205"/>
                  </a:cubicBezTo>
                  <a:cubicBezTo>
                    <a:pt x="21" y="208"/>
                    <a:pt x="21" y="208"/>
                    <a:pt x="21" y="208"/>
                  </a:cubicBezTo>
                  <a:cubicBezTo>
                    <a:pt x="22" y="209"/>
                    <a:pt x="22" y="209"/>
                    <a:pt x="22" y="209"/>
                  </a:cubicBezTo>
                  <a:cubicBezTo>
                    <a:pt x="34" y="214"/>
                    <a:pt x="34" y="214"/>
                    <a:pt x="34" y="214"/>
                  </a:cubicBezTo>
                  <a:cubicBezTo>
                    <a:pt x="35" y="214"/>
                    <a:pt x="35" y="214"/>
                    <a:pt x="35" y="214"/>
                  </a:cubicBezTo>
                  <a:cubicBezTo>
                    <a:pt x="34" y="219"/>
                    <a:pt x="34" y="219"/>
                    <a:pt x="34" y="219"/>
                  </a:cubicBezTo>
                  <a:cubicBezTo>
                    <a:pt x="32" y="220"/>
                    <a:pt x="32" y="220"/>
                    <a:pt x="32" y="220"/>
                  </a:cubicBezTo>
                  <a:cubicBezTo>
                    <a:pt x="30" y="223"/>
                    <a:pt x="30" y="223"/>
                    <a:pt x="30" y="223"/>
                  </a:cubicBezTo>
                  <a:cubicBezTo>
                    <a:pt x="28" y="225"/>
                    <a:pt x="28" y="225"/>
                    <a:pt x="28" y="225"/>
                  </a:cubicBezTo>
                  <a:cubicBezTo>
                    <a:pt x="31" y="224"/>
                    <a:pt x="31" y="224"/>
                    <a:pt x="31" y="224"/>
                  </a:cubicBezTo>
                  <a:cubicBezTo>
                    <a:pt x="29" y="228"/>
                    <a:pt x="29" y="228"/>
                    <a:pt x="29" y="228"/>
                  </a:cubicBezTo>
                  <a:cubicBezTo>
                    <a:pt x="26" y="232"/>
                    <a:pt x="26" y="232"/>
                    <a:pt x="26" y="232"/>
                  </a:cubicBezTo>
                  <a:cubicBezTo>
                    <a:pt x="29" y="236"/>
                    <a:pt x="29" y="236"/>
                    <a:pt x="29" y="236"/>
                  </a:cubicBezTo>
                  <a:cubicBezTo>
                    <a:pt x="35" y="239"/>
                    <a:pt x="35" y="239"/>
                    <a:pt x="35" y="239"/>
                  </a:cubicBezTo>
                  <a:cubicBezTo>
                    <a:pt x="40" y="244"/>
                    <a:pt x="40" y="244"/>
                    <a:pt x="40" y="244"/>
                  </a:cubicBezTo>
                  <a:cubicBezTo>
                    <a:pt x="40" y="247"/>
                    <a:pt x="40" y="247"/>
                    <a:pt x="40" y="247"/>
                  </a:cubicBezTo>
                  <a:cubicBezTo>
                    <a:pt x="42" y="248"/>
                    <a:pt x="42" y="248"/>
                    <a:pt x="42" y="248"/>
                  </a:cubicBezTo>
                  <a:cubicBezTo>
                    <a:pt x="45" y="248"/>
                    <a:pt x="45" y="248"/>
                    <a:pt x="45" y="248"/>
                  </a:cubicBezTo>
                  <a:cubicBezTo>
                    <a:pt x="47" y="250"/>
                    <a:pt x="47" y="250"/>
                    <a:pt x="47" y="250"/>
                  </a:cubicBezTo>
                  <a:cubicBezTo>
                    <a:pt x="50" y="255"/>
                    <a:pt x="50" y="255"/>
                    <a:pt x="50" y="255"/>
                  </a:cubicBezTo>
                  <a:cubicBezTo>
                    <a:pt x="49" y="256"/>
                    <a:pt x="49" y="256"/>
                    <a:pt x="49" y="256"/>
                  </a:cubicBezTo>
                  <a:cubicBezTo>
                    <a:pt x="52" y="259"/>
                    <a:pt x="52" y="259"/>
                    <a:pt x="52" y="259"/>
                  </a:cubicBezTo>
                  <a:cubicBezTo>
                    <a:pt x="56" y="259"/>
                    <a:pt x="56" y="259"/>
                    <a:pt x="56" y="259"/>
                  </a:cubicBezTo>
                  <a:cubicBezTo>
                    <a:pt x="59" y="256"/>
                    <a:pt x="59" y="256"/>
                    <a:pt x="59" y="256"/>
                  </a:cubicBezTo>
                  <a:cubicBezTo>
                    <a:pt x="61" y="258"/>
                    <a:pt x="61" y="258"/>
                    <a:pt x="61" y="258"/>
                  </a:cubicBezTo>
                  <a:cubicBezTo>
                    <a:pt x="61" y="260"/>
                    <a:pt x="61" y="260"/>
                    <a:pt x="61" y="260"/>
                  </a:cubicBezTo>
                  <a:cubicBezTo>
                    <a:pt x="62" y="260"/>
                    <a:pt x="62" y="260"/>
                    <a:pt x="62" y="260"/>
                  </a:cubicBezTo>
                  <a:cubicBezTo>
                    <a:pt x="64" y="257"/>
                    <a:pt x="64" y="257"/>
                    <a:pt x="64" y="257"/>
                  </a:cubicBezTo>
                  <a:cubicBezTo>
                    <a:pt x="67" y="253"/>
                    <a:pt x="67" y="253"/>
                    <a:pt x="67" y="253"/>
                  </a:cubicBezTo>
                  <a:cubicBezTo>
                    <a:pt x="67" y="253"/>
                    <a:pt x="64" y="244"/>
                    <a:pt x="63" y="244"/>
                  </a:cubicBezTo>
                  <a:cubicBezTo>
                    <a:pt x="62" y="243"/>
                    <a:pt x="56" y="235"/>
                    <a:pt x="56" y="235"/>
                  </a:cubicBezTo>
                  <a:cubicBezTo>
                    <a:pt x="59" y="229"/>
                    <a:pt x="59" y="229"/>
                    <a:pt x="59" y="229"/>
                  </a:cubicBezTo>
                  <a:cubicBezTo>
                    <a:pt x="63" y="226"/>
                    <a:pt x="63" y="226"/>
                    <a:pt x="63" y="226"/>
                  </a:cubicBezTo>
                  <a:cubicBezTo>
                    <a:pt x="63" y="225"/>
                    <a:pt x="63" y="225"/>
                    <a:pt x="63" y="225"/>
                  </a:cubicBezTo>
                  <a:cubicBezTo>
                    <a:pt x="64" y="226"/>
                    <a:pt x="64" y="226"/>
                    <a:pt x="64" y="226"/>
                  </a:cubicBezTo>
                  <a:cubicBezTo>
                    <a:pt x="63" y="224"/>
                    <a:pt x="63" y="224"/>
                    <a:pt x="63" y="224"/>
                  </a:cubicBezTo>
                  <a:cubicBezTo>
                    <a:pt x="63" y="224"/>
                    <a:pt x="63" y="224"/>
                    <a:pt x="63" y="224"/>
                  </a:cubicBezTo>
                  <a:cubicBezTo>
                    <a:pt x="63" y="224"/>
                    <a:pt x="63" y="224"/>
                    <a:pt x="63" y="224"/>
                  </a:cubicBezTo>
                  <a:cubicBezTo>
                    <a:pt x="60" y="222"/>
                    <a:pt x="60" y="222"/>
                    <a:pt x="60" y="222"/>
                  </a:cubicBezTo>
                  <a:cubicBezTo>
                    <a:pt x="63" y="214"/>
                    <a:pt x="63" y="214"/>
                    <a:pt x="63" y="214"/>
                  </a:cubicBezTo>
                  <a:cubicBezTo>
                    <a:pt x="73" y="210"/>
                    <a:pt x="73" y="210"/>
                    <a:pt x="73" y="210"/>
                  </a:cubicBezTo>
                  <a:cubicBezTo>
                    <a:pt x="82" y="209"/>
                    <a:pt x="82" y="209"/>
                    <a:pt x="82" y="209"/>
                  </a:cubicBezTo>
                  <a:cubicBezTo>
                    <a:pt x="87" y="212"/>
                    <a:pt x="87" y="212"/>
                    <a:pt x="87" y="212"/>
                  </a:cubicBezTo>
                  <a:cubicBezTo>
                    <a:pt x="93" y="211"/>
                    <a:pt x="93" y="211"/>
                    <a:pt x="93" y="211"/>
                  </a:cubicBezTo>
                  <a:cubicBezTo>
                    <a:pt x="100" y="213"/>
                    <a:pt x="100" y="213"/>
                    <a:pt x="100" y="213"/>
                  </a:cubicBezTo>
                  <a:cubicBezTo>
                    <a:pt x="107" y="211"/>
                    <a:pt x="107" y="211"/>
                    <a:pt x="107" y="211"/>
                  </a:cubicBezTo>
                  <a:cubicBezTo>
                    <a:pt x="105" y="205"/>
                    <a:pt x="105" y="205"/>
                    <a:pt x="105" y="205"/>
                  </a:cubicBezTo>
                  <a:cubicBezTo>
                    <a:pt x="109" y="196"/>
                    <a:pt x="109" y="196"/>
                    <a:pt x="109" y="196"/>
                  </a:cubicBezTo>
                  <a:cubicBezTo>
                    <a:pt x="122" y="191"/>
                    <a:pt x="122" y="191"/>
                    <a:pt x="122" y="191"/>
                  </a:cubicBezTo>
                  <a:cubicBezTo>
                    <a:pt x="134" y="189"/>
                    <a:pt x="134" y="189"/>
                    <a:pt x="134" y="189"/>
                  </a:cubicBezTo>
                  <a:cubicBezTo>
                    <a:pt x="142" y="198"/>
                    <a:pt x="142" y="198"/>
                    <a:pt x="142" y="198"/>
                  </a:cubicBezTo>
                  <a:cubicBezTo>
                    <a:pt x="151" y="195"/>
                    <a:pt x="151" y="195"/>
                    <a:pt x="151" y="195"/>
                  </a:cubicBezTo>
                  <a:cubicBezTo>
                    <a:pt x="156" y="194"/>
                    <a:pt x="156" y="194"/>
                    <a:pt x="156" y="194"/>
                  </a:cubicBezTo>
                  <a:cubicBezTo>
                    <a:pt x="160" y="203"/>
                    <a:pt x="160" y="203"/>
                    <a:pt x="160" y="203"/>
                  </a:cubicBezTo>
                  <a:cubicBezTo>
                    <a:pt x="164" y="212"/>
                    <a:pt x="164" y="212"/>
                    <a:pt x="164" y="212"/>
                  </a:cubicBezTo>
                  <a:cubicBezTo>
                    <a:pt x="174" y="212"/>
                    <a:pt x="174" y="212"/>
                    <a:pt x="174" y="212"/>
                  </a:cubicBezTo>
                  <a:cubicBezTo>
                    <a:pt x="182" y="216"/>
                    <a:pt x="182" y="216"/>
                    <a:pt x="182" y="216"/>
                  </a:cubicBezTo>
                  <a:cubicBezTo>
                    <a:pt x="189" y="217"/>
                    <a:pt x="189" y="217"/>
                    <a:pt x="189" y="217"/>
                  </a:cubicBezTo>
                  <a:cubicBezTo>
                    <a:pt x="189" y="223"/>
                    <a:pt x="189" y="223"/>
                    <a:pt x="189" y="223"/>
                  </a:cubicBezTo>
                  <a:cubicBezTo>
                    <a:pt x="191" y="222"/>
                    <a:pt x="191" y="222"/>
                    <a:pt x="191" y="222"/>
                  </a:cubicBezTo>
                  <a:cubicBezTo>
                    <a:pt x="192" y="223"/>
                    <a:pt x="192" y="223"/>
                    <a:pt x="192" y="223"/>
                  </a:cubicBezTo>
                  <a:cubicBezTo>
                    <a:pt x="194" y="219"/>
                    <a:pt x="194" y="219"/>
                    <a:pt x="194" y="219"/>
                  </a:cubicBezTo>
                  <a:cubicBezTo>
                    <a:pt x="201" y="214"/>
                    <a:pt x="201" y="214"/>
                    <a:pt x="201" y="214"/>
                  </a:cubicBezTo>
                  <a:cubicBezTo>
                    <a:pt x="212" y="213"/>
                    <a:pt x="212" y="213"/>
                    <a:pt x="212" y="213"/>
                  </a:cubicBezTo>
                  <a:cubicBezTo>
                    <a:pt x="220" y="217"/>
                    <a:pt x="220" y="217"/>
                    <a:pt x="220" y="217"/>
                  </a:cubicBezTo>
                  <a:cubicBezTo>
                    <a:pt x="224" y="211"/>
                    <a:pt x="224" y="211"/>
                    <a:pt x="224" y="211"/>
                  </a:cubicBezTo>
                  <a:cubicBezTo>
                    <a:pt x="228" y="206"/>
                    <a:pt x="228" y="206"/>
                    <a:pt x="228" y="206"/>
                  </a:cubicBezTo>
                  <a:cubicBezTo>
                    <a:pt x="240" y="211"/>
                    <a:pt x="240" y="211"/>
                    <a:pt x="240" y="211"/>
                  </a:cubicBezTo>
                  <a:cubicBezTo>
                    <a:pt x="243" y="215"/>
                    <a:pt x="243" y="215"/>
                    <a:pt x="243" y="215"/>
                  </a:cubicBezTo>
                  <a:cubicBezTo>
                    <a:pt x="253" y="215"/>
                    <a:pt x="253" y="215"/>
                    <a:pt x="253" y="215"/>
                  </a:cubicBezTo>
                  <a:cubicBezTo>
                    <a:pt x="259" y="220"/>
                    <a:pt x="259" y="220"/>
                    <a:pt x="259" y="220"/>
                  </a:cubicBezTo>
                  <a:cubicBezTo>
                    <a:pt x="275" y="216"/>
                    <a:pt x="275" y="216"/>
                    <a:pt x="275" y="216"/>
                  </a:cubicBezTo>
                  <a:cubicBezTo>
                    <a:pt x="282" y="218"/>
                    <a:pt x="282" y="218"/>
                    <a:pt x="282" y="218"/>
                  </a:cubicBezTo>
                  <a:cubicBezTo>
                    <a:pt x="283" y="216"/>
                    <a:pt x="283" y="216"/>
                    <a:pt x="283" y="216"/>
                  </a:cubicBezTo>
                  <a:cubicBezTo>
                    <a:pt x="289" y="216"/>
                    <a:pt x="289" y="216"/>
                    <a:pt x="289" y="216"/>
                  </a:cubicBezTo>
                  <a:cubicBezTo>
                    <a:pt x="295" y="205"/>
                    <a:pt x="295" y="205"/>
                    <a:pt x="295" y="205"/>
                  </a:cubicBezTo>
                  <a:cubicBezTo>
                    <a:pt x="298" y="200"/>
                    <a:pt x="298" y="200"/>
                    <a:pt x="298" y="200"/>
                  </a:cubicBezTo>
                  <a:cubicBezTo>
                    <a:pt x="307" y="200"/>
                    <a:pt x="307" y="200"/>
                    <a:pt x="307" y="200"/>
                  </a:cubicBezTo>
                  <a:cubicBezTo>
                    <a:pt x="317" y="218"/>
                    <a:pt x="317" y="218"/>
                    <a:pt x="317" y="218"/>
                  </a:cubicBezTo>
                  <a:cubicBezTo>
                    <a:pt x="325" y="220"/>
                    <a:pt x="325" y="220"/>
                    <a:pt x="325" y="220"/>
                  </a:cubicBezTo>
                  <a:cubicBezTo>
                    <a:pt x="327" y="224"/>
                    <a:pt x="327" y="224"/>
                    <a:pt x="327" y="224"/>
                  </a:cubicBezTo>
                  <a:cubicBezTo>
                    <a:pt x="339" y="223"/>
                    <a:pt x="339" y="223"/>
                    <a:pt x="339" y="223"/>
                  </a:cubicBezTo>
                  <a:cubicBezTo>
                    <a:pt x="334" y="238"/>
                    <a:pt x="334" y="238"/>
                    <a:pt x="334" y="238"/>
                  </a:cubicBezTo>
                  <a:cubicBezTo>
                    <a:pt x="329" y="239"/>
                    <a:pt x="329" y="239"/>
                    <a:pt x="329" y="239"/>
                  </a:cubicBezTo>
                  <a:cubicBezTo>
                    <a:pt x="326" y="250"/>
                    <a:pt x="326" y="250"/>
                    <a:pt x="326" y="250"/>
                  </a:cubicBezTo>
                  <a:cubicBezTo>
                    <a:pt x="327" y="250"/>
                    <a:pt x="327" y="250"/>
                    <a:pt x="327" y="250"/>
                  </a:cubicBezTo>
                  <a:cubicBezTo>
                    <a:pt x="329" y="250"/>
                    <a:pt x="329" y="250"/>
                    <a:pt x="329" y="250"/>
                  </a:cubicBezTo>
                  <a:cubicBezTo>
                    <a:pt x="331" y="249"/>
                    <a:pt x="331" y="249"/>
                    <a:pt x="331" y="249"/>
                  </a:cubicBezTo>
                  <a:cubicBezTo>
                    <a:pt x="332" y="249"/>
                    <a:pt x="332" y="249"/>
                    <a:pt x="332" y="249"/>
                  </a:cubicBezTo>
                  <a:cubicBezTo>
                    <a:pt x="335" y="250"/>
                    <a:pt x="335" y="250"/>
                    <a:pt x="335" y="250"/>
                  </a:cubicBezTo>
                  <a:cubicBezTo>
                    <a:pt x="342" y="245"/>
                    <a:pt x="342" y="245"/>
                    <a:pt x="342" y="245"/>
                  </a:cubicBezTo>
                  <a:cubicBezTo>
                    <a:pt x="345" y="241"/>
                    <a:pt x="345" y="241"/>
                    <a:pt x="345" y="241"/>
                  </a:cubicBezTo>
                  <a:cubicBezTo>
                    <a:pt x="353" y="230"/>
                    <a:pt x="353" y="230"/>
                    <a:pt x="353" y="230"/>
                  </a:cubicBezTo>
                  <a:cubicBezTo>
                    <a:pt x="357" y="223"/>
                    <a:pt x="357" y="223"/>
                    <a:pt x="357" y="223"/>
                  </a:cubicBezTo>
                  <a:cubicBezTo>
                    <a:pt x="358" y="214"/>
                    <a:pt x="358" y="214"/>
                    <a:pt x="358" y="214"/>
                  </a:cubicBezTo>
                  <a:cubicBezTo>
                    <a:pt x="360" y="203"/>
                    <a:pt x="360" y="203"/>
                    <a:pt x="360" y="203"/>
                  </a:cubicBezTo>
                  <a:cubicBezTo>
                    <a:pt x="360" y="199"/>
                    <a:pt x="360" y="199"/>
                    <a:pt x="360" y="199"/>
                  </a:cubicBezTo>
                  <a:cubicBezTo>
                    <a:pt x="355" y="194"/>
                    <a:pt x="355" y="194"/>
                    <a:pt x="355" y="194"/>
                  </a:cubicBezTo>
                  <a:cubicBezTo>
                    <a:pt x="355" y="194"/>
                    <a:pt x="349" y="198"/>
                    <a:pt x="349" y="198"/>
                  </a:cubicBezTo>
                  <a:cubicBezTo>
                    <a:pt x="348" y="198"/>
                    <a:pt x="346" y="196"/>
                    <a:pt x="346" y="196"/>
                  </a:cubicBezTo>
                  <a:cubicBezTo>
                    <a:pt x="344" y="192"/>
                    <a:pt x="344" y="192"/>
                    <a:pt x="344" y="192"/>
                  </a:cubicBezTo>
                  <a:cubicBezTo>
                    <a:pt x="341" y="192"/>
                    <a:pt x="341" y="192"/>
                    <a:pt x="341" y="192"/>
                  </a:cubicBezTo>
                  <a:cubicBezTo>
                    <a:pt x="344" y="190"/>
                    <a:pt x="344" y="190"/>
                    <a:pt x="344" y="190"/>
                  </a:cubicBezTo>
                  <a:cubicBezTo>
                    <a:pt x="349" y="185"/>
                    <a:pt x="349" y="185"/>
                    <a:pt x="349" y="185"/>
                  </a:cubicBezTo>
                  <a:cubicBezTo>
                    <a:pt x="353" y="180"/>
                    <a:pt x="353" y="180"/>
                    <a:pt x="353" y="180"/>
                  </a:cubicBezTo>
                  <a:cubicBezTo>
                    <a:pt x="354" y="178"/>
                    <a:pt x="354" y="178"/>
                    <a:pt x="354" y="178"/>
                  </a:cubicBezTo>
                  <a:cubicBezTo>
                    <a:pt x="367" y="165"/>
                    <a:pt x="367" y="165"/>
                    <a:pt x="367" y="165"/>
                  </a:cubicBezTo>
                  <a:cubicBezTo>
                    <a:pt x="371" y="164"/>
                    <a:pt x="371" y="164"/>
                    <a:pt x="371" y="164"/>
                  </a:cubicBezTo>
                  <a:cubicBezTo>
                    <a:pt x="381" y="164"/>
                    <a:pt x="381" y="164"/>
                    <a:pt x="381" y="164"/>
                  </a:cubicBezTo>
                  <a:cubicBezTo>
                    <a:pt x="386" y="163"/>
                    <a:pt x="386" y="163"/>
                    <a:pt x="386" y="163"/>
                  </a:cubicBezTo>
                  <a:cubicBezTo>
                    <a:pt x="392" y="165"/>
                    <a:pt x="392" y="165"/>
                    <a:pt x="392" y="165"/>
                  </a:cubicBezTo>
                  <a:cubicBezTo>
                    <a:pt x="392" y="168"/>
                    <a:pt x="392" y="168"/>
                    <a:pt x="392" y="168"/>
                  </a:cubicBezTo>
                  <a:cubicBezTo>
                    <a:pt x="392" y="168"/>
                    <a:pt x="400" y="166"/>
                    <a:pt x="401" y="166"/>
                  </a:cubicBezTo>
                  <a:cubicBezTo>
                    <a:pt x="401" y="167"/>
                    <a:pt x="403" y="166"/>
                    <a:pt x="403" y="166"/>
                  </a:cubicBezTo>
                  <a:cubicBezTo>
                    <a:pt x="402" y="164"/>
                    <a:pt x="402" y="164"/>
                    <a:pt x="402" y="164"/>
                  </a:cubicBezTo>
                  <a:cubicBezTo>
                    <a:pt x="403" y="159"/>
                    <a:pt x="403" y="159"/>
                    <a:pt x="403" y="159"/>
                  </a:cubicBezTo>
                  <a:cubicBezTo>
                    <a:pt x="406" y="153"/>
                    <a:pt x="406" y="153"/>
                    <a:pt x="406" y="153"/>
                  </a:cubicBezTo>
                  <a:cubicBezTo>
                    <a:pt x="411" y="149"/>
                    <a:pt x="411" y="149"/>
                    <a:pt x="411" y="149"/>
                  </a:cubicBezTo>
                  <a:cubicBezTo>
                    <a:pt x="419" y="150"/>
                    <a:pt x="419" y="150"/>
                    <a:pt x="419" y="150"/>
                  </a:cubicBezTo>
                  <a:cubicBezTo>
                    <a:pt x="421" y="155"/>
                    <a:pt x="421" y="155"/>
                    <a:pt x="421" y="155"/>
                  </a:cubicBezTo>
                  <a:cubicBezTo>
                    <a:pt x="426" y="151"/>
                    <a:pt x="426" y="151"/>
                    <a:pt x="426" y="151"/>
                  </a:cubicBezTo>
                  <a:cubicBezTo>
                    <a:pt x="433" y="144"/>
                    <a:pt x="433" y="144"/>
                    <a:pt x="433" y="144"/>
                  </a:cubicBezTo>
                  <a:cubicBezTo>
                    <a:pt x="433" y="152"/>
                    <a:pt x="433" y="152"/>
                    <a:pt x="433" y="152"/>
                  </a:cubicBezTo>
                  <a:cubicBezTo>
                    <a:pt x="427" y="158"/>
                    <a:pt x="427" y="158"/>
                    <a:pt x="427" y="158"/>
                  </a:cubicBezTo>
                  <a:cubicBezTo>
                    <a:pt x="423" y="160"/>
                    <a:pt x="423" y="160"/>
                    <a:pt x="423" y="160"/>
                  </a:cubicBezTo>
                  <a:cubicBezTo>
                    <a:pt x="419" y="166"/>
                    <a:pt x="419" y="166"/>
                    <a:pt x="419" y="166"/>
                  </a:cubicBezTo>
                  <a:cubicBezTo>
                    <a:pt x="416" y="171"/>
                    <a:pt x="416" y="171"/>
                    <a:pt x="416" y="171"/>
                  </a:cubicBezTo>
                  <a:cubicBezTo>
                    <a:pt x="416" y="171"/>
                    <a:pt x="411" y="173"/>
                    <a:pt x="411" y="174"/>
                  </a:cubicBezTo>
                  <a:cubicBezTo>
                    <a:pt x="410" y="174"/>
                    <a:pt x="409" y="175"/>
                    <a:pt x="409" y="175"/>
                  </a:cubicBezTo>
                  <a:cubicBezTo>
                    <a:pt x="405" y="186"/>
                    <a:pt x="405" y="186"/>
                    <a:pt x="405" y="186"/>
                  </a:cubicBezTo>
                  <a:cubicBezTo>
                    <a:pt x="410" y="210"/>
                    <a:pt x="410" y="210"/>
                    <a:pt x="410" y="210"/>
                  </a:cubicBezTo>
                  <a:cubicBezTo>
                    <a:pt x="416" y="202"/>
                    <a:pt x="416" y="202"/>
                    <a:pt x="416" y="202"/>
                  </a:cubicBezTo>
                  <a:cubicBezTo>
                    <a:pt x="418" y="201"/>
                    <a:pt x="418" y="201"/>
                    <a:pt x="418" y="201"/>
                  </a:cubicBezTo>
                  <a:cubicBezTo>
                    <a:pt x="420" y="196"/>
                    <a:pt x="420" y="196"/>
                    <a:pt x="420" y="196"/>
                  </a:cubicBezTo>
                  <a:cubicBezTo>
                    <a:pt x="422" y="193"/>
                    <a:pt x="422" y="193"/>
                    <a:pt x="422" y="193"/>
                  </a:cubicBezTo>
                  <a:cubicBezTo>
                    <a:pt x="426" y="191"/>
                    <a:pt x="426" y="191"/>
                    <a:pt x="426" y="191"/>
                  </a:cubicBezTo>
                  <a:cubicBezTo>
                    <a:pt x="426" y="186"/>
                    <a:pt x="426" y="186"/>
                    <a:pt x="426" y="186"/>
                  </a:cubicBezTo>
                  <a:cubicBezTo>
                    <a:pt x="427" y="184"/>
                    <a:pt x="427" y="184"/>
                    <a:pt x="427" y="184"/>
                  </a:cubicBezTo>
                  <a:cubicBezTo>
                    <a:pt x="429" y="177"/>
                    <a:pt x="429" y="177"/>
                    <a:pt x="429" y="177"/>
                  </a:cubicBezTo>
                  <a:cubicBezTo>
                    <a:pt x="429" y="175"/>
                    <a:pt x="429" y="175"/>
                    <a:pt x="429" y="175"/>
                  </a:cubicBezTo>
                  <a:cubicBezTo>
                    <a:pt x="426" y="174"/>
                    <a:pt x="426" y="174"/>
                    <a:pt x="426" y="174"/>
                  </a:cubicBezTo>
                  <a:cubicBezTo>
                    <a:pt x="430" y="165"/>
                    <a:pt x="430" y="165"/>
                    <a:pt x="430" y="165"/>
                  </a:cubicBezTo>
                  <a:cubicBezTo>
                    <a:pt x="432" y="162"/>
                    <a:pt x="432" y="162"/>
                    <a:pt x="432" y="162"/>
                  </a:cubicBezTo>
                  <a:cubicBezTo>
                    <a:pt x="435" y="161"/>
                    <a:pt x="435" y="161"/>
                    <a:pt x="435" y="161"/>
                  </a:cubicBezTo>
                  <a:cubicBezTo>
                    <a:pt x="438" y="160"/>
                    <a:pt x="438" y="160"/>
                    <a:pt x="438" y="160"/>
                  </a:cubicBezTo>
                  <a:cubicBezTo>
                    <a:pt x="439" y="162"/>
                    <a:pt x="439" y="162"/>
                    <a:pt x="439" y="162"/>
                  </a:cubicBezTo>
                  <a:cubicBezTo>
                    <a:pt x="446" y="157"/>
                    <a:pt x="446" y="157"/>
                    <a:pt x="446" y="157"/>
                  </a:cubicBezTo>
                  <a:cubicBezTo>
                    <a:pt x="446" y="157"/>
                    <a:pt x="452" y="162"/>
                    <a:pt x="452" y="162"/>
                  </a:cubicBezTo>
                  <a:cubicBezTo>
                    <a:pt x="453" y="162"/>
                    <a:pt x="454" y="157"/>
                    <a:pt x="454" y="157"/>
                  </a:cubicBezTo>
                  <a:cubicBezTo>
                    <a:pt x="457" y="156"/>
                    <a:pt x="457" y="156"/>
                    <a:pt x="457" y="156"/>
                  </a:cubicBezTo>
                  <a:cubicBezTo>
                    <a:pt x="457" y="156"/>
                    <a:pt x="463" y="150"/>
                    <a:pt x="464" y="149"/>
                  </a:cubicBezTo>
                  <a:cubicBezTo>
                    <a:pt x="464" y="149"/>
                    <a:pt x="472" y="145"/>
                    <a:pt x="472" y="145"/>
                  </a:cubicBezTo>
                  <a:cubicBezTo>
                    <a:pt x="473" y="145"/>
                    <a:pt x="476" y="145"/>
                    <a:pt x="476" y="145"/>
                  </a:cubicBezTo>
                  <a:cubicBezTo>
                    <a:pt x="480" y="146"/>
                    <a:pt x="480" y="146"/>
                    <a:pt x="480" y="146"/>
                  </a:cubicBezTo>
                  <a:cubicBezTo>
                    <a:pt x="480" y="144"/>
                    <a:pt x="480" y="144"/>
                    <a:pt x="480" y="144"/>
                  </a:cubicBezTo>
                  <a:cubicBezTo>
                    <a:pt x="479" y="140"/>
                    <a:pt x="479" y="140"/>
                    <a:pt x="479" y="140"/>
                  </a:cubicBezTo>
                  <a:cubicBezTo>
                    <a:pt x="478" y="135"/>
                    <a:pt x="478" y="135"/>
                    <a:pt x="478" y="135"/>
                  </a:cubicBezTo>
                  <a:cubicBezTo>
                    <a:pt x="474" y="131"/>
                    <a:pt x="474" y="131"/>
                    <a:pt x="474" y="131"/>
                  </a:cubicBezTo>
                  <a:cubicBezTo>
                    <a:pt x="477" y="129"/>
                    <a:pt x="477" y="129"/>
                    <a:pt x="477" y="129"/>
                  </a:cubicBezTo>
                  <a:lnTo>
                    <a:pt x="482" y="127"/>
                  </a:lnTo>
                  <a:close/>
                </a:path>
              </a:pathLst>
            </a:custGeom>
            <a:solidFill>
              <a:schemeClr val="bg1">
                <a:lumMod val="85000"/>
              </a:schemeClr>
            </a:solidFill>
            <a:ln w="9525">
              <a:solidFill>
                <a:sysClr val="window" lastClr="FFFFFF"/>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60" name="Freeform 337"/>
            <p:cNvSpPr>
              <a:spLocks/>
            </p:cNvSpPr>
            <p:nvPr/>
          </p:nvSpPr>
          <p:spPr bwMode="auto">
            <a:xfrm>
              <a:off x="7384448" y="3140402"/>
              <a:ext cx="68700" cy="7791"/>
            </a:xfrm>
            <a:custGeom>
              <a:avLst/>
              <a:gdLst>
                <a:gd name="T0" fmla="*/ 7938 w 54"/>
                <a:gd name="T1" fmla="*/ 7938 h 6"/>
                <a:gd name="T2" fmla="*/ 39688 w 54"/>
                <a:gd name="T3" fmla="*/ 7938 h 6"/>
                <a:gd name="T4" fmla="*/ 71438 w 54"/>
                <a:gd name="T5" fmla="*/ 0 h 6"/>
                <a:gd name="T6" fmla="*/ 0 w 54"/>
                <a:gd name="T7" fmla="*/ 7938 h 6"/>
                <a:gd name="T8" fmla="*/ 7938 w 54"/>
                <a:gd name="T9" fmla="*/ 7938 h 6"/>
                <a:gd name="T10" fmla="*/ 0 60000 65536"/>
                <a:gd name="T11" fmla="*/ 0 60000 65536"/>
                <a:gd name="T12" fmla="*/ 0 60000 65536"/>
                <a:gd name="T13" fmla="*/ 0 60000 65536"/>
                <a:gd name="T14" fmla="*/ 0 60000 65536"/>
                <a:gd name="T15" fmla="*/ 0 w 54"/>
                <a:gd name="T16" fmla="*/ 0 h 6"/>
                <a:gd name="T17" fmla="*/ 54 w 54"/>
                <a:gd name="T18" fmla="*/ 6 h 6"/>
              </a:gdLst>
              <a:ahLst/>
              <a:cxnLst>
                <a:cxn ang="T10">
                  <a:pos x="T0" y="T1"/>
                </a:cxn>
                <a:cxn ang="T11">
                  <a:pos x="T2" y="T3"/>
                </a:cxn>
                <a:cxn ang="T12">
                  <a:pos x="T4" y="T5"/>
                </a:cxn>
                <a:cxn ang="T13">
                  <a:pos x="T6" y="T7"/>
                </a:cxn>
                <a:cxn ang="T14">
                  <a:pos x="T8" y="T9"/>
                </a:cxn>
              </a:cxnLst>
              <a:rect l="T15" t="T16" r="T17" b="T18"/>
              <a:pathLst>
                <a:path w="54" h="6">
                  <a:moveTo>
                    <a:pt x="6" y="6"/>
                  </a:moveTo>
                  <a:lnTo>
                    <a:pt x="30" y="6"/>
                  </a:lnTo>
                  <a:lnTo>
                    <a:pt x="54" y="0"/>
                  </a:lnTo>
                  <a:lnTo>
                    <a:pt x="0" y="6"/>
                  </a:lnTo>
                  <a:lnTo>
                    <a:pt x="6" y="6"/>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61" name="Freeform 338"/>
            <p:cNvSpPr>
              <a:spLocks/>
            </p:cNvSpPr>
            <p:nvPr/>
          </p:nvSpPr>
          <p:spPr bwMode="auto">
            <a:xfrm>
              <a:off x="7279109" y="2495239"/>
              <a:ext cx="972478" cy="696504"/>
            </a:xfrm>
            <a:custGeom>
              <a:avLst/>
              <a:gdLst>
                <a:gd name="T0" fmla="*/ 681997 w 129"/>
                <a:gd name="T1" fmla="*/ 600442 h 91"/>
                <a:gd name="T2" fmla="*/ 752548 w 129"/>
                <a:gd name="T3" fmla="*/ 553654 h 91"/>
                <a:gd name="T4" fmla="*/ 823100 w 129"/>
                <a:gd name="T5" fmla="*/ 491270 h 91"/>
                <a:gd name="T6" fmla="*/ 893651 w 129"/>
                <a:gd name="T7" fmla="*/ 389897 h 91"/>
                <a:gd name="T8" fmla="*/ 972042 w 129"/>
                <a:gd name="T9" fmla="*/ 319716 h 91"/>
                <a:gd name="T10" fmla="*/ 1011237 w 129"/>
                <a:gd name="T11" fmla="*/ 265130 h 91"/>
                <a:gd name="T12" fmla="*/ 956363 w 129"/>
                <a:gd name="T13" fmla="*/ 210545 h 91"/>
                <a:gd name="T14" fmla="*/ 815261 w 129"/>
                <a:gd name="T15" fmla="*/ 179353 h 91"/>
                <a:gd name="T16" fmla="*/ 752548 w 129"/>
                <a:gd name="T17" fmla="*/ 46788 h 91"/>
                <a:gd name="T18" fmla="*/ 642802 w 129"/>
                <a:gd name="T19" fmla="*/ 70182 h 91"/>
                <a:gd name="T20" fmla="*/ 486021 w 129"/>
                <a:gd name="T21" fmla="*/ 23394 h 91"/>
                <a:gd name="T22" fmla="*/ 352757 w 129"/>
                <a:gd name="T23" fmla="*/ 124767 h 91"/>
                <a:gd name="T24" fmla="*/ 313562 w 129"/>
                <a:gd name="T25" fmla="*/ 187151 h 91"/>
                <a:gd name="T26" fmla="*/ 211654 w 129"/>
                <a:gd name="T27" fmla="*/ 187151 h 91"/>
                <a:gd name="T28" fmla="*/ 101908 w 129"/>
                <a:gd name="T29" fmla="*/ 163757 h 91"/>
                <a:gd name="T30" fmla="*/ 0 w 129"/>
                <a:gd name="T31" fmla="*/ 257332 h 91"/>
                <a:gd name="T32" fmla="*/ 47034 w 129"/>
                <a:gd name="T33" fmla="*/ 327514 h 91"/>
                <a:gd name="T34" fmla="*/ 148942 w 129"/>
                <a:gd name="T35" fmla="*/ 319716 h 91"/>
                <a:gd name="T36" fmla="*/ 156781 w 129"/>
                <a:gd name="T37" fmla="*/ 389897 h 91"/>
                <a:gd name="T38" fmla="*/ 101908 w 129"/>
                <a:gd name="T39" fmla="*/ 405493 h 91"/>
                <a:gd name="T40" fmla="*/ 156781 w 129"/>
                <a:gd name="T41" fmla="*/ 491270 h 91"/>
                <a:gd name="T42" fmla="*/ 188137 w 129"/>
                <a:gd name="T43" fmla="*/ 592644 h 91"/>
                <a:gd name="T44" fmla="*/ 188137 w 129"/>
                <a:gd name="T45" fmla="*/ 639432 h 91"/>
                <a:gd name="T46" fmla="*/ 258689 w 129"/>
                <a:gd name="T47" fmla="*/ 616038 h 91"/>
                <a:gd name="T48" fmla="*/ 329240 w 129"/>
                <a:gd name="T49" fmla="*/ 662825 h 91"/>
                <a:gd name="T50" fmla="*/ 360596 w 129"/>
                <a:gd name="T51" fmla="*/ 694017 h 91"/>
                <a:gd name="T52" fmla="*/ 399791 w 129"/>
                <a:gd name="T53" fmla="*/ 709613 h 91"/>
                <a:gd name="T54" fmla="*/ 454665 w 129"/>
                <a:gd name="T55" fmla="*/ 678421 h 91"/>
                <a:gd name="T56" fmla="*/ 493860 w 129"/>
                <a:gd name="T57" fmla="*/ 647229 h 91"/>
                <a:gd name="T58" fmla="*/ 533055 w 129"/>
                <a:gd name="T59" fmla="*/ 662825 h 91"/>
                <a:gd name="T60" fmla="*/ 580089 w 129"/>
                <a:gd name="T61" fmla="*/ 639432 h 91"/>
                <a:gd name="T62" fmla="*/ 611446 w 129"/>
                <a:gd name="T63" fmla="*/ 623836 h 91"/>
                <a:gd name="T64" fmla="*/ 642802 w 129"/>
                <a:gd name="T65" fmla="*/ 647229 h 91"/>
                <a:gd name="T66" fmla="*/ 689836 w 129"/>
                <a:gd name="T67" fmla="*/ 639432 h 91"/>
                <a:gd name="T68" fmla="*/ 705514 w 129"/>
                <a:gd name="T69" fmla="*/ 639432 h 9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9"/>
                <a:gd name="T106" fmla="*/ 0 h 91"/>
                <a:gd name="T107" fmla="*/ 129 w 129"/>
                <a:gd name="T108" fmla="*/ 91 h 9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9" h="91">
                  <a:moveTo>
                    <a:pt x="89" y="79"/>
                  </a:moveTo>
                  <a:cubicBezTo>
                    <a:pt x="87" y="77"/>
                    <a:pt x="87" y="77"/>
                    <a:pt x="87" y="77"/>
                  </a:cubicBezTo>
                  <a:cubicBezTo>
                    <a:pt x="88" y="73"/>
                    <a:pt x="88" y="73"/>
                    <a:pt x="88" y="73"/>
                  </a:cubicBezTo>
                  <a:cubicBezTo>
                    <a:pt x="96" y="71"/>
                    <a:pt x="96" y="71"/>
                    <a:pt x="96" y="71"/>
                  </a:cubicBezTo>
                  <a:cubicBezTo>
                    <a:pt x="101" y="67"/>
                    <a:pt x="101" y="67"/>
                    <a:pt x="101" y="67"/>
                  </a:cubicBezTo>
                  <a:cubicBezTo>
                    <a:pt x="105" y="63"/>
                    <a:pt x="105" y="63"/>
                    <a:pt x="105" y="63"/>
                  </a:cubicBezTo>
                  <a:cubicBezTo>
                    <a:pt x="107" y="51"/>
                    <a:pt x="107" y="51"/>
                    <a:pt x="107" y="51"/>
                  </a:cubicBezTo>
                  <a:cubicBezTo>
                    <a:pt x="114" y="50"/>
                    <a:pt x="114" y="50"/>
                    <a:pt x="114" y="50"/>
                  </a:cubicBezTo>
                  <a:cubicBezTo>
                    <a:pt x="116" y="40"/>
                    <a:pt x="116" y="40"/>
                    <a:pt x="116" y="40"/>
                  </a:cubicBezTo>
                  <a:cubicBezTo>
                    <a:pt x="124" y="41"/>
                    <a:pt x="124" y="41"/>
                    <a:pt x="124" y="41"/>
                  </a:cubicBezTo>
                  <a:cubicBezTo>
                    <a:pt x="126" y="35"/>
                    <a:pt x="126" y="35"/>
                    <a:pt x="126" y="35"/>
                  </a:cubicBezTo>
                  <a:cubicBezTo>
                    <a:pt x="129" y="34"/>
                    <a:pt x="129" y="34"/>
                    <a:pt x="129" y="34"/>
                  </a:cubicBezTo>
                  <a:cubicBezTo>
                    <a:pt x="129" y="29"/>
                    <a:pt x="129" y="29"/>
                    <a:pt x="129" y="29"/>
                  </a:cubicBezTo>
                  <a:cubicBezTo>
                    <a:pt x="122" y="27"/>
                    <a:pt x="122" y="27"/>
                    <a:pt x="122" y="27"/>
                  </a:cubicBezTo>
                  <a:cubicBezTo>
                    <a:pt x="114" y="23"/>
                    <a:pt x="114" y="23"/>
                    <a:pt x="114" y="23"/>
                  </a:cubicBezTo>
                  <a:cubicBezTo>
                    <a:pt x="104" y="23"/>
                    <a:pt x="104" y="23"/>
                    <a:pt x="104" y="23"/>
                  </a:cubicBezTo>
                  <a:cubicBezTo>
                    <a:pt x="100" y="14"/>
                    <a:pt x="100" y="14"/>
                    <a:pt x="100" y="14"/>
                  </a:cubicBezTo>
                  <a:cubicBezTo>
                    <a:pt x="96" y="6"/>
                    <a:pt x="96" y="6"/>
                    <a:pt x="96" y="6"/>
                  </a:cubicBezTo>
                  <a:cubicBezTo>
                    <a:pt x="91" y="6"/>
                    <a:pt x="91" y="6"/>
                    <a:pt x="91" y="6"/>
                  </a:cubicBezTo>
                  <a:cubicBezTo>
                    <a:pt x="82" y="9"/>
                    <a:pt x="82" y="9"/>
                    <a:pt x="82" y="9"/>
                  </a:cubicBezTo>
                  <a:cubicBezTo>
                    <a:pt x="74" y="0"/>
                    <a:pt x="74" y="0"/>
                    <a:pt x="74" y="0"/>
                  </a:cubicBezTo>
                  <a:cubicBezTo>
                    <a:pt x="62" y="3"/>
                    <a:pt x="62" y="3"/>
                    <a:pt x="62" y="3"/>
                  </a:cubicBezTo>
                  <a:cubicBezTo>
                    <a:pt x="49" y="7"/>
                    <a:pt x="49" y="7"/>
                    <a:pt x="49" y="7"/>
                  </a:cubicBezTo>
                  <a:cubicBezTo>
                    <a:pt x="45" y="16"/>
                    <a:pt x="45" y="16"/>
                    <a:pt x="45" y="16"/>
                  </a:cubicBezTo>
                  <a:cubicBezTo>
                    <a:pt x="47" y="23"/>
                    <a:pt x="47" y="23"/>
                    <a:pt x="47" y="23"/>
                  </a:cubicBezTo>
                  <a:cubicBezTo>
                    <a:pt x="40" y="24"/>
                    <a:pt x="40" y="24"/>
                    <a:pt x="40" y="24"/>
                  </a:cubicBezTo>
                  <a:cubicBezTo>
                    <a:pt x="33" y="23"/>
                    <a:pt x="33" y="23"/>
                    <a:pt x="33" y="23"/>
                  </a:cubicBezTo>
                  <a:cubicBezTo>
                    <a:pt x="27" y="24"/>
                    <a:pt x="27" y="24"/>
                    <a:pt x="27" y="24"/>
                  </a:cubicBezTo>
                  <a:cubicBezTo>
                    <a:pt x="22" y="20"/>
                    <a:pt x="22" y="20"/>
                    <a:pt x="22" y="20"/>
                  </a:cubicBezTo>
                  <a:cubicBezTo>
                    <a:pt x="13" y="21"/>
                    <a:pt x="13" y="21"/>
                    <a:pt x="13" y="21"/>
                  </a:cubicBezTo>
                  <a:cubicBezTo>
                    <a:pt x="3" y="26"/>
                    <a:pt x="3" y="26"/>
                    <a:pt x="3" y="26"/>
                  </a:cubicBezTo>
                  <a:cubicBezTo>
                    <a:pt x="0" y="33"/>
                    <a:pt x="0" y="33"/>
                    <a:pt x="0" y="33"/>
                  </a:cubicBezTo>
                  <a:cubicBezTo>
                    <a:pt x="4" y="37"/>
                    <a:pt x="4" y="37"/>
                    <a:pt x="4" y="37"/>
                  </a:cubicBezTo>
                  <a:cubicBezTo>
                    <a:pt x="6" y="42"/>
                    <a:pt x="6" y="42"/>
                    <a:pt x="6" y="42"/>
                  </a:cubicBezTo>
                  <a:cubicBezTo>
                    <a:pt x="13" y="41"/>
                    <a:pt x="13" y="41"/>
                    <a:pt x="13" y="41"/>
                  </a:cubicBezTo>
                  <a:cubicBezTo>
                    <a:pt x="19" y="41"/>
                    <a:pt x="19" y="41"/>
                    <a:pt x="19" y="41"/>
                  </a:cubicBezTo>
                  <a:cubicBezTo>
                    <a:pt x="26" y="49"/>
                    <a:pt x="26" y="49"/>
                    <a:pt x="26" y="49"/>
                  </a:cubicBezTo>
                  <a:cubicBezTo>
                    <a:pt x="20" y="50"/>
                    <a:pt x="20" y="50"/>
                    <a:pt x="20" y="50"/>
                  </a:cubicBezTo>
                  <a:cubicBezTo>
                    <a:pt x="16" y="50"/>
                    <a:pt x="16" y="50"/>
                    <a:pt x="16" y="50"/>
                  </a:cubicBezTo>
                  <a:cubicBezTo>
                    <a:pt x="13" y="52"/>
                    <a:pt x="13" y="52"/>
                    <a:pt x="13" y="52"/>
                  </a:cubicBezTo>
                  <a:cubicBezTo>
                    <a:pt x="16" y="59"/>
                    <a:pt x="16" y="59"/>
                    <a:pt x="16" y="59"/>
                  </a:cubicBezTo>
                  <a:cubicBezTo>
                    <a:pt x="16" y="59"/>
                    <a:pt x="20" y="62"/>
                    <a:pt x="20" y="63"/>
                  </a:cubicBezTo>
                  <a:cubicBezTo>
                    <a:pt x="20" y="64"/>
                    <a:pt x="20" y="72"/>
                    <a:pt x="20" y="72"/>
                  </a:cubicBezTo>
                  <a:cubicBezTo>
                    <a:pt x="24" y="76"/>
                    <a:pt x="24" y="76"/>
                    <a:pt x="24" y="76"/>
                  </a:cubicBezTo>
                  <a:cubicBezTo>
                    <a:pt x="23" y="84"/>
                    <a:pt x="23" y="84"/>
                    <a:pt x="23" y="84"/>
                  </a:cubicBezTo>
                  <a:cubicBezTo>
                    <a:pt x="24" y="82"/>
                    <a:pt x="24" y="82"/>
                    <a:pt x="24" y="82"/>
                  </a:cubicBezTo>
                  <a:cubicBezTo>
                    <a:pt x="29" y="80"/>
                    <a:pt x="29" y="80"/>
                    <a:pt x="29" y="80"/>
                  </a:cubicBezTo>
                  <a:cubicBezTo>
                    <a:pt x="33" y="79"/>
                    <a:pt x="33" y="79"/>
                    <a:pt x="33" y="79"/>
                  </a:cubicBezTo>
                  <a:cubicBezTo>
                    <a:pt x="38" y="82"/>
                    <a:pt x="38" y="82"/>
                    <a:pt x="38" y="82"/>
                  </a:cubicBezTo>
                  <a:cubicBezTo>
                    <a:pt x="42" y="85"/>
                    <a:pt x="42" y="85"/>
                    <a:pt x="42" y="85"/>
                  </a:cubicBezTo>
                  <a:cubicBezTo>
                    <a:pt x="46" y="86"/>
                    <a:pt x="46" y="86"/>
                    <a:pt x="46" y="86"/>
                  </a:cubicBezTo>
                  <a:cubicBezTo>
                    <a:pt x="46" y="89"/>
                    <a:pt x="46" y="89"/>
                    <a:pt x="46" y="89"/>
                  </a:cubicBezTo>
                  <a:cubicBezTo>
                    <a:pt x="48" y="90"/>
                    <a:pt x="48" y="90"/>
                    <a:pt x="48" y="90"/>
                  </a:cubicBezTo>
                  <a:cubicBezTo>
                    <a:pt x="51" y="91"/>
                    <a:pt x="51" y="91"/>
                    <a:pt x="51" y="91"/>
                  </a:cubicBezTo>
                  <a:cubicBezTo>
                    <a:pt x="53" y="89"/>
                    <a:pt x="53" y="89"/>
                    <a:pt x="53" y="89"/>
                  </a:cubicBezTo>
                  <a:cubicBezTo>
                    <a:pt x="58" y="87"/>
                    <a:pt x="58" y="87"/>
                    <a:pt x="58" y="87"/>
                  </a:cubicBezTo>
                  <a:cubicBezTo>
                    <a:pt x="59" y="82"/>
                    <a:pt x="59" y="82"/>
                    <a:pt x="59" y="82"/>
                  </a:cubicBezTo>
                  <a:cubicBezTo>
                    <a:pt x="63" y="83"/>
                    <a:pt x="63" y="83"/>
                    <a:pt x="63" y="83"/>
                  </a:cubicBezTo>
                  <a:cubicBezTo>
                    <a:pt x="66" y="83"/>
                    <a:pt x="66" y="83"/>
                    <a:pt x="66" y="83"/>
                  </a:cubicBezTo>
                  <a:cubicBezTo>
                    <a:pt x="68" y="85"/>
                    <a:pt x="68" y="85"/>
                    <a:pt x="68" y="85"/>
                  </a:cubicBezTo>
                  <a:cubicBezTo>
                    <a:pt x="72" y="84"/>
                    <a:pt x="72" y="84"/>
                    <a:pt x="72" y="84"/>
                  </a:cubicBezTo>
                  <a:cubicBezTo>
                    <a:pt x="74" y="82"/>
                    <a:pt x="74" y="82"/>
                    <a:pt x="74" y="82"/>
                  </a:cubicBezTo>
                  <a:cubicBezTo>
                    <a:pt x="77" y="79"/>
                    <a:pt x="77" y="79"/>
                    <a:pt x="77" y="79"/>
                  </a:cubicBezTo>
                  <a:cubicBezTo>
                    <a:pt x="78" y="80"/>
                    <a:pt x="78" y="80"/>
                    <a:pt x="78" y="80"/>
                  </a:cubicBezTo>
                  <a:cubicBezTo>
                    <a:pt x="79" y="83"/>
                    <a:pt x="79" y="83"/>
                    <a:pt x="79" y="83"/>
                  </a:cubicBezTo>
                  <a:cubicBezTo>
                    <a:pt x="82" y="83"/>
                    <a:pt x="82" y="83"/>
                    <a:pt x="82" y="83"/>
                  </a:cubicBezTo>
                  <a:cubicBezTo>
                    <a:pt x="86" y="82"/>
                    <a:pt x="86" y="82"/>
                    <a:pt x="86" y="82"/>
                  </a:cubicBezTo>
                  <a:cubicBezTo>
                    <a:pt x="88" y="82"/>
                    <a:pt x="88" y="82"/>
                    <a:pt x="88" y="82"/>
                  </a:cubicBezTo>
                  <a:cubicBezTo>
                    <a:pt x="88" y="83"/>
                    <a:pt x="88" y="83"/>
                    <a:pt x="88" y="83"/>
                  </a:cubicBezTo>
                  <a:cubicBezTo>
                    <a:pt x="90" y="82"/>
                    <a:pt x="90" y="82"/>
                    <a:pt x="90" y="82"/>
                  </a:cubicBezTo>
                  <a:lnTo>
                    <a:pt x="89" y="79"/>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62" name="Freeform 339"/>
            <p:cNvSpPr>
              <a:spLocks/>
            </p:cNvSpPr>
            <p:nvPr/>
          </p:nvSpPr>
          <p:spPr bwMode="auto">
            <a:xfrm>
              <a:off x="7338691" y="3117029"/>
              <a:ext cx="21373" cy="14023"/>
            </a:xfrm>
            <a:custGeom>
              <a:avLst/>
              <a:gdLst>
                <a:gd name="T0" fmla="*/ 0 w 18"/>
                <a:gd name="T1" fmla="*/ 0 h 12"/>
                <a:gd name="T2" fmla="*/ 0 w 18"/>
                <a:gd name="T3" fmla="*/ 14287 h 12"/>
                <a:gd name="T4" fmla="*/ 22225 w 18"/>
                <a:gd name="T5" fmla="*/ 14287 h 12"/>
                <a:gd name="T6" fmla="*/ 14817 w 18"/>
                <a:gd name="T7" fmla="*/ 14287 h 12"/>
                <a:gd name="T8" fmla="*/ 0 w 18"/>
                <a:gd name="T9" fmla="*/ 0 h 12"/>
                <a:gd name="T10" fmla="*/ 0 60000 65536"/>
                <a:gd name="T11" fmla="*/ 0 60000 65536"/>
                <a:gd name="T12" fmla="*/ 0 60000 65536"/>
                <a:gd name="T13" fmla="*/ 0 60000 65536"/>
                <a:gd name="T14" fmla="*/ 0 60000 65536"/>
                <a:gd name="T15" fmla="*/ 0 w 18"/>
                <a:gd name="T16" fmla="*/ 0 h 12"/>
                <a:gd name="T17" fmla="*/ 18 w 18"/>
                <a:gd name="T18" fmla="*/ 12 h 12"/>
              </a:gdLst>
              <a:ahLst/>
              <a:cxnLst>
                <a:cxn ang="T10">
                  <a:pos x="T0" y="T1"/>
                </a:cxn>
                <a:cxn ang="T11">
                  <a:pos x="T2" y="T3"/>
                </a:cxn>
                <a:cxn ang="T12">
                  <a:pos x="T4" y="T5"/>
                </a:cxn>
                <a:cxn ang="T13">
                  <a:pos x="T6" y="T7"/>
                </a:cxn>
                <a:cxn ang="T14">
                  <a:pos x="T8" y="T9"/>
                </a:cxn>
              </a:cxnLst>
              <a:rect l="T15" t="T16" r="T17" b="T18"/>
              <a:pathLst>
                <a:path w="18" h="12">
                  <a:moveTo>
                    <a:pt x="0" y="0"/>
                  </a:moveTo>
                  <a:lnTo>
                    <a:pt x="0" y="12"/>
                  </a:lnTo>
                  <a:lnTo>
                    <a:pt x="18" y="12"/>
                  </a:lnTo>
                  <a:lnTo>
                    <a:pt x="12" y="12"/>
                  </a:lnTo>
                  <a:lnTo>
                    <a:pt x="0" y="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63" name="Rectangle 340"/>
            <p:cNvSpPr>
              <a:spLocks noChangeArrowheads="1"/>
            </p:cNvSpPr>
            <p:nvPr/>
          </p:nvSpPr>
          <p:spPr bwMode="auto">
            <a:xfrm>
              <a:off x="6552420" y="2755509"/>
              <a:ext cx="9160" cy="1559"/>
            </a:xfrm>
            <a:prstGeom prst="rect">
              <a:avLst/>
            </a:prstGeom>
            <a:solidFill>
              <a:schemeClr val="bg1"/>
            </a:solidFill>
            <a:ln w="9525">
              <a:solidFill>
                <a:schemeClr val="bg1">
                  <a:lumMod val="95000"/>
                </a:schemeClr>
              </a:solidFill>
              <a:miter lim="800000"/>
              <a:headEnd/>
              <a:tailEnd/>
            </a:ln>
          </p:spPr>
          <p:txBody>
            <a:bodyPr lIns="91372" tIns="45686" rIns="91372" bIns="45686"/>
            <a:lstStyle/>
            <a:p>
              <a:pPr defTabSz="843107">
                <a:defRPr/>
              </a:pPr>
              <a:endParaRPr lang="en-US" sz="1600" kern="0" dirty="0">
                <a:solidFill>
                  <a:srgbClr val="263147"/>
                </a:solidFill>
              </a:endParaRPr>
            </a:p>
          </p:txBody>
        </p:sp>
        <p:sp>
          <p:nvSpPr>
            <p:cNvPr id="164" name="Freeform 341"/>
            <p:cNvSpPr>
              <a:spLocks/>
            </p:cNvSpPr>
            <p:nvPr/>
          </p:nvSpPr>
          <p:spPr bwMode="auto">
            <a:xfrm>
              <a:off x="6387579" y="2747735"/>
              <a:ext cx="180145" cy="84141"/>
            </a:xfrm>
            <a:custGeom>
              <a:avLst/>
              <a:gdLst>
                <a:gd name="T0" fmla="*/ 179520 w 24"/>
                <a:gd name="T1" fmla="*/ 46759 h 11"/>
                <a:gd name="T2" fmla="*/ 187325 w 24"/>
                <a:gd name="T3" fmla="*/ 31173 h 11"/>
                <a:gd name="T4" fmla="*/ 187325 w 24"/>
                <a:gd name="T5" fmla="*/ 31173 h 11"/>
                <a:gd name="T6" fmla="*/ 179520 w 24"/>
                <a:gd name="T7" fmla="*/ 15586 h 11"/>
                <a:gd name="T8" fmla="*/ 179520 w 24"/>
                <a:gd name="T9" fmla="*/ 7793 h 11"/>
                <a:gd name="T10" fmla="*/ 171715 w 24"/>
                <a:gd name="T11" fmla="*/ 7793 h 11"/>
                <a:gd name="T12" fmla="*/ 140494 w 24"/>
                <a:gd name="T13" fmla="*/ 0 h 11"/>
                <a:gd name="T14" fmla="*/ 132689 w 24"/>
                <a:gd name="T15" fmla="*/ 7793 h 11"/>
                <a:gd name="T16" fmla="*/ 109273 w 24"/>
                <a:gd name="T17" fmla="*/ 7793 h 11"/>
                <a:gd name="T18" fmla="*/ 101468 w 24"/>
                <a:gd name="T19" fmla="*/ 15586 h 11"/>
                <a:gd name="T20" fmla="*/ 85857 w 24"/>
                <a:gd name="T21" fmla="*/ 23380 h 11"/>
                <a:gd name="T22" fmla="*/ 93663 w 24"/>
                <a:gd name="T23" fmla="*/ 38966 h 11"/>
                <a:gd name="T24" fmla="*/ 85857 w 24"/>
                <a:gd name="T25" fmla="*/ 46759 h 11"/>
                <a:gd name="T26" fmla="*/ 78052 w 24"/>
                <a:gd name="T27" fmla="*/ 46759 h 11"/>
                <a:gd name="T28" fmla="*/ 46831 w 24"/>
                <a:gd name="T29" fmla="*/ 54552 h 11"/>
                <a:gd name="T30" fmla="*/ 31221 w 24"/>
                <a:gd name="T31" fmla="*/ 54552 h 11"/>
                <a:gd name="T32" fmla="*/ 15610 w 24"/>
                <a:gd name="T33" fmla="*/ 54552 h 11"/>
                <a:gd name="T34" fmla="*/ 7805 w 24"/>
                <a:gd name="T35" fmla="*/ 54552 h 11"/>
                <a:gd name="T36" fmla="*/ 0 w 24"/>
                <a:gd name="T37" fmla="*/ 54552 h 11"/>
                <a:gd name="T38" fmla="*/ 7805 w 24"/>
                <a:gd name="T39" fmla="*/ 62345 h 11"/>
                <a:gd name="T40" fmla="*/ 23416 w 24"/>
                <a:gd name="T41" fmla="*/ 77932 h 11"/>
                <a:gd name="T42" fmla="*/ 31221 w 24"/>
                <a:gd name="T43" fmla="*/ 85725 h 11"/>
                <a:gd name="T44" fmla="*/ 39026 w 24"/>
                <a:gd name="T45" fmla="*/ 77932 h 11"/>
                <a:gd name="T46" fmla="*/ 70247 w 24"/>
                <a:gd name="T47" fmla="*/ 77932 h 11"/>
                <a:gd name="T48" fmla="*/ 101468 w 24"/>
                <a:gd name="T49" fmla="*/ 85725 h 11"/>
                <a:gd name="T50" fmla="*/ 109273 w 24"/>
                <a:gd name="T51" fmla="*/ 85725 h 11"/>
                <a:gd name="T52" fmla="*/ 140494 w 24"/>
                <a:gd name="T53" fmla="*/ 85725 h 11"/>
                <a:gd name="T54" fmla="*/ 163909 w 24"/>
                <a:gd name="T55" fmla="*/ 70139 h 11"/>
                <a:gd name="T56" fmla="*/ 171715 w 24"/>
                <a:gd name="T57" fmla="*/ 70139 h 11"/>
                <a:gd name="T58" fmla="*/ 179520 w 24"/>
                <a:gd name="T59" fmla="*/ 46759 h 1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4"/>
                <a:gd name="T91" fmla="*/ 0 h 11"/>
                <a:gd name="T92" fmla="*/ 24 w 24"/>
                <a:gd name="T93" fmla="*/ 11 h 1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4" h="11">
                  <a:moveTo>
                    <a:pt x="23" y="6"/>
                  </a:moveTo>
                  <a:cubicBezTo>
                    <a:pt x="24" y="4"/>
                    <a:pt x="24" y="4"/>
                    <a:pt x="24" y="4"/>
                  </a:cubicBezTo>
                  <a:cubicBezTo>
                    <a:pt x="24" y="4"/>
                    <a:pt x="24" y="4"/>
                    <a:pt x="24" y="4"/>
                  </a:cubicBezTo>
                  <a:cubicBezTo>
                    <a:pt x="23" y="2"/>
                    <a:pt x="23" y="2"/>
                    <a:pt x="23" y="2"/>
                  </a:cubicBezTo>
                  <a:cubicBezTo>
                    <a:pt x="23" y="1"/>
                    <a:pt x="23" y="1"/>
                    <a:pt x="23" y="1"/>
                  </a:cubicBezTo>
                  <a:cubicBezTo>
                    <a:pt x="22" y="1"/>
                    <a:pt x="22" y="1"/>
                    <a:pt x="22" y="1"/>
                  </a:cubicBezTo>
                  <a:cubicBezTo>
                    <a:pt x="18" y="0"/>
                    <a:pt x="18" y="0"/>
                    <a:pt x="18" y="0"/>
                  </a:cubicBezTo>
                  <a:cubicBezTo>
                    <a:pt x="17" y="1"/>
                    <a:pt x="17" y="1"/>
                    <a:pt x="17" y="1"/>
                  </a:cubicBezTo>
                  <a:cubicBezTo>
                    <a:pt x="14" y="1"/>
                    <a:pt x="14" y="1"/>
                    <a:pt x="14" y="1"/>
                  </a:cubicBezTo>
                  <a:cubicBezTo>
                    <a:pt x="13" y="2"/>
                    <a:pt x="13" y="2"/>
                    <a:pt x="13" y="2"/>
                  </a:cubicBezTo>
                  <a:cubicBezTo>
                    <a:pt x="11" y="3"/>
                    <a:pt x="11" y="3"/>
                    <a:pt x="11" y="3"/>
                  </a:cubicBezTo>
                  <a:cubicBezTo>
                    <a:pt x="12" y="5"/>
                    <a:pt x="12" y="5"/>
                    <a:pt x="12" y="5"/>
                  </a:cubicBezTo>
                  <a:cubicBezTo>
                    <a:pt x="12" y="5"/>
                    <a:pt x="12" y="6"/>
                    <a:pt x="11" y="6"/>
                  </a:cubicBezTo>
                  <a:cubicBezTo>
                    <a:pt x="11" y="6"/>
                    <a:pt x="10" y="6"/>
                    <a:pt x="10" y="6"/>
                  </a:cubicBezTo>
                  <a:cubicBezTo>
                    <a:pt x="6" y="7"/>
                    <a:pt x="6" y="7"/>
                    <a:pt x="6" y="7"/>
                  </a:cubicBezTo>
                  <a:cubicBezTo>
                    <a:pt x="4" y="7"/>
                    <a:pt x="4" y="7"/>
                    <a:pt x="4" y="7"/>
                  </a:cubicBezTo>
                  <a:cubicBezTo>
                    <a:pt x="4" y="7"/>
                    <a:pt x="2" y="8"/>
                    <a:pt x="2" y="7"/>
                  </a:cubicBezTo>
                  <a:cubicBezTo>
                    <a:pt x="2" y="7"/>
                    <a:pt x="1" y="7"/>
                    <a:pt x="1" y="7"/>
                  </a:cubicBezTo>
                  <a:cubicBezTo>
                    <a:pt x="0" y="7"/>
                    <a:pt x="0" y="7"/>
                    <a:pt x="0" y="7"/>
                  </a:cubicBezTo>
                  <a:cubicBezTo>
                    <a:pt x="1" y="8"/>
                    <a:pt x="1" y="8"/>
                    <a:pt x="1" y="8"/>
                  </a:cubicBezTo>
                  <a:cubicBezTo>
                    <a:pt x="3" y="10"/>
                    <a:pt x="3" y="10"/>
                    <a:pt x="3" y="10"/>
                  </a:cubicBezTo>
                  <a:cubicBezTo>
                    <a:pt x="4" y="11"/>
                    <a:pt x="4" y="11"/>
                    <a:pt x="4" y="11"/>
                  </a:cubicBezTo>
                  <a:cubicBezTo>
                    <a:pt x="5" y="10"/>
                    <a:pt x="5" y="10"/>
                    <a:pt x="5" y="10"/>
                  </a:cubicBezTo>
                  <a:cubicBezTo>
                    <a:pt x="9" y="10"/>
                    <a:pt x="9" y="10"/>
                    <a:pt x="9" y="10"/>
                  </a:cubicBezTo>
                  <a:cubicBezTo>
                    <a:pt x="13" y="11"/>
                    <a:pt x="13" y="11"/>
                    <a:pt x="13" y="11"/>
                  </a:cubicBezTo>
                  <a:cubicBezTo>
                    <a:pt x="14" y="11"/>
                    <a:pt x="14" y="11"/>
                    <a:pt x="14" y="11"/>
                  </a:cubicBezTo>
                  <a:cubicBezTo>
                    <a:pt x="18" y="11"/>
                    <a:pt x="18" y="11"/>
                    <a:pt x="18" y="11"/>
                  </a:cubicBezTo>
                  <a:cubicBezTo>
                    <a:pt x="21" y="9"/>
                    <a:pt x="21" y="9"/>
                    <a:pt x="21" y="9"/>
                  </a:cubicBezTo>
                  <a:cubicBezTo>
                    <a:pt x="22" y="9"/>
                    <a:pt x="22" y="9"/>
                    <a:pt x="22" y="9"/>
                  </a:cubicBezTo>
                  <a:lnTo>
                    <a:pt x="23" y="6"/>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65" name="Freeform 342"/>
            <p:cNvSpPr>
              <a:spLocks/>
            </p:cNvSpPr>
            <p:nvPr/>
          </p:nvSpPr>
          <p:spPr bwMode="auto">
            <a:xfrm>
              <a:off x="6054730" y="2665152"/>
              <a:ext cx="302278" cy="311635"/>
            </a:xfrm>
            <a:custGeom>
              <a:avLst/>
              <a:gdLst>
                <a:gd name="T0" fmla="*/ 282893 w 40"/>
                <a:gd name="T1" fmla="*/ 224573 h 41"/>
                <a:gd name="T2" fmla="*/ 290751 w 40"/>
                <a:gd name="T3" fmla="*/ 209085 h 41"/>
                <a:gd name="T4" fmla="*/ 290751 w 40"/>
                <a:gd name="T5" fmla="*/ 193598 h 41"/>
                <a:gd name="T6" fmla="*/ 290751 w 40"/>
                <a:gd name="T7" fmla="*/ 193598 h 41"/>
                <a:gd name="T8" fmla="*/ 282893 w 40"/>
                <a:gd name="T9" fmla="*/ 178110 h 41"/>
                <a:gd name="T10" fmla="*/ 267176 w 40"/>
                <a:gd name="T11" fmla="*/ 178110 h 41"/>
                <a:gd name="T12" fmla="*/ 267176 w 40"/>
                <a:gd name="T13" fmla="*/ 162622 h 41"/>
                <a:gd name="T14" fmla="*/ 290751 w 40"/>
                <a:gd name="T15" fmla="*/ 139390 h 41"/>
                <a:gd name="T16" fmla="*/ 298609 w 40"/>
                <a:gd name="T17" fmla="*/ 131646 h 41"/>
                <a:gd name="T18" fmla="*/ 298609 w 40"/>
                <a:gd name="T19" fmla="*/ 131646 h 41"/>
                <a:gd name="T20" fmla="*/ 298609 w 40"/>
                <a:gd name="T21" fmla="*/ 100671 h 41"/>
                <a:gd name="T22" fmla="*/ 314325 w 40"/>
                <a:gd name="T23" fmla="*/ 85183 h 41"/>
                <a:gd name="T24" fmla="*/ 290751 w 40"/>
                <a:gd name="T25" fmla="*/ 77439 h 41"/>
                <a:gd name="T26" fmla="*/ 275034 w 40"/>
                <a:gd name="T27" fmla="*/ 69695 h 41"/>
                <a:gd name="T28" fmla="*/ 251460 w 40"/>
                <a:gd name="T29" fmla="*/ 61951 h 41"/>
                <a:gd name="T30" fmla="*/ 243602 w 40"/>
                <a:gd name="T31" fmla="*/ 54207 h 41"/>
                <a:gd name="T32" fmla="*/ 227886 w 40"/>
                <a:gd name="T33" fmla="*/ 46463 h 41"/>
                <a:gd name="T34" fmla="*/ 212169 w 40"/>
                <a:gd name="T35" fmla="*/ 38720 h 41"/>
                <a:gd name="T36" fmla="*/ 204311 w 40"/>
                <a:gd name="T37" fmla="*/ 23232 h 41"/>
                <a:gd name="T38" fmla="*/ 188595 w 40"/>
                <a:gd name="T39" fmla="*/ 15488 h 41"/>
                <a:gd name="T40" fmla="*/ 180737 w 40"/>
                <a:gd name="T41" fmla="*/ 0 h 41"/>
                <a:gd name="T42" fmla="*/ 165021 w 40"/>
                <a:gd name="T43" fmla="*/ 7744 h 41"/>
                <a:gd name="T44" fmla="*/ 149304 w 40"/>
                <a:gd name="T45" fmla="*/ 38720 h 41"/>
                <a:gd name="T46" fmla="*/ 141446 w 40"/>
                <a:gd name="T47" fmla="*/ 46463 h 41"/>
                <a:gd name="T48" fmla="*/ 125730 w 40"/>
                <a:gd name="T49" fmla="*/ 69695 h 41"/>
                <a:gd name="T50" fmla="*/ 94297 w 40"/>
                <a:gd name="T51" fmla="*/ 69695 h 41"/>
                <a:gd name="T52" fmla="*/ 86439 w 40"/>
                <a:gd name="T53" fmla="*/ 61951 h 41"/>
                <a:gd name="T54" fmla="*/ 70723 w 40"/>
                <a:gd name="T55" fmla="*/ 61951 h 41"/>
                <a:gd name="T56" fmla="*/ 70723 w 40"/>
                <a:gd name="T57" fmla="*/ 77439 h 41"/>
                <a:gd name="T58" fmla="*/ 78581 w 40"/>
                <a:gd name="T59" fmla="*/ 92927 h 41"/>
                <a:gd name="T60" fmla="*/ 55007 w 40"/>
                <a:gd name="T61" fmla="*/ 92927 h 41"/>
                <a:gd name="T62" fmla="*/ 47149 w 40"/>
                <a:gd name="T63" fmla="*/ 92927 h 41"/>
                <a:gd name="T64" fmla="*/ 23574 w 40"/>
                <a:gd name="T65" fmla="*/ 92927 h 41"/>
                <a:gd name="T66" fmla="*/ 0 w 40"/>
                <a:gd name="T67" fmla="*/ 100671 h 41"/>
                <a:gd name="T68" fmla="*/ 0 w 40"/>
                <a:gd name="T69" fmla="*/ 108415 h 41"/>
                <a:gd name="T70" fmla="*/ 0 w 40"/>
                <a:gd name="T71" fmla="*/ 123902 h 41"/>
                <a:gd name="T72" fmla="*/ 31433 w 40"/>
                <a:gd name="T73" fmla="*/ 139390 h 41"/>
                <a:gd name="T74" fmla="*/ 55007 w 40"/>
                <a:gd name="T75" fmla="*/ 139390 h 41"/>
                <a:gd name="T76" fmla="*/ 62865 w 40"/>
                <a:gd name="T77" fmla="*/ 147134 h 41"/>
                <a:gd name="T78" fmla="*/ 62865 w 40"/>
                <a:gd name="T79" fmla="*/ 154878 h 41"/>
                <a:gd name="T80" fmla="*/ 70723 w 40"/>
                <a:gd name="T81" fmla="*/ 170366 h 41"/>
                <a:gd name="T82" fmla="*/ 78581 w 40"/>
                <a:gd name="T83" fmla="*/ 193598 h 41"/>
                <a:gd name="T84" fmla="*/ 86439 w 40"/>
                <a:gd name="T85" fmla="*/ 201341 h 41"/>
                <a:gd name="T86" fmla="*/ 86439 w 40"/>
                <a:gd name="T87" fmla="*/ 224573 h 41"/>
                <a:gd name="T88" fmla="*/ 78581 w 40"/>
                <a:gd name="T89" fmla="*/ 286524 h 41"/>
                <a:gd name="T90" fmla="*/ 78581 w 40"/>
                <a:gd name="T91" fmla="*/ 286524 h 41"/>
                <a:gd name="T92" fmla="*/ 86439 w 40"/>
                <a:gd name="T93" fmla="*/ 302012 h 41"/>
                <a:gd name="T94" fmla="*/ 94297 w 40"/>
                <a:gd name="T95" fmla="*/ 302012 h 41"/>
                <a:gd name="T96" fmla="*/ 110014 w 40"/>
                <a:gd name="T97" fmla="*/ 302012 h 41"/>
                <a:gd name="T98" fmla="*/ 133588 w 40"/>
                <a:gd name="T99" fmla="*/ 309756 h 41"/>
                <a:gd name="T100" fmla="*/ 149304 w 40"/>
                <a:gd name="T101" fmla="*/ 309756 h 41"/>
                <a:gd name="T102" fmla="*/ 172879 w 40"/>
                <a:gd name="T103" fmla="*/ 317500 h 41"/>
                <a:gd name="T104" fmla="*/ 188595 w 40"/>
                <a:gd name="T105" fmla="*/ 317500 h 41"/>
                <a:gd name="T106" fmla="*/ 196453 w 40"/>
                <a:gd name="T107" fmla="*/ 294268 h 41"/>
                <a:gd name="T108" fmla="*/ 220027 w 40"/>
                <a:gd name="T109" fmla="*/ 286524 h 41"/>
                <a:gd name="T110" fmla="*/ 251460 w 40"/>
                <a:gd name="T111" fmla="*/ 294268 h 41"/>
                <a:gd name="T112" fmla="*/ 298609 w 40"/>
                <a:gd name="T113" fmla="*/ 263293 h 41"/>
                <a:gd name="T114" fmla="*/ 306467 w 40"/>
                <a:gd name="T115" fmla="*/ 263293 h 41"/>
                <a:gd name="T116" fmla="*/ 290751 w 40"/>
                <a:gd name="T117" fmla="*/ 247805 h 41"/>
                <a:gd name="T118" fmla="*/ 282893 w 40"/>
                <a:gd name="T119" fmla="*/ 224573 h 4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0"/>
                <a:gd name="T181" fmla="*/ 0 h 41"/>
                <a:gd name="T182" fmla="*/ 40 w 40"/>
                <a:gd name="T183" fmla="*/ 41 h 4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0" h="41">
                  <a:moveTo>
                    <a:pt x="36" y="29"/>
                  </a:moveTo>
                  <a:cubicBezTo>
                    <a:pt x="37" y="27"/>
                    <a:pt x="37" y="27"/>
                    <a:pt x="37" y="27"/>
                  </a:cubicBezTo>
                  <a:cubicBezTo>
                    <a:pt x="37" y="25"/>
                    <a:pt x="37" y="25"/>
                    <a:pt x="37" y="25"/>
                  </a:cubicBezTo>
                  <a:cubicBezTo>
                    <a:pt x="37" y="25"/>
                    <a:pt x="37" y="25"/>
                    <a:pt x="37" y="25"/>
                  </a:cubicBezTo>
                  <a:cubicBezTo>
                    <a:pt x="36" y="23"/>
                    <a:pt x="36" y="23"/>
                    <a:pt x="36" y="23"/>
                  </a:cubicBezTo>
                  <a:cubicBezTo>
                    <a:pt x="34" y="23"/>
                    <a:pt x="34" y="23"/>
                    <a:pt x="34" y="23"/>
                  </a:cubicBezTo>
                  <a:cubicBezTo>
                    <a:pt x="34" y="21"/>
                    <a:pt x="34" y="21"/>
                    <a:pt x="34" y="21"/>
                  </a:cubicBezTo>
                  <a:cubicBezTo>
                    <a:pt x="37" y="18"/>
                    <a:pt x="37" y="18"/>
                    <a:pt x="37" y="18"/>
                  </a:cubicBezTo>
                  <a:cubicBezTo>
                    <a:pt x="38" y="17"/>
                    <a:pt x="38" y="17"/>
                    <a:pt x="38" y="17"/>
                  </a:cubicBezTo>
                  <a:cubicBezTo>
                    <a:pt x="38" y="17"/>
                    <a:pt x="38" y="17"/>
                    <a:pt x="38" y="17"/>
                  </a:cubicBezTo>
                  <a:cubicBezTo>
                    <a:pt x="38" y="13"/>
                    <a:pt x="38" y="13"/>
                    <a:pt x="38" y="13"/>
                  </a:cubicBezTo>
                  <a:cubicBezTo>
                    <a:pt x="40" y="11"/>
                    <a:pt x="40" y="11"/>
                    <a:pt x="40" y="11"/>
                  </a:cubicBezTo>
                  <a:cubicBezTo>
                    <a:pt x="37" y="10"/>
                    <a:pt x="37" y="10"/>
                    <a:pt x="37" y="10"/>
                  </a:cubicBezTo>
                  <a:cubicBezTo>
                    <a:pt x="35" y="9"/>
                    <a:pt x="35" y="9"/>
                    <a:pt x="35" y="9"/>
                  </a:cubicBezTo>
                  <a:cubicBezTo>
                    <a:pt x="32" y="8"/>
                    <a:pt x="32" y="8"/>
                    <a:pt x="32" y="8"/>
                  </a:cubicBezTo>
                  <a:cubicBezTo>
                    <a:pt x="31" y="7"/>
                    <a:pt x="31" y="7"/>
                    <a:pt x="31" y="7"/>
                  </a:cubicBezTo>
                  <a:cubicBezTo>
                    <a:pt x="29" y="6"/>
                    <a:pt x="29" y="6"/>
                    <a:pt x="29" y="6"/>
                  </a:cubicBezTo>
                  <a:cubicBezTo>
                    <a:pt x="27" y="5"/>
                    <a:pt x="27" y="5"/>
                    <a:pt x="27" y="5"/>
                  </a:cubicBezTo>
                  <a:cubicBezTo>
                    <a:pt x="26" y="3"/>
                    <a:pt x="26" y="3"/>
                    <a:pt x="26" y="3"/>
                  </a:cubicBezTo>
                  <a:cubicBezTo>
                    <a:pt x="24" y="2"/>
                    <a:pt x="24" y="2"/>
                    <a:pt x="24" y="2"/>
                  </a:cubicBezTo>
                  <a:cubicBezTo>
                    <a:pt x="23" y="0"/>
                    <a:pt x="23" y="0"/>
                    <a:pt x="23" y="0"/>
                  </a:cubicBezTo>
                  <a:cubicBezTo>
                    <a:pt x="21" y="1"/>
                    <a:pt x="21" y="1"/>
                    <a:pt x="21" y="1"/>
                  </a:cubicBezTo>
                  <a:cubicBezTo>
                    <a:pt x="19" y="5"/>
                    <a:pt x="19" y="5"/>
                    <a:pt x="19" y="5"/>
                  </a:cubicBezTo>
                  <a:cubicBezTo>
                    <a:pt x="18" y="6"/>
                    <a:pt x="18" y="6"/>
                    <a:pt x="18" y="6"/>
                  </a:cubicBezTo>
                  <a:cubicBezTo>
                    <a:pt x="16" y="9"/>
                    <a:pt x="16" y="9"/>
                    <a:pt x="16" y="9"/>
                  </a:cubicBezTo>
                  <a:cubicBezTo>
                    <a:pt x="12" y="9"/>
                    <a:pt x="12" y="9"/>
                    <a:pt x="12" y="9"/>
                  </a:cubicBezTo>
                  <a:cubicBezTo>
                    <a:pt x="11" y="8"/>
                    <a:pt x="11" y="8"/>
                    <a:pt x="11" y="8"/>
                  </a:cubicBezTo>
                  <a:cubicBezTo>
                    <a:pt x="9" y="8"/>
                    <a:pt x="9" y="8"/>
                    <a:pt x="9" y="8"/>
                  </a:cubicBezTo>
                  <a:cubicBezTo>
                    <a:pt x="9" y="10"/>
                    <a:pt x="9" y="10"/>
                    <a:pt x="9" y="10"/>
                  </a:cubicBezTo>
                  <a:cubicBezTo>
                    <a:pt x="10" y="12"/>
                    <a:pt x="10" y="12"/>
                    <a:pt x="10" y="12"/>
                  </a:cubicBezTo>
                  <a:cubicBezTo>
                    <a:pt x="7" y="12"/>
                    <a:pt x="7" y="12"/>
                    <a:pt x="7" y="12"/>
                  </a:cubicBezTo>
                  <a:cubicBezTo>
                    <a:pt x="6" y="12"/>
                    <a:pt x="6" y="12"/>
                    <a:pt x="6" y="12"/>
                  </a:cubicBezTo>
                  <a:cubicBezTo>
                    <a:pt x="3" y="12"/>
                    <a:pt x="3" y="12"/>
                    <a:pt x="3" y="12"/>
                  </a:cubicBezTo>
                  <a:cubicBezTo>
                    <a:pt x="0" y="13"/>
                    <a:pt x="0" y="13"/>
                    <a:pt x="0" y="13"/>
                  </a:cubicBezTo>
                  <a:cubicBezTo>
                    <a:pt x="0" y="14"/>
                    <a:pt x="0" y="14"/>
                    <a:pt x="0" y="14"/>
                  </a:cubicBezTo>
                  <a:cubicBezTo>
                    <a:pt x="0" y="16"/>
                    <a:pt x="0" y="16"/>
                    <a:pt x="0" y="16"/>
                  </a:cubicBezTo>
                  <a:cubicBezTo>
                    <a:pt x="4" y="18"/>
                    <a:pt x="4" y="18"/>
                    <a:pt x="4" y="18"/>
                  </a:cubicBezTo>
                  <a:cubicBezTo>
                    <a:pt x="7" y="18"/>
                    <a:pt x="7" y="18"/>
                    <a:pt x="7" y="18"/>
                  </a:cubicBezTo>
                  <a:cubicBezTo>
                    <a:pt x="8" y="19"/>
                    <a:pt x="8" y="19"/>
                    <a:pt x="8" y="19"/>
                  </a:cubicBezTo>
                  <a:cubicBezTo>
                    <a:pt x="8" y="20"/>
                    <a:pt x="8" y="20"/>
                    <a:pt x="8" y="20"/>
                  </a:cubicBezTo>
                  <a:cubicBezTo>
                    <a:pt x="9" y="22"/>
                    <a:pt x="9" y="22"/>
                    <a:pt x="9" y="22"/>
                  </a:cubicBezTo>
                  <a:cubicBezTo>
                    <a:pt x="10" y="25"/>
                    <a:pt x="10" y="25"/>
                    <a:pt x="10" y="25"/>
                  </a:cubicBezTo>
                  <a:cubicBezTo>
                    <a:pt x="11" y="26"/>
                    <a:pt x="11" y="26"/>
                    <a:pt x="11" y="26"/>
                  </a:cubicBezTo>
                  <a:cubicBezTo>
                    <a:pt x="11" y="29"/>
                    <a:pt x="11" y="29"/>
                    <a:pt x="11" y="29"/>
                  </a:cubicBezTo>
                  <a:cubicBezTo>
                    <a:pt x="10" y="37"/>
                    <a:pt x="10" y="37"/>
                    <a:pt x="10" y="37"/>
                  </a:cubicBezTo>
                  <a:cubicBezTo>
                    <a:pt x="10" y="37"/>
                    <a:pt x="10" y="37"/>
                    <a:pt x="10" y="37"/>
                  </a:cubicBezTo>
                  <a:cubicBezTo>
                    <a:pt x="11" y="39"/>
                    <a:pt x="11" y="39"/>
                    <a:pt x="11" y="39"/>
                  </a:cubicBezTo>
                  <a:cubicBezTo>
                    <a:pt x="12" y="39"/>
                    <a:pt x="12" y="39"/>
                    <a:pt x="12" y="39"/>
                  </a:cubicBezTo>
                  <a:cubicBezTo>
                    <a:pt x="14" y="39"/>
                    <a:pt x="14" y="39"/>
                    <a:pt x="14" y="39"/>
                  </a:cubicBezTo>
                  <a:cubicBezTo>
                    <a:pt x="14" y="39"/>
                    <a:pt x="17" y="40"/>
                    <a:pt x="17" y="40"/>
                  </a:cubicBezTo>
                  <a:cubicBezTo>
                    <a:pt x="18" y="40"/>
                    <a:pt x="19" y="40"/>
                    <a:pt x="19" y="40"/>
                  </a:cubicBezTo>
                  <a:cubicBezTo>
                    <a:pt x="22" y="41"/>
                    <a:pt x="22" y="41"/>
                    <a:pt x="22" y="41"/>
                  </a:cubicBezTo>
                  <a:cubicBezTo>
                    <a:pt x="24" y="41"/>
                    <a:pt x="24" y="41"/>
                    <a:pt x="24" y="41"/>
                  </a:cubicBezTo>
                  <a:cubicBezTo>
                    <a:pt x="25" y="38"/>
                    <a:pt x="25" y="38"/>
                    <a:pt x="25" y="38"/>
                  </a:cubicBezTo>
                  <a:cubicBezTo>
                    <a:pt x="28" y="37"/>
                    <a:pt x="28" y="37"/>
                    <a:pt x="28" y="37"/>
                  </a:cubicBezTo>
                  <a:cubicBezTo>
                    <a:pt x="32" y="38"/>
                    <a:pt x="32" y="38"/>
                    <a:pt x="32" y="38"/>
                  </a:cubicBezTo>
                  <a:cubicBezTo>
                    <a:pt x="38" y="34"/>
                    <a:pt x="38" y="34"/>
                    <a:pt x="38" y="34"/>
                  </a:cubicBezTo>
                  <a:cubicBezTo>
                    <a:pt x="39" y="34"/>
                    <a:pt x="39" y="34"/>
                    <a:pt x="39" y="34"/>
                  </a:cubicBezTo>
                  <a:cubicBezTo>
                    <a:pt x="37" y="32"/>
                    <a:pt x="37" y="32"/>
                    <a:pt x="37" y="32"/>
                  </a:cubicBezTo>
                  <a:lnTo>
                    <a:pt x="36" y="29"/>
                  </a:lnTo>
                  <a:close/>
                </a:path>
              </a:pathLst>
            </a:custGeom>
            <a:solidFill>
              <a:srgbClr val="598E27"/>
            </a:solidFill>
            <a:ln w="9525">
              <a:solidFill>
                <a:sysClr val="window" lastClr="FFFFFF">
                  <a:lumMod val="85000"/>
                </a:sys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66" name="Freeform 343"/>
            <p:cNvSpPr>
              <a:spLocks/>
            </p:cNvSpPr>
            <p:nvPr/>
          </p:nvSpPr>
          <p:spPr bwMode="auto">
            <a:xfrm>
              <a:off x="6326512" y="2824092"/>
              <a:ext cx="279377" cy="288263"/>
            </a:xfrm>
            <a:custGeom>
              <a:avLst/>
              <a:gdLst>
                <a:gd name="T0" fmla="*/ 164120 w 154"/>
                <a:gd name="T1" fmla="*/ 7628 h 154"/>
                <a:gd name="T2" fmla="*/ 133937 w 154"/>
                <a:gd name="T3" fmla="*/ 0 h 154"/>
                <a:gd name="T4" fmla="*/ 101868 w 154"/>
                <a:gd name="T5" fmla="*/ 0 h 154"/>
                <a:gd name="T6" fmla="*/ 94322 w 154"/>
                <a:gd name="T7" fmla="*/ 7628 h 154"/>
                <a:gd name="T8" fmla="*/ 86776 w 154"/>
                <a:gd name="T9" fmla="*/ 7628 h 154"/>
                <a:gd name="T10" fmla="*/ 69798 w 154"/>
                <a:gd name="T11" fmla="*/ 15256 h 154"/>
                <a:gd name="T12" fmla="*/ 47161 w 154"/>
                <a:gd name="T13" fmla="*/ 22885 h 154"/>
                <a:gd name="T14" fmla="*/ 39615 w 154"/>
                <a:gd name="T15" fmla="*/ 15256 h 154"/>
                <a:gd name="T16" fmla="*/ 15092 w 154"/>
                <a:gd name="T17" fmla="*/ 30513 h 154"/>
                <a:gd name="T18" fmla="*/ 7546 w 154"/>
                <a:gd name="T19" fmla="*/ 30513 h 154"/>
                <a:gd name="T20" fmla="*/ 7546 w 154"/>
                <a:gd name="T21" fmla="*/ 47676 h 154"/>
                <a:gd name="T22" fmla="*/ 0 w 154"/>
                <a:gd name="T23" fmla="*/ 62933 h 154"/>
                <a:gd name="T24" fmla="*/ 7546 w 154"/>
                <a:gd name="T25" fmla="*/ 85818 h 154"/>
                <a:gd name="T26" fmla="*/ 22637 w 154"/>
                <a:gd name="T27" fmla="*/ 102981 h 154"/>
                <a:gd name="T28" fmla="*/ 39615 w 154"/>
                <a:gd name="T29" fmla="*/ 85818 h 154"/>
                <a:gd name="T30" fmla="*/ 79231 w 154"/>
                <a:gd name="T31" fmla="*/ 102981 h 154"/>
                <a:gd name="T32" fmla="*/ 101868 w 154"/>
                <a:gd name="T33" fmla="*/ 148751 h 154"/>
                <a:gd name="T34" fmla="*/ 126392 w 154"/>
                <a:gd name="T35" fmla="*/ 181171 h 154"/>
                <a:gd name="T36" fmla="*/ 181098 w 154"/>
                <a:gd name="T37" fmla="*/ 213591 h 154"/>
                <a:gd name="T38" fmla="*/ 215054 w 154"/>
                <a:gd name="T39" fmla="*/ 240289 h 154"/>
                <a:gd name="T40" fmla="*/ 199963 w 154"/>
                <a:gd name="T41" fmla="*/ 293687 h 154"/>
                <a:gd name="T42" fmla="*/ 250897 w 154"/>
                <a:gd name="T43" fmla="*/ 253639 h 154"/>
                <a:gd name="T44" fmla="*/ 250897 w 154"/>
                <a:gd name="T45" fmla="*/ 228847 h 154"/>
                <a:gd name="T46" fmla="*/ 275420 w 154"/>
                <a:gd name="T47" fmla="*/ 236475 h 154"/>
                <a:gd name="T48" fmla="*/ 290512 w 154"/>
                <a:gd name="T49" fmla="*/ 236475 h 154"/>
                <a:gd name="T50" fmla="*/ 250897 w 154"/>
                <a:gd name="T51" fmla="*/ 198334 h 154"/>
                <a:gd name="T52" fmla="*/ 220714 w 154"/>
                <a:gd name="T53" fmla="*/ 173542 h 154"/>
                <a:gd name="T54" fmla="*/ 196190 w 154"/>
                <a:gd name="T55" fmla="*/ 165914 h 154"/>
                <a:gd name="T56" fmla="*/ 164120 w 154"/>
                <a:gd name="T57" fmla="*/ 110609 h 154"/>
                <a:gd name="T58" fmla="*/ 149029 w 154"/>
                <a:gd name="T59" fmla="*/ 78189 h 154"/>
                <a:gd name="T60" fmla="*/ 156575 w 154"/>
                <a:gd name="T61" fmla="*/ 47676 h 154"/>
                <a:gd name="T62" fmla="*/ 164120 w 154"/>
                <a:gd name="T63" fmla="*/ 47676 h 154"/>
                <a:gd name="T64" fmla="*/ 164120 w 154"/>
                <a:gd name="T65" fmla="*/ 30513 h 154"/>
                <a:gd name="T66" fmla="*/ 164120 w 154"/>
                <a:gd name="T67" fmla="*/ 7628 h 1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4"/>
                <a:gd name="T103" fmla="*/ 0 h 154"/>
                <a:gd name="T104" fmla="*/ 154 w 154"/>
                <a:gd name="T105" fmla="*/ 154 h 1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4" h="154">
                  <a:moveTo>
                    <a:pt x="87" y="4"/>
                  </a:moveTo>
                  <a:lnTo>
                    <a:pt x="71" y="0"/>
                  </a:lnTo>
                  <a:lnTo>
                    <a:pt x="54" y="0"/>
                  </a:lnTo>
                  <a:lnTo>
                    <a:pt x="50" y="4"/>
                  </a:lnTo>
                  <a:lnTo>
                    <a:pt x="46" y="4"/>
                  </a:lnTo>
                  <a:lnTo>
                    <a:pt x="37" y="8"/>
                  </a:lnTo>
                  <a:lnTo>
                    <a:pt x="25" y="12"/>
                  </a:lnTo>
                  <a:lnTo>
                    <a:pt x="21" y="8"/>
                  </a:lnTo>
                  <a:lnTo>
                    <a:pt x="8" y="16"/>
                  </a:lnTo>
                  <a:lnTo>
                    <a:pt x="4" y="16"/>
                  </a:lnTo>
                  <a:lnTo>
                    <a:pt x="4" y="25"/>
                  </a:lnTo>
                  <a:lnTo>
                    <a:pt x="0" y="33"/>
                  </a:lnTo>
                  <a:lnTo>
                    <a:pt x="4" y="45"/>
                  </a:lnTo>
                  <a:lnTo>
                    <a:pt x="12" y="54"/>
                  </a:lnTo>
                  <a:lnTo>
                    <a:pt x="21" y="45"/>
                  </a:lnTo>
                  <a:lnTo>
                    <a:pt x="42" y="54"/>
                  </a:lnTo>
                  <a:lnTo>
                    <a:pt x="54" y="78"/>
                  </a:lnTo>
                  <a:lnTo>
                    <a:pt x="67" y="95"/>
                  </a:lnTo>
                  <a:lnTo>
                    <a:pt x="96" y="112"/>
                  </a:lnTo>
                  <a:lnTo>
                    <a:pt x="114" y="126"/>
                  </a:lnTo>
                  <a:lnTo>
                    <a:pt x="106" y="154"/>
                  </a:lnTo>
                  <a:lnTo>
                    <a:pt x="133" y="133"/>
                  </a:lnTo>
                  <a:lnTo>
                    <a:pt x="133" y="120"/>
                  </a:lnTo>
                  <a:lnTo>
                    <a:pt x="146" y="124"/>
                  </a:lnTo>
                  <a:lnTo>
                    <a:pt x="154" y="124"/>
                  </a:lnTo>
                  <a:lnTo>
                    <a:pt x="133" y="104"/>
                  </a:lnTo>
                  <a:lnTo>
                    <a:pt x="117" y="91"/>
                  </a:lnTo>
                  <a:lnTo>
                    <a:pt x="104" y="87"/>
                  </a:lnTo>
                  <a:lnTo>
                    <a:pt x="87" y="58"/>
                  </a:lnTo>
                  <a:lnTo>
                    <a:pt x="79" y="41"/>
                  </a:lnTo>
                  <a:lnTo>
                    <a:pt x="83" y="25"/>
                  </a:lnTo>
                  <a:lnTo>
                    <a:pt x="87" y="25"/>
                  </a:lnTo>
                  <a:lnTo>
                    <a:pt x="87" y="16"/>
                  </a:lnTo>
                  <a:lnTo>
                    <a:pt x="87" y="4"/>
                  </a:lnTo>
                  <a:close/>
                </a:path>
              </a:pathLst>
            </a:custGeom>
            <a:solidFill>
              <a:srgbClr val="598E27"/>
            </a:solidFill>
            <a:ln w="9525">
              <a:solidFill>
                <a:sysClr val="window" lastClr="FFFFFF">
                  <a:lumMod val="85000"/>
                </a:sys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67" name="Freeform 344"/>
            <p:cNvSpPr>
              <a:spLocks/>
            </p:cNvSpPr>
            <p:nvPr/>
          </p:nvSpPr>
          <p:spPr bwMode="auto">
            <a:xfrm>
              <a:off x="6297471" y="2510823"/>
              <a:ext cx="218312" cy="297612"/>
            </a:xfrm>
            <a:custGeom>
              <a:avLst/>
              <a:gdLst>
                <a:gd name="T0" fmla="*/ 39140 w 29"/>
                <a:gd name="T1" fmla="*/ 77747 h 39"/>
                <a:gd name="T2" fmla="*/ 31312 w 29"/>
                <a:gd name="T3" fmla="*/ 93296 h 39"/>
                <a:gd name="T4" fmla="*/ 31312 w 29"/>
                <a:gd name="T5" fmla="*/ 116620 h 39"/>
                <a:gd name="T6" fmla="*/ 15656 w 29"/>
                <a:gd name="T7" fmla="*/ 132170 h 39"/>
                <a:gd name="T8" fmla="*/ 15656 w 29"/>
                <a:gd name="T9" fmla="*/ 155494 h 39"/>
                <a:gd name="T10" fmla="*/ 7828 w 29"/>
                <a:gd name="T11" fmla="*/ 171043 h 39"/>
                <a:gd name="T12" fmla="*/ 7828 w 29"/>
                <a:gd name="T13" fmla="*/ 171043 h 39"/>
                <a:gd name="T14" fmla="*/ 15656 w 29"/>
                <a:gd name="T15" fmla="*/ 186593 h 39"/>
                <a:gd name="T16" fmla="*/ 7828 w 29"/>
                <a:gd name="T17" fmla="*/ 202142 h 39"/>
                <a:gd name="T18" fmla="*/ 0 w 29"/>
                <a:gd name="T19" fmla="*/ 217691 h 39"/>
                <a:gd name="T20" fmla="*/ 23484 w 29"/>
                <a:gd name="T21" fmla="*/ 225466 h 39"/>
                <a:gd name="T22" fmla="*/ 39140 w 29"/>
                <a:gd name="T23" fmla="*/ 233241 h 39"/>
                <a:gd name="T24" fmla="*/ 62624 w 29"/>
                <a:gd name="T25" fmla="*/ 241015 h 39"/>
                <a:gd name="T26" fmla="*/ 46968 w 29"/>
                <a:gd name="T27" fmla="*/ 256565 h 39"/>
                <a:gd name="T28" fmla="*/ 46968 w 29"/>
                <a:gd name="T29" fmla="*/ 287664 h 39"/>
                <a:gd name="T30" fmla="*/ 54796 w 29"/>
                <a:gd name="T31" fmla="*/ 295438 h 39"/>
                <a:gd name="T32" fmla="*/ 78280 w 29"/>
                <a:gd name="T33" fmla="*/ 287664 h 39"/>
                <a:gd name="T34" fmla="*/ 93936 w 29"/>
                <a:gd name="T35" fmla="*/ 295438 h 39"/>
                <a:gd name="T36" fmla="*/ 101764 w 29"/>
                <a:gd name="T37" fmla="*/ 295438 h 39"/>
                <a:gd name="T38" fmla="*/ 109592 w 29"/>
                <a:gd name="T39" fmla="*/ 295438 h 39"/>
                <a:gd name="T40" fmla="*/ 125249 w 29"/>
                <a:gd name="T41" fmla="*/ 295438 h 39"/>
                <a:gd name="T42" fmla="*/ 140905 w 29"/>
                <a:gd name="T43" fmla="*/ 295438 h 39"/>
                <a:gd name="T44" fmla="*/ 172217 w 29"/>
                <a:gd name="T45" fmla="*/ 287664 h 39"/>
                <a:gd name="T46" fmla="*/ 180045 w 29"/>
                <a:gd name="T47" fmla="*/ 287664 h 39"/>
                <a:gd name="T48" fmla="*/ 187873 w 29"/>
                <a:gd name="T49" fmla="*/ 279889 h 39"/>
                <a:gd name="T50" fmla="*/ 180045 w 29"/>
                <a:gd name="T51" fmla="*/ 264340 h 39"/>
                <a:gd name="T52" fmla="*/ 195701 w 29"/>
                <a:gd name="T53" fmla="*/ 256565 h 39"/>
                <a:gd name="T54" fmla="*/ 203529 w 29"/>
                <a:gd name="T55" fmla="*/ 248790 h 39"/>
                <a:gd name="T56" fmla="*/ 203529 w 29"/>
                <a:gd name="T57" fmla="*/ 248790 h 39"/>
                <a:gd name="T58" fmla="*/ 195701 w 29"/>
                <a:gd name="T59" fmla="*/ 241015 h 39"/>
                <a:gd name="T60" fmla="*/ 180045 w 29"/>
                <a:gd name="T61" fmla="*/ 217691 h 39"/>
                <a:gd name="T62" fmla="*/ 164389 w 29"/>
                <a:gd name="T63" fmla="*/ 202142 h 39"/>
                <a:gd name="T64" fmla="*/ 156561 w 29"/>
                <a:gd name="T65" fmla="*/ 194367 h 39"/>
                <a:gd name="T66" fmla="*/ 172217 w 29"/>
                <a:gd name="T67" fmla="*/ 186593 h 39"/>
                <a:gd name="T68" fmla="*/ 187873 w 29"/>
                <a:gd name="T69" fmla="*/ 178818 h 39"/>
                <a:gd name="T70" fmla="*/ 203529 w 29"/>
                <a:gd name="T71" fmla="*/ 171043 h 39"/>
                <a:gd name="T72" fmla="*/ 211357 w 29"/>
                <a:gd name="T73" fmla="*/ 163269 h 39"/>
                <a:gd name="T74" fmla="*/ 227013 w 29"/>
                <a:gd name="T75" fmla="*/ 171043 h 39"/>
                <a:gd name="T76" fmla="*/ 227013 w 29"/>
                <a:gd name="T77" fmla="*/ 163269 h 39"/>
                <a:gd name="T78" fmla="*/ 227013 w 29"/>
                <a:gd name="T79" fmla="*/ 139944 h 39"/>
                <a:gd name="T80" fmla="*/ 219185 w 29"/>
                <a:gd name="T81" fmla="*/ 108846 h 39"/>
                <a:gd name="T82" fmla="*/ 219185 w 29"/>
                <a:gd name="T83" fmla="*/ 85522 h 39"/>
                <a:gd name="T84" fmla="*/ 219185 w 29"/>
                <a:gd name="T85" fmla="*/ 77747 h 39"/>
                <a:gd name="T86" fmla="*/ 211357 w 29"/>
                <a:gd name="T87" fmla="*/ 54423 h 39"/>
                <a:gd name="T88" fmla="*/ 211357 w 29"/>
                <a:gd name="T89" fmla="*/ 38873 h 39"/>
                <a:gd name="T90" fmla="*/ 180045 w 29"/>
                <a:gd name="T91" fmla="*/ 23324 h 39"/>
                <a:gd name="T92" fmla="*/ 148733 w 29"/>
                <a:gd name="T93" fmla="*/ 38873 h 39"/>
                <a:gd name="T94" fmla="*/ 133077 w 29"/>
                <a:gd name="T95" fmla="*/ 31099 h 39"/>
                <a:gd name="T96" fmla="*/ 133077 w 29"/>
                <a:gd name="T97" fmla="*/ 15549 h 39"/>
                <a:gd name="T98" fmla="*/ 109592 w 29"/>
                <a:gd name="T99" fmla="*/ 7775 h 39"/>
                <a:gd name="T100" fmla="*/ 109592 w 29"/>
                <a:gd name="T101" fmla="*/ 7775 h 39"/>
                <a:gd name="T102" fmla="*/ 93936 w 29"/>
                <a:gd name="T103" fmla="*/ 0 h 39"/>
                <a:gd name="T104" fmla="*/ 86108 w 29"/>
                <a:gd name="T105" fmla="*/ 7775 h 39"/>
                <a:gd name="T106" fmla="*/ 86108 w 29"/>
                <a:gd name="T107" fmla="*/ 7775 h 39"/>
                <a:gd name="T108" fmla="*/ 78280 w 29"/>
                <a:gd name="T109" fmla="*/ 38873 h 39"/>
                <a:gd name="T110" fmla="*/ 70452 w 29"/>
                <a:gd name="T111" fmla="*/ 54423 h 39"/>
                <a:gd name="T112" fmla="*/ 54796 w 29"/>
                <a:gd name="T113" fmla="*/ 54423 h 39"/>
                <a:gd name="T114" fmla="*/ 39140 w 29"/>
                <a:gd name="T115" fmla="*/ 54423 h 39"/>
                <a:gd name="T116" fmla="*/ 39140 w 29"/>
                <a:gd name="T117" fmla="*/ 62198 h 39"/>
                <a:gd name="T118" fmla="*/ 39140 w 29"/>
                <a:gd name="T119" fmla="*/ 77747 h 3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
                <a:gd name="T181" fmla="*/ 0 h 39"/>
                <a:gd name="T182" fmla="*/ 29 w 29"/>
                <a:gd name="T183" fmla="*/ 39 h 3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 h="39">
                  <a:moveTo>
                    <a:pt x="5" y="10"/>
                  </a:moveTo>
                  <a:cubicBezTo>
                    <a:pt x="4" y="12"/>
                    <a:pt x="4" y="12"/>
                    <a:pt x="4" y="12"/>
                  </a:cubicBezTo>
                  <a:cubicBezTo>
                    <a:pt x="4" y="15"/>
                    <a:pt x="4" y="15"/>
                    <a:pt x="4" y="15"/>
                  </a:cubicBezTo>
                  <a:cubicBezTo>
                    <a:pt x="2" y="17"/>
                    <a:pt x="2" y="17"/>
                    <a:pt x="2" y="17"/>
                  </a:cubicBezTo>
                  <a:cubicBezTo>
                    <a:pt x="2" y="20"/>
                    <a:pt x="2" y="20"/>
                    <a:pt x="2" y="20"/>
                  </a:cubicBezTo>
                  <a:cubicBezTo>
                    <a:pt x="1" y="22"/>
                    <a:pt x="1" y="22"/>
                    <a:pt x="1" y="22"/>
                  </a:cubicBezTo>
                  <a:cubicBezTo>
                    <a:pt x="1" y="22"/>
                    <a:pt x="1" y="22"/>
                    <a:pt x="1" y="22"/>
                  </a:cubicBezTo>
                  <a:cubicBezTo>
                    <a:pt x="2" y="24"/>
                    <a:pt x="2" y="24"/>
                    <a:pt x="2" y="24"/>
                  </a:cubicBezTo>
                  <a:cubicBezTo>
                    <a:pt x="1" y="26"/>
                    <a:pt x="1" y="26"/>
                    <a:pt x="1" y="26"/>
                  </a:cubicBezTo>
                  <a:cubicBezTo>
                    <a:pt x="0" y="28"/>
                    <a:pt x="0" y="28"/>
                    <a:pt x="0" y="28"/>
                  </a:cubicBezTo>
                  <a:cubicBezTo>
                    <a:pt x="3" y="29"/>
                    <a:pt x="3" y="29"/>
                    <a:pt x="3" y="29"/>
                  </a:cubicBezTo>
                  <a:cubicBezTo>
                    <a:pt x="5" y="30"/>
                    <a:pt x="5" y="30"/>
                    <a:pt x="5" y="30"/>
                  </a:cubicBezTo>
                  <a:cubicBezTo>
                    <a:pt x="8" y="31"/>
                    <a:pt x="8" y="31"/>
                    <a:pt x="8" y="31"/>
                  </a:cubicBezTo>
                  <a:cubicBezTo>
                    <a:pt x="6" y="33"/>
                    <a:pt x="6" y="33"/>
                    <a:pt x="6" y="33"/>
                  </a:cubicBezTo>
                  <a:cubicBezTo>
                    <a:pt x="6" y="37"/>
                    <a:pt x="6" y="37"/>
                    <a:pt x="6" y="37"/>
                  </a:cubicBezTo>
                  <a:cubicBezTo>
                    <a:pt x="7" y="38"/>
                    <a:pt x="7" y="38"/>
                    <a:pt x="7" y="38"/>
                  </a:cubicBezTo>
                  <a:cubicBezTo>
                    <a:pt x="10" y="37"/>
                    <a:pt x="10" y="37"/>
                    <a:pt x="10" y="37"/>
                  </a:cubicBezTo>
                  <a:cubicBezTo>
                    <a:pt x="12" y="38"/>
                    <a:pt x="12" y="38"/>
                    <a:pt x="12" y="38"/>
                  </a:cubicBezTo>
                  <a:cubicBezTo>
                    <a:pt x="13" y="38"/>
                    <a:pt x="13" y="38"/>
                    <a:pt x="13" y="38"/>
                  </a:cubicBezTo>
                  <a:cubicBezTo>
                    <a:pt x="13" y="38"/>
                    <a:pt x="14" y="38"/>
                    <a:pt x="14" y="38"/>
                  </a:cubicBezTo>
                  <a:cubicBezTo>
                    <a:pt x="14" y="39"/>
                    <a:pt x="16" y="38"/>
                    <a:pt x="16" y="38"/>
                  </a:cubicBezTo>
                  <a:cubicBezTo>
                    <a:pt x="18" y="38"/>
                    <a:pt x="18" y="38"/>
                    <a:pt x="18" y="38"/>
                  </a:cubicBezTo>
                  <a:cubicBezTo>
                    <a:pt x="22" y="37"/>
                    <a:pt x="22" y="37"/>
                    <a:pt x="22" y="37"/>
                  </a:cubicBezTo>
                  <a:cubicBezTo>
                    <a:pt x="22" y="37"/>
                    <a:pt x="23" y="37"/>
                    <a:pt x="23" y="37"/>
                  </a:cubicBezTo>
                  <a:cubicBezTo>
                    <a:pt x="24" y="37"/>
                    <a:pt x="24" y="36"/>
                    <a:pt x="24" y="36"/>
                  </a:cubicBezTo>
                  <a:cubicBezTo>
                    <a:pt x="23" y="34"/>
                    <a:pt x="23" y="34"/>
                    <a:pt x="23" y="34"/>
                  </a:cubicBezTo>
                  <a:cubicBezTo>
                    <a:pt x="25" y="33"/>
                    <a:pt x="25" y="33"/>
                    <a:pt x="25" y="33"/>
                  </a:cubicBezTo>
                  <a:cubicBezTo>
                    <a:pt x="26" y="32"/>
                    <a:pt x="26" y="32"/>
                    <a:pt x="26" y="32"/>
                  </a:cubicBezTo>
                  <a:cubicBezTo>
                    <a:pt x="26" y="32"/>
                    <a:pt x="26" y="32"/>
                    <a:pt x="26" y="32"/>
                  </a:cubicBezTo>
                  <a:cubicBezTo>
                    <a:pt x="25" y="31"/>
                    <a:pt x="25" y="31"/>
                    <a:pt x="25" y="31"/>
                  </a:cubicBezTo>
                  <a:cubicBezTo>
                    <a:pt x="23" y="28"/>
                    <a:pt x="23" y="28"/>
                    <a:pt x="23" y="28"/>
                  </a:cubicBezTo>
                  <a:cubicBezTo>
                    <a:pt x="21" y="26"/>
                    <a:pt x="21" y="26"/>
                    <a:pt x="21" y="26"/>
                  </a:cubicBezTo>
                  <a:cubicBezTo>
                    <a:pt x="20" y="25"/>
                    <a:pt x="20" y="25"/>
                    <a:pt x="20" y="25"/>
                  </a:cubicBezTo>
                  <a:cubicBezTo>
                    <a:pt x="22" y="24"/>
                    <a:pt x="22" y="24"/>
                    <a:pt x="22" y="24"/>
                  </a:cubicBezTo>
                  <a:cubicBezTo>
                    <a:pt x="24" y="23"/>
                    <a:pt x="24" y="23"/>
                    <a:pt x="24" y="23"/>
                  </a:cubicBezTo>
                  <a:cubicBezTo>
                    <a:pt x="26" y="22"/>
                    <a:pt x="26" y="22"/>
                    <a:pt x="26" y="22"/>
                  </a:cubicBezTo>
                  <a:cubicBezTo>
                    <a:pt x="27" y="21"/>
                    <a:pt x="27" y="21"/>
                    <a:pt x="27" y="21"/>
                  </a:cubicBezTo>
                  <a:cubicBezTo>
                    <a:pt x="29" y="22"/>
                    <a:pt x="29" y="22"/>
                    <a:pt x="29" y="22"/>
                  </a:cubicBezTo>
                  <a:cubicBezTo>
                    <a:pt x="29" y="22"/>
                    <a:pt x="29" y="21"/>
                    <a:pt x="29" y="21"/>
                  </a:cubicBezTo>
                  <a:cubicBezTo>
                    <a:pt x="29" y="20"/>
                    <a:pt x="29" y="18"/>
                    <a:pt x="29" y="18"/>
                  </a:cubicBezTo>
                  <a:cubicBezTo>
                    <a:pt x="28" y="18"/>
                    <a:pt x="28" y="14"/>
                    <a:pt x="28" y="14"/>
                  </a:cubicBezTo>
                  <a:cubicBezTo>
                    <a:pt x="28" y="11"/>
                    <a:pt x="28" y="11"/>
                    <a:pt x="28" y="11"/>
                  </a:cubicBezTo>
                  <a:cubicBezTo>
                    <a:pt x="28" y="10"/>
                    <a:pt x="28" y="10"/>
                    <a:pt x="28" y="10"/>
                  </a:cubicBezTo>
                  <a:cubicBezTo>
                    <a:pt x="27" y="7"/>
                    <a:pt x="27" y="7"/>
                    <a:pt x="27" y="7"/>
                  </a:cubicBezTo>
                  <a:cubicBezTo>
                    <a:pt x="27" y="5"/>
                    <a:pt x="27" y="5"/>
                    <a:pt x="27" y="5"/>
                  </a:cubicBezTo>
                  <a:cubicBezTo>
                    <a:pt x="23" y="3"/>
                    <a:pt x="23" y="3"/>
                    <a:pt x="23" y="3"/>
                  </a:cubicBezTo>
                  <a:cubicBezTo>
                    <a:pt x="19" y="5"/>
                    <a:pt x="19" y="5"/>
                    <a:pt x="19" y="5"/>
                  </a:cubicBezTo>
                  <a:cubicBezTo>
                    <a:pt x="19" y="5"/>
                    <a:pt x="18" y="5"/>
                    <a:pt x="17" y="4"/>
                  </a:cubicBezTo>
                  <a:cubicBezTo>
                    <a:pt x="17" y="4"/>
                    <a:pt x="17" y="2"/>
                    <a:pt x="17" y="2"/>
                  </a:cubicBezTo>
                  <a:cubicBezTo>
                    <a:pt x="14" y="1"/>
                    <a:pt x="14" y="1"/>
                    <a:pt x="14" y="1"/>
                  </a:cubicBezTo>
                  <a:cubicBezTo>
                    <a:pt x="14" y="1"/>
                    <a:pt x="14" y="1"/>
                    <a:pt x="14" y="1"/>
                  </a:cubicBezTo>
                  <a:cubicBezTo>
                    <a:pt x="12" y="0"/>
                    <a:pt x="12" y="0"/>
                    <a:pt x="12" y="0"/>
                  </a:cubicBezTo>
                  <a:cubicBezTo>
                    <a:pt x="11" y="1"/>
                    <a:pt x="11" y="1"/>
                    <a:pt x="11" y="1"/>
                  </a:cubicBezTo>
                  <a:cubicBezTo>
                    <a:pt x="11" y="1"/>
                    <a:pt x="11" y="1"/>
                    <a:pt x="11" y="1"/>
                  </a:cubicBezTo>
                  <a:cubicBezTo>
                    <a:pt x="10" y="5"/>
                    <a:pt x="10" y="5"/>
                    <a:pt x="10" y="5"/>
                  </a:cubicBezTo>
                  <a:cubicBezTo>
                    <a:pt x="9" y="7"/>
                    <a:pt x="9" y="7"/>
                    <a:pt x="9" y="7"/>
                  </a:cubicBezTo>
                  <a:cubicBezTo>
                    <a:pt x="7" y="7"/>
                    <a:pt x="7" y="7"/>
                    <a:pt x="7" y="7"/>
                  </a:cubicBezTo>
                  <a:cubicBezTo>
                    <a:pt x="5" y="7"/>
                    <a:pt x="5" y="7"/>
                    <a:pt x="5" y="7"/>
                  </a:cubicBezTo>
                  <a:cubicBezTo>
                    <a:pt x="5" y="8"/>
                    <a:pt x="5" y="8"/>
                    <a:pt x="5" y="8"/>
                  </a:cubicBezTo>
                  <a:lnTo>
                    <a:pt x="5" y="10"/>
                  </a:lnTo>
                  <a:close/>
                </a:path>
              </a:pathLst>
            </a:custGeom>
            <a:solidFill>
              <a:srgbClr val="598E27"/>
            </a:solidFill>
            <a:ln w="9525">
              <a:solidFill>
                <a:sysClr val="window" lastClr="FFFFFF">
                  <a:lumMod val="85000"/>
                </a:sys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68" name="Freeform 345"/>
            <p:cNvSpPr>
              <a:spLocks/>
            </p:cNvSpPr>
            <p:nvPr/>
          </p:nvSpPr>
          <p:spPr bwMode="auto">
            <a:xfrm>
              <a:off x="6251682" y="2563871"/>
              <a:ext cx="83967" cy="113749"/>
            </a:xfrm>
            <a:custGeom>
              <a:avLst/>
              <a:gdLst>
                <a:gd name="T0" fmla="*/ 23813 w 66"/>
                <a:gd name="T1" fmla="*/ 92710 h 90"/>
                <a:gd name="T2" fmla="*/ 39688 w 66"/>
                <a:gd name="T3" fmla="*/ 100436 h 90"/>
                <a:gd name="T4" fmla="*/ 47625 w 66"/>
                <a:gd name="T5" fmla="*/ 108162 h 90"/>
                <a:gd name="T6" fmla="*/ 55563 w 66"/>
                <a:gd name="T7" fmla="*/ 115888 h 90"/>
                <a:gd name="T8" fmla="*/ 63500 w 66"/>
                <a:gd name="T9" fmla="*/ 100436 h 90"/>
                <a:gd name="T10" fmla="*/ 63500 w 66"/>
                <a:gd name="T11" fmla="*/ 77259 h 90"/>
                <a:gd name="T12" fmla="*/ 79375 w 66"/>
                <a:gd name="T13" fmla="*/ 61807 h 90"/>
                <a:gd name="T14" fmla="*/ 79375 w 66"/>
                <a:gd name="T15" fmla="*/ 38629 h 90"/>
                <a:gd name="T16" fmla="*/ 87313 w 66"/>
                <a:gd name="T17" fmla="*/ 23178 h 90"/>
                <a:gd name="T18" fmla="*/ 87313 w 66"/>
                <a:gd name="T19" fmla="*/ 7726 h 90"/>
                <a:gd name="T20" fmla="*/ 87313 w 66"/>
                <a:gd name="T21" fmla="*/ 0 h 90"/>
                <a:gd name="T22" fmla="*/ 71438 w 66"/>
                <a:gd name="T23" fmla="*/ 7726 h 90"/>
                <a:gd name="T24" fmla="*/ 47625 w 66"/>
                <a:gd name="T25" fmla="*/ 15452 h 90"/>
                <a:gd name="T26" fmla="*/ 47625 w 66"/>
                <a:gd name="T27" fmla="*/ 38629 h 90"/>
                <a:gd name="T28" fmla="*/ 31750 w 66"/>
                <a:gd name="T29" fmla="*/ 23178 h 90"/>
                <a:gd name="T30" fmla="*/ 15875 w 66"/>
                <a:gd name="T31" fmla="*/ 69533 h 90"/>
                <a:gd name="T32" fmla="*/ 0 w 66"/>
                <a:gd name="T33" fmla="*/ 84985 h 90"/>
                <a:gd name="T34" fmla="*/ 7938 w 66"/>
                <a:gd name="T35" fmla="*/ 92710 h 90"/>
                <a:gd name="T36" fmla="*/ 23813 w 66"/>
                <a:gd name="T37" fmla="*/ 92710 h 9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90"/>
                <a:gd name="T59" fmla="*/ 66 w 66"/>
                <a:gd name="T60" fmla="*/ 90 h 9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90">
                  <a:moveTo>
                    <a:pt x="18" y="72"/>
                  </a:moveTo>
                  <a:lnTo>
                    <a:pt x="30" y="78"/>
                  </a:lnTo>
                  <a:lnTo>
                    <a:pt x="36" y="84"/>
                  </a:lnTo>
                  <a:lnTo>
                    <a:pt x="42" y="90"/>
                  </a:lnTo>
                  <a:lnTo>
                    <a:pt x="48" y="78"/>
                  </a:lnTo>
                  <a:lnTo>
                    <a:pt x="48" y="60"/>
                  </a:lnTo>
                  <a:lnTo>
                    <a:pt x="60" y="48"/>
                  </a:lnTo>
                  <a:lnTo>
                    <a:pt x="60" y="30"/>
                  </a:lnTo>
                  <a:lnTo>
                    <a:pt x="66" y="18"/>
                  </a:lnTo>
                  <a:lnTo>
                    <a:pt x="66" y="6"/>
                  </a:lnTo>
                  <a:lnTo>
                    <a:pt x="66" y="0"/>
                  </a:lnTo>
                  <a:lnTo>
                    <a:pt x="54" y="6"/>
                  </a:lnTo>
                  <a:lnTo>
                    <a:pt x="36" y="12"/>
                  </a:lnTo>
                  <a:lnTo>
                    <a:pt x="36" y="30"/>
                  </a:lnTo>
                  <a:lnTo>
                    <a:pt x="24" y="18"/>
                  </a:lnTo>
                  <a:lnTo>
                    <a:pt x="12" y="54"/>
                  </a:lnTo>
                  <a:lnTo>
                    <a:pt x="0" y="66"/>
                  </a:lnTo>
                  <a:lnTo>
                    <a:pt x="6" y="72"/>
                  </a:lnTo>
                  <a:lnTo>
                    <a:pt x="18" y="72"/>
                  </a:lnTo>
                  <a:close/>
                </a:path>
              </a:pathLst>
            </a:custGeom>
            <a:solidFill>
              <a:srgbClr val="598E27"/>
            </a:solidFill>
            <a:ln w="9525">
              <a:solidFill>
                <a:sysClr val="window" lastClr="FFFFFF">
                  <a:lumMod val="85000"/>
                </a:sys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69" name="Freeform 346"/>
            <p:cNvSpPr>
              <a:spLocks/>
            </p:cNvSpPr>
            <p:nvPr/>
          </p:nvSpPr>
          <p:spPr bwMode="auto">
            <a:xfrm>
              <a:off x="6644062" y="3001724"/>
              <a:ext cx="151139" cy="151143"/>
            </a:xfrm>
            <a:custGeom>
              <a:avLst/>
              <a:gdLst>
                <a:gd name="T0" fmla="*/ 157162 w 120"/>
                <a:gd name="T1" fmla="*/ 7699 h 120"/>
                <a:gd name="T2" fmla="*/ 157162 w 120"/>
                <a:gd name="T3" fmla="*/ 0 h 120"/>
                <a:gd name="T4" fmla="*/ 149304 w 120"/>
                <a:gd name="T5" fmla="*/ 7699 h 120"/>
                <a:gd name="T6" fmla="*/ 125730 w 120"/>
                <a:gd name="T7" fmla="*/ 7699 h 120"/>
                <a:gd name="T8" fmla="*/ 78581 w 120"/>
                <a:gd name="T9" fmla="*/ 7699 h 120"/>
                <a:gd name="T10" fmla="*/ 78581 w 120"/>
                <a:gd name="T11" fmla="*/ 7699 h 120"/>
                <a:gd name="T12" fmla="*/ 55007 w 120"/>
                <a:gd name="T13" fmla="*/ 15399 h 120"/>
                <a:gd name="T14" fmla="*/ 23574 w 120"/>
                <a:gd name="T15" fmla="*/ 23098 h 120"/>
                <a:gd name="T16" fmla="*/ 23574 w 120"/>
                <a:gd name="T17" fmla="*/ 30797 h 120"/>
                <a:gd name="T18" fmla="*/ 15716 w 120"/>
                <a:gd name="T19" fmla="*/ 46196 h 120"/>
                <a:gd name="T20" fmla="*/ 0 w 120"/>
                <a:gd name="T21" fmla="*/ 61595 h 120"/>
                <a:gd name="T22" fmla="*/ 15716 w 120"/>
                <a:gd name="T23" fmla="*/ 84693 h 120"/>
                <a:gd name="T24" fmla="*/ 47149 w 120"/>
                <a:gd name="T25" fmla="*/ 92392 h 120"/>
                <a:gd name="T26" fmla="*/ 31432 w 120"/>
                <a:gd name="T27" fmla="*/ 107791 h 120"/>
                <a:gd name="T28" fmla="*/ 31432 w 120"/>
                <a:gd name="T29" fmla="*/ 138588 h 120"/>
                <a:gd name="T30" fmla="*/ 62865 w 120"/>
                <a:gd name="T31" fmla="*/ 153987 h 120"/>
                <a:gd name="T32" fmla="*/ 78581 w 120"/>
                <a:gd name="T33" fmla="*/ 138588 h 120"/>
                <a:gd name="T34" fmla="*/ 78581 w 120"/>
                <a:gd name="T35" fmla="*/ 123190 h 120"/>
                <a:gd name="T36" fmla="*/ 110013 w 120"/>
                <a:gd name="T37" fmla="*/ 107791 h 120"/>
                <a:gd name="T38" fmla="*/ 78581 w 120"/>
                <a:gd name="T39" fmla="*/ 76994 h 120"/>
                <a:gd name="T40" fmla="*/ 78581 w 120"/>
                <a:gd name="T41" fmla="*/ 61595 h 120"/>
                <a:gd name="T42" fmla="*/ 62865 w 120"/>
                <a:gd name="T43" fmla="*/ 38497 h 120"/>
                <a:gd name="T44" fmla="*/ 110013 w 120"/>
                <a:gd name="T45" fmla="*/ 30797 h 120"/>
                <a:gd name="T46" fmla="*/ 141446 w 120"/>
                <a:gd name="T47" fmla="*/ 23098 h 120"/>
                <a:gd name="T48" fmla="*/ 141446 w 120"/>
                <a:gd name="T49" fmla="*/ 30797 h 120"/>
                <a:gd name="T50" fmla="*/ 149304 w 120"/>
                <a:gd name="T51" fmla="*/ 23098 h 120"/>
                <a:gd name="T52" fmla="*/ 157162 w 120"/>
                <a:gd name="T53" fmla="*/ 7699 h 12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20"/>
                <a:gd name="T82" fmla="*/ 0 h 120"/>
                <a:gd name="T83" fmla="*/ 120 w 120"/>
                <a:gd name="T84" fmla="*/ 120 h 12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20" h="120">
                  <a:moveTo>
                    <a:pt x="120" y="6"/>
                  </a:moveTo>
                  <a:lnTo>
                    <a:pt x="120" y="0"/>
                  </a:lnTo>
                  <a:lnTo>
                    <a:pt x="114" y="6"/>
                  </a:lnTo>
                  <a:lnTo>
                    <a:pt x="96" y="6"/>
                  </a:lnTo>
                  <a:lnTo>
                    <a:pt x="60" y="6"/>
                  </a:lnTo>
                  <a:lnTo>
                    <a:pt x="42" y="12"/>
                  </a:lnTo>
                  <a:lnTo>
                    <a:pt x="18" y="18"/>
                  </a:lnTo>
                  <a:lnTo>
                    <a:pt x="18" y="24"/>
                  </a:lnTo>
                  <a:lnTo>
                    <a:pt x="12" y="36"/>
                  </a:lnTo>
                  <a:lnTo>
                    <a:pt x="0" y="48"/>
                  </a:lnTo>
                  <a:lnTo>
                    <a:pt x="12" y="66"/>
                  </a:lnTo>
                  <a:lnTo>
                    <a:pt x="36" y="72"/>
                  </a:lnTo>
                  <a:lnTo>
                    <a:pt x="24" y="84"/>
                  </a:lnTo>
                  <a:lnTo>
                    <a:pt x="24" y="108"/>
                  </a:lnTo>
                  <a:lnTo>
                    <a:pt x="48" y="120"/>
                  </a:lnTo>
                  <a:lnTo>
                    <a:pt x="60" y="108"/>
                  </a:lnTo>
                  <a:lnTo>
                    <a:pt x="60" y="96"/>
                  </a:lnTo>
                  <a:lnTo>
                    <a:pt x="84" y="84"/>
                  </a:lnTo>
                  <a:lnTo>
                    <a:pt x="60" y="60"/>
                  </a:lnTo>
                  <a:lnTo>
                    <a:pt x="60" y="48"/>
                  </a:lnTo>
                  <a:lnTo>
                    <a:pt x="48" y="30"/>
                  </a:lnTo>
                  <a:lnTo>
                    <a:pt x="84" y="24"/>
                  </a:lnTo>
                  <a:lnTo>
                    <a:pt x="108" y="18"/>
                  </a:lnTo>
                  <a:lnTo>
                    <a:pt x="108" y="24"/>
                  </a:lnTo>
                  <a:lnTo>
                    <a:pt x="114" y="18"/>
                  </a:lnTo>
                  <a:lnTo>
                    <a:pt x="120" y="6"/>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70" name="Freeform 347"/>
            <p:cNvSpPr>
              <a:spLocks/>
            </p:cNvSpPr>
            <p:nvPr/>
          </p:nvSpPr>
          <p:spPr bwMode="auto">
            <a:xfrm>
              <a:off x="6276109" y="1621106"/>
              <a:ext cx="624403" cy="752597"/>
            </a:xfrm>
            <a:custGeom>
              <a:avLst/>
              <a:gdLst>
                <a:gd name="T0" fmla="*/ 187746 w 83"/>
                <a:gd name="T1" fmla="*/ 672873 h 98"/>
                <a:gd name="T2" fmla="*/ 187746 w 83"/>
                <a:gd name="T3" fmla="*/ 625928 h 98"/>
                <a:gd name="T4" fmla="*/ 187746 w 83"/>
                <a:gd name="T5" fmla="*/ 586808 h 98"/>
                <a:gd name="T6" fmla="*/ 187746 w 83"/>
                <a:gd name="T7" fmla="*/ 508567 h 98"/>
                <a:gd name="T8" fmla="*/ 203391 w 83"/>
                <a:gd name="T9" fmla="*/ 469446 h 98"/>
                <a:gd name="T10" fmla="*/ 234682 w 83"/>
                <a:gd name="T11" fmla="*/ 438150 h 98"/>
                <a:gd name="T12" fmla="*/ 242505 w 83"/>
                <a:gd name="T13" fmla="*/ 391205 h 98"/>
                <a:gd name="T14" fmla="*/ 265973 w 83"/>
                <a:gd name="T15" fmla="*/ 336436 h 98"/>
                <a:gd name="T16" fmla="*/ 297264 w 83"/>
                <a:gd name="T17" fmla="*/ 273844 h 98"/>
                <a:gd name="T18" fmla="*/ 297264 w 83"/>
                <a:gd name="T19" fmla="*/ 234723 h 98"/>
                <a:gd name="T20" fmla="*/ 328555 w 83"/>
                <a:gd name="T21" fmla="*/ 219075 h 98"/>
                <a:gd name="T22" fmla="*/ 367669 w 83"/>
                <a:gd name="T23" fmla="*/ 187778 h 98"/>
                <a:gd name="T24" fmla="*/ 383315 w 83"/>
                <a:gd name="T25" fmla="*/ 172130 h 98"/>
                <a:gd name="T26" fmla="*/ 398960 w 83"/>
                <a:gd name="T27" fmla="*/ 148658 h 98"/>
                <a:gd name="T28" fmla="*/ 414606 w 83"/>
                <a:gd name="T29" fmla="*/ 133010 h 98"/>
                <a:gd name="T30" fmla="*/ 438074 w 83"/>
                <a:gd name="T31" fmla="*/ 164306 h 98"/>
                <a:gd name="T32" fmla="*/ 485010 w 83"/>
                <a:gd name="T33" fmla="*/ 164306 h 98"/>
                <a:gd name="T34" fmla="*/ 516301 w 83"/>
                <a:gd name="T35" fmla="*/ 148658 h 98"/>
                <a:gd name="T36" fmla="*/ 547592 w 83"/>
                <a:gd name="T37" fmla="*/ 93889 h 98"/>
                <a:gd name="T38" fmla="*/ 610174 w 83"/>
                <a:gd name="T39" fmla="*/ 109537 h 98"/>
                <a:gd name="T40" fmla="*/ 602352 w 83"/>
                <a:gd name="T41" fmla="*/ 148658 h 98"/>
                <a:gd name="T42" fmla="*/ 602352 w 83"/>
                <a:gd name="T43" fmla="*/ 148658 h 98"/>
                <a:gd name="T44" fmla="*/ 633643 w 83"/>
                <a:gd name="T45" fmla="*/ 117362 h 98"/>
                <a:gd name="T46" fmla="*/ 633643 w 83"/>
                <a:gd name="T47" fmla="*/ 93889 h 98"/>
                <a:gd name="T48" fmla="*/ 649288 w 83"/>
                <a:gd name="T49" fmla="*/ 46945 h 98"/>
                <a:gd name="T50" fmla="*/ 594529 w 83"/>
                <a:gd name="T51" fmla="*/ 0 h 98"/>
                <a:gd name="T52" fmla="*/ 539770 w 83"/>
                <a:gd name="T53" fmla="*/ 15648 h 98"/>
                <a:gd name="T54" fmla="*/ 516301 w 83"/>
                <a:gd name="T55" fmla="*/ 7824 h 98"/>
                <a:gd name="T56" fmla="*/ 461542 w 83"/>
                <a:gd name="T57" fmla="*/ 39121 h 98"/>
                <a:gd name="T58" fmla="*/ 430251 w 83"/>
                <a:gd name="T59" fmla="*/ 46945 h 98"/>
                <a:gd name="T60" fmla="*/ 391137 w 83"/>
                <a:gd name="T61" fmla="*/ 62593 h 98"/>
                <a:gd name="T62" fmla="*/ 336378 w 83"/>
                <a:gd name="T63" fmla="*/ 109537 h 98"/>
                <a:gd name="T64" fmla="*/ 312910 w 83"/>
                <a:gd name="T65" fmla="*/ 172130 h 98"/>
                <a:gd name="T66" fmla="*/ 250328 w 83"/>
                <a:gd name="T67" fmla="*/ 219075 h 98"/>
                <a:gd name="T68" fmla="*/ 219037 w 83"/>
                <a:gd name="T69" fmla="*/ 297316 h 98"/>
                <a:gd name="T70" fmla="*/ 195569 w 83"/>
                <a:gd name="T71" fmla="*/ 359909 h 98"/>
                <a:gd name="T72" fmla="*/ 132987 w 83"/>
                <a:gd name="T73" fmla="*/ 469446 h 98"/>
                <a:gd name="T74" fmla="*/ 62582 w 83"/>
                <a:gd name="T75" fmla="*/ 508567 h 98"/>
                <a:gd name="T76" fmla="*/ 31291 w 83"/>
                <a:gd name="T77" fmla="*/ 555511 h 98"/>
                <a:gd name="T78" fmla="*/ 15645 w 83"/>
                <a:gd name="T79" fmla="*/ 594632 h 98"/>
                <a:gd name="T80" fmla="*/ 7823 w 83"/>
                <a:gd name="T81" fmla="*/ 657225 h 98"/>
                <a:gd name="T82" fmla="*/ 23468 w 83"/>
                <a:gd name="T83" fmla="*/ 711993 h 98"/>
                <a:gd name="T84" fmla="*/ 54759 w 83"/>
                <a:gd name="T85" fmla="*/ 766762 h 98"/>
                <a:gd name="T86" fmla="*/ 125164 w 83"/>
                <a:gd name="T87" fmla="*/ 727642 h 98"/>
                <a:gd name="T88" fmla="*/ 156455 w 83"/>
                <a:gd name="T89" fmla="*/ 719817 h 98"/>
                <a:gd name="T90" fmla="*/ 164278 w 83"/>
                <a:gd name="T91" fmla="*/ 719817 h 9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3"/>
                <a:gd name="T139" fmla="*/ 0 h 98"/>
                <a:gd name="T140" fmla="*/ 83 w 83"/>
                <a:gd name="T141" fmla="*/ 98 h 9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3" h="98">
                  <a:moveTo>
                    <a:pt x="23" y="87"/>
                  </a:moveTo>
                  <a:cubicBezTo>
                    <a:pt x="23" y="87"/>
                    <a:pt x="24" y="87"/>
                    <a:pt x="24" y="86"/>
                  </a:cubicBezTo>
                  <a:cubicBezTo>
                    <a:pt x="24" y="86"/>
                    <a:pt x="24" y="82"/>
                    <a:pt x="24" y="82"/>
                  </a:cubicBezTo>
                  <a:cubicBezTo>
                    <a:pt x="24" y="80"/>
                    <a:pt x="24" y="80"/>
                    <a:pt x="24" y="80"/>
                  </a:cubicBezTo>
                  <a:cubicBezTo>
                    <a:pt x="26" y="78"/>
                    <a:pt x="26" y="78"/>
                    <a:pt x="26" y="78"/>
                  </a:cubicBezTo>
                  <a:cubicBezTo>
                    <a:pt x="24" y="75"/>
                    <a:pt x="24" y="75"/>
                    <a:pt x="24" y="75"/>
                  </a:cubicBezTo>
                  <a:cubicBezTo>
                    <a:pt x="24" y="75"/>
                    <a:pt x="23" y="70"/>
                    <a:pt x="23" y="70"/>
                  </a:cubicBezTo>
                  <a:cubicBezTo>
                    <a:pt x="23" y="69"/>
                    <a:pt x="24" y="65"/>
                    <a:pt x="24" y="65"/>
                  </a:cubicBezTo>
                  <a:cubicBezTo>
                    <a:pt x="24" y="65"/>
                    <a:pt x="24" y="62"/>
                    <a:pt x="24" y="62"/>
                  </a:cubicBezTo>
                  <a:cubicBezTo>
                    <a:pt x="26" y="60"/>
                    <a:pt x="26" y="60"/>
                    <a:pt x="26" y="60"/>
                  </a:cubicBezTo>
                  <a:cubicBezTo>
                    <a:pt x="30" y="59"/>
                    <a:pt x="30" y="59"/>
                    <a:pt x="30" y="59"/>
                  </a:cubicBezTo>
                  <a:cubicBezTo>
                    <a:pt x="30" y="56"/>
                    <a:pt x="30" y="56"/>
                    <a:pt x="30" y="56"/>
                  </a:cubicBezTo>
                  <a:cubicBezTo>
                    <a:pt x="29" y="54"/>
                    <a:pt x="29" y="54"/>
                    <a:pt x="29" y="54"/>
                  </a:cubicBezTo>
                  <a:cubicBezTo>
                    <a:pt x="31" y="50"/>
                    <a:pt x="31" y="50"/>
                    <a:pt x="31" y="50"/>
                  </a:cubicBezTo>
                  <a:cubicBezTo>
                    <a:pt x="32" y="44"/>
                    <a:pt x="32" y="44"/>
                    <a:pt x="32" y="44"/>
                  </a:cubicBezTo>
                  <a:cubicBezTo>
                    <a:pt x="34" y="43"/>
                    <a:pt x="34" y="43"/>
                    <a:pt x="34" y="43"/>
                  </a:cubicBezTo>
                  <a:cubicBezTo>
                    <a:pt x="36" y="38"/>
                    <a:pt x="36" y="38"/>
                    <a:pt x="36" y="38"/>
                  </a:cubicBezTo>
                  <a:cubicBezTo>
                    <a:pt x="38" y="35"/>
                    <a:pt x="38" y="35"/>
                    <a:pt x="38" y="35"/>
                  </a:cubicBezTo>
                  <a:cubicBezTo>
                    <a:pt x="37" y="32"/>
                    <a:pt x="37" y="32"/>
                    <a:pt x="37" y="32"/>
                  </a:cubicBezTo>
                  <a:cubicBezTo>
                    <a:pt x="38" y="30"/>
                    <a:pt x="38" y="30"/>
                    <a:pt x="38" y="30"/>
                  </a:cubicBezTo>
                  <a:cubicBezTo>
                    <a:pt x="41" y="28"/>
                    <a:pt x="41" y="28"/>
                    <a:pt x="41" y="28"/>
                  </a:cubicBezTo>
                  <a:cubicBezTo>
                    <a:pt x="42" y="28"/>
                    <a:pt x="42" y="28"/>
                    <a:pt x="42" y="28"/>
                  </a:cubicBezTo>
                  <a:cubicBezTo>
                    <a:pt x="44" y="24"/>
                    <a:pt x="44" y="24"/>
                    <a:pt x="44" y="24"/>
                  </a:cubicBezTo>
                  <a:cubicBezTo>
                    <a:pt x="47" y="24"/>
                    <a:pt x="47" y="24"/>
                    <a:pt x="47" y="24"/>
                  </a:cubicBezTo>
                  <a:cubicBezTo>
                    <a:pt x="49" y="24"/>
                    <a:pt x="49" y="24"/>
                    <a:pt x="49" y="24"/>
                  </a:cubicBezTo>
                  <a:cubicBezTo>
                    <a:pt x="49" y="22"/>
                    <a:pt x="49" y="22"/>
                    <a:pt x="49" y="22"/>
                  </a:cubicBezTo>
                  <a:cubicBezTo>
                    <a:pt x="50" y="19"/>
                    <a:pt x="50" y="19"/>
                    <a:pt x="50" y="19"/>
                  </a:cubicBezTo>
                  <a:cubicBezTo>
                    <a:pt x="51" y="19"/>
                    <a:pt x="51" y="19"/>
                    <a:pt x="51" y="19"/>
                  </a:cubicBezTo>
                  <a:cubicBezTo>
                    <a:pt x="52" y="19"/>
                    <a:pt x="52" y="19"/>
                    <a:pt x="52" y="19"/>
                  </a:cubicBezTo>
                  <a:cubicBezTo>
                    <a:pt x="53" y="17"/>
                    <a:pt x="53" y="17"/>
                    <a:pt x="53" y="17"/>
                  </a:cubicBezTo>
                  <a:cubicBezTo>
                    <a:pt x="54" y="19"/>
                    <a:pt x="54" y="19"/>
                    <a:pt x="54" y="19"/>
                  </a:cubicBezTo>
                  <a:cubicBezTo>
                    <a:pt x="56" y="21"/>
                    <a:pt x="56" y="21"/>
                    <a:pt x="56" y="21"/>
                  </a:cubicBezTo>
                  <a:cubicBezTo>
                    <a:pt x="59" y="22"/>
                    <a:pt x="59" y="22"/>
                    <a:pt x="59" y="22"/>
                  </a:cubicBezTo>
                  <a:cubicBezTo>
                    <a:pt x="62" y="21"/>
                    <a:pt x="62" y="21"/>
                    <a:pt x="62" y="21"/>
                  </a:cubicBezTo>
                  <a:cubicBezTo>
                    <a:pt x="63" y="22"/>
                    <a:pt x="63" y="22"/>
                    <a:pt x="63" y="22"/>
                  </a:cubicBezTo>
                  <a:cubicBezTo>
                    <a:pt x="66" y="19"/>
                    <a:pt x="66" y="19"/>
                    <a:pt x="66" y="19"/>
                  </a:cubicBezTo>
                  <a:cubicBezTo>
                    <a:pt x="68" y="14"/>
                    <a:pt x="68" y="14"/>
                    <a:pt x="68" y="14"/>
                  </a:cubicBezTo>
                  <a:cubicBezTo>
                    <a:pt x="70" y="12"/>
                    <a:pt x="70" y="12"/>
                    <a:pt x="70" y="12"/>
                  </a:cubicBezTo>
                  <a:cubicBezTo>
                    <a:pt x="75" y="11"/>
                    <a:pt x="75" y="11"/>
                    <a:pt x="75" y="11"/>
                  </a:cubicBezTo>
                  <a:cubicBezTo>
                    <a:pt x="78" y="14"/>
                    <a:pt x="78" y="14"/>
                    <a:pt x="78" y="14"/>
                  </a:cubicBezTo>
                  <a:cubicBezTo>
                    <a:pt x="78" y="17"/>
                    <a:pt x="78" y="17"/>
                    <a:pt x="78" y="17"/>
                  </a:cubicBezTo>
                  <a:cubicBezTo>
                    <a:pt x="77" y="19"/>
                    <a:pt x="77" y="19"/>
                    <a:pt x="77" y="19"/>
                  </a:cubicBezTo>
                  <a:cubicBezTo>
                    <a:pt x="78" y="18"/>
                    <a:pt x="78" y="18"/>
                    <a:pt x="78" y="18"/>
                  </a:cubicBezTo>
                  <a:cubicBezTo>
                    <a:pt x="77" y="19"/>
                    <a:pt x="77" y="19"/>
                    <a:pt x="77" y="19"/>
                  </a:cubicBezTo>
                  <a:cubicBezTo>
                    <a:pt x="77" y="19"/>
                    <a:pt x="77" y="19"/>
                    <a:pt x="77" y="19"/>
                  </a:cubicBezTo>
                  <a:cubicBezTo>
                    <a:pt x="81" y="15"/>
                    <a:pt x="81" y="15"/>
                    <a:pt x="81" y="15"/>
                  </a:cubicBezTo>
                  <a:cubicBezTo>
                    <a:pt x="82" y="13"/>
                    <a:pt x="82" y="13"/>
                    <a:pt x="82" y="13"/>
                  </a:cubicBezTo>
                  <a:cubicBezTo>
                    <a:pt x="81" y="12"/>
                    <a:pt x="81" y="12"/>
                    <a:pt x="81" y="12"/>
                  </a:cubicBezTo>
                  <a:cubicBezTo>
                    <a:pt x="80" y="9"/>
                    <a:pt x="80" y="9"/>
                    <a:pt x="80" y="9"/>
                  </a:cubicBezTo>
                  <a:cubicBezTo>
                    <a:pt x="83" y="6"/>
                    <a:pt x="83" y="6"/>
                    <a:pt x="83" y="6"/>
                  </a:cubicBezTo>
                  <a:cubicBezTo>
                    <a:pt x="80" y="4"/>
                    <a:pt x="80" y="4"/>
                    <a:pt x="80" y="4"/>
                  </a:cubicBezTo>
                  <a:cubicBezTo>
                    <a:pt x="76" y="0"/>
                    <a:pt x="76" y="0"/>
                    <a:pt x="76" y="0"/>
                  </a:cubicBezTo>
                  <a:cubicBezTo>
                    <a:pt x="72" y="4"/>
                    <a:pt x="72" y="4"/>
                    <a:pt x="72" y="4"/>
                  </a:cubicBezTo>
                  <a:cubicBezTo>
                    <a:pt x="69" y="2"/>
                    <a:pt x="69" y="2"/>
                    <a:pt x="69" y="2"/>
                  </a:cubicBezTo>
                  <a:cubicBezTo>
                    <a:pt x="69" y="1"/>
                    <a:pt x="69" y="1"/>
                    <a:pt x="69" y="1"/>
                  </a:cubicBezTo>
                  <a:cubicBezTo>
                    <a:pt x="66" y="1"/>
                    <a:pt x="66" y="1"/>
                    <a:pt x="66" y="1"/>
                  </a:cubicBezTo>
                  <a:cubicBezTo>
                    <a:pt x="62" y="1"/>
                    <a:pt x="62" y="1"/>
                    <a:pt x="62" y="1"/>
                  </a:cubicBezTo>
                  <a:cubicBezTo>
                    <a:pt x="59" y="5"/>
                    <a:pt x="59" y="5"/>
                    <a:pt x="59" y="5"/>
                  </a:cubicBezTo>
                  <a:cubicBezTo>
                    <a:pt x="56" y="6"/>
                    <a:pt x="56" y="6"/>
                    <a:pt x="56" y="6"/>
                  </a:cubicBezTo>
                  <a:cubicBezTo>
                    <a:pt x="55" y="6"/>
                    <a:pt x="55" y="6"/>
                    <a:pt x="55" y="6"/>
                  </a:cubicBezTo>
                  <a:cubicBezTo>
                    <a:pt x="53" y="8"/>
                    <a:pt x="53" y="8"/>
                    <a:pt x="53" y="8"/>
                  </a:cubicBezTo>
                  <a:cubicBezTo>
                    <a:pt x="50" y="8"/>
                    <a:pt x="50" y="8"/>
                    <a:pt x="50" y="8"/>
                  </a:cubicBezTo>
                  <a:cubicBezTo>
                    <a:pt x="48" y="13"/>
                    <a:pt x="48" y="13"/>
                    <a:pt x="48" y="13"/>
                  </a:cubicBezTo>
                  <a:cubicBezTo>
                    <a:pt x="43" y="14"/>
                    <a:pt x="43" y="14"/>
                    <a:pt x="43" y="14"/>
                  </a:cubicBezTo>
                  <a:cubicBezTo>
                    <a:pt x="41" y="19"/>
                    <a:pt x="41" y="19"/>
                    <a:pt x="41" y="19"/>
                  </a:cubicBezTo>
                  <a:cubicBezTo>
                    <a:pt x="40" y="22"/>
                    <a:pt x="40" y="22"/>
                    <a:pt x="40" y="22"/>
                  </a:cubicBezTo>
                  <a:cubicBezTo>
                    <a:pt x="37" y="22"/>
                    <a:pt x="37" y="22"/>
                    <a:pt x="37" y="22"/>
                  </a:cubicBezTo>
                  <a:cubicBezTo>
                    <a:pt x="32" y="28"/>
                    <a:pt x="32" y="28"/>
                    <a:pt x="32" y="28"/>
                  </a:cubicBezTo>
                  <a:cubicBezTo>
                    <a:pt x="32" y="31"/>
                    <a:pt x="32" y="31"/>
                    <a:pt x="32" y="31"/>
                  </a:cubicBezTo>
                  <a:cubicBezTo>
                    <a:pt x="28" y="38"/>
                    <a:pt x="28" y="38"/>
                    <a:pt x="28" y="38"/>
                  </a:cubicBezTo>
                  <a:cubicBezTo>
                    <a:pt x="26" y="41"/>
                    <a:pt x="26" y="41"/>
                    <a:pt x="26" y="41"/>
                  </a:cubicBezTo>
                  <a:cubicBezTo>
                    <a:pt x="25" y="46"/>
                    <a:pt x="25" y="46"/>
                    <a:pt x="25" y="46"/>
                  </a:cubicBezTo>
                  <a:cubicBezTo>
                    <a:pt x="23" y="49"/>
                    <a:pt x="23" y="49"/>
                    <a:pt x="23" y="49"/>
                  </a:cubicBezTo>
                  <a:cubicBezTo>
                    <a:pt x="17" y="60"/>
                    <a:pt x="17" y="60"/>
                    <a:pt x="17" y="60"/>
                  </a:cubicBezTo>
                  <a:cubicBezTo>
                    <a:pt x="13" y="63"/>
                    <a:pt x="13" y="63"/>
                    <a:pt x="13" y="63"/>
                  </a:cubicBezTo>
                  <a:cubicBezTo>
                    <a:pt x="8" y="65"/>
                    <a:pt x="8" y="65"/>
                    <a:pt x="8" y="65"/>
                  </a:cubicBezTo>
                  <a:cubicBezTo>
                    <a:pt x="6" y="69"/>
                    <a:pt x="6" y="69"/>
                    <a:pt x="6" y="69"/>
                  </a:cubicBezTo>
                  <a:cubicBezTo>
                    <a:pt x="4" y="71"/>
                    <a:pt x="4" y="71"/>
                    <a:pt x="4" y="71"/>
                  </a:cubicBezTo>
                  <a:cubicBezTo>
                    <a:pt x="3" y="73"/>
                    <a:pt x="3" y="73"/>
                    <a:pt x="3" y="73"/>
                  </a:cubicBezTo>
                  <a:cubicBezTo>
                    <a:pt x="2" y="76"/>
                    <a:pt x="2" y="76"/>
                    <a:pt x="2" y="76"/>
                  </a:cubicBezTo>
                  <a:cubicBezTo>
                    <a:pt x="0" y="79"/>
                    <a:pt x="0" y="79"/>
                    <a:pt x="0" y="79"/>
                  </a:cubicBezTo>
                  <a:cubicBezTo>
                    <a:pt x="1" y="84"/>
                    <a:pt x="1" y="84"/>
                    <a:pt x="1" y="84"/>
                  </a:cubicBezTo>
                  <a:cubicBezTo>
                    <a:pt x="2" y="87"/>
                    <a:pt x="2" y="87"/>
                    <a:pt x="2" y="87"/>
                  </a:cubicBezTo>
                  <a:cubicBezTo>
                    <a:pt x="3" y="91"/>
                    <a:pt x="3" y="91"/>
                    <a:pt x="3" y="91"/>
                  </a:cubicBezTo>
                  <a:cubicBezTo>
                    <a:pt x="3" y="95"/>
                    <a:pt x="3" y="95"/>
                    <a:pt x="3" y="95"/>
                  </a:cubicBezTo>
                  <a:cubicBezTo>
                    <a:pt x="7" y="98"/>
                    <a:pt x="7" y="98"/>
                    <a:pt x="7" y="98"/>
                  </a:cubicBezTo>
                  <a:cubicBezTo>
                    <a:pt x="11" y="97"/>
                    <a:pt x="11" y="97"/>
                    <a:pt x="11" y="97"/>
                  </a:cubicBezTo>
                  <a:cubicBezTo>
                    <a:pt x="16" y="93"/>
                    <a:pt x="16" y="93"/>
                    <a:pt x="16" y="93"/>
                  </a:cubicBezTo>
                  <a:cubicBezTo>
                    <a:pt x="19" y="91"/>
                    <a:pt x="19" y="91"/>
                    <a:pt x="19" y="91"/>
                  </a:cubicBezTo>
                  <a:cubicBezTo>
                    <a:pt x="20" y="92"/>
                    <a:pt x="20" y="92"/>
                    <a:pt x="20" y="92"/>
                  </a:cubicBezTo>
                  <a:cubicBezTo>
                    <a:pt x="20" y="93"/>
                    <a:pt x="20" y="93"/>
                    <a:pt x="20" y="93"/>
                  </a:cubicBezTo>
                  <a:cubicBezTo>
                    <a:pt x="21" y="92"/>
                    <a:pt x="21" y="92"/>
                    <a:pt x="21" y="92"/>
                  </a:cubicBezTo>
                  <a:lnTo>
                    <a:pt x="23" y="87"/>
                  </a:lnTo>
                  <a:close/>
                </a:path>
              </a:pathLst>
            </a:custGeom>
            <a:solidFill>
              <a:srgbClr val="598E27"/>
            </a:solidFill>
            <a:ln w="9525">
              <a:solidFill>
                <a:sysClr val="window" lastClr="FFFFFF">
                  <a:lumMod val="85000"/>
                </a:sys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71" name="Freeform 348"/>
            <p:cNvSpPr>
              <a:spLocks/>
            </p:cNvSpPr>
            <p:nvPr/>
          </p:nvSpPr>
          <p:spPr bwMode="auto">
            <a:xfrm>
              <a:off x="6425750" y="1767574"/>
              <a:ext cx="308385" cy="727667"/>
            </a:xfrm>
            <a:custGeom>
              <a:avLst/>
              <a:gdLst>
                <a:gd name="T0" fmla="*/ 320675 w 41"/>
                <a:gd name="T1" fmla="*/ 163880 h 95"/>
                <a:gd name="T2" fmla="*/ 312854 w 41"/>
                <a:gd name="T3" fmla="*/ 117057 h 95"/>
                <a:gd name="T4" fmla="*/ 297211 w 41"/>
                <a:gd name="T5" fmla="*/ 46823 h 95"/>
                <a:gd name="T6" fmla="*/ 273747 w 41"/>
                <a:gd name="T7" fmla="*/ 39019 h 95"/>
                <a:gd name="T8" fmla="*/ 242462 w 41"/>
                <a:gd name="T9" fmla="*/ 0 h 95"/>
                <a:gd name="T10" fmla="*/ 226819 w 41"/>
                <a:gd name="T11" fmla="*/ 23411 h 95"/>
                <a:gd name="T12" fmla="*/ 211176 w 41"/>
                <a:gd name="T13" fmla="*/ 39019 h 95"/>
                <a:gd name="T14" fmla="*/ 172070 w 41"/>
                <a:gd name="T15" fmla="*/ 70234 h 95"/>
                <a:gd name="T16" fmla="*/ 140784 w 41"/>
                <a:gd name="T17" fmla="*/ 85842 h 95"/>
                <a:gd name="T18" fmla="*/ 140784 w 41"/>
                <a:gd name="T19" fmla="*/ 124861 h 95"/>
                <a:gd name="T20" fmla="*/ 109499 w 41"/>
                <a:gd name="T21" fmla="*/ 187291 h 95"/>
                <a:gd name="T22" fmla="*/ 86035 w 41"/>
                <a:gd name="T23" fmla="*/ 241918 h 95"/>
                <a:gd name="T24" fmla="*/ 78213 w 41"/>
                <a:gd name="T25" fmla="*/ 288741 h 95"/>
                <a:gd name="T26" fmla="*/ 46928 w 41"/>
                <a:gd name="T27" fmla="*/ 319956 h 95"/>
                <a:gd name="T28" fmla="*/ 31285 w 41"/>
                <a:gd name="T29" fmla="*/ 358975 h 95"/>
                <a:gd name="T30" fmla="*/ 31285 w 41"/>
                <a:gd name="T31" fmla="*/ 437013 h 95"/>
                <a:gd name="T32" fmla="*/ 31285 w 41"/>
                <a:gd name="T33" fmla="*/ 476032 h 95"/>
                <a:gd name="T34" fmla="*/ 31285 w 41"/>
                <a:gd name="T35" fmla="*/ 522855 h 95"/>
                <a:gd name="T36" fmla="*/ 7821 w 41"/>
                <a:gd name="T37" fmla="*/ 569678 h 95"/>
                <a:gd name="T38" fmla="*/ 15643 w 41"/>
                <a:gd name="T39" fmla="*/ 616501 h 95"/>
                <a:gd name="T40" fmla="*/ 39107 w 41"/>
                <a:gd name="T41" fmla="*/ 686735 h 95"/>
                <a:gd name="T42" fmla="*/ 46928 w 41"/>
                <a:gd name="T43" fmla="*/ 725754 h 95"/>
                <a:gd name="T44" fmla="*/ 78213 w 41"/>
                <a:gd name="T45" fmla="*/ 733558 h 95"/>
                <a:gd name="T46" fmla="*/ 101677 w 41"/>
                <a:gd name="T47" fmla="*/ 702343 h 95"/>
                <a:gd name="T48" fmla="*/ 140784 w 41"/>
                <a:gd name="T49" fmla="*/ 671128 h 95"/>
                <a:gd name="T50" fmla="*/ 148605 w 41"/>
                <a:gd name="T51" fmla="*/ 585286 h 95"/>
                <a:gd name="T52" fmla="*/ 187712 w 41"/>
                <a:gd name="T53" fmla="*/ 569678 h 95"/>
                <a:gd name="T54" fmla="*/ 179891 w 41"/>
                <a:gd name="T55" fmla="*/ 507248 h 95"/>
                <a:gd name="T56" fmla="*/ 164248 w 41"/>
                <a:gd name="T57" fmla="*/ 437013 h 95"/>
                <a:gd name="T58" fmla="*/ 187712 w 41"/>
                <a:gd name="T59" fmla="*/ 358975 h 95"/>
                <a:gd name="T60" fmla="*/ 258104 w 41"/>
                <a:gd name="T61" fmla="*/ 312152 h 95"/>
                <a:gd name="T62" fmla="*/ 258104 w 41"/>
                <a:gd name="T63" fmla="*/ 265330 h 95"/>
                <a:gd name="T64" fmla="*/ 297211 w 41"/>
                <a:gd name="T65" fmla="*/ 210703 h 95"/>
                <a:gd name="T66" fmla="*/ 320675 w 41"/>
                <a:gd name="T67" fmla="*/ 210703 h 9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1"/>
                <a:gd name="T103" fmla="*/ 0 h 95"/>
                <a:gd name="T104" fmla="*/ 41 w 41"/>
                <a:gd name="T105" fmla="*/ 95 h 9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1" h="95">
                  <a:moveTo>
                    <a:pt x="41" y="22"/>
                  </a:moveTo>
                  <a:cubicBezTo>
                    <a:pt x="41" y="21"/>
                    <a:pt x="41" y="21"/>
                    <a:pt x="41" y="21"/>
                  </a:cubicBezTo>
                  <a:cubicBezTo>
                    <a:pt x="40" y="18"/>
                    <a:pt x="40" y="18"/>
                    <a:pt x="40" y="18"/>
                  </a:cubicBezTo>
                  <a:cubicBezTo>
                    <a:pt x="40" y="15"/>
                    <a:pt x="40" y="15"/>
                    <a:pt x="40" y="15"/>
                  </a:cubicBezTo>
                  <a:cubicBezTo>
                    <a:pt x="40" y="11"/>
                    <a:pt x="40" y="11"/>
                    <a:pt x="40" y="11"/>
                  </a:cubicBezTo>
                  <a:cubicBezTo>
                    <a:pt x="38" y="6"/>
                    <a:pt x="38" y="6"/>
                    <a:pt x="38" y="6"/>
                  </a:cubicBezTo>
                  <a:cubicBezTo>
                    <a:pt x="37" y="6"/>
                    <a:pt x="37" y="6"/>
                    <a:pt x="37" y="6"/>
                  </a:cubicBezTo>
                  <a:cubicBezTo>
                    <a:pt x="35" y="5"/>
                    <a:pt x="35" y="5"/>
                    <a:pt x="35" y="5"/>
                  </a:cubicBezTo>
                  <a:cubicBezTo>
                    <a:pt x="32" y="2"/>
                    <a:pt x="32" y="2"/>
                    <a:pt x="32" y="2"/>
                  </a:cubicBezTo>
                  <a:cubicBezTo>
                    <a:pt x="31" y="0"/>
                    <a:pt x="31" y="0"/>
                    <a:pt x="31" y="0"/>
                  </a:cubicBezTo>
                  <a:cubicBezTo>
                    <a:pt x="30" y="0"/>
                    <a:pt x="30" y="0"/>
                    <a:pt x="30" y="0"/>
                  </a:cubicBezTo>
                  <a:cubicBezTo>
                    <a:pt x="29" y="3"/>
                    <a:pt x="29" y="3"/>
                    <a:pt x="29" y="3"/>
                  </a:cubicBezTo>
                  <a:cubicBezTo>
                    <a:pt x="29" y="5"/>
                    <a:pt x="29" y="5"/>
                    <a:pt x="29" y="5"/>
                  </a:cubicBezTo>
                  <a:cubicBezTo>
                    <a:pt x="27" y="5"/>
                    <a:pt x="27" y="5"/>
                    <a:pt x="27" y="5"/>
                  </a:cubicBezTo>
                  <a:cubicBezTo>
                    <a:pt x="24" y="5"/>
                    <a:pt x="24" y="5"/>
                    <a:pt x="24" y="5"/>
                  </a:cubicBezTo>
                  <a:cubicBezTo>
                    <a:pt x="22" y="9"/>
                    <a:pt x="22" y="9"/>
                    <a:pt x="22" y="9"/>
                  </a:cubicBezTo>
                  <a:cubicBezTo>
                    <a:pt x="21" y="9"/>
                    <a:pt x="21" y="9"/>
                    <a:pt x="21" y="9"/>
                  </a:cubicBezTo>
                  <a:cubicBezTo>
                    <a:pt x="18" y="11"/>
                    <a:pt x="18" y="11"/>
                    <a:pt x="18" y="11"/>
                  </a:cubicBezTo>
                  <a:cubicBezTo>
                    <a:pt x="17" y="13"/>
                    <a:pt x="17" y="13"/>
                    <a:pt x="17" y="13"/>
                  </a:cubicBezTo>
                  <a:cubicBezTo>
                    <a:pt x="18" y="16"/>
                    <a:pt x="18" y="16"/>
                    <a:pt x="18" y="16"/>
                  </a:cubicBezTo>
                  <a:cubicBezTo>
                    <a:pt x="16" y="19"/>
                    <a:pt x="16" y="19"/>
                    <a:pt x="16" y="19"/>
                  </a:cubicBezTo>
                  <a:cubicBezTo>
                    <a:pt x="14" y="24"/>
                    <a:pt x="14" y="24"/>
                    <a:pt x="14" y="24"/>
                  </a:cubicBezTo>
                  <a:cubicBezTo>
                    <a:pt x="12" y="25"/>
                    <a:pt x="12" y="25"/>
                    <a:pt x="12" y="25"/>
                  </a:cubicBezTo>
                  <a:cubicBezTo>
                    <a:pt x="11" y="31"/>
                    <a:pt x="11" y="31"/>
                    <a:pt x="11" y="31"/>
                  </a:cubicBezTo>
                  <a:cubicBezTo>
                    <a:pt x="9" y="35"/>
                    <a:pt x="9" y="35"/>
                    <a:pt x="9" y="35"/>
                  </a:cubicBezTo>
                  <a:cubicBezTo>
                    <a:pt x="10" y="37"/>
                    <a:pt x="10" y="37"/>
                    <a:pt x="10" y="37"/>
                  </a:cubicBezTo>
                  <a:cubicBezTo>
                    <a:pt x="10" y="40"/>
                    <a:pt x="10" y="40"/>
                    <a:pt x="10" y="40"/>
                  </a:cubicBezTo>
                  <a:cubicBezTo>
                    <a:pt x="6" y="41"/>
                    <a:pt x="6" y="41"/>
                    <a:pt x="6" y="41"/>
                  </a:cubicBezTo>
                  <a:cubicBezTo>
                    <a:pt x="4" y="43"/>
                    <a:pt x="4" y="43"/>
                    <a:pt x="4" y="43"/>
                  </a:cubicBezTo>
                  <a:cubicBezTo>
                    <a:pt x="4" y="43"/>
                    <a:pt x="4" y="46"/>
                    <a:pt x="4" y="46"/>
                  </a:cubicBezTo>
                  <a:cubicBezTo>
                    <a:pt x="4" y="46"/>
                    <a:pt x="3" y="50"/>
                    <a:pt x="3" y="51"/>
                  </a:cubicBezTo>
                  <a:cubicBezTo>
                    <a:pt x="3" y="51"/>
                    <a:pt x="4" y="56"/>
                    <a:pt x="4" y="56"/>
                  </a:cubicBezTo>
                  <a:cubicBezTo>
                    <a:pt x="6" y="59"/>
                    <a:pt x="6" y="59"/>
                    <a:pt x="6" y="59"/>
                  </a:cubicBezTo>
                  <a:cubicBezTo>
                    <a:pt x="4" y="61"/>
                    <a:pt x="4" y="61"/>
                    <a:pt x="4" y="61"/>
                  </a:cubicBezTo>
                  <a:cubicBezTo>
                    <a:pt x="4" y="63"/>
                    <a:pt x="4" y="63"/>
                    <a:pt x="4" y="63"/>
                  </a:cubicBezTo>
                  <a:cubicBezTo>
                    <a:pt x="4" y="63"/>
                    <a:pt x="4" y="67"/>
                    <a:pt x="4" y="67"/>
                  </a:cubicBezTo>
                  <a:cubicBezTo>
                    <a:pt x="4" y="68"/>
                    <a:pt x="3" y="68"/>
                    <a:pt x="3" y="68"/>
                  </a:cubicBezTo>
                  <a:cubicBezTo>
                    <a:pt x="1" y="73"/>
                    <a:pt x="1" y="73"/>
                    <a:pt x="1" y="73"/>
                  </a:cubicBezTo>
                  <a:cubicBezTo>
                    <a:pt x="0" y="74"/>
                    <a:pt x="0" y="74"/>
                    <a:pt x="0" y="74"/>
                  </a:cubicBezTo>
                  <a:cubicBezTo>
                    <a:pt x="2" y="79"/>
                    <a:pt x="2" y="79"/>
                    <a:pt x="2" y="79"/>
                  </a:cubicBezTo>
                  <a:cubicBezTo>
                    <a:pt x="3" y="83"/>
                    <a:pt x="3" y="83"/>
                    <a:pt x="3" y="83"/>
                  </a:cubicBezTo>
                  <a:cubicBezTo>
                    <a:pt x="5" y="88"/>
                    <a:pt x="5" y="88"/>
                    <a:pt x="5" y="88"/>
                  </a:cubicBezTo>
                  <a:cubicBezTo>
                    <a:pt x="5" y="90"/>
                    <a:pt x="5" y="90"/>
                    <a:pt x="5" y="90"/>
                  </a:cubicBezTo>
                  <a:cubicBezTo>
                    <a:pt x="6" y="93"/>
                    <a:pt x="6" y="93"/>
                    <a:pt x="6" y="93"/>
                  </a:cubicBezTo>
                  <a:cubicBezTo>
                    <a:pt x="7" y="95"/>
                    <a:pt x="7" y="95"/>
                    <a:pt x="7" y="95"/>
                  </a:cubicBezTo>
                  <a:cubicBezTo>
                    <a:pt x="10" y="94"/>
                    <a:pt x="10" y="94"/>
                    <a:pt x="10" y="94"/>
                  </a:cubicBezTo>
                  <a:cubicBezTo>
                    <a:pt x="11" y="92"/>
                    <a:pt x="11" y="92"/>
                    <a:pt x="11" y="92"/>
                  </a:cubicBezTo>
                  <a:cubicBezTo>
                    <a:pt x="13" y="90"/>
                    <a:pt x="13" y="90"/>
                    <a:pt x="13" y="90"/>
                  </a:cubicBezTo>
                  <a:cubicBezTo>
                    <a:pt x="16" y="90"/>
                    <a:pt x="16" y="90"/>
                    <a:pt x="16" y="90"/>
                  </a:cubicBezTo>
                  <a:cubicBezTo>
                    <a:pt x="18" y="86"/>
                    <a:pt x="18" y="86"/>
                    <a:pt x="18" y="86"/>
                  </a:cubicBezTo>
                  <a:cubicBezTo>
                    <a:pt x="19" y="79"/>
                    <a:pt x="19" y="79"/>
                    <a:pt x="19" y="79"/>
                  </a:cubicBezTo>
                  <a:cubicBezTo>
                    <a:pt x="19" y="75"/>
                    <a:pt x="19" y="75"/>
                    <a:pt x="19" y="75"/>
                  </a:cubicBezTo>
                  <a:cubicBezTo>
                    <a:pt x="21" y="74"/>
                    <a:pt x="21" y="74"/>
                    <a:pt x="21" y="74"/>
                  </a:cubicBezTo>
                  <a:cubicBezTo>
                    <a:pt x="24" y="73"/>
                    <a:pt x="24" y="73"/>
                    <a:pt x="24" y="73"/>
                  </a:cubicBezTo>
                  <a:cubicBezTo>
                    <a:pt x="24" y="68"/>
                    <a:pt x="24" y="68"/>
                    <a:pt x="24" y="68"/>
                  </a:cubicBezTo>
                  <a:cubicBezTo>
                    <a:pt x="23" y="65"/>
                    <a:pt x="23" y="65"/>
                    <a:pt x="23" y="65"/>
                  </a:cubicBezTo>
                  <a:cubicBezTo>
                    <a:pt x="20" y="63"/>
                    <a:pt x="20" y="63"/>
                    <a:pt x="20" y="63"/>
                  </a:cubicBezTo>
                  <a:cubicBezTo>
                    <a:pt x="21" y="56"/>
                    <a:pt x="21" y="56"/>
                    <a:pt x="21" y="56"/>
                  </a:cubicBezTo>
                  <a:cubicBezTo>
                    <a:pt x="21" y="51"/>
                    <a:pt x="21" y="51"/>
                    <a:pt x="21" y="51"/>
                  </a:cubicBezTo>
                  <a:cubicBezTo>
                    <a:pt x="24" y="46"/>
                    <a:pt x="24" y="46"/>
                    <a:pt x="24" y="46"/>
                  </a:cubicBezTo>
                  <a:cubicBezTo>
                    <a:pt x="27" y="44"/>
                    <a:pt x="27" y="44"/>
                    <a:pt x="27" y="44"/>
                  </a:cubicBezTo>
                  <a:cubicBezTo>
                    <a:pt x="33" y="40"/>
                    <a:pt x="33" y="40"/>
                    <a:pt x="33" y="40"/>
                  </a:cubicBezTo>
                  <a:cubicBezTo>
                    <a:pt x="34" y="37"/>
                    <a:pt x="34" y="37"/>
                    <a:pt x="34" y="37"/>
                  </a:cubicBezTo>
                  <a:cubicBezTo>
                    <a:pt x="33" y="34"/>
                    <a:pt x="33" y="34"/>
                    <a:pt x="33" y="34"/>
                  </a:cubicBezTo>
                  <a:cubicBezTo>
                    <a:pt x="35" y="31"/>
                    <a:pt x="35" y="31"/>
                    <a:pt x="35" y="31"/>
                  </a:cubicBezTo>
                  <a:cubicBezTo>
                    <a:pt x="38" y="27"/>
                    <a:pt x="38" y="27"/>
                    <a:pt x="38" y="27"/>
                  </a:cubicBezTo>
                  <a:cubicBezTo>
                    <a:pt x="41" y="28"/>
                    <a:pt x="41" y="28"/>
                    <a:pt x="41" y="28"/>
                  </a:cubicBezTo>
                  <a:cubicBezTo>
                    <a:pt x="41" y="27"/>
                    <a:pt x="41" y="27"/>
                    <a:pt x="41" y="27"/>
                  </a:cubicBezTo>
                  <a:lnTo>
                    <a:pt x="41" y="22"/>
                  </a:lnTo>
                  <a:close/>
                </a:path>
              </a:pathLst>
            </a:custGeom>
            <a:solidFill>
              <a:srgbClr val="598E20"/>
            </a:solidFill>
            <a:ln w="9525">
              <a:solidFill>
                <a:sysClr val="window" lastClr="FFFFFF">
                  <a:lumMod val="85000"/>
                </a:sys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72" name="Freeform 349"/>
            <p:cNvSpPr>
              <a:spLocks/>
            </p:cNvSpPr>
            <p:nvPr/>
          </p:nvSpPr>
          <p:spPr bwMode="auto">
            <a:xfrm>
              <a:off x="6689824" y="2618406"/>
              <a:ext cx="428990" cy="282029"/>
            </a:xfrm>
            <a:custGeom>
              <a:avLst/>
              <a:gdLst>
                <a:gd name="T0" fmla="*/ 422609 w 57"/>
                <a:gd name="T1" fmla="*/ 170849 h 37"/>
                <a:gd name="T2" fmla="*/ 438261 w 57"/>
                <a:gd name="T3" fmla="*/ 163083 h 37"/>
                <a:gd name="T4" fmla="*/ 446087 w 57"/>
                <a:gd name="T5" fmla="*/ 124254 h 37"/>
                <a:gd name="T6" fmla="*/ 446087 w 57"/>
                <a:gd name="T7" fmla="*/ 108722 h 37"/>
                <a:gd name="T8" fmla="*/ 406957 w 57"/>
                <a:gd name="T9" fmla="*/ 93190 h 37"/>
                <a:gd name="T10" fmla="*/ 367826 w 57"/>
                <a:gd name="T11" fmla="*/ 69893 h 37"/>
                <a:gd name="T12" fmla="*/ 352174 w 57"/>
                <a:gd name="T13" fmla="*/ 69893 h 37"/>
                <a:gd name="T14" fmla="*/ 328696 w 57"/>
                <a:gd name="T15" fmla="*/ 54361 h 37"/>
                <a:gd name="T16" fmla="*/ 313044 w 57"/>
                <a:gd name="T17" fmla="*/ 31063 h 37"/>
                <a:gd name="T18" fmla="*/ 258261 w 57"/>
                <a:gd name="T19" fmla="*/ 7766 h 37"/>
                <a:gd name="T20" fmla="*/ 242609 w 57"/>
                <a:gd name="T21" fmla="*/ 7766 h 37"/>
                <a:gd name="T22" fmla="*/ 242609 w 57"/>
                <a:gd name="T23" fmla="*/ 0 h 37"/>
                <a:gd name="T24" fmla="*/ 234783 w 57"/>
                <a:gd name="T25" fmla="*/ 0 h 37"/>
                <a:gd name="T26" fmla="*/ 219130 w 57"/>
                <a:gd name="T27" fmla="*/ 46595 h 37"/>
                <a:gd name="T28" fmla="*/ 187826 w 57"/>
                <a:gd name="T29" fmla="*/ 38829 h 37"/>
                <a:gd name="T30" fmla="*/ 133044 w 57"/>
                <a:gd name="T31" fmla="*/ 38829 h 37"/>
                <a:gd name="T32" fmla="*/ 86087 w 57"/>
                <a:gd name="T33" fmla="*/ 23298 h 37"/>
                <a:gd name="T34" fmla="*/ 54783 w 57"/>
                <a:gd name="T35" fmla="*/ 23298 h 37"/>
                <a:gd name="T36" fmla="*/ 39130 w 57"/>
                <a:gd name="T37" fmla="*/ 31063 h 37"/>
                <a:gd name="T38" fmla="*/ 46957 w 57"/>
                <a:gd name="T39" fmla="*/ 62127 h 37"/>
                <a:gd name="T40" fmla="*/ 31304 w 57"/>
                <a:gd name="T41" fmla="*/ 77659 h 37"/>
                <a:gd name="T42" fmla="*/ 15652 w 57"/>
                <a:gd name="T43" fmla="*/ 116488 h 37"/>
                <a:gd name="T44" fmla="*/ 0 w 57"/>
                <a:gd name="T45" fmla="*/ 116488 h 37"/>
                <a:gd name="T46" fmla="*/ 0 w 57"/>
                <a:gd name="T47" fmla="*/ 139786 h 37"/>
                <a:gd name="T48" fmla="*/ 7826 w 57"/>
                <a:gd name="T49" fmla="*/ 147551 h 37"/>
                <a:gd name="T50" fmla="*/ 15652 w 57"/>
                <a:gd name="T51" fmla="*/ 155317 h 37"/>
                <a:gd name="T52" fmla="*/ 23478 w 57"/>
                <a:gd name="T53" fmla="*/ 163083 h 37"/>
                <a:gd name="T54" fmla="*/ 93913 w 57"/>
                <a:gd name="T55" fmla="*/ 155317 h 37"/>
                <a:gd name="T56" fmla="*/ 140870 w 57"/>
                <a:gd name="T57" fmla="*/ 155317 h 37"/>
                <a:gd name="T58" fmla="*/ 187826 w 57"/>
                <a:gd name="T59" fmla="*/ 186381 h 37"/>
                <a:gd name="T60" fmla="*/ 195652 w 57"/>
                <a:gd name="T61" fmla="*/ 217444 h 37"/>
                <a:gd name="T62" fmla="*/ 172174 w 57"/>
                <a:gd name="T63" fmla="*/ 232976 h 37"/>
                <a:gd name="T64" fmla="*/ 164348 w 57"/>
                <a:gd name="T65" fmla="*/ 256274 h 37"/>
                <a:gd name="T66" fmla="*/ 187826 w 57"/>
                <a:gd name="T67" fmla="*/ 264039 h 37"/>
                <a:gd name="T68" fmla="*/ 195652 w 57"/>
                <a:gd name="T69" fmla="*/ 248508 h 37"/>
                <a:gd name="T70" fmla="*/ 234783 w 57"/>
                <a:gd name="T71" fmla="*/ 225210 h 37"/>
                <a:gd name="T72" fmla="*/ 258261 w 57"/>
                <a:gd name="T73" fmla="*/ 225210 h 37"/>
                <a:gd name="T74" fmla="*/ 281739 w 57"/>
                <a:gd name="T75" fmla="*/ 248508 h 37"/>
                <a:gd name="T76" fmla="*/ 266087 w 57"/>
                <a:gd name="T77" fmla="*/ 264039 h 37"/>
                <a:gd name="T78" fmla="*/ 289565 w 57"/>
                <a:gd name="T79" fmla="*/ 287337 h 37"/>
                <a:gd name="T80" fmla="*/ 352174 w 57"/>
                <a:gd name="T81" fmla="*/ 264039 h 37"/>
                <a:gd name="T82" fmla="*/ 320870 w 57"/>
                <a:gd name="T83" fmla="*/ 240742 h 37"/>
                <a:gd name="T84" fmla="*/ 336522 w 57"/>
                <a:gd name="T85" fmla="*/ 217444 h 37"/>
                <a:gd name="T86" fmla="*/ 391304 w 57"/>
                <a:gd name="T87" fmla="*/ 209678 h 37"/>
                <a:gd name="T88" fmla="*/ 399130 w 57"/>
                <a:gd name="T89" fmla="*/ 194147 h 37"/>
                <a:gd name="T90" fmla="*/ 422609 w 57"/>
                <a:gd name="T91" fmla="*/ 170849 h 3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7"/>
                <a:gd name="T139" fmla="*/ 0 h 37"/>
                <a:gd name="T140" fmla="*/ 57 w 57"/>
                <a:gd name="T141" fmla="*/ 37 h 3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7" h="37">
                  <a:moveTo>
                    <a:pt x="54" y="22"/>
                  </a:moveTo>
                  <a:cubicBezTo>
                    <a:pt x="56" y="21"/>
                    <a:pt x="56" y="21"/>
                    <a:pt x="56" y="21"/>
                  </a:cubicBezTo>
                  <a:cubicBezTo>
                    <a:pt x="57" y="16"/>
                    <a:pt x="57" y="16"/>
                    <a:pt x="57" y="16"/>
                  </a:cubicBezTo>
                  <a:cubicBezTo>
                    <a:pt x="57" y="14"/>
                    <a:pt x="57" y="14"/>
                    <a:pt x="57" y="14"/>
                  </a:cubicBezTo>
                  <a:cubicBezTo>
                    <a:pt x="52" y="12"/>
                    <a:pt x="52" y="12"/>
                    <a:pt x="52" y="12"/>
                  </a:cubicBezTo>
                  <a:cubicBezTo>
                    <a:pt x="47" y="9"/>
                    <a:pt x="47" y="9"/>
                    <a:pt x="47" y="9"/>
                  </a:cubicBezTo>
                  <a:cubicBezTo>
                    <a:pt x="45" y="9"/>
                    <a:pt x="45" y="9"/>
                    <a:pt x="45" y="9"/>
                  </a:cubicBezTo>
                  <a:cubicBezTo>
                    <a:pt x="42" y="7"/>
                    <a:pt x="42" y="7"/>
                    <a:pt x="42" y="7"/>
                  </a:cubicBezTo>
                  <a:cubicBezTo>
                    <a:pt x="40" y="4"/>
                    <a:pt x="40" y="4"/>
                    <a:pt x="40" y="4"/>
                  </a:cubicBezTo>
                  <a:cubicBezTo>
                    <a:pt x="33" y="1"/>
                    <a:pt x="33" y="1"/>
                    <a:pt x="33" y="1"/>
                  </a:cubicBezTo>
                  <a:cubicBezTo>
                    <a:pt x="31" y="1"/>
                    <a:pt x="31" y="1"/>
                    <a:pt x="31" y="1"/>
                  </a:cubicBezTo>
                  <a:cubicBezTo>
                    <a:pt x="31" y="0"/>
                    <a:pt x="31" y="0"/>
                    <a:pt x="31" y="0"/>
                  </a:cubicBezTo>
                  <a:cubicBezTo>
                    <a:pt x="30" y="0"/>
                    <a:pt x="30" y="0"/>
                    <a:pt x="30" y="0"/>
                  </a:cubicBezTo>
                  <a:cubicBezTo>
                    <a:pt x="28" y="6"/>
                    <a:pt x="28" y="6"/>
                    <a:pt x="28" y="6"/>
                  </a:cubicBezTo>
                  <a:cubicBezTo>
                    <a:pt x="24" y="5"/>
                    <a:pt x="24" y="5"/>
                    <a:pt x="24" y="5"/>
                  </a:cubicBezTo>
                  <a:cubicBezTo>
                    <a:pt x="17" y="5"/>
                    <a:pt x="17" y="5"/>
                    <a:pt x="17" y="5"/>
                  </a:cubicBezTo>
                  <a:cubicBezTo>
                    <a:pt x="11" y="3"/>
                    <a:pt x="11" y="3"/>
                    <a:pt x="11" y="3"/>
                  </a:cubicBezTo>
                  <a:cubicBezTo>
                    <a:pt x="7" y="3"/>
                    <a:pt x="7" y="3"/>
                    <a:pt x="7" y="3"/>
                  </a:cubicBezTo>
                  <a:cubicBezTo>
                    <a:pt x="5" y="4"/>
                    <a:pt x="5" y="4"/>
                    <a:pt x="5" y="4"/>
                  </a:cubicBezTo>
                  <a:cubicBezTo>
                    <a:pt x="6" y="8"/>
                    <a:pt x="6" y="8"/>
                    <a:pt x="6" y="8"/>
                  </a:cubicBezTo>
                  <a:cubicBezTo>
                    <a:pt x="4" y="10"/>
                    <a:pt x="4" y="10"/>
                    <a:pt x="4" y="10"/>
                  </a:cubicBezTo>
                  <a:cubicBezTo>
                    <a:pt x="2" y="15"/>
                    <a:pt x="2" y="15"/>
                    <a:pt x="2" y="15"/>
                  </a:cubicBezTo>
                  <a:cubicBezTo>
                    <a:pt x="0" y="15"/>
                    <a:pt x="0" y="15"/>
                    <a:pt x="0" y="15"/>
                  </a:cubicBezTo>
                  <a:cubicBezTo>
                    <a:pt x="0" y="18"/>
                    <a:pt x="0" y="18"/>
                    <a:pt x="0" y="18"/>
                  </a:cubicBezTo>
                  <a:cubicBezTo>
                    <a:pt x="1" y="19"/>
                    <a:pt x="1" y="19"/>
                    <a:pt x="1" y="19"/>
                  </a:cubicBezTo>
                  <a:cubicBezTo>
                    <a:pt x="2" y="20"/>
                    <a:pt x="2" y="20"/>
                    <a:pt x="2" y="20"/>
                  </a:cubicBezTo>
                  <a:cubicBezTo>
                    <a:pt x="3" y="21"/>
                    <a:pt x="3" y="21"/>
                    <a:pt x="3" y="21"/>
                  </a:cubicBezTo>
                  <a:cubicBezTo>
                    <a:pt x="12" y="20"/>
                    <a:pt x="12" y="20"/>
                    <a:pt x="12" y="20"/>
                  </a:cubicBezTo>
                  <a:cubicBezTo>
                    <a:pt x="18" y="20"/>
                    <a:pt x="18" y="20"/>
                    <a:pt x="18" y="20"/>
                  </a:cubicBezTo>
                  <a:cubicBezTo>
                    <a:pt x="24" y="24"/>
                    <a:pt x="24" y="24"/>
                    <a:pt x="24" y="24"/>
                  </a:cubicBezTo>
                  <a:cubicBezTo>
                    <a:pt x="24" y="24"/>
                    <a:pt x="26" y="26"/>
                    <a:pt x="25" y="28"/>
                  </a:cubicBezTo>
                  <a:cubicBezTo>
                    <a:pt x="25" y="29"/>
                    <a:pt x="22" y="30"/>
                    <a:pt x="22" y="30"/>
                  </a:cubicBezTo>
                  <a:cubicBezTo>
                    <a:pt x="21" y="33"/>
                    <a:pt x="21" y="33"/>
                    <a:pt x="21" y="33"/>
                  </a:cubicBezTo>
                  <a:cubicBezTo>
                    <a:pt x="24" y="34"/>
                    <a:pt x="24" y="34"/>
                    <a:pt x="24" y="34"/>
                  </a:cubicBezTo>
                  <a:cubicBezTo>
                    <a:pt x="25" y="32"/>
                    <a:pt x="25" y="32"/>
                    <a:pt x="25" y="32"/>
                  </a:cubicBezTo>
                  <a:cubicBezTo>
                    <a:pt x="30" y="29"/>
                    <a:pt x="30" y="29"/>
                    <a:pt x="30" y="29"/>
                  </a:cubicBezTo>
                  <a:cubicBezTo>
                    <a:pt x="33" y="29"/>
                    <a:pt x="33" y="29"/>
                    <a:pt x="33" y="29"/>
                  </a:cubicBezTo>
                  <a:cubicBezTo>
                    <a:pt x="36" y="32"/>
                    <a:pt x="36" y="32"/>
                    <a:pt x="36" y="32"/>
                  </a:cubicBezTo>
                  <a:cubicBezTo>
                    <a:pt x="34" y="34"/>
                    <a:pt x="34" y="34"/>
                    <a:pt x="34" y="34"/>
                  </a:cubicBezTo>
                  <a:cubicBezTo>
                    <a:pt x="37" y="37"/>
                    <a:pt x="37" y="37"/>
                    <a:pt x="37" y="37"/>
                  </a:cubicBezTo>
                  <a:cubicBezTo>
                    <a:pt x="45" y="34"/>
                    <a:pt x="45" y="34"/>
                    <a:pt x="45" y="34"/>
                  </a:cubicBezTo>
                  <a:cubicBezTo>
                    <a:pt x="41" y="31"/>
                    <a:pt x="41" y="31"/>
                    <a:pt x="41" y="31"/>
                  </a:cubicBezTo>
                  <a:cubicBezTo>
                    <a:pt x="43" y="28"/>
                    <a:pt x="43" y="28"/>
                    <a:pt x="43" y="28"/>
                  </a:cubicBezTo>
                  <a:cubicBezTo>
                    <a:pt x="50" y="27"/>
                    <a:pt x="50" y="27"/>
                    <a:pt x="50" y="27"/>
                  </a:cubicBezTo>
                  <a:cubicBezTo>
                    <a:pt x="51" y="25"/>
                    <a:pt x="51" y="25"/>
                    <a:pt x="51" y="25"/>
                  </a:cubicBezTo>
                  <a:lnTo>
                    <a:pt x="54" y="22"/>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73" name="Freeform 350"/>
            <p:cNvSpPr>
              <a:spLocks/>
            </p:cNvSpPr>
            <p:nvPr/>
          </p:nvSpPr>
          <p:spPr bwMode="auto">
            <a:xfrm>
              <a:off x="6937137" y="2618407"/>
              <a:ext cx="53432" cy="29605"/>
            </a:xfrm>
            <a:custGeom>
              <a:avLst/>
              <a:gdLst>
                <a:gd name="T0" fmla="*/ 47625 w 42"/>
                <a:gd name="T1" fmla="*/ 30162 h 24"/>
                <a:gd name="T2" fmla="*/ 23812 w 42"/>
                <a:gd name="T3" fmla="*/ 0 h 24"/>
                <a:gd name="T4" fmla="*/ 0 w 42"/>
                <a:gd name="T5" fmla="*/ 7541 h 24"/>
                <a:gd name="T6" fmla="*/ 55562 w 42"/>
                <a:gd name="T7" fmla="*/ 30162 h 24"/>
                <a:gd name="T8" fmla="*/ 47625 w 42"/>
                <a:gd name="T9" fmla="*/ 30162 h 24"/>
                <a:gd name="T10" fmla="*/ 0 60000 65536"/>
                <a:gd name="T11" fmla="*/ 0 60000 65536"/>
                <a:gd name="T12" fmla="*/ 0 60000 65536"/>
                <a:gd name="T13" fmla="*/ 0 60000 65536"/>
                <a:gd name="T14" fmla="*/ 0 60000 65536"/>
                <a:gd name="T15" fmla="*/ 0 w 42"/>
                <a:gd name="T16" fmla="*/ 0 h 24"/>
                <a:gd name="T17" fmla="*/ 42 w 42"/>
                <a:gd name="T18" fmla="*/ 24 h 24"/>
              </a:gdLst>
              <a:ahLst/>
              <a:cxnLst>
                <a:cxn ang="T10">
                  <a:pos x="T0" y="T1"/>
                </a:cxn>
                <a:cxn ang="T11">
                  <a:pos x="T2" y="T3"/>
                </a:cxn>
                <a:cxn ang="T12">
                  <a:pos x="T4" y="T5"/>
                </a:cxn>
                <a:cxn ang="T13">
                  <a:pos x="T6" y="T7"/>
                </a:cxn>
                <a:cxn ang="T14">
                  <a:pos x="T8" y="T9"/>
                </a:cxn>
              </a:cxnLst>
              <a:rect l="T15" t="T16" r="T17" b="T18"/>
              <a:pathLst>
                <a:path w="42" h="24">
                  <a:moveTo>
                    <a:pt x="36" y="24"/>
                  </a:moveTo>
                  <a:lnTo>
                    <a:pt x="18" y="0"/>
                  </a:lnTo>
                  <a:lnTo>
                    <a:pt x="0" y="6"/>
                  </a:lnTo>
                  <a:lnTo>
                    <a:pt x="42" y="24"/>
                  </a:lnTo>
                  <a:lnTo>
                    <a:pt x="36" y="24"/>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74" name="Freeform 351"/>
            <p:cNvSpPr>
              <a:spLocks/>
            </p:cNvSpPr>
            <p:nvPr/>
          </p:nvSpPr>
          <p:spPr bwMode="auto">
            <a:xfrm>
              <a:off x="6644019" y="2771107"/>
              <a:ext cx="241212" cy="158933"/>
            </a:xfrm>
            <a:custGeom>
              <a:avLst/>
              <a:gdLst>
                <a:gd name="T0" fmla="*/ 219472 w 32"/>
                <a:gd name="T1" fmla="*/ 77107 h 21"/>
                <a:gd name="T2" fmla="*/ 242987 w 32"/>
                <a:gd name="T3" fmla="*/ 61686 h 21"/>
                <a:gd name="T4" fmla="*/ 235148 w 32"/>
                <a:gd name="T5" fmla="*/ 30843 h 21"/>
                <a:gd name="T6" fmla="*/ 188119 w 32"/>
                <a:gd name="T7" fmla="*/ 0 h 21"/>
                <a:gd name="T8" fmla="*/ 141089 w 32"/>
                <a:gd name="T9" fmla="*/ 0 h 21"/>
                <a:gd name="T10" fmla="*/ 70545 w 32"/>
                <a:gd name="T11" fmla="*/ 7711 h 21"/>
                <a:gd name="T12" fmla="*/ 62706 w 32"/>
                <a:gd name="T13" fmla="*/ 0 h 21"/>
                <a:gd name="T14" fmla="*/ 39191 w 32"/>
                <a:gd name="T15" fmla="*/ 38554 h 21"/>
                <a:gd name="T16" fmla="*/ 23515 w 32"/>
                <a:gd name="T17" fmla="*/ 69396 h 21"/>
                <a:gd name="T18" fmla="*/ 0 w 32"/>
                <a:gd name="T19" fmla="*/ 77107 h 21"/>
                <a:gd name="T20" fmla="*/ 0 w 32"/>
                <a:gd name="T21" fmla="*/ 77107 h 21"/>
                <a:gd name="T22" fmla="*/ 62706 w 32"/>
                <a:gd name="T23" fmla="*/ 146504 h 21"/>
                <a:gd name="T24" fmla="*/ 78383 w 32"/>
                <a:gd name="T25" fmla="*/ 154214 h 21"/>
                <a:gd name="T26" fmla="*/ 125413 w 32"/>
                <a:gd name="T27" fmla="*/ 154214 h 21"/>
                <a:gd name="T28" fmla="*/ 164604 w 32"/>
                <a:gd name="T29" fmla="*/ 146504 h 21"/>
                <a:gd name="T30" fmla="*/ 211634 w 32"/>
                <a:gd name="T31" fmla="*/ 161925 h 21"/>
                <a:gd name="T32" fmla="*/ 219472 w 32"/>
                <a:gd name="T33" fmla="*/ 115661 h 21"/>
                <a:gd name="T34" fmla="*/ 235148 w 32"/>
                <a:gd name="T35" fmla="*/ 107950 h 21"/>
                <a:gd name="T36" fmla="*/ 211634 w 32"/>
                <a:gd name="T37" fmla="*/ 100239 h 21"/>
                <a:gd name="T38" fmla="*/ 219472 w 32"/>
                <a:gd name="T39" fmla="*/ 77107 h 2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2"/>
                <a:gd name="T61" fmla="*/ 0 h 21"/>
                <a:gd name="T62" fmla="*/ 32 w 32"/>
                <a:gd name="T63" fmla="*/ 21 h 2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2" h="21">
                  <a:moveTo>
                    <a:pt x="28" y="10"/>
                  </a:moveTo>
                  <a:cubicBezTo>
                    <a:pt x="28" y="10"/>
                    <a:pt x="31" y="9"/>
                    <a:pt x="31" y="8"/>
                  </a:cubicBezTo>
                  <a:cubicBezTo>
                    <a:pt x="32" y="6"/>
                    <a:pt x="30" y="4"/>
                    <a:pt x="30" y="4"/>
                  </a:cubicBezTo>
                  <a:cubicBezTo>
                    <a:pt x="24" y="0"/>
                    <a:pt x="24" y="0"/>
                    <a:pt x="24" y="0"/>
                  </a:cubicBezTo>
                  <a:cubicBezTo>
                    <a:pt x="18" y="0"/>
                    <a:pt x="18" y="0"/>
                    <a:pt x="18" y="0"/>
                  </a:cubicBezTo>
                  <a:cubicBezTo>
                    <a:pt x="9" y="1"/>
                    <a:pt x="9" y="1"/>
                    <a:pt x="9" y="1"/>
                  </a:cubicBezTo>
                  <a:cubicBezTo>
                    <a:pt x="8" y="0"/>
                    <a:pt x="8" y="0"/>
                    <a:pt x="8" y="0"/>
                  </a:cubicBezTo>
                  <a:cubicBezTo>
                    <a:pt x="5" y="5"/>
                    <a:pt x="5" y="5"/>
                    <a:pt x="5" y="5"/>
                  </a:cubicBezTo>
                  <a:cubicBezTo>
                    <a:pt x="3" y="9"/>
                    <a:pt x="3" y="9"/>
                    <a:pt x="3" y="9"/>
                  </a:cubicBezTo>
                  <a:cubicBezTo>
                    <a:pt x="0" y="10"/>
                    <a:pt x="0" y="10"/>
                    <a:pt x="0" y="10"/>
                  </a:cubicBezTo>
                  <a:cubicBezTo>
                    <a:pt x="0" y="10"/>
                    <a:pt x="0" y="10"/>
                    <a:pt x="0" y="10"/>
                  </a:cubicBezTo>
                  <a:cubicBezTo>
                    <a:pt x="8" y="19"/>
                    <a:pt x="8" y="19"/>
                    <a:pt x="8" y="19"/>
                  </a:cubicBezTo>
                  <a:cubicBezTo>
                    <a:pt x="10" y="20"/>
                    <a:pt x="10" y="20"/>
                    <a:pt x="10" y="20"/>
                  </a:cubicBezTo>
                  <a:cubicBezTo>
                    <a:pt x="16" y="20"/>
                    <a:pt x="16" y="20"/>
                    <a:pt x="16" y="20"/>
                  </a:cubicBezTo>
                  <a:cubicBezTo>
                    <a:pt x="21" y="19"/>
                    <a:pt x="21" y="19"/>
                    <a:pt x="21" y="19"/>
                  </a:cubicBezTo>
                  <a:cubicBezTo>
                    <a:pt x="27" y="21"/>
                    <a:pt x="27" y="21"/>
                    <a:pt x="27" y="21"/>
                  </a:cubicBezTo>
                  <a:cubicBezTo>
                    <a:pt x="28" y="15"/>
                    <a:pt x="28" y="15"/>
                    <a:pt x="28" y="15"/>
                  </a:cubicBezTo>
                  <a:cubicBezTo>
                    <a:pt x="30" y="14"/>
                    <a:pt x="30" y="14"/>
                    <a:pt x="30" y="14"/>
                  </a:cubicBezTo>
                  <a:cubicBezTo>
                    <a:pt x="27" y="13"/>
                    <a:pt x="27" y="13"/>
                    <a:pt x="27" y="13"/>
                  </a:cubicBezTo>
                  <a:lnTo>
                    <a:pt x="28" y="1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75" name="Freeform 352"/>
            <p:cNvSpPr>
              <a:spLocks/>
            </p:cNvSpPr>
            <p:nvPr/>
          </p:nvSpPr>
          <p:spPr bwMode="auto">
            <a:xfrm>
              <a:off x="6644018" y="2848947"/>
              <a:ext cx="59540" cy="68560"/>
            </a:xfrm>
            <a:custGeom>
              <a:avLst/>
              <a:gdLst>
                <a:gd name="T0" fmla="*/ 54173 w 48"/>
                <a:gd name="T1" fmla="*/ 54328 h 54"/>
                <a:gd name="T2" fmla="*/ 61912 w 48"/>
                <a:gd name="T3" fmla="*/ 69850 h 54"/>
                <a:gd name="T4" fmla="*/ 0 w 48"/>
                <a:gd name="T5" fmla="*/ 0 h 54"/>
                <a:gd name="T6" fmla="*/ 15478 w 48"/>
                <a:gd name="T7" fmla="*/ 23283 h 54"/>
                <a:gd name="T8" fmla="*/ 54173 w 48"/>
                <a:gd name="T9" fmla="*/ 54328 h 54"/>
                <a:gd name="T10" fmla="*/ 0 60000 65536"/>
                <a:gd name="T11" fmla="*/ 0 60000 65536"/>
                <a:gd name="T12" fmla="*/ 0 60000 65536"/>
                <a:gd name="T13" fmla="*/ 0 60000 65536"/>
                <a:gd name="T14" fmla="*/ 0 60000 65536"/>
                <a:gd name="T15" fmla="*/ 0 w 48"/>
                <a:gd name="T16" fmla="*/ 0 h 54"/>
                <a:gd name="T17" fmla="*/ 48 w 48"/>
                <a:gd name="T18" fmla="*/ 54 h 54"/>
              </a:gdLst>
              <a:ahLst/>
              <a:cxnLst>
                <a:cxn ang="T10">
                  <a:pos x="T0" y="T1"/>
                </a:cxn>
                <a:cxn ang="T11">
                  <a:pos x="T2" y="T3"/>
                </a:cxn>
                <a:cxn ang="T12">
                  <a:pos x="T4" y="T5"/>
                </a:cxn>
                <a:cxn ang="T13">
                  <a:pos x="T6" y="T7"/>
                </a:cxn>
                <a:cxn ang="T14">
                  <a:pos x="T8" y="T9"/>
                </a:cxn>
              </a:cxnLst>
              <a:rect l="T15" t="T16" r="T17" b="T18"/>
              <a:pathLst>
                <a:path w="48" h="54">
                  <a:moveTo>
                    <a:pt x="42" y="42"/>
                  </a:moveTo>
                  <a:lnTo>
                    <a:pt x="48" y="54"/>
                  </a:lnTo>
                  <a:lnTo>
                    <a:pt x="0" y="0"/>
                  </a:lnTo>
                  <a:lnTo>
                    <a:pt x="12" y="18"/>
                  </a:lnTo>
                  <a:lnTo>
                    <a:pt x="42" y="42"/>
                  </a:lnTo>
                  <a:close/>
                </a:path>
              </a:pathLst>
            </a:custGeom>
            <a:solidFill>
              <a:schemeClr val="bg1"/>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76" name="Freeform 353"/>
            <p:cNvSpPr>
              <a:spLocks/>
            </p:cNvSpPr>
            <p:nvPr/>
          </p:nvSpPr>
          <p:spPr bwMode="auto">
            <a:xfrm>
              <a:off x="6448619" y="2672943"/>
              <a:ext cx="164879" cy="91933"/>
            </a:xfrm>
            <a:custGeom>
              <a:avLst/>
              <a:gdLst>
                <a:gd name="T0" fmla="*/ 77932 w 22"/>
                <a:gd name="T1" fmla="*/ 78053 h 12"/>
                <a:gd name="T2" fmla="*/ 109105 w 22"/>
                <a:gd name="T3" fmla="*/ 85858 h 12"/>
                <a:gd name="T4" fmla="*/ 116898 w 22"/>
                <a:gd name="T5" fmla="*/ 85858 h 12"/>
                <a:gd name="T6" fmla="*/ 116898 w 22"/>
                <a:gd name="T7" fmla="*/ 85858 h 12"/>
                <a:gd name="T8" fmla="*/ 116898 w 22"/>
                <a:gd name="T9" fmla="*/ 93663 h 12"/>
                <a:gd name="T10" fmla="*/ 148070 w 22"/>
                <a:gd name="T11" fmla="*/ 78053 h 12"/>
                <a:gd name="T12" fmla="*/ 155864 w 22"/>
                <a:gd name="T13" fmla="*/ 62442 h 12"/>
                <a:gd name="T14" fmla="*/ 171450 w 22"/>
                <a:gd name="T15" fmla="*/ 46832 h 12"/>
                <a:gd name="T16" fmla="*/ 132484 w 22"/>
                <a:gd name="T17" fmla="*/ 31221 h 12"/>
                <a:gd name="T18" fmla="*/ 101311 w 22"/>
                <a:gd name="T19" fmla="*/ 15611 h 12"/>
                <a:gd name="T20" fmla="*/ 70139 w 22"/>
                <a:gd name="T21" fmla="*/ 0 h 12"/>
                <a:gd name="T22" fmla="*/ 70139 w 22"/>
                <a:gd name="T23" fmla="*/ 7805 h 12"/>
                <a:gd name="T24" fmla="*/ 54552 w 22"/>
                <a:gd name="T25" fmla="*/ 0 h 12"/>
                <a:gd name="T26" fmla="*/ 46759 w 22"/>
                <a:gd name="T27" fmla="*/ 7805 h 12"/>
                <a:gd name="T28" fmla="*/ 31173 w 22"/>
                <a:gd name="T29" fmla="*/ 15611 h 12"/>
                <a:gd name="T30" fmla="*/ 15586 w 22"/>
                <a:gd name="T31" fmla="*/ 23416 h 12"/>
                <a:gd name="T32" fmla="*/ 0 w 22"/>
                <a:gd name="T33" fmla="*/ 31221 h 12"/>
                <a:gd name="T34" fmla="*/ 7793 w 22"/>
                <a:gd name="T35" fmla="*/ 39026 h 12"/>
                <a:gd name="T36" fmla="*/ 23380 w 22"/>
                <a:gd name="T37" fmla="*/ 54637 h 12"/>
                <a:gd name="T38" fmla="*/ 38966 w 22"/>
                <a:gd name="T39" fmla="*/ 78053 h 12"/>
                <a:gd name="T40" fmla="*/ 46759 w 22"/>
                <a:gd name="T41" fmla="*/ 85858 h 12"/>
                <a:gd name="T42" fmla="*/ 46759 w 22"/>
                <a:gd name="T43" fmla="*/ 85858 h 12"/>
                <a:gd name="T44" fmla="*/ 70139 w 22"/>
                <a:gd name="T45" fmla="*/ 85858 h 12"/>
                <a:gd name="T46" fmla="*/ 77932 w 22"/>
                <a:gd name="T47" fmla="*/ 78053 h 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
                <a:gd name="T73" fmla="*/ 0 h 12"/>
                <a:gd name="T74" fmla="*/ 22 w 22"/>
                <a:gd name="T75" fmla="*/ 12 h 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 h="12">
                  <a:moveTo>
                    <a:pt x="10" y="10"/>
                  </a:moveTo>
                  <a:cubicBezTo>
                    <a:pt x="14" y="11"/>
                    <a:pt x="14" y="11"/>
                    <a:pt x="14" y="11"/>
                  </a:cubicBezTo>
                  <a:cubicBezTo>
                    <a:pt x="15" y="11"/>
                    <a:pt x="15" y="11"/>
                    <a:pt x="15" y="11"/>
                  </a:cubicBezTo>
                  <a:cubicBezTo>
                    <a:pt x="15" y="11"/>
                    <a:pt x="15" y="11"/>
                    <a:pt x="15" y="11"/>
                  </a:cubicBezTo>
                  <a:cubicBezTo>
                    <a:pt x="15" y="12"/>
                    <a:pt x="15" y="12"/>
                    <a:pt x="15" y="12"/>
                  </a:cubicBezTo>
                  <a:cubicBezTo>
                    <a:pt x="19" y="10"/>
                    <a:pt x="19" y="10"/>
                    <a:pt x="19" y="10"/>
                  </a:cubicBezTo>
                  <a:cubicBezTo>
                    <a:pt x="20" y="8"/>
                    <a:pt x="20" y="8"/>
                    <a:pt x="20" y="8"/>
                  </a:cubicBezTo>
                  <a:cubicBezTo>
                    <a:pt x="22" y="6"/>
                    <a:pt x="22" y="6"/>
                    <a:pt x="22" y="6"/>
                  </a:cubicBezTo>
                  <a:cubicBezTo>
                    <a:pt x="17" y="4"/>
                    <a:pt x="17" y="4"/>
                    <a:pt x="17" y="4"/>
                  </a:cubicBezTo>
                  <a:cubicBezTo>
                    <a:pt x="13" y="2"/>
                    <a:pt x="13" y="2"/>
                    <a:pt x="13" y="2"/>
                  </a:cubicBezTo>
                  <a:cubicBezTo>
                    <a:pt x="9" y="0"/>
                    <a:pt x="9" y="0"/>
                    <a:pt x="9" y="0"/>
                  </a:cubicBezTo>
                  <a:cubicBezTo>
                    <a:pt x="9" y="0"/>
                    <a:pt x="9" y="1"/>
                    <a:pt x="9" y="1"/>
                  </a:cubicBezTo>
                  <a:cubicBezTo>
                    <a:pt x="7" y="0"/>
                    <a:pt x="7" y="0"/>
                    <a:pt x="7" y="0"/>
                  </a:cubicBezTo>
                  <a:cubicBezTo>
                    <a:pt x="6" y="1"/>
                    <a:pt x="6" y="1"/>
                    <a:pt x="6" y="1"/>
                  </a:cubicBezTo>
                  <a:cubicBezTo>
                    <a:pt x="4" y="2"/>
                    <a:pt x="4" y="2"/>
                    <a:pt x="4" y="2"/>
                  </a:cubicBezTo>
                  <a:cubicBezTo>
                    <a:pt x="2" y="3"/>
                    <a:pt x="2" y="3"/>
                    <a:pt x="2" y="3"/>
                  </a:cubicBezTo>
                  <a:cubicBezTo>
                    <a:pt x="0" y="4"/>
                    <a:pt x="0" y="4"/>
                    <a:pt x="0" y="4"/>
                  </a:cubicBezTo>
                  <a:cubicBezTo>
                    <a:pt x="1" y="5"/>
                    <a:pt x="1" y="5"/>
                    <a:pt x="1" y="5"/>
                  </a:cubicBezTo>
                  <a:cubicBezTo>
                    <a:pt x="3" y="7"/>
                    <a:pt x="3" y="7"/>
                    <a:pt x="3" y="7"/>
                  </a:cubicBezTo>
                  <a:cubicBezTo>
                    <a:pt x="5" y="10"/>
                    <a:pt x="5" y="10"/>
                    <a:pt x="5" y="10"/>
                  </a:cubicBezTo>
                  <a:cubicBezTo>
                    <a:pt x="6" y="11"/>
                    <a:pt x="6" y="11"/>
                    <a:pt x="6" y="11"/>
                  </a:cubicBezTo>
                  <a:cubicBezTo>
                    <a:pt x="6" y="11"/>
                    <a:pt x="6" y="11"/>
                    <a:pt x="6" y="11"/>
                  </a:cubicBezTo>
                  <a:cubicBezTo>
                    <a:pt x="9" y="11"/>
                    <a:pt x="9" y="11"/>
                    <a:pt x="9" y="11"/>
                  </a:cubicBezTo>
                  <a:lnTo>
                    <a:pt x="10" y="1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77" name="Freeform 354"/>
            <p:cNvSpPr>
              <a:spLocks/>
            </p:cNvSpPr>
            <p:nvPr/>
          </p:nvSpPr>
          <p:spPr bwMode="auto">
            <a:xfrm>
              <a:off x="6546327" y="2764882"/>
              <a:ext cx="157245" cy="88815"/>
            </a:xfrm>
            <a:custGeom>
              <a:avLst/>
              <a:gdLst>
                <a:gd name="T0" fmla="*/ 116794 w 21"/>
                <a:gd name="T1" fmla="*/ 0 h 12"/>
                <a:gd name="T2" fmla="*/ 101222 w 21"/>
                <a:gd name="T3" fmla="*/ 7541 h 12"/>
                <a:gd name="T4" fmla="*/ 70077 w 21"/>
                <a:gd name="T5" fmla="*/ 15081 h 12"/>
                <a:gd name="T6" fmla="*/ 46718 w 21"/>
                <a:gd name="T7" fmla="*/ 22622 h 12"/>
                <a:gd name="T8" fmla="*/ 31145 w 21"/>
                <a:gd name="T9" fmla="*/ 22622 h 12"/>
                <a:gd name="T10" fmla="*/ 23359 w 21"/>
                <a:gd name="T11" fmla="*/ 15081 h 12"/>
                <a:gd name="T12" fmla="*/ 15573 w 21"/>
                <a:gd name="T13" fmla="*/ 30162 h 12"/>
                <a:gd name="T14" fmla="*/ 7786 w 21"/>
                <a:gd name="T15" fmla="*/ 52784 h 12"/>
                <a:gd name="T16" fmla="*/ 0 w 21"/>
                <a:gd name="T17" fmla="*/ 52784 h 12"/>
                <a:gd name="T18" fmla="*/ 7786 w 21"/>
                <a:gd name="T19" fmla="*/ 67865 h 12"/>
                <a:gd name="T20" fmla="*/ 31145 w 21"/>
                <a:gd name="T21" fmla="*/ 82946 h 12"/>
                <a:gd name="T22" fmla="*/ 62290 w 21"/>
                <a:gd name="T23" fmla="*/ 90487 h 12"/>
                <a:gd name="T24" fmla="*/ 70077 w 21"/>
                <a:gd name="T25" fmla="*/ 90487 h 12"/>
                <a:gd name="T26" fmla="*/ 101222 w 21"/>
                <a:gd name="T27" fmla="*/ 82946 h 12"/>
                <a:gd name="T28" fmla="*/ 101222 w 21"/>
                <a:gd name="T29" fmla="*/ 82946 h 12"/>
                <a:gd name="T30" fmla="*/ 124581 w 21"/>
                <a:gd name="T31" fmla="*/ 75406 h 12"/>
                <a:gd name="T32" fmla="*/ 140153 w 21"/>
                <a:gd name="T33" fmla="*/ 45244 h 12"/>
                <a:gd name="T34" fmla="*/ 163512 w 21"/>
                <a:gd name="T35" fmla="*/ 7541 h 12"/>
                <a:gd name="T36" fmla="*/ 155726 w 21"/>
                <a:gd name="T37" fmla="*/ 0 h 12"/>
                <a:gd name="T38" fmla="*/ 140153 w 21"/>
                <a:gd name="T39" fmla="*/ 0 h 12"/>
                <a:gd name="T40" fmla="*/ 116794 w 21"/>
                <a:gd name="T41" fmla="*/ 0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
                <a:gd name="T64" fmla="*/ 0 h 12"/>
                <a:gd name="T65" fmla="*/ 21 w 21"/>
                <a:gd name="T66" fmla="*/ 12 h 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 h="12">
                  <a:moveTo>
                    <a:pt x="15" y="0"/>
                  </a:moveTo>
                  <a:cubicBezTo>
                    <a:pt x="13" y="1"/>
                    <a:pt x="13" y="1"/>
                    <a:pt x="13" y="1"/>
                  </a:cubicBezTo>
                  <a:cubicBezTo>
                    <a:pt x="9" y="2"/>
                    <a:pt x="9" y="2"/>
                    <a:pt x="9" y="2"/>
                  </a:cubicBezTo>
                  <a:cubicBezTo>
                    <a:pt x="6" y="3"/>
                    <a:pt x="6" y="3"/>
                    <a:pt x="6" y="3"/>
                  </a:cubicBezTo>
                  <a:cubicBezTo>
                    <a:pt x="4" y="3"/>
                    <a:pt x="4" y="3"/>
                    <a:pt x="4" y="3"/>
                  </a:cubicBezTo>
                  <a:cubicBezTo>
                    <a:pt x="3" y="2"/>
                    <a:pt x="3" y="2"/>
                    <a:pt x="3" y="2"/>
                  </a:cubicBezTo>
                  <a:cubicBezTo>
                    <a:pt x="2" y="4"/>
                    <a:pt x="2" y="4"/>
                    <a:pt x="2" y="4"/>
                  </a:cubicBezTo>
                  <a:cubicBezTo>
                    <a:pt x="1" y="7"/>
                    <a:pt x="1" y="7"/>
                    <a:pt x="1" y="7"/>
                  </a:cubicBezTo>
                  <a:cubicBezTo>
                    <a:pt x="0" y="7"/>
                    <a:pt x="0" y="7"/>
                    <a:pt x="0" y="7"/>
                  </a:cubicBezTo>
                  <a:cubicBezTo>
                    <a:pt x="1" y="9"/>
                    <a:pt x="1" y="9"/>
                    <a:pt x="1" y="9"/>
                  </a:cubicBezTo>
                  <a:cubicBezTo>
                    <a:pt x="4" y="11"/>
                    <a:pt x="4" y="11"/>
                    <a:pt x="4" y="11"/>
                  </a:cubicBezTo>
                  <a:cubicBezTo>
                    <a:pt x="4" y="11"/>
                    <a:pt x="7" y="12"/>
                    <a:pt x="8" y="12"/>
                  </a:cubicBezTo>
                  <a:cubicBezTo>
                    <a:pt x="8" y="12"/>
                    <a:pt x="9" y="12"/>
                    <a:pt x="9" y="12"/>
                  </a:cubicBezTo>
                  <a:cubicBezTo>
                    <a:pt x="11" y="12"/>
                    <a:pt x="12" y="12"/>
                    <a:pt x="13" y="11"/>
                  </a:cubicBezTo>
                  <a:cubicBezTo>
                    <a:pt x="13" y="11"/>
                    <a:pt x="13" y="11"/>
                    <a:pt x="13" y="11"/>
                  </a:cubicBezTo>
                  <a:cubicBezTo>
                    <a:pt x="16" y="10"/>
                    <a:pt x="16" y="10"/>
                    <a:pt x="16" y="10"/>
                  </a:cubicBezTo>
                  <a:cubicBezTo>
                    <a:pt x="18" y="6"/>
                    <a:pt x="18" y="6"/>
                    <a:pt x="18" y="6"/>
                  </a:cubicBezTo>
                  <a:cubicBezTo>
                    <a:pt x="21" y="1"/>
                    <a:pt x="21" y="1"/>
                    <a:pt x="21" y="1"/>
                  </a:cubicBezTo>
                  <a:cubicBezTo>
                    <a:pt x="20" y="0"/>
                    <a:pt x="20" y="0"/>
                    <a:pt x="20" y="0"/>
                  </a:cubicBezTo>
                  <a:cubicBezTo>
                    <a:pt x="18" y="0"/>
                    <a:pt x="18" y="0"/>
                    <a:pt x="18" y="0"/>
                  </a:cubicBezTo>
                  <a:lnTo>
                    <a:pt x="15" y="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78" name="Freeform 355"/>
            <p:cNvSpPr>
              <a:spLocks/>
            </p:cNvSpPr>
            <p:nvPr/>
          </p:nvSpPr>
          <p:spPr bwMode="auto">
            <a:xfrm>
              <a:off x="6561582" y="2718059"/>
              <a:ext cx="134346" cy="68560"/>
            </a:xfrm>
            <a:custGeom>
              <a:avLst/>
              <a:gdLst>
                <a:gd name="T0" fmla="*/ 85372 w 108"/>
                <a:gd name="T1" fmla="*/ 15522 h 54"/>
                <a:gd name="T2" fmla="*/ 54328 w 108"/>
                <a:gd name="T3" fmla="*/ 0 h 54"/>
                <a:gd name="T4" fmla="*/ 54328 w 108"/>
                <a:gd name="T5" fmla="*/ 0 h 54"/>
                <a:gd name="T6" fmla="*/ 38806 w 108"/>
                <a:gd name="T7" fmla="*/ 15522 h 54"/>
                <a:gd name="T8" fmla="*/ 31044 w 108"/>
                <a:gd name="T9" fmla="*/ 31044 h 54"/>
                <a:gd name="T10" fmla="*/ 0 w 108"/>
                <a:gd name="T11" fmla="*/ 46567 h 54"/>
                <a:gd name="T12" fmla="*/ 7761 w 108"/>
                <a:gd name="T13" fmla="*/ 62089 h 54"/>
                <a:gd name="T14" fmla="*/ 7761 w 108"/>
                <a:gd name="T15" fmla="*/ 62089 h 54"/>
                <a:gd name="T16" fmla="*/ 15522 w 108"/>
                <a:gd name="T17" fmla="*/ 69850 h 54"/>
                <a:gd name="T18" fmla="*/ 31044 w 108"/>
                <a:gd name="T19" fmla="*/ 69850 h 54"/>
                <a:gd name="T20" fmla="*/ 54328 w 108"/>
                <a:gd name="T21" fmla="*/ 62089 h 54"/>
                <a:gd name="T22" fmla="*/ 85372 w 108"/>
                <a:gd name="T23" fmla="*/ 54328 h 54"/>
                <a:gd name="T24" fmla="*/ 100894 w 108"/>
                <a:gd name="T25" fmla="*/ 46567 h 54"/>
                <a:gd name="T26" fmla="*/ 124178 w 108"/>
                <a:gd name="T27" fmla="*/ 46567 h 54"/>
                <a:gd name="T28" fmla="*/ 139700 w 108"/>
                <a:gd name="T29" fmla="*/ 46567 h 54"/>
                <a:gd name="T30" fmla="*/ 131939 w 108"/>
                <a:gd name="T31" fmla="*/ 38806 h 54"/>
                <a:gd name="T32" fmla="*/ 131939 w 108"/>
                <a:gd name="T33" fmla="*/ 15522 h 54"/>
                <a:gd name="T34" fmla="*/ 116417 w 108"/>
                <a:gd name="T35" fmla="*/ 15522 h 54"/>
                <a:gd name="T36" fmla="*/ 85372 w 108"/>
                <a:gd name="T37" fmla="*/ 15522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8"/>
                <a:gd name="T58" fmla="*/ 0 h 54"/>
                <a:gd name="T59" fmla="*/ 108 w 108"/>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8" h="54">
                  <a:moveTo>
                    <a:pt x="66" y="12"/>
                  </a:moveTo>
                  <a:lnTo>
                    <a:pt x="42" y="0"/>
                  </a:lnTo>
                  <a:lnTo>
                    <a:pt x="30" y="12"/>
                  </a:lnTo>
                  <a:lnTo>
                    <a:pt x="24" y="24"/>
                  </a:lnTo>
                  <a:lnTo>
                    <a:pt x="0" y="36"/>
                  </a:lnTo>
                  <a:lnTo>
                    <a:pt x="6" y="48"/>
                  </a:lnTo>
                  <a:lnTo>
                    <a:pt x="12" y="54"/>
                  </a:lnTo>
                  <a:lnTo>
                    <a:pt x="24" y="54"/>
                  </a:lnTo>
                  <a:lnTo>
                    <a:pt x="42" y="48"/>
                  </a:lnTo>
                  <a:lnTo>
                    <a:pt x="66" y="42"/>
                  </a:lnTo>
                  <a:lnTo>
                    <a:pt x="78" y="36"/>
                  </a:lnTo>
                  <a:lnTo>
                    <a:pt x="96" y="36"/>
                  </a:lnTo>
                  <a:lnTo>
                    <a:pt x="108" y="36"/>
                  </a:lnTo>
                  <a:lnTo>
                    <a:pt x="102" y="30"/>
                  </a:lnTo>
                  <a:lnTo>
                    <a:pt x="102" y="12"/>
                  </a:lnTo>
                  <a:lnTo>
                    <a:pt x="90" y="12"/>
                  </a:lnTo>
                  <a:lnTo>
                    <a:pt x="66" y="12"/>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79" name="Freeform 356"/>
            <p:cNvSpPr>
              <a:spLocks/>
            </p:cNvSpPr>
            <p:nvPr/>
          </p:nvSpPr>
          <p:spPr bwMode="auto">
            <a:xfrm>
              <a:off x="6703559" y="2917507"/>
              <a:ext cx="167932" cy="146468"/>
            </a:xfrm>
            <a:custGeom>
              <a:avLst/>
              <a:gdLst>
                <a:gd name="T0" fmla="*/ 63500 w 132"/>
                <a:gd name="T1" fmla="*/ 7786 h 115"/>
                <a:gd name="T2" fmla="*/ 15875 w 132"/>
                <a:gd name="T3" fmla="*/ 7786 h 115"/>
                <a:gd name="T4" fmla="*/ 0 w 132"/>
                <a:gd name="T5" fmla="*/ 0 h 115"/>
                <a:gd name="T6" fmla="*/ 0 w 132"/>
                <a:gd name="T7" fmla="*/ 15571 h 115"/>
                <a:gd name="T8" fmla="*/ 7937 w 132"/>
                <a:gd name="T9" fmla="*/ 38928 h 115"/>
                <a:gd name="T10" fmla="*/ 0 w 132"/>
                <a:gd name="T11" fmla="*/ 62285 h 115"/>
                <a:gd name="T12" fmla="*/ 7937 w 132"/>
                <a:gd name="T13" fmla="*/ 79154 h 115"/>
                <a:gd name="T14" fmla="*/ 15875 w 132"/>
                <a:gd name="T15" fmla="*/ 94725 h 115"/>
                <a:gd name="T16" fmla="*/ 15875 w 132"/>
                <a:gd name="T17" fmla="*/ 94725 h 115"/>
                <a:gd name="T18" fmla="*/ 63500 w 132"/>
                <a:gd name="T19" fmla="*/ 94725 h 115"/>
                <a:gd name="T20" fmla="*/ 87313 w 132"/>
                <a:gd name="T21" fmla="*/ 94725 h 115"/>
                <a:gd name="T22" fmla="*/ 95250 w 132"/>
                <a:gd name="T23" fmla="*/ 86940 h 115"/>
                <a:gd name="T24" fmla="*/ 95250 w 132"/>
                <a:gd name="T25" fmla="*/ 94725 h 115"/>
                <a:gd name="T26" fmla="*/ 87313 w 132"/>
                <a:gd name="T27" fmla="*/ 110297 h 115"/>
                <a:gd name="T28" fmla="*/ 79375 w 132"/>
                <a:gd name="T29" fmla="*/ 118082 h 115"/>
                <a:gd name="T30" fmla="*/ 87313 w 132"/>
                <a:gd name="T31" fmla="*/ 149225 h 115"/>
                <a:gd name="T32" fmla="*/ 119062 w 132"/>
                <a:gd name="T33" fmla="*/ 125868 h 115"/>
                <a:gd name="T34" fmla="*/ 150812 w 132"/>
                <a:gd name="T35" fmla="*/ 125868 h 115"/>
                <a:gd name="T36" fmla="*/ 166687 w 132"/>
                <a:gd name="T37" fmla="*/ 102511 h 115"/>
                <a:gd name="T38" fmla="*/ 174625 w 132"/>
                <a:gd name="T39" fmla="*/ 102511 h 115"/>
                <a:gd name="T40" fmla="*/ 127000 w 132"/>
                <a:gd name="T41" fmla="*/ 86940 h 115"/>
                <a:gd name="T42" fmla="*/ 119062 w 132"/>
                <a:gd name="T43" fmla="*/ 46714 h 115"/>
                <a:gd name="T44" fmla="*/ 150812 w 132"/>
                <a:gd name="T45" fmla="*/ 15571 h 115"/>
                <a:gd name="T46" fmla="*/ 150812 w 132"/>
                <a:gd name="T47" fmla="*/ 15571 h 115"/>
                <a:gd name="T48" fmla="*/ 103187 w 132"/>
                <a:gd name="T49" fmla="*/ 0 h 115"/>
                <a:gd name="T50" fmla="*/ 63500 w 132"/>
                <a:gd name="T51" fmla="*/ 7786 h 11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2"/>
                <a:gd name="T79" fmla="*/ 0 h 115"/>
                <a:gd name="T80" fmla="*/ 132 w 132"/>
                <a:gd name="T81" fmla="*/ 115 h 11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2" h="115">
                  <a:moveTo>
                    <a:pt x="48" y="6"/>
                  </a:moveTo>
                  <a:lnTo>
                    <a:pt x="12" y="6"/>
                  </a:lnTo>
                  <a:lnTo>
                    <a:pt x="0" y="0"/>
                  </a:lnTo>
                  <a:lnTo>
                    <a:pt x="0" y="12"/>
                  </a:lnTo>
                  <a:lnTo>
                    <a:pt x="6" y="30"/>
                  </a:lnTo>
                  <a:lnTo>
                    <a:pt x="0" y="48"/>
                  </a:lnTo>
                  <a:lnTo>
                    <a:pt x="6" y="61"/>
                  </a:lnTo>
                  <a:lnTo>
                    <a:pt x="12" y="73"/>
                  </a:lnTo>
                  <a:lnTo>
                    <a:pt x="48" y="73"/>
                  </a:lnTo>
                  <a:lnTo>
                    <a:pt x="66" y="73"/>
                  </a:lnTo>
                  <a:lnTo>
                    <a:pt x="72" y="67"/>
                  </a:lnTo>
                  <a:lnTo>
                    <a:pt x="72" y="73"/>
                  </a:lnTo>
                  <a:lnTo>
                    <a:pt x="66" y="85"/>
                  </a:lnTo>
                  <a:lnTo>
                    <a:pt x="60" y="91"/>
                  </a:lnTo>
                  <a:lnTo>
                    <a:pt x="66" y="115"/>
                  </a:lnTo>
                  <a:lnTo>
                    <a:pt x="90" y="97"/>
                  </a:lnTo>
                  <a:lnTo>
                    <a:pt x="114" y="97"/>
                  </a:lnTo>
                  <a:lnTo>
                    <a:pt x="126" y="79"/>
                  </a:lnTo>
                  <a:lnTo>
                    <a:pt x="132" y="79"/>
                  </a:lnTo>
                  <a:lnTo>
                    <a:pt x="96" y="67"/>
                  </a:lnTo>
                  <a:lnTo>
                    <a:pt x="90" y="36"/>
                  </a:lnTo>
                  <a:lnTo>
                    <a:pt x="114" y="12"/>
                  </a:lnTo>
                  <a:lnTo>
                    <a:pt x="78" y="0"/>
                  </a:lnTo>
                  <a:lnTo>
                    <a:pt x="48" y="6"/>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80" name="Freeform 357"/>
            <p:cNvSpPr>
              <a:spLocks/>
            </p:cNvSpPr>
            <p:nvPr/>
          </p:nvSpPr>
          <p:spPr bwMode="auto">
            <a:xfrm>
              <a:off x="6598224" y="2849016"/>
              <a:ext cx="122133" cy="215027"/>
            </a:xfrm>
            <a:custGeom>
              <a:avLst/>
              <a:gdLst>
                <a:gd name="T0" fmla="*/ 71437 w 16"/>
                <a:gd name="T1" fmla="*/ 187779 h 28"/>
                <a:gd name="T2" fmla="*/ 71437 w 16"/>
                <a:gd name="T3" fmla="*/ 179954 h 28"/>
                <a:gd name="T4" fmla="*/ 103187 w 16"/>
                <a:gd name="T5" fmla="*/ 172130 h 28"/>
                <a:gd name="T6" fmla="*/ 127000 w 16"/>
                <a:gd name="T7" fmla="*/ 164306 h 28"/>
                <a:gd name="T8" fmla="*/ 119062 w 16"/>
                <a:gd name="T9" fmla="*/ 148658 h 28"/>
                <a:gd name="T10" fmla="*/ 111125 w 16"/>
                <a:gd name="T11" fmla="*/ 133010 h 28"/>
                <a:gd name="T12" fmla="*/ 119062 w 16"/>
                <a:gd name="T13" fmla="*/ 109538 h 28"/>
                <a:gd name="T14" fmla="*/ 111125 w 16"/>
                <a:gd name="T15" fmla="*/ 86065 h 28"/>
                <a:gd name="T16" fmla="*/ 111125 w 16"/>
                <a:gd name="T17" fmla="*/ 70417 h 28"/>
                <a:gd name="T18" fmla="*/ 103187 w 16"/>
                <a:gd name="T19" fmla="*/ 54769 h 28"/>
                <a:gd name="T20" fmla="*/ 63500 w 16"/>
                <a:gd name="T21" fmla="*/ 23472 h 28"/>
                <a:gd name="T22" fmla="*/ 47625 w 16"/>
                <a:gd name="T23" fmla="*/ 0 h 28"/>
                <a:gd name="T24" fmla="*/ 15875 w 16"/>
                <a:gd name="T25" fmla="*/ 7824 h 28"/>
                <a:gd name="T26" fmla="*/ 15875 w 16"/>
                <a:gd name="T27" fmla="*/ 15648 h 28"/>
                <a:gd name="T28" fmla="*/ 23812 w 16"/>
                <a:gd name="T29" fmla="*/ 31296 h 28"/>
                <a:gd name="T30" fmla="*/ 23812 w 16"/>
                <a:gd name="T31" fmla="*/ 46945 h 28"/>
                <a:gd name="T32" fmla="*/ 31750 w 16"/>
                <a:gd name="T33" fmla="*/ 70417 h 28"/>
                <a:gd name="T34" fmla="*/ 7938 w 16"/>
                <a:gd name="T35" fmla="*/ 101713 h 28"/>
                <a:gd name="T36" fmla="*/ 0 w 16"/>
                <a:gd name="T37" fmla="*/ 140834 h 28"/>
                <a:gd name="T38" fmla="*/ 31750 w 16"/>
                <a:gd name="T39" fmla="*/ 164306 h 28"/>
                <a:gd name="T40" fmla="*/ 31750 w 16"/>
                <a:gd name="T41" fmla="*/ 187779 h 28"/>
                <a:gd name="T42" fmla="*/ 47625 w 16"/>
                <a:gd name="T43" fmla="*/ 219075 h 28"/>
                <a:gd name="T44" fmla="*/ 63500 w 16"/>
                <a:gd name="T45" fmla="*/ 203427 h 28"/>
                <a:gd name="T46" fmla="*/ 71437 w 16"/>
                <a:gd name="T47" fmla="*/ 187779 h 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
                <a:gd name="T73" fmla="*/ 0 h 28"/>
                <a:gd name="T74" fmla="*/ 16 w 16"/>
                <a:gd name="T75" fmla="*/ 28 h 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 h="28">
                  <a:moveTo>
                    <a:pt x="9" y="24"/>
                  </a:moveTo>
                  <a:cubicBezTo>
                    <a:pt x="9" y="23"/>
                    <a:pt x="9" y="23"/>
                    <a:pt x="9" y="23"/>
                  </a:cubicBezTo>
                  <a:cubicBezTo>
                    <a:pt x="13" y="22"/>
                    <a:pt x="13" y="22"/>
                    <a:pt x="13" y="22"/>
                  </a:cubicBezTo>
                  <a:cubicBezTo>
                    <a:pt x="16" y="21"/>
                    <a:pt x="16" y="21"/>
                    <a:pt x="16" y="21"/>
                  </a:cubicBezTo>
                  <a:cubicBezTo>
                    <a:pt x="15" y="19"/>
                    <a:pt x="15" y="19"/>
                    <a:pt x="15" y="19"/>
                  </a:cubicBezTo>
                  <a:cubicBezTo>
                    <a:pt x="14" y="17"/>
                    <a:pt x="14" y="17"/>
                    <a:pt x="14" y="17"/>
                  </a:cubicBezTo>
                  <a:cubicBezTo>
                    <a:pt x="15" y="14"/>
                    <a:pt x="15" y="14"/>
                    <a:pt x="15" y="14"/>
                  </a:cubicBezTo>
                  <a:cubicBezTo>
                    <a:pt x="14" y="11"/>
                    <a:pt x="14" y="11"/>
                    <a:pt x="14" y="11"/>
                  </a:cubicBezTo>
                  <a:cubicBezTo>
                    <a:pt x="14" y="9"/>
                    <a:pt x="14" y="9"/>
                    <a:pt x="14" y="9"/>
                  </a:cubicBezTo>
                  <a:cubicBezTo>
                    <a:pt x="13" y="7"/>
                    <a:pt x="13" y="7"/>
                    <a:pt x="13" y="7"/>
                  </a:cubicBezTo>
                  <a:cubicBezTo>
                    <a:pt x="8" y="3"/>
                    <a:pt x="8" y="3"/>
                    <a:pt x="8" y="3"/>
                  </a:cubicBezTo>
                  <a:cubicBezTo>
                    <a:pt x="6" y="0"/>
                    <a:pt x="6" y="0"/>
                    <a:pt x="6" y="0"/>
                  </a:cubicBezTo>
                  <a:cubicBezTo>
                    <a:pt x="5" y="1"/>
                    <a:pt x="4" y="1"/>
                    <a:pt x="2" y="1"/>
                  </a:cubicBezTo>
                  <a:cubicBezTo>
                    <a:pt x="2" y="2"/>
                    <a:pt x="2" y="2"/>
                    <a:pt x="2" y="2"/>
                  </a:cubicBezTo>
                  <a:cubicBezTo>
                    <a:pt x="3" y="4"/>
                    <a:pt x="3" y="4"/>
                    <a:pt x="3" y="4"/>
                  </a:cubicBezTo>
                  <a:cubicBezTo>
                    <a:pt x="3" y="6"/>
                    <a:pt x="3" y="6"/>
                    <a:pt x="3" y="6"/>
                  </a:cubicBezTo>
                  <a:cubicBezTo>
                    <a:pt x="4" y="9"/>
                    <a:pt x="4" y="9"/>
                    <a:pt x="4" y="9"/>
                  </a:cubicBezTo>
                  <a:cubicBezTo>
                    <a:pt x="1" y="13"/>
                    <a:pt x="1" y="13"/>
                    <a:pt x="1" y="13"/>
                  </a:cubicBezTo>
                  <a:cubicBezTo>
                    <a:pt x="0" y="18"/>
                    <a:pt x="0" y="18"/>
                    <a:pt x="0" y="18"/>
                  </a:cubicBezTo>
                  <a:cubicBezTo>
                    <a:pt x="4" y="21"/>
                    <a:pt x="4" y="21"/>
                    <a:pt x="4" y="21"/>
                  </a:cubicBezTo>
                  <a:cubicBezTo>
                    <a:pt x="4" y="24"/>
                    <a:pt x="4" y="24"/>
                    <a:pt x="4" y="24"/>
                  </a:cubicBezTo>
                  <a:cubicBezTo>
                    <a:pt x="6" y="28"/>
                    <a:pt x="6" y="28"/>
                    <a:pt x="6" y="28"/>
                  </a:cubicBezTo>
                  <a:cubicBezTo>
                    <a:pt x="8" y="26"/>
                    <a:pt x="8" y="26"/>
                    <a:pt x="8" y="26"/>
                  </a:cubicBezTo>
                  <a:lnTo>
                    <a:pt x="9" y="24"/>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81" name="Freeform 358"/>
            <p:cNvSpPr>
              <a:spLocks/>
            </p:cNvSpPr>
            <p:nvPr/>
          </p:nvSpPr>
          <p:spPr bwMode="auto">
            <a:xfrm>
              <a:off x="6485253" y="2816292"/>
              <a:ext cx="141978" cy="168283"/>
            </a:xfrm>
            <a:custGeom>
              <a:avLst/>
              <a:gdLst>
                <a:gd name="T0" fmla="*/ 147637 w 19"/>
                <a:gd name="T1" fmla="*/ 101311 h 22"/>
                <a:gd name="T2" fmla="*/ 139867 w 19"/>
                <a:gd name="T3" fmla="*/ 77932 h 22"/>
                <a:gd name="T4" fmla="*/ 139867 w 19"/>
                <a:gd name="T5" fmla="*/ 62345 h 22"/>
                <a:gd name="T6" fmla="*/ 132096 w 19"/>
                <a:gd name="T7" fmla="*/ 46759 h 22"/>
                <a:gd name="T8" fmla="*/ 132096 w 19"/>
                <a:gd name="T9" fmla="*/ 38966 h 22"/>
                <a:gd name="T10" fmla="*/ 124326 w 19"/>
                <a:gd name="T11" fmla="*/ 38966 h 22"/>
                <a:gd name="T12" fmla="*/ 93244 w 19"/>
                <a:gd name="T13" fmla="*/ 31173 h 22"/>
                <a:gd name="T14" fmla="*/ 69933 w 19"/>
                <a:gd name="T15" fmla="*/ 15586 h 22"/>
                <a:gd name="T16" fmla="*/ 62163 w 19"/>
                <a:gd name="T17" fmla="*/ 0 h 22"/>
                <a:gd name="T18" fmla="*/ 38852 w 19"/>
                <a:gd name="T19" fmla="*/ 15586 h 22"/>
                <a:gd name="T20" fmla="*/ 7770 w 19"/>
                <a:gd name="T21" fmla="*/ 15586 h 22"/>
                <a:gd name="T22" fmla="*/ 0 w 19"/>
                <a:gd name="T23" fmla="*/ 15586 h 22"/>
                <a:gd name="T24" fmla="*/ 0 w 19"/>
                <a:gd name="T25" fmla="*/ 38966 h 22"/>
                <a:gd name="T26" fmla="*/ 0 w 19"/>
                <a:gd name="T27" fmla="*/ 54552 h 22"/>
                <a:gd name="T28" fmla="*/ 15541 w 19"/>
                <a:gd name="T29" fmla="*/ 54552 h 22"/>
                <a:gd name="T30" fmla="*/ 46622 w 19"/>
                <a:gd name="T31" fmla="*/ 93518 h 22"/>
                <a:gd name="T32" fmla="*/ 62163 w 19"/>
                <a:gd name="T33" fmla="*/ 132484 h 22"/>
                <a:gd name="T34" fmla="*/ 116556 w 19"/>
                <a:gd name="T35" fmla="*/ 171450 h 22"/>
                <a:gd name="T36" fmla="*/ 124326 w 19"/>
                <a:gd name="T37" fmla="*/ 132484 h 22"/>
                <a:gd name="T38" fmla="*/ 147637 w 19"/>
                <a:gd name="T39" fmla="*/ 101311 h 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
                <a:gd name="T61" fmla="*/ 0 h 22"/>
                <a:gd name="T62" fmla="*/ 19 w 19"/>
                <a:gd name="T63" fmla="*/ 22 h 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 h="22">
                  <a:moveTo>
                    <a:pt x="19" y="13"/>
                  </a:moveTo>
                  <a:cubicBezTo>
                    <a:pt x="18" y="10"/>
                    <a:pt x="18" y="10"/>
                    <a:pt x="18" y="10"/>
                  </a:cubicBezTo>
                  <a:cubicBezTo>
                    <a:pt x="18" y="8"/>
                    <a:pt x="18" y="8"/>
                    <a:pt x="18" y="8"/>
                  </a:cubicBezTo>
                  <a:cubicBezTo>
                    <a:pt x="17" y="6"/>
                    <a:pt x="17" y="6"/>
                    <a:pt x="17" y="6"/>
                  </a:cubicBezTo>
                  <a:cubicBezTo>
                    <a:pt x="17" y="5"/>
                    <a:pt x="17" y="5"/>
                    <a:pt x="17" y="5"/>
                  </a:cubicBezTo>
                  <a:cubicBezTo>
                    <a:pt x="17" y="5"/>
                    <a:pt x="16" y="5"/>
                    <a:pt x="16" y="5"/>
                  </a:cubicBezTo>
                  <a:cubicBezTo>
                    <a:pt x="15" y="5"/>
                    <a:pt x="12" y="4"/>
                    <a:pt x="12" y="4"/>
                  </a:cubicBezTo>
                  <a:cubicBezTo>
                    <a:pt x="9" y="2"/>
                    <a:pt x="9" y="2"/>
                    <a:pt x="9" y="2"/>
                  </a:cubicBezTo>
                  <a:cubicBezTo>
                    <a:pt x="8" y="0"/>
                    <a:pt x="8" y="0"/>
                    <a:pt x="8" y="0"/>
                  </a:cubicBezTo>
                  <a:cubicBezTo>
                    <a:pt x="5" y="2"/>
                    <a:pt x="5" y="2"/>
                    <a:pt x="5" y="2"/>
                  </a:cubicBezTo>
                  <a:cubicBezTo>
                    <a:pt x="1" y="2"/>
                    <a:pt x="1" y="2"/>
                    <a:pt x="1" y="2"/>
                  </a:cubicBezTo>
                  <a:cubicBezTo>
                    <a:pt x="0" y="2"/>
                    <a:pt x="0" y="2"/>
                    <a:pt x="0" y="2"/>
                  </a:cubicBezTo>
                  <a:cubicBezTo>
                    <a:pt x="0" y="5"/>
                    <a:pt x="0" y="5"/>
                    <a:pt x="0" y="5"/>
                  </a:cubicBezTo>
                  <a:cubicBezTo>
                    <a:pt x="0" y="7"/>
                    <a:pt x="0" y="7"/>
                    <a:pt x="0" y="7"/>
                  </a:cubicBezTo>
                  <a:cubicBezTo>
                    <a:pt x="2" y="7"/>
                    <a:pt x="2" y="7"/>
                    <a:pt x="2" y="7"/>
                  </a:cubicBezTo>
                  <a:cubicBezTo>
                    <a:pt x="6" y="12"/>
                    <a:pt x="6" y="12"/>
                    <a:pt x="6" y="12"/>
                  </a:cubicBezTo>
                  <a:cubicBezTo>
                    <a:pt x="8" y="17"/>
                    <a:pt x="8" y="17"/>
                    <a:pt x="8" y="17"/>
                  </a:cubicBezTo>
                  <a:cubicBezTo>
                    <a:pt x="15" y="22"/>
                    <a:pt x="15" y="22"/>
                    <a:pt x="15" y="22"/>
                  </a:cubicBezTo>
                  <a:cubicBezTo>
                    <a:pt x="16" y="17"/>
                    <a:pt x="16" y="17"/>
                    <a:pt x="16" y="17"/>
                  </a:cubicBezTo>
                  <a:lnTo>
                    <a:pt x="19" y="13"/>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82" name="Freeform 359"/>
            <p:cNvSpPr>
              <a:spLocks/>
            </p:cNvSpPr>
            <p:nvPr/>
          </p:nvSpPr>
          <p:spPr bwMode="auto">
            <a:xfrm>
              <a:off x="6636388" y="2495284"/>
              <a:ext cx="74806" cy="46747"/>
            </a:xfrm>
            <a:custGeom>
              <a:avLst/>
              <a:gdLst>
                <a:gd name="T0" fmla="*/ 70009 w 60"/>
                <a:gd name="T1" fmla="*/ 47625 h 36"/>
                <a:gd name="T2" fmla="*/ 77788 w 60"/>
                <a:gd name="T3" fmla="*/ 31750 h 36"/>
                <a:gd name="T4" fmla="*/ 70009 w 60"/>
                <a:gd name="T5" fmla="*/ 15875 h 36"/>
                <a:gd name="T6" fmla="*/ 54452 w 60"/>
                <a:gd name="T7" fmla="*/ 7937 h 36"/>
                <a:gd name="T8" fmla="*/ 38894 w 60"/>
                <a:gd name="T9" fmla="*/ 0 h 36"/>
                <a:gd name="T10" fmla="*/ 23336 w 60"/>
                <a:gd name="T11" fmla="*/ 0 h 36"/>
                <a:gd name="T12" fmla="*/ 7779 w 60"/>
                <a:gd name="T13" fmla="*/ 15875 h 36"/>
                <a:gd name="T14" fmla="*/ 0 w 60"/>
                <a:gd name="T15" fmla="*/ 23813 h 36"/>
                <a:gd name="T16" fmla="*/ 15558 w 60"/>
                <a:gd name="T17" fmla="*/ 39687 h 36"/>
                <a:gd name="T18" fmla="*/ 70009 w 60"/>
                <a:gd name="T19" fmla="*/ 47625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
                <a:gd name="T31" fmla="*/ 0 h 36"/>
                <a:gd name="T32" fmla="*/ 60 w 60"/>
                <a:gd name="T33" fmla="*/ 36 h 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 h="36">
                  <a:moveTo>
                    <a:pt x="54" y="36"/>
                  </a:moveTo>
                  <a:lnTo>
                    <a:pt x="60" y="24"/>
                  </a:lnTo>
                  <a:lnTo>
                    <a:pt x="54" y="12"/>
                  </a:lnTo>
                  <a:lnTo>
                    <a:pt x="42" y="6"/>
                  </a:lnTo>
                  <a:lnTo>
                    <a:pt x="30" y="0"/>
                  </a:lnTo>
                  <a:lnTo>
                    <a:pt x="18" y="0"/>
                  </a:lnTo>
                  <a:lnTo>
                    <a:pt x="6" y="12"/>
                  </a:lnTo>
                  <a:lnTo>
                    <a:pt x="0" y="18"/>
                  </a:lnTo>
                  <a:lnTo>
                    <a:pt x="12" y="30"/>
                  </a:lnTo>
                  <a:lnTo>
                    <a:pt x="54" y="36"/>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83" name="Freeform 360"/>
            <p:cNvSpPr>
              <a:spLocks/>
            </p:cNvSpPr>
            <p:nvPr/>
          </p:nvSpPr>
          <p:spPr bwMode="auto">
            <a:xfrm>
              <a:off x="6500527" y="2518683"/>
              <a:ext cx="233578" cy="213469"/>
            </a:xfrm>
            <a:custGeom>
              <a:avLst/>
              <a:gdLst>
                <a:gd name="T0" fmla="*/ 7835 w 31"/>
                <a:gd name="T1" fmla="*/ 69907 h 28"/>
                <a:gd name="T2" fmla="*/ 7835 w 31"/>
                <a:gd name="T3" fmla="*/ 77674 h 28"/>
                <a:gd name="T4" fmla="*/ 7835 w 31"/>
                <a:gd name="T5" fmla="*/ 100976 h 28"/>
                <a:gd name="T6" fmla="*/ 15670 w 31"/>
                <a:gd name="T7" fmla="*/ 132046 h 28"/>
                <a:gd name="T8" fmla="*/ 15670 w 31"/>
                <a:gd name="T9" fmla="*/ 155348 h 28"/>
                <a:gd name="T10" fmla="*/ 47010 w 31"/>
                <a:gd name="T11" fmla="*/ 170883 h 28"/>
                <a:gd name="T12" fmla="*/ 78351 w 31"/>
                <a:gd name="T13" fmla="*/ 186417 h 28"/>
                <a:gd name="T14" fmla="*/ 117526 w 31"/>
                <a:gd name="T15" fmla="*/ 201952 h 28"/>
                <a:gd name="T16" fmla="*/ 117526 w 31"/>
                <a:gd name="T17" fmla="*/ 201952 h 28"/>
                <a:gd name="T18" fmla="*/ 148866 w 31"/>
                <a:gd name="T19" fmla="*/ 217487 h 28"/>
                <a:gd name="T20" fmla="*/ 180206 w 31"/>
                <a:gd name="T21" fmla="*/ 217487 h 28"/>
                <a:gd name="T22" fmla="*/ 195877 w 31"/>
                <a:gd name="T23" fmla="*/ 217487 h 28"/>
                <a:gd name="T24" fmla="*/ 211547 w 31"/>
                <a:gd name="T25" fmla="*/ 217487 h 28"/>
                <a:gd name="T26" fmla="*/ 227217 w 31"/>
                <a:gd name="T27" fmla="*/ 178650 h 28"/>
                <a:gd name="T28" fmla="*/ 242887 w 31"/>
                <a:gd name="T29" fmla="*/ 163115 h 28"/>
                <a:gd name="T30" fmla="*/ 235052 w 31"/>
                <a:gd name="T31" fmla="*/ 132046 h 28"/>
                <a:gd name="T32" fmla="*/ 235052 w 31"/>
                <a:gd name="T33" fmla="*/ 116511 h 28"/>
                <a:gd name="T34" fmla="*/ 227217 w 31"/>
                <a:gd name="T35" fmla="*/ 93209 h 28"/>
                <a:gd name="T36" fmla="*/ 242887 w 31"/>
                <a:gd name="T37" fmla="*/ 77674 h 28"/>
                <a:gd name="T38" fmla="*/ 235052 w 31"/>
                <a:gd name="T39" fmla="*/ 46604 h 28"/>
                <a:gd name="T40" fmla="*/ 219382 w 31"/>
                <a:gd name="T41" fmla="*/ 23302 h 28"/>
                <a:gd name="T42" fmla="*/ 211547 w 31"/>
                <a:gd name="T43" fmla="*/ 23302 h 28"/>
                <a:gd name="T44" fmla="*/ 156701 w 31"/>
                <a:gd name="T45" fmla="*/ 15535 h 28"/>
                <a:gd name="T46" fmla="*/ 141031 w 31"/>
                <a:gd name="T47" fmla="*/ 0 h 28"/>
                <a:gd name="T48" fmla="*/ 141031 w 31"/>
                <a:gd name="T49" fmla="*/ 7767 h 28"/>
                <a:gd name="T50" fmla="*/ 117526 w 31"/>
                <a:gd name="T51" fmla="*/ 7767 h 28"/>
                <a:gd name="T52" fmla="*/ 109691 w 31"/>
                <a:gd name="T53" fmla="*/ 0 h 28"/>
                <a:gd name="T54" fmla="*/ 101856 w 31"/>
                <a:gd name="T55" fmla="*/ 0 h 28"/>
                <a:gd name="T56" fmla="*/ 39175 w 31"/>
                <a:gd name="T57" fmla="*/ 23302 h 28"/>
                <a:gd name="T58" fmla="*/ 7835 w 31"/>
                <a:gd name="T59" fmla="*/ 38837 h 28"/>
                <a:gd name="T60" fmla="*/ 0 w 31"/>
                <a:gd name="T61" fmla="*/ 31070 h 28"/>
                <a:gd name="T62" fmla="*/ 0 w 31"/>
                <a:gd name="T63" fmla="*/ 46604 h 28"/>
                <a:gd name="T64" fmla="*/ 7835 w 31"/>
                <a:gd name="T65" fmla="*/ 69907 h 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1"/>
                <a:gd name="T100" fmla="*/ 0 h 28"/>
                <a:gd name="T101" fmla="*/ 31 w 31"/>
                <a:gd name="T102" fmla="*/ 28 h 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1" h="28">
                  <a:moveTo>
                    <a:pt x="1" y="9"/>
                  </a:moveTo>
                  <a:cubicBezTo>
                    <a:pt x="1" y="10"/>
                    <a:pt x="1" y="10"/>
                    <a:pt x="1" y="10"/>
                  </a:cubicBezTo>
                  <a:cubicBezTo>
                    <a:pt x="1" y="13"/>
                    <a:pt x="1" y="13"/>
                    <a:pt x="1" y="13"/>
                  </a:cubicBezTo>
                  <a:cubicBezTo>
                    <a:pt x="1" y="13"/>
                    <a:pt x="1" y="17"/>
                    <a:pt x="2" y="17"/>
                  </a:cubicBezTo>
                  <a:cubicBezTo>
                    <a:pt x="2" y="17"/>
                    <a:pt x="2" y="19"/>
                    <a:pt x="2" y="20"/>
                  </a:cubicBezTo>
                  <a:cubicBezTo>
                    <a:pt x="6" y="22"/>
                    <a:pt x="6" y="22"/>
                    <a:pt x="6" y="22"/>
                  </a:cubicBezTo>
                  <a:cubicBezTo>
                    <a:pt x="10" y="24"/>
                    <a:pt x="10" y="24"/>
                    <a:pt x="10" y="24"/>
                  </a:cubicBezTo>
                  <a:cubicBezTo>
                    <a:pt x="15" y="26"/>
                    <a:pt x="15" y="26"/>
                    <a:pt x="15" y="26"/>
                  </a:cubicBezTo>
                  <a:cubicBezTo>
                    <a:pt x="15" y="26"/>
                    <a:pt x="15" y="26"/>
                    <a:pt x="15" y="26"/>
                  </a:cubicBezTo>
                  <a:cubicBezTo>
                    <a:pt x="19" y="28"/>
                    <a:pt x="19" y="28"/>
                    <a:pt x="19" y="28"/>
                  </a:cubicBezTo>
                  <a:cubicBezTo>
                    <a:pt x="23" y="28"/>
                    <a:pt x="23" y="28"/>
                    <a:pt x="23" y="28"/>
                  </a:cubicBezTo>
                  <a:cubicBezTo>
                    <a:pt x="25" y="28"/>
                    <a:pt x="25" y="28"/>
                    <a:pt x="25" y="28"/>
                  </a:cubicBezTo>
                  <a:cubicBezTo>
                    <a:pt x="27" y="28"/>
                    <a:pt x="27" y="28"/>
                    <a:pt x="27" y="28"/>
                  </a:cubicBezTo>
                  <a:cubicBezTo>
                    <a:pt x="29" y="23"/>
                    <a:pt x="29" y="23"/>
                    <a:pt x="29" y="23"/>
                  </a:cubicBezTo>
                  <a:cubicBezTo>
                    <a:pt x="31" y="21"/>
                    <a:pt x="31" y="21"/>
                    <a:pt x="31" y="21"/>
                  </a:cubicBezTo>
                  <a:cubicBezTo>
                    <a:pt x="30" y="17"/>
                    <a:pt x="30" y="17"/>
                    <a:pt x="30" y="17"/>
                  </a:cubicBezTo>
                  <a:cubicBezTo>
                    <a:pt x="30" y="15"/>
                    <a:pt x="30" y="15"/>
                    <a:pt x="30" y="15"/>
                  </a:cubicBezTo>
                  <a:cubicBezTo>
                    <a:pt x="29" y="12"/>
                    <a:pt x="29" y="12"/>
                    <a:pt x="29" y="12"/>
                  </a:cubicBezTo>
                  <a:cubicBezTo>
                    <a:pt x="31" y="10"/>
                    <a:pt x="31" y="10"/>
                    <a:pt x="31" y="10"/>
                  </a:cubicBezTo>
                  <a:cubicBezTo>
                    <a:pt x="30" y="6"/>
                    <a:pt x="30" y="6"/>
                    <a:pt x="30" y="6"/>
                  </a:cubicBezTo>
                  <a:cubicBezTo>
                    <a:pt x="28" y="3"/>
                    <a:pt x="28" y="3"/>
                    <a:pt x="28" y="3"/>
                  </a:cubicBezTo>
                  <a:cubicBezTo>
                    <a:pt x="27" y="3"/>
                    <a:pt x="27" y="3"/>
                    <a:pt x="27" y="3"/>
                  </a:cubicBezTo>
                  <a:cubicBezTo>
                    <a:pt x="20" y="2"/>
                    <a:pt x="20" y="2"/>
                    <a:pt x="20" y="2"/>
                  </a:cubicBezTo>
                  <a:cubicBezTo>
                    <a:pt x="18" y="0"/>
                    <a:pt x="18" y="0"/>
                    <a:pt x="18" y="0"/>
                  </a:cubicBezTo>
                  <a:cubicBezTo>
                    <a:pt x="18" y="1"/>
                    <a:pt x="18" y="1"/>
                    <a:pt x="18" y="1"/>
                  </a:cubicBezTo>
                  <a:cubicBezTo>
                    <a:pt x="18" y="1"/>
                    <a:pt x="15" y="1"/>
                    <a:pt x="15" y="1"/>
                  </a:cubicBezTo>
                  <a:cubicBezTo>
                    <a:pt x="14" y="1"/>
                    <a:pt x="14" y="0"/>
                    <a:pt x="14" y="0"/>
                  </a:cubicBezTo>
                  <a:cubicBezTo>
                    <a:pt x="13" y="0"/>
                    <a:pt x="13" y="0"/>
                    <a:pt x="13" y="0"/>
                  </a:cubicBezTo>
                  <a:cubicBezTo>
                    <a:pt x="5" y="3"/>
                    <a:pt x="5" y="3"/>
                    <a:pt x="5" y="3"/>
                  </a:cubicBezTo>
                  <a:cubicBezTo>
                    <a:pt x="1" y="5"/>
                    <a:pt x="1" y="5"/>
                    <a:pt x="1" y="5"/>
                  </a:cubicBezTo>
                  <a:cubicBezTo>
                    <a:pt x="0" y="4"/>
                    <a:pt x="0" y="4"/>
                    <a:pt x="0" y="4"/>
                  </a:cubicBezTo>
                  <a:cubicBezTo>
                    <a:pt x="0" y="6"/>
                    <a:pt x="0" y="6"/>
                    <a:pt x="0" y="6"/>
                  </a:cubicBezTo>
                  <a:lnTo>
                    <a:pt x="1" y="9"/>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84" name="Freeform 361"/>
            <p:cNvSpPr>
              <a:spLocks/>
            </p:cNvSpPr>
            <p:nvPr/>
          </p:nvSpPr>
          <p:spPr bwMode="auto">
            <a:xfrm>
              <a:off x="6311222" y="2794480"/>
              <a:ext cx="105339" cy="59211"/>
            </a:xfrm>
            <a:custGeom>
              <a:avLst/>
              <a:gdLst>
                <a:gd name="T0" fmla="*/ 86065 w 84"/>
                <a:gd name="T1" fmla="*/ 15081 h 48"/>
                <a:gd name="T2" fmla="*/ 78241 w 84"/>
                <a:gd name="T3" fmla="*/ 7541 h 48"/>
                <a:gd name="T4" fmla="*/ 62593 w 84"/>
                <a:gd name="T5" fmla="*/ 0 h 48"/>
                <a:gd name="T6" fmla="*/ 39120 w 84"/>
                <a:gd name="T7" fmla="*/ 7541 h 48"/>
                <a:gd name="T8" fmla="*/ 31296 w 84"/>
                <a:gd name="T9" fmla="*/ 0 h 48"/>
                <a:gd name="T10" fmla="*/ 31296 w 84"/>
                <a:gd name="T11" fmla="*/ 0 h 48"/>
                <a:gd name="T12" fmla="*/ 23472 w 84"/>
                <a:gd name="T13" fmla="*/ 7541 h 48"/>
                <a:gd name="T14" fmla="*/ 0 w 84"/>
                <a:gd name="T15" fmla="*/ 30163 h 48"/>
                <a:gd name="T16" fmla="*/ 0 w 84"/>
                <a:gd name="T17" fmla="*/ 45244 h 48"/>
                <a:gd name="T18" fmla="*/ 15648 w 84"/>
                <a:gd name="T19" fmla="*/ 45244 h 48"/>
                <a:gd name="T20" fmla="*/ 23472 w 84"/>
                <a:gd name="T21" fmla="*/ 60325 h 48"/>
                <a:gd name="T22" fmla="*/ 23472 w 84"/>
                <a:gd name="T23" fmla="*/ 60325 h 48"/>
                <a:gd name="T24" fmla="*/ 31296 w 84"/>
                <a:gd name="T25" fmla="*/ 60325 h 48"/>
                <a:gd name="T26" fmla="*/ 54769 w 84"/>
                <a:gd name="T27" fmla="*/ 45244 h 48"/>
                <a:gd name="T28" fmla="*/ 62593 w 84"/>
                <a:gd name="T29" fmla="*/ 52784 h 48"/>
                <a:gd name="T30" fmla="*/ 86065 w 84"/>
                <a:gd name="T31" fmla="*/ 45244 h 48"/>
                <a:gd name="T32" fmla="*/ 101713 w 84"/>
                <a:gd name="T33" fmla="*/ 37703 h 48"/>
                <a:gd name="T34" fmla="*/ 109537 w 84"/>
                <a:gd name="T35" fmla="*/ 37703 h 48"/>
                <a:gd name="T36" fmla="*/ 101713 w 84"/>
                <a:gd name="T37" fmla="*/ 30163 h 48"/>
                <a:gd name="T38" fmla="*/ 86065 w 84"/>
                <a:gd name="T39" fmla="*/ 15081 h 4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4"/>
                <a:gd name="T61" fmla="*/ 0 h 48"/>
                <a:gd name="T62" fmla="*/ 84 w 84"/>
                <a:gd name="T63" fmla="*/ 48 h 4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4" h="48">
                  <a:moveTo>
                    <a:pt x="66" y="12"/>
                  </a:moveTo>
                  <a:lnTo>
                    <a:pt x="60" y="6"/>
                  </a:lnTo>
                  <a:lnTo>
                    <a:pt x="48" y="0"/>
                  </a:lnTo>
                  <a:lnTo>
                    <a:pt x="30" y="6"/>
                  </a:lnTo>
                  <a:lnTo>
                    <a:pt x="24" y="0"/>
                  </a:lnTo>
                  <a:lnTo>
                    <a:pt x="18" y="6"/>
                  </a:lnTo>
                  <a:lnTo>
                    <a:pt x="0" y="24"/>
                  </a:lnTo>
                  <a:lnTo>
                    <a:pt x="0" y="36"/>
                  </a:lnTo>
                  <a:lnTo>
                    <a:pt x="12" y="36"/>
                  </a:lnTo>
                  <a:lnTo>
                    <a:pt x="18" y="48"/>
                  </a:lnTo>
                  <a:lnTo>
                    <a:pt x="24" y="48"/>
                  </a:lnTo>
                  <a:lnTo>
                    <a:pt x="42" y="36"/>
                  </a:lnTo>
                  <a:lnTo>
                    <a:pt x="48" y="42"/>
                  </a:lnTo>
                  <a:lnTo>
                    <a:pt x="66" y="36"/>
                  </a:lnTo>
                  <a:lnTo>
                    <a:pt x="78" y="30"/>
                  </a:lnTo>
                  <a:lnTo>
                    <a:pt x="84" y="30"/>
                  </a:lnTo>
                  <a:lnTo>
                    <a:pt x="78" y="24"/>
                  </a:lnTo>
                  <a:lnTo>
                    <a:pt x="66" y="12"/>
                  </a:lnTo>
                  <a:close/>
                </a:path>
              </a:pathLst>
            </a:custGeom>
            <a:solidFill>
              <a:srgbClr val="598E27"/>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85" name="Freeform 362"/>
            <p:cNvSpPr>
              <a:spLocks/>
            </p:cNvSpPr>
            <p:nvPr/>
          </p:nvSpPr>
          <p:spPr bwMode="auto">
            <a:xfrm>
              <a:off x="6357045" y="2395515"/>
              <a:ext cx="68699" cy="123096"/>
            </a:xfrm>
            <a:custGeom>
              <a:avLst/>
              <a:gdLst>
                <a:gd name="T0" fmla="*/ 47625 w 9"/>
                <a:gd name="T1" fmla="*/ 125413 h 16"/>
                <a:gd name="T2" fmla="*/ 39687 w 9"/>
                <a:gd name="T3" fmla="*/ 101898 h 16"/>
                <a:gd name="T4" fmla="*/ 47625 w 9"/>
                <a:gd name="T5" fmla="*/ 70545 h 16"/>
                <a:gd name="T6" fmla="*/ 63500 w 9"/>
                <a:gd name="T7" fmla="*/ 70545 h 16"/>
                <a:gd name="T8" fmla="*/ 71437 w 9"/>
                <a:gd name="T9" fmla="*/ 54868 h 16"/>
                <a:gd name="T10" fmla="*/ 55562 w 9"/>
                <a:gd name="T11" fmla="*/ 47030 h 16"/>
                <a:gd name="T12" fmla="*/ 55562 w 9"/>
                <a:gd name="T13" fmla="*/ 31353 h 16"/>
                <a:gd name="T14" fmla="*/ 55562 w 9"/>
                <a:gd name="T15" fmla="*/ 0 h 16"/>
                <a:gd name="T16" fmla="*/ 31750 w 9"/>
                <a:gd name="T17" fmla="*/ 15677 h 16"/>
                <a:gd name="T18" fmla="*/ 7937 w 9"/>
                <a:gd name="T19" fmla="*/ 23515 h 16"/>
                <a:gd name="T20" fmla="*/ 0 w 9"/>
                <a:gd name="T21" fmla="*/ 54868 h 16"/>
                <a:gd name="T22" fmla="*/ 0 w 9"/>
                <a:gd name="T23" fmla="*/ 86221 h 16"/>
                <a:gd name="T24" fmla="*/ 15875 w 9"/>
                <a:gd name="T25" fmla="*/ 94060 h 16"/>
                <a:gd name="T26" fmla="*/ 23812 w 9"/>
                <a:gd name="T27" fmla="*/ 125413 h 16"/>
                <a:gd name="T28" fmla="*/ 31750 w 9"/>
                <a:gd name="T29" fmla="*/ 117575 h 16"/>
                <a:gd name="T30" fmla="*/ 47625 w 9"/>
                <a:gd name="T31" fmla="*/ 125413 h 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16"/>
                <a:gd name="T50" fmla="*/ 9 w 9"/>
                <a:gd name="T51" fmla="*/ 16 h 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16">
                  <a:moveTo>
                    <a:pt x="6" y="16"/>
                  </a:moveTo>
                  <a:cubicBezTo>
                    <a:pt x="5" y="15"/>
                    <a:pt x="5" y="14"/>
                    <a:pt x="5" y="13"/>
                  </a:cubicBezTo>
                  <a:cubicBezTo>
                    <a:pt x="5" y="11"/>
                    <a:pt x="6" y="9"/>
                    <a:pt x="6" y="9"/>
                  </a:cubicBezTo>
                  <a:cubicBezTo>
                    <a:pt x="8" y="9"/>
                    <a:pt x="8" y="9"/>
                    <a:pt x="8" y="9"/>
                  </a:cubicBezTo>
                  <a:cubicBezTo>
                    <a:pt x="9" y="7"/>
                    <a:pt x="9" y="7"/>
                    <a:pt x="9" y="7"/>
                  </a:cubicBezTo>
                  <a:cubicBezTo>
                    <a:pt x="7" y="6"/>
                    <a:pt x="7" y="6"/>
                    <a:pt x="7" y="6"/>
                  </a:cubicBezTo>
                  <a:cubicBezTo>
                    <a:pt x="7" y="4"/>
                    <a:pt x="7" y="4"/>
                    <a:pt x="7" y="4"/>
                  </a:cubicBezTo>
                  <a:cubicBezTo>
                    <a:pt x="7" y="0"/>
                    <a:pt x="7" y="0"/>
                    <a:pt x="7" y="0"/>
                  </a:cubicBezTo>
                  <a:cubicBezTo>
                    <a:pt x="4" y="2"/>
                    <a:pt x="4" y="2"/>
                    <a:pt x="4" y="2"/>
                  </a:cubicBezTo>
                  <a:cubicBezTo>
                    <a:pt x="1" y="3"/>
                    <a:pt x="1" y="3"/>
                    <a:pt x="1" y="3"/>
                  </a:cubicBezTo>
                  <a:cubicBezTo>
                    <a:pt x="0" y="7"/>
                    <a:pt x="0" y="7"/>
                    <a:pt x="0" y="7"/>
                  </a:cubicBezTo>
                  <a:cubicBezTo>
                    <a:pt x="0" y="11"/>
                    <a:pt x="0" y="11"/>
                    <a:pt x="0" y="11"/>
                  </a:cubicBezTo>
                  <a:cubicBezTo>
                    <a:pt x="2" y="12"/>
                    <a:pt x="2" y="12"/>
                    <a:pt x="2" y="12"/>
                  </a:cubicBezTo>
                  <a:cubicBezTo>
                    <a:pt x="3" y="16"/>
                    <a:pt x="3" y="16"/>
                    <a:pt x="3" y="16"/>
                  </a:cubicBezTo>
                  <a:cubicBezTo>
                    <a:pt x="4" y="15"/>
                    <a:pt x="4" y="15"/>
                    <a:pt x="4" y="15"/>
                  </a:cubicBezTo>
                  <a:lnTo>
                    <a:pt x="6" y="16"/>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86" name="Freeform 363"/>
            <p:cNvSpPr>
              <a:spLocks/>
            </p:cNvSpPr>
            <p:nvPr/>
          </p:nvSpPr>
          <p:spPr bwMode="auto">
            <a:xfrm>
              <a:off x="6228770" y="2648016"/>
              <a:ext cx="82440" cy="76351"/>
            </a:xfrm>
            <a:custGeom>
              <a:avLst/>
              <a:gdLst>
                <a:gd name="T0" fmla="*/ 23380 w 66"/>
                <a:gd name="T1" fmla="*/ 38894 h 60"/>
                <a:gd name="T2" fmla="*/ 31173 w 66"/>
                <a:gd name="T3" fmla="*/ 54452 h 60"/>
                <a:gd name="T4" fmla="*/ 46759 w 66"/>
                <a:gd name="T5" fmla="*/ 62230 h 60"/>
                <a:gd name="T6" fmla="*/ 62345 w 66"/>
                <a:gd name="T7" fmla="*/ 70009 h 60"/>
                <a:gd name="T8" fmla="*/ 70139 w 66"/>
                <a:gd name="T9" fmla="*/ 77788 h 60"/>
                <a:gd name="T10" fmla="*/ 77932 w 66"/>
                <a:gd name="T11" fmla="*/ 62230 h 60"/>
                <a:gd name="T12" fmla="*/ 85725 w 66"/>
                <a:gd name="T13" fmla="*/ 46673 h 60"/>
                <a:gd name="T14" fmla="*/ 77932 w 66"/>
                <a:gd name="T15" fmla="*/ 31115 h 60"/>
                <a:gd name="T16" fmla="*/ 77932 w 66"/>
                <a:gd name="T17" fmla="*/ 31115 h 60"/>
                <a:gd name="T18" fmla="*/ 70139 w 66"/>
                <a:gd name="T19" fmla="*/ 23336 h 60"/>
                <a:gd name="T20" fmla="*/ 62345 w 66"/>
                <a:gd name="T21" fmla="*/ 15558 h 60"/>
                <a:gd name="T22" fmla="*/ 46759 w 66"/>
                <a:gd name="T23" fmla="*/ 7779 h 60"/>
                <a:gd name="T24" fmla="*/ 31173 w 66"/>
                <a:gd name="T25" fmla="*/ 7779 h 60"/>
                <a:gd name="T26" fmla="*/ 23380 w 66"/>
                <a:gd name="T27" fmla="*/ 0 h 60"/>
                <a:gd name="T28" fmla="*/ 7793 w 66"/>
                <a:gd name="T29" fmla="*/ 7779 h 60"/>
                <a:gd name="T30" fmla="*/ 0 w 66"/>
                <a:gd name="T31" fmla="*/ 15558 h 60"/>
                <a:gd name="T32" fmla="*/ 7793 w 66"/>
                <a:gd name="T33" fmla="*/ 31115 h 60"/>
                <a:gd name="T34" fmla="*/ 23380 w 66"/>
                <a:gd name="T35" fmla="*/ 38894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60"/>
                <a:gd name="T56" fmla="*/ 66 w 66"/>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60">
                  <a:moveTo>
                    <a:pt x="18" y="30"/>
                  </a:moveTo>
                  <a:lnTo>
                    <a:pt x="24" y="42"/>
                  </a:lnTo>
                  <a:lnTo>
                    <a:pt x="36" y="48"/>
                  </a:lnTo>
                  <a:lnTo>
                    <a:pt x="48" y="54"/>
                  </a:lnTo>
                  <a:lnTo>
                    <a:pt x="54" y="60"/>
                  </a:lnTo>
                  <a:lnTo>
                    <a:pt x="60" y="48"/>
                  </a:lnTo>
                  <a:lnTo>
                    <a:pt x="66" y="36"/>
                  </a:lnTo>
                  <a:lnTo>
                    <a:pt x="60" y="24"/>
                  </a:lnTo>
                  <a:lnTo>
                    <a:pt x="54" y="18"/>
                  </a:lnTo>
                  <a:lnTo>
                    <a:pt x="48" y="12"/>
                  </a:lnTo>
                  <a:lnTo>
                    <a:pt x="36" y="6"/>
                  </a:lnTo>
                  <a:lnTo>
                    <a:pt x="24" y="6"/>
                  </a:lnTo>
                  <a:lnTo>
                    <a:pt x="18" y="0"/>
                  </a:lnTo>
                  <a:lnTo>
                    <a:pt x="6" y="6"/>
                  </a:lnTo>
                  <a:lnTo>
                    <a:pt x="0" y="12"/>
                  </a:lnTo>
                  <a:lnTo>
                    <a:pt x="6" y="24"/>
                  </a:lnTo>
                  <a:lnTo>
                    <a:pt x="18" y="30"/>
                  </a:lnTo>
                  <a:close/>
                </a:path>
              </a:pathLst>
            </a:custGeom>
            <a:solidFill>
              <a:srgbClr val="598E27"/>
            </a:solidFill>
            <a:ln w="9525">
              <a:solidFill>
                <a:sysClr val="window" lastClr="FFFFFF"/>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87" name="Freeform 364"/>
            <p:cNvSpPr>
              <a:spLocks/>
            </p:cNvSpPr>
            <p:nvPr/>
          </p:nvSpPr>
          <p:spPr bwMode="auto">
            <a:xfrm>
              <a:off x="6167704" y="3522080"/>
              <a:ext cx="378610" cy="285145"/>
            </a:xfrm>
            <a:custGeom>
              <a:avLst/>
              <a:gdLst>
                <a:gd name="T0" fmla="*/ 86614 w 300"/>
                <a:gd name="T1" fmla="*/ 290512 h 223"/>
                <a:gd name="T2" fmla="*/ 102362 w 300"/>
                <a:gd name="T3" fmla="*/ 267063 h 223"/>
                <a:gd name="T4" fmla="*/ 133858 w 300"/>
                <a:gd name="T5" fmla="*/ 267063 h 223"/>
                <a:gd name="T6" fmla="*/ 181102 w 300"/>
                <a:gd name="T7" fmla="*/ 282696 h 223"/>
                <a:gd name="T8" fmla="*/ 212598 w 300"/>
                <a:gd name="T9" fmla="*/ 267063 h 223"/>
                <a:gd name="T10" fmla="*/ 259842 w 300"/>
                <a:gd name="T11" fmla="*/ 267063 h 223"/>
                <a:gd name="T12" fmla="*/ 299212 w 300"/>
                <a:gd name="T13" fmla="*/ 259246 h 223"/>
                <a:gd name="T14" fmla="*/ 338582 w 300"/>
                <a:gd name="T15" fmla="*/ 226678 h 223"/>
                <a:gd name="T16" fmla="*/ 377952 w 300"/>
                <a:gd name="T17" fmla="*/ 179779 h 223"/>
                <a:gd name="T18" fmla="*/ 393700 w 300"/>
                <a:gd name="T19" fmla="*/ 85981 h 223"/>
                <a:gd name="T20" fmla="*/ 377952 w 300"/>
                <a:gd name="T21" fmla="*/ 70348 h 223"/>
                <a:gd name="T22" fmla="*/ 370078 w 300"/>
                <a:gd name="T23" fmla="*/ 31266 h 223"/>
                <a:gd name="T24" fmla="*/ 370078 w 300"/>
                <a:gd name="T25" fmla="*/ 23449 h 223"/>
                <a:gd name="T26" fmla="*/ 370078 w 300"/>
                <a:gd name="T27" fmla="*/ 23449 h 223"/>
                <a:gd name="T28" fmla="*/ 354330 w 300"/>
                <a:gd name="T29" fmla="*/ 7816 h 223"/>
                <a:gd name="T30" fmla="*/ 291338 w 300"/>
                <a:gd name="T31" fmla="*/ 0 h 223"/>
                <a:gd name="T32" fmla="*/ 149606 w 300"/>
                <a:gd name="T33" fmla="*/ 93798 h 223"/>
                <a:gd name="T34" fmla="*/ 102362 w 300"/>
                <a:gd name="T35" fmla="*/ 117247 h 223"/>
                <a:gd name="T36" fmla="*/ 102362 w 300"/>
                <a:gd name="T37" fmla="*/ 117247 h 223"/>
                <a:gd name="T38" fmla="*/ 102362 w 300"/>
                <a:gd name="T39" fmla="*/ 187595 h 223"/>
                <a:gd name="T40" fmla="*/ 86614 w 300"/>
                <a:gd name="T41" fmla="*/ 211045 h 223"/>
                <a:gd name="T42" fmla="*/ 31496 w 300"/>
                <a:gd name="T43" fmla="*/ 218861 h 223"/>
                <a:gd name="T44" fmla="*/ 0 w 300"/>
                <a:gd name="T45" fmla="*/ 218861 h 223"/>
                <a:gd name="T46" fmla="*/ 15748 w 300"/>
                <a:gd name="T47" fmla="*/ 251430 h 223"/>
                <a:gd name="T48" fmla="*/ 47244 w 300"/>
                <a:gd name="T49" fmla="*/ 282696 h 223"/>
                <a:gd name="T50" fmla="*/ 62992 w 300"/>
                <a:gd name="T51" fmla="*/ 282696 h 223"/>
                <a:gd name="T52" fmla="*/ 78740 w 300"/>
                <a:gd name="T53" fmla="*/ 290512 h 223"/>
                <a:gd name="T54" fmla="*/ 86614 w 300"/>
                <a:gd name="T55" fmla="*/ 290512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00"/>
                <a:gd name="T85" fmla="*/ 0 h 223"/>
                <a:gd name="T86" fmla="*/ 300 w 300"/>
                <a:gd name="T87" fmla="*/ 223 h 22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88" name="Freeform 365"/>
            <p:cNvSpPr>
              <a:spLocks/>
            </p:cNvSpPr>
            <p:nvPr/>
          </p:nvSpPr>
          <p:spPr bwMode="auto">
            <a:xfrm>
              <a:off x="6167704" y="3522080"/>
              <a:ext cx="378610" cy="285145"/>
            </a:xfrm>
            <a:custGeom>
              <a:avLst/>
              <a:gdLst>
                <a:gd name="T0" fmla="*/ 86614 w 300"/>
                <a:gd name="T1" fmla="*/ 290512 h 223"/>
                <a:gd name="T2" fmla="*/ 102362 w 300"/>
                <a:gd name="T3" fmla="*/ 267063 h 223"/>
                <a:gd name="T4" fmla="*/ 133858 w 300"/>
                <a:gd name="T5" fmla="*/ 267063 h 223"/>
                <a:gd name="T6" fmla="*/ 181102 w 300"/>
                <a:gd name="T7" fmla="*/ 282696 h 223"/>
                <a:gd name="T8" fmla="*/ 212598 w 300"/>
                <a:gd name="T9" fmla="*/ 267063 h 223"/>
                <a:gd name="T10" fmla="*/ 259842 w 300"/>
                <a:gd name="T11" fmla="*/ 267063 h 223"/>
                <a:gd name="T12" fmla="*/ 299212 w 300"/>
                <a:gd name="T13" fmla="*/ 259246 h 223"/>
                <a:gd name="T14" fmla="*/ 338582 w 300"/>
                <a:gd name="T15" fmla="*/ 226678 h 223"/>
                <a:gd name="T16" fmla="*/ 377952 w 300"/>
                <a:gd name="T17" fmla="*/ 179779 h 223"/>
                <a:gd name="T18" fmla="*/ 393700 w 300"/>
                <a:gd name="T19" fmla="*/ 85981 h 223"/>
                <a:gd name="T20" fmla="*/ 377952 w 300"/>
                <a:gd name="T21" fmla="*/ 70348 h 223"/>
                <a:gd name="T22" fmla="*/ 370078 w 300"/>
                <a:gd name="T23" fmla="*/ 31266 h 223"/>
                <a:gd name="T24" fmla="*/ 370078 w 300"/>
                <a:gd name="T25" fmla="*/ 23449 h 223"/>
                <a:gd name="T26" fmla="*/ 370078 w 300"/>
                <a:gd name="T27" fmla="*/ 23449 h 223"/>
                <a:gd name="T28" fmla="*/ 354330 w 300"/>
                <a:gd name="T29" fmla="*/ 7816 h 223"/>
                <a:gd name="T30" fmla="*/ 291338 w 300"/>
                <a:gd name="T31" fmla="*/ 0 h 223"/>
                <a:gd name="T32" fmla="*/ 149606 w 300"/>
                <a:gd name="T33" fmla="*/ 93798 h 223"/>
                <a:gd name="T34" fmla="*/ 102362 w 300"/>
                <a:gd name="T35" fmla="*/ 117247 h 223"/>
                <a:gd name="T36" fmla="*/ 102362 w 300"/>
                <a:gd name="T37" fmla="*/ 117247 h 223"/>
                <a:gd name="T38" fmla="*/ 102362 w 300"/>
                <a:gd name="T39" fmla="*/ 187595 h 223"/>
                <a:gd name="T40" fmla="*/ 86614 w 300"/>
                <a:gd name="T41" fmla="*/ 211045 h 223"/>
                <a:gd name="T42" fmla="*/ 31496 w 300"/>
                <a:gd name="T43" fmla="*/ 218861 h 223"/>
                <a:gd name="T44" fmla="*/ 0 w 300"/>
                <a:gd name="T45" fmla="*/ 218861 h 223"/>
                <a:gd name="T46" fmla="*/ 15748 w 300"/>
                <a:gd name="T47" fmla="*/ 251430 h 223"/>
                <a:gd name="T48" fmla="*/ 47244 w 300"/>
                <a:gd name="T49" fmla="*/ 282696 h 223"/>
                <a:gd name="T50" fmla="*/ 62992 w 300"/>
                <a:gd name="T51" fmla="*/ 282696 h 223"/>
                <a:gd name="T52" fmla="*/ 78740 w 300"/>
                <a:gd name="T53" fmla="*/ 290512 h 223"/>
                <a:gd name="T54" fmla="*/ 86614 w 300"/>
                <a:gd name="T55" fmla="*/ 290512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00"/>
                <a:gd name="T85" fmla="*/ 0 h 223"/>
                <a:gd name="T86" fmla="*/ 300 w 300"/>
                <a:gd name="T87" fmla="*/ 223 h 22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89" name="Freeform 366"/>
            <p:cNvSpPr>
              <a:spLocks/>
            </p:cNvSpPr>
            <p:nvPr/>
          </p:nvSpPr>
          <p:spPr bwMode="auto">
            <a:xfrm>
              <a:off x="5874627" y="3483129"/>
              <a:ext cx="392349" cy="377079"/>
            </a:xfrm>
            <a:custGeom>
              <a:avLst/>
              <a:gdLst>
                <a:gd name="T0" fmla="*/ 188302 w 52"/>
                <a:gd name="T1" fmla="*/ 344973 h 49"/>
                <a:gd name="T2" fmla="*/ 211839 w 52"/>
                <a:gd name="T3" fmla="*/ 313612 h 49"/>
                <a:gd name="T4" fmla="*/ 251069 w 52"/>
                <a:gd name="T5" fmla="*/ 282251 h 49"/>
                <a:gd name="T6" fmla="*/ 298144 w 52"/>
                <a:gd name="T7" fmla="*/ 258730 h 49"/>
                <a:gd name="T8" fmla="*/ 305990 w 52"/>
                <a:gd name="T9" fmla="*/ 258730 h 49"/>
                <a:gd name="T10" fmla="*/ 337374 w 52"/>
                <a:gd name="T11" fmla="*/ 258730 h 49"/>
                <a:gd name="T12" fmla="*/ 392295 w 52"/>
                <a:gd name="T13" fmla="*/ 250890 h 49"/>
                <a:gd name="T14" fmla="*/ 400141 w 52"/>
                <a:gd name="T15" fmla="*/ 227369 h 49"/>
                <a:gd name="T16" fmla="*/ 407987 w 52"/>
                <a:gd name="T17" fmla="*/ 156806 h 49"/>
                <a:gd name="T18" fmla="*/ 384449 w 52"/>
                <a:gd name="T19" fmla="*/ 156806 h 49"/>
                <a:gd name="T20" fmla="*/ 368757 w 52"/>
                <a:gd name="T21" fmla="*/ 141126 h 49"/>
                <a:gd name="T22" fmla="*/ 164764 w 52"/>
                <a:gd name="T23" fmla="*/ 0 h 49"/>
                <a:gd name="T24" fmla="*/ 141226 w 52"/>
                <a:gd name="T25" fmla="*/ 0 h 49"/>
                <a:gd name="T26" fmla="*/ 164764 w 52"/>
                <a:gd name="T27" fmla="*/ 227369 h 49"/>
                <a:gd name="T28" fmla="*/ 180456 w 52"/>
                <a:gd name="T29" fmla="*/ 235209 h 49"/>
                <a:gd name="T30" fmla="*/ 156918 w 52"/>
                <a:gd name="T31" fmla="*/ 250890 h 49"/>
                <a:gd name="T32" fmla="*/ 47075 w 52"/>
                <a:gd name="T33" fmla="*/ 250890 h 49"/>
                <a:gd name="T34" fmla="*/ 39230 w 52"/>
                <a:gd name="T35" fmla="*/ 258730 h 49"/>
                <a:gd name="T36" fmla="*/ 23538 w 52"/>
                <a:gd name="T37" fmla="*/ 243049 h 49"/>
                <a:gd name="T38" fmla="*/ 0 w 52"/>
                <a:gd name="T39" fmla="*/ 266570 h 49"/>
                <a:gd name="T40" fmla="*/ 0 w 52"/>
                <a:gd name="T41" fmla="*/ 274411 h 49"/>
                <a:gd name="T42" fmla="*/ 7846 w 52"/>
                <a:gd name="T43" fmla="*/ 297932 h 49"/>
                <a:gd name="T44" fmla="*/ 23538 w 52"/>
                <a:gd name="T45" fmla="*/ 329293 h 49"/>
                <a:gd name="T46" fmla="*/ 15692 w 52"/>
                <a:gd name="T47" fmla="*/ 329293 h 49"/>
                <a:gd name="T48" fmla="*/ 15692 w 52"/>
                <a:gd name="T49" fmla="*/ 337133 h 49"/>
                <a:gd name="T50" fmla="*/ 47075 w 52"/>
                <a:gd name="T51" fmla="*/ 337133 h 49"/>
                <a:gd name="T52" fmla="*/ 78459 w 52"/>
                <a:gd name="T53" fmla="*/ 329293 h 49"/>
                <a:gd name="T54" fmla="*/ 86305 w 52"/>
                <a:gd name="T55" fmla="*/ 344973 h 49"/>
                <a:gd name="T56" fmla="*/ 101997 w 52"/>
                <a:gd name="T57" fmla="*/ 384175 h 49"/>
                <a:gd name="T58" fmla="*/ 117689 w 52"/>
                <a:gd name="T59" fmla="*/ 376335 h 49"/>
                <a:gd name="T60" fmla="*/ 133380 w 52"/>
                <a:gd name="T61" fmla="*/ 376335 h 49"/>
                <a:gd name="T62" fmla="*/ 141226 w 52"/>
                <a:gd name="T63" fmla="*/ 376335 h 49"/>
                <a:gd name="T64" fmla="*/ 156918 w 52"/>
                <a:gd name="T65" fmla="*/ 384175 h 49"/>
                <a:gd name="T66" fmla="*/ 172610 w 52"/>
                <a:gd name="T67" fmla="*/ 384175 h 49"/>
                <a:gd name="T68" fmla="*/ 180456 w 52"/>
                <a:gd name="T69" fmla="*/ 384175 h 49"/>
                <a:gd name="T70" fmla="*/ 180456 w 52"/>
                <a:gd name="T71" fmla="*/ 368494 h 49"/>
                <a:gd name="T72" fmla="*/ 188302 w 52"/>
                <a:gd name="T73" fmla="*/ 344973 h 4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2"/>
                <a:gd name="T112" fmla="*/ 0 h 49"/>
                <a:gd name="T113" fmla="*/ 52 w 52"/>
                <a:gd name="T114" fmla="*/ 49 h 4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2" h="49">
                  <a:moveTo>
                    <a:pt x="24" y="44"/>
                  </a:moveTo>
                  <a:cubicBezTo>
                    <a:pt x="27" y="40"/>
                    <a:pt x="27" y="40"/>
                    <a:pt x="27" y="40"/>
                  </a:cubicBezTo>
                  <a:cubicBezTo>
                    <a:pt x="32" y="36"/>
                    <a:pt x="32" y="36"/>
                    <a:pt x="32" y="36"/>
                  </a:cubicBezTo>
                  <a:cubicBezTo>
                    <a:pt x="38" y="33"/>
                    <a:pt x="38" y="33"/>
                    <a:pt x="38" y="33"/>
                  </a:cubicBezTo>
                  <a:cubicBezTo>
                    <a:pt x="39" y="33"/>
                    <a:pt x="39" y="33"/>
                    <a:pt x="39" y="33"/>
                  </a:cubicBezTo>
                  <a:cubicBezTo>
                    <a:pt x="43" y="33"/>
                    <a:pt x="43" y="33"/>
                    <a:pt x="43" y="33"/>
                  </a:cubicBezTo>
                  <a:cubicBezTo>
                    <a:pt x="50" y="32"/>
                    <a:pt x="50" y="32"/>
                    <a:pt x="50" y="32"/>
                  </a:cubicBezTo>
                  <a:cubicBezTo>
                    <a:pt x="51" y="29"/>
                    <a:pt x="51" y="29"/>
                    <a:pt x="51" y="29"/>
                  </a:cubicBezTo>
                  <a:cubicBezTo>
                    <a:pt x="52" y="20"/>
                    <a:pt x="52" y="20"/>
                    <a:pt x="52" y="20"/>
                  </a:cubicBezTo>
                  <a:cubicBezTo>
                    <a:pt x="49" y="20"/>
                    <a:pt x="49" y="20"/>
                    <a:pt x="49" y="20"/>
                  </a:cubicBezTo>
                  <a:cubicBezTo>
                    <a:pt x="47" y="18"/>
                    <a:pt x="47" y="18"/>
                    <a:pt x="47" y="18"/>
                  </a:cubicBezTo>
                  <a:cubicBezTo>
                    <a:pt x="21" y="0"/>
                    <a:pt x="21" y="0"/>
                    <a:pt x="21" y="0"/>
                  </a:cubicBezTo>
                  <a:cubicBezTo>
                    <a:pt x="18" y="0"/>
                    <a:pt x="18" y="0"/>
                    <a:pt x="18" y="0"/>
                  </a:cubicBezTo>
                  <a:cubicBezTo>
                    <a:pt x="21" y="29"/>
                    <a:pt x="21" y="29"/>
                    <a:pt x="21" y="29"/>
                  </a:cubicBezTo>
                  <a:cubicBezTo>
                    <a:pt x="23" y="30"/>
                    <a:pt x="23" y="30"/>
                    <a:pt x="23" y="30"/>
                  </a:cubicBezTo>
                  <a:cubicBezTo>
                    <a:pt x="20" y="32"/>
                    <a:pt x="20" y="32"/>
                    <a:pt x="20" y="32"/>
                  </a:cubicBezTo>
                  <a:cubicBezTo>
                    <a:pt x="6" y="32"/>
                    <a:pt x="6" y="32"/>
                    <a:pt x="6" y="32"/>
                  </a:cubicBezTo>
                  <a:cubicBezTo>
                    <a:pt x="5" y="33"/>
                    <a:pt x="5" y="33"/>
                    <a:pt x="5" y="33"/>
                  </a:cubicBezTo>
                  <a:cubicBezTo>
                    <a:pt x="3" y="31"/>
                    <a:pt x="3" y="31"/>
                    <a:pt x="3" y="31"/>
                  </a:cubicBezTo>
                  <a:cubicBezTo>
                    <a:pt x="0" y="34"/>
                    <a:pt x="0" y="34"/>
                    <a:pt x="0" y="34"/>
                  </a:cubicBezTo>
                  <a:cubicBezTo>
                    <a:pt x="0" y="35"/>
                    <a:pt x="0" y="35"/>
                    <a:pt x="0" y="35"/>
                  </a:cubicBezTo>
                  <a:cubicBezTo>
                    <a:pt x="1" y="38"/>
                    <a:pt x="1" y="38"/>
                    <a:pt x="1" y="38"/>
                  </a:cubicBezTo>
                  <a:cubicBezTo>
                    <a:pt x="3" y="42"/>
                    <a:pt x="3" y="42"/>
                    <a:pt x="3" y="42"/>
                  </a:cubicBezTo>
                  <a:cubicBezTo>
                    <a:pt x="2" y="42"/>
                    <a:pt x="2" y="42"/>
                    <a:pt x="2" y="42"/>
                  </a:cubicBezTo>
                  <a:cubicBezTo>
                    <a:pt x="2" y="43"/>
                    <a:pt x="2" y="43"/>
                    <a:pt x="2" y="43"/>
                  </a:cubicBezTo>
                  <a:cubicBezTo>
                    <a:pt x="6" y="43"/>
                    <a:pt x="6" y="43"/>
                    <a:pt x="6" y="43"/>
                  </a:cubicBezTo>
                  <a:cubicBezTo>
                    <a:pt x="6" y="43"/>
                    <a:pt x="10" y="42"/>
                    <a:pt x="10" y="42"/>
                  </a:cubicBezTo>
                  <a:cubicBezTo>
                    <a:pt x="11" y="42"/>
                    <a:pt x="11" y="44"/>
                    <a:pt x="11" y="44"/>
                  </a:cubicBezTo>
                  <a:cubicBezTo>
                    <a:pt x="13" y="49"/>
                    <a:pt x="13" y="49"/>
                    <a:pt x="13" y="49"/>
                  </a:cubicBezTo>
                  <a:cubicBezTo>
                    <a:pt x="15" y="48"/>
                    <a:pt x="15" y="48"/>
                    <a:pt x="15" y="48"/>
                  </a:cubicBezTo>
                  <a:cubicBezTo>
                    <a:pt x="17" y="48"/>
                    <a:pt x="17" y="48"/>
                    <a:pt x="17" y="48"/>
                  </a:cubicBezTo>
                  <a:cubicBezTo>
                    <a:pt x="18" y="48"/>
                    <a:pt x="18" y="48"/>
                    <a:pt x="18" y="48"/>
                  </a:cubicBezTo>
                  <a:cubicBezTo>
                    <a:pt x="20" y="49"/>
                    <a:pt x="20" y="49"/>
                    <a:pt x="20" y="49"/>
                  </a:cubicBezTo>
                  <a:cubicBezTo>
                    <a:pt x="22" y="49"/>
                    <a:pt x="22" y="49"/>
                    <a:pt x="22" y="49"/>
                  </a:cubicBezTo>
                  <a:cubicBezTo>
                    <a:pt x="23" y="49"/>
                    <a:pt x="23" y="49"/>
                    <a:pt x="23" y="49"/>
                  </a:cubicBezTo>
                  <a:cubicBezTo>
                    <a:pt x="23" y="47"/>
                    <a:pt x="23" y="47"/>
                    <a:pt x="23" y="47"/>
                  </a:cubicBezTo>
                  <a:lnTo>
                    <a:pt x="24" y="44"/>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90" name="Freeform 367"/>
            <p:cNvSpPr>
              <a:spLocks/>
            </p:cNvSpPr>
            <p:nvPr/>
          </p:nvSpPr>
          <p:spPr bwMode="auto">
            <a:xfrm>
              <a:off x="7150883" y="3830603"/>
              <a:ext cx="225945" cy="311635"/>
            </a:xfrm>
            <a:custGeom>
              <a:avLst/>
              <a:gdLst>
                <a:gd name="T0" fmla="*/ 93980 w 180"/>
                <a:gd name="T1" fmla="*/ 23232 h 246"/>
                <a:gd name="T2" fmla="*/ 62653 w 180"/>
                <a:gd name="T3" fmla="*/ 15488 h 246"/>
                <a:gd name="T4" fmla="*/ 62653 w 180"/>
                <a:gd name="T5" fmla="*/ 7744 h 246"/>
                <a:gd name="T6" fmla="*/ 39158 w 180"/>
                <a:gd name="T7" fmla="*/ 23232 h 246"/>
                <a:gd name="T8" fmla="*/ 54822 w 180"/>
                <a:gd name="T9" fmla="*/ 46463 h 246"/>
                <a:gd name="T10" fmla="*/ 109643 w 180"/>
                <a:gd name="T11" fmla="*/ 77439 h 246"/>
                <a:gd name="T12" fmla="*/ 164465 w 180"/>
                <a:gd name="T13" fmla="*/ 85183 h 246"/>
                <a:gd name="T14" fmla="*/ 101812 w 180"/>
                <a:gd name="T15" fmla="*/ 154878 h 246"/>
                <a:gd name="T16" fmla="*/ 46990 w 180"/>
                <a:gd name="T17" fmla="*/ 170366 h 246"/>
                <a:gd name="T18" fmla="*/ 23495 w 180"/>
                <a:gd name="T19" fmla="*/ 185854 h 246"/>
                <a:gd name="T20" fmla="*/ 31327 w 180"/>
                <a:gd name="T21" fmla="*/ 193598 h 246"/>
                <a:gd name="T22" fmla="*/ 23495 w 180"/>
                <a:gd name="T23" fmla="*/ 185854 h 246"/>
                <a:gd name="T24" fmla="*/ 23495 w 180"/>
                <a:gd name="T25" fmla="*/ 193598 h 246"/>
                <a:gd name="T26" fmla="*/ 0 w 180"/>
                <a:gd name="T27" fmla="*/ 216829 h 246"/>
                <a:gd name="T28" fmla="*/ 0 w 180"/>
                <a:gd name="T29" fmla="*/ 294268 h 246"/>
                <a:gd name="T30" fmla="*/ 15663 w 180"/>
                <a:gd name="T31" fmla="*/ 317500 h 246"/>
                <a:gd name="T32" fmla="*/ 54822 w 180"/>
                <a:gd name="T33" fmla="*/ 263293 h 246"/>
                <a:gd name="T34" fmla="*/ 117475 w 180"/>
                <a:gd name="T35" fmla="*/ 232317 h 246"/>
                <a:gd name="T36" fmla="*/ 172297 w 180"/>
                <a:gd name="T37" fmla="*/ 170366 h 246"/>
                <a:gd name="T38" fmla="*/ 219287 w 180"/>
                <a:gd name="T39" fmla="*/ 61951 h 246"/>
                <a:gd name="T40" fmla="*/ 234950 w 180"/>
                <a:gd name="T41" fmla="*/ 0 h 246"/>
                <a:gd name="T42" fmla="*/ 93980 w 180"/>
                <a:gd name="T43" fmla="*/ 23232 h 2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80"/>
                <a:gd name="T67" fmla="*/ 0 h 246"/>
                <a:gd name="T68" fmla="*/ 180 w 180"/>
                <a:gd name="T69" fmla="*/ 246 h 24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80" h="246">
                  <a:moveTo>
                    <a:pt x="72" y="18"/>
                  </a:moveTo>
                  <a:lnTo>
                    <a:pt x="48" y="12"/>
                  </a:lnTo>
                  <a:lnTo>
                    <a:pt x="48" y="6"/>
                  </a:lnTo>
                  <a:lnTo>
                    <a:pt x="30" y="18"/>
                  </a:lnTo>
                  <a:lnTo>
                    <a:pt x="42" y="36"/>
                  </a:lnTo>
                  <a:lnTo>
                    <a:pt x="84" y="60"/>
                  </a:lnTo>
                  <a:lnTo>
                    <a:pt x="126" y="66"/>
                  </a:lnTo>
                  <a:lnTo>
                    <a:pt x="78" y="120"/>
                  </a:lnTo>
                  <a:lnTo>
                    <a:pt x="36" y="132"/>
                  </a:lnTo>
                  <a:lnTo>
                    <a:pt x="18" y="144"/>
                  </a:lnTo>
                  <a:lnTo>
                    <a:pt x="24" y="150"/>
                  </a:lnTo>
                  <a:lnTo>
                    <a:pt x="18" y="144"/>
                  </a:lnTo>
                  <a:lnTo>
                    <a:pt x="18" y="150"/>
                  </a:lnTo>
                  <a:lnTo>
                    <a:pt x="0" y="168"/>
                  </a:lnTo>
                  <a:lnTo>
                    <a:pt x="0" y="228"/>
                  </a:lnTo>
                  <a:lnTo>
                    <a:pt x="12" y="246"/>
                  </a:lnTo>
                  <a:lnTo>
                    <a:pt x="42" y="204"/>
                  </a:lnTo>
                  <a:lnTo>
                    <a:pt x="90" y="180"/>
                  </a:lnTo>
                  <a:lnTo>
                    <a:pt x="132" y="132"/>
                  </a:lnTo>
                  <a:lnTo>
                    <a:pt x="168" y="48"/>
                  </a:lnTo>
                  <a:lnTo>
                    <a:pt x="180" y="0"/>
                  </a:lnTo>
                  <a:lnTo>
                    <a:pt x="72" y="18"/>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91" name="Freeform 368"/>
            <p:cNvSpPr>
              <a:spLocks/>
            </p:cNvSpPr>
            <p:nvPr/>
          </p:nvSpPr>
          <p:spPr bwMode="auto">
            <a:xfrm>
              <a:off x="6500521" y="3807224"/>
              <a:ext cx="30533" cy="121539"/>
            </a:xfrm>
            <a:custGeom>
              <a:avLst/>
              <a:gdLst>
                <a:gd name="T0" fmla="*/ 15875 w 24"/>
                <a:gd name="T1" fmla="*/ 0 h 96"/>
                <a:gd name="T2" fmla="*/ 15875 w 24"/>
                <a:gd name="T3" fmla="*/ 0 h 96"/>
                <a:gd name="T4" fmla="*/ 31750 w 24"/>
                <a:gd name="T5" fmla="*/ 54173 h 96"/>
                <a:gd name="T6" fmla="*/ 0 w 24"/>
                <a:gd name="T7" fmla="*/ 61913 h 96"/>
                <a:gd name="T8" fmla="*/ 0 w 24"/>
                <a:gd name="T9" fmla="*/ 85130 h 96"/>
                <a:gd name="T10" fmla="*/ 23813 w 24"/>
                <a:gd name="T11" fmla="*/ 123825 h 96"/>
                <a:gd name="T12" fmla="*/ 31750 w 24"/>
                <a:gd name="T13" fmla="*/ 123825 h 96"/>
                <a:gd name="T14" fmla="*/ 15875 w 24"/>
                <a:gd name="T15" fmla="*/ 0 h 96"/>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96"/>
                <a:gd name="T26" fmla="*/ 24 w 24"/>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96">
                  <a:moveTo>
                    <a:pt x="12" y="0"/>
                  </a:moveTo>
                  <a:lnTo>
                    <a:pt x="12" y="0"/>
                  </a:lnTo>
                  <a:lnTo>
                    <a:pt x="24" y="42"/>
                  </a:lnTo>
                  <a:lnTo>
                    <a:pt x="0" y="48"/>
                  </a:lnTo>
                  <a:lnTo>
                    <a:pt x="0" y="66"/>
                  </a:lnTo>
                  <a:lnTo>
                    <a:pt x="18" y="96"/>
                  </a:lnTo>
                  <a:lnTo>
                    <a:pt x="24" y="96"/>
                  </a:lnTo>
                  <a:lnTo>
                    <a:pt x="12" y="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92" name="Freeform 369"/>
            <p:cNvSpPr>
              <a:spLocks/>
            </p:cNvSpPr>
            <p:nvPr/>
          </p:nvSpPr>
          <p:spPr bwMode="auto">
            <a:xfrm>
              <a:off x="6500521" y="3807224"/>
              <a:ext cx="30533" cy="121539"/>
            </a:xfrm>
            <a:custGeom>
              <a:avLst/>
              <a:gdLst>
                <a:gd name="T0" fmla="*/ 15875 w 24"/>
                <a:gd name="T1" fmla="*/ 0 h 96"/>
                <a:gd name="T2" fmla="*/ 15875 w 24"/>
                <a:gd name="T3" fmla="*/ 0 h 96"/>
                <a:gd name="T4" fmla="*/ 31750 w 24"/>
                <a:gd name="T5" fmla="*/ 54173 h 96"/>
                <a:gd name="T6" fmla="*/ 0 w 24"/>
                <a:gd name="T7" fmla="*/ 61913 h 96"/>
                <a:gd name="T8" fmla="*/ 0 w 24"/>
                <a:gd name="T9" fmla="*/ 85130 h 96"/>
                <a:gd name="T10" fmla="*/ 23813 w 24"/>
                <a:gd name="T11" fmla="*/ 123825 h 96"/>
                <a:gd name="T12" fmla="*/ 31750 w 24"/>
                <a:gd name="T13" fmla="*/ 123825 h 96"/>
                <a:gd name="T14" fmla="*/ 0 60000 65536"/>
                <a:gd name="T15" fmla="*/ 0 60000 65536"/>
                <a:gd name="T16" fmla="*/ 0 60000 65536"/>
                <a:gd name="T17" fmla="*/ 0 60000 65536"/>
                <a:gd name="T18" fmla="*/ 0 60000 65536"/>
                <a:gd name="T19" fmla="*/ 0 60000 65536"/>
                <a:gd name="T20" fmla="*/ 0 60000 65536"/>
                <a:gd name="T21" fmla="*/ 0 w 24"/>
                <a:gd name="T22" fmla="*/ 0 h 96"/>
                <a:gd name="T23" fmla="*/ 24 w 24"/>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96">
                  <a:moveTo>
                    <a:pt x="12" y="0"/>
                  </a:moveTo>
                  <a:lnTo>
                    <a:pt x="12" y="0"/>
                  </a:lnTo>
                  <a:lnTo>
                    <a:pt x="24" y="42"/>
                  </a:lnTo>
                  <a:lnTo>
                    <a:pt x="0" y="48"/>
                  </a:lnTo>
                  <a:lnTo>
                    <a:pt x="0" y="66"/>
                  </a:lnTo>
                  <a:lnTo>
                    <a:pt x="18" y="96"/>
                  </a:lnTo>
                  <a:lnTo>
                    <a:pt x="24" y="96"/>
                  </a:lnTo>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93" name="Freeform 370"/>
            <p:cNvSpPr>
              <a:spLocks/>
            </p:cNvSpPr>
            <p:nvPr/>
          </p:nvSpPr>
          <p:spPr bwMode="auto">
            <a:xfrm>
              <a:off x="6485248" y="3531428"/>
              <a:ext cx="248844" cy="397333"/>
            </a:xfrm>
            <a:custGeom>
              <a:avLst/>
              <a:gdLst>
                <a:gd name="T0" fmla="*/ 47048 w 198"/>
                <a:gd name="T1" fmla="*/ 404812 h 313"/>
                <a:gd name="T2" fmla="*/ 78413 w 198"/>
                <a:gd name="T3" fmla="*/ 397052 h 313"/>
                <a:gd name="T4" fmla="*/ 125460 w 198"/>
                <a:gd name="T5" fmla="*/ 381532 h 313"/>
                <a:gd name="T6" fmla="*/ 133302 w 198"/>
                <a:gd name="T7" fmla="*/ 366012 h 313"/>
                <a:gd name="T8" fmla="*/ 172508 w 198"/>
                <a:gd name="T9" fmla="*/ 358252 h 313"/>
                <a:gd name="T10" fmla="*/ 235238 w 198"/>
                <a:gd name="T11" fmla="*/ 319452 h 313"/>
                <a:gd name="T12" fmla="*/ 235238 w 198"/>
                <a:gd name="T13" fmla="*/ 319452 h 313"/>
                <a:gd name="T14" fmla="*/ 211714 w 198"/>
                <a:gd name="T15" fmla="*/ 272892 h 313"/>
                <a:gd name="T16" fmla="*/ 219556 w 198"/>
                <a:gd name="T17" fmla="*/ 249612 h 313"/>
                <a:gd name="T18" fmla="*/ 227397 w 198"/>
                <a:gd name="T19" fmla="*/ 209519 h 313"/>
                <a:gd name="T20" fmla="*/ 250921 w 198"/>
                <a:gd name="T21" fmla="*/ 193999 h 313"/>
                <a:gd name="T22" fmla="*/ 258762 w 198"/>
                <a:gd name="T23" fmla="*/ 100880 h 313"/>
                <a:gd name="T24" fmla="*/ 70571 w 198"/>
                <a:gd name="T25" fmla="*/ 0 h 313"/>
                <a:gd name="T26" fmla="*/ 39206 w 198"/>
                <a:gd name="T27" fmla="*/ 15520 h 313"/>
                <a:gd name="T28" fmla="*/ 39206 w 198"/>
                <a:gd name="T29" fmla="*/ 23280 h 313"/>
                <a:gd name="T30" fmla="*/ 47048 w 198"/>
                <a:gd name="T31" fmla="*/ 62080 h 313"/>
                <a:gd name="T32" fmla="*/ 62730 w 198"/>
                <a:gd name="T33" fmla="*/ 77600 h 313"/>
                <a:gd name="T34" fmla="*/ 47048 w 198"/>
                <a:gd name="T35" fmla="*/ 170719 h 313"/>
                <a:gd name="T36" fmla="*/ 7841 w 198"/>
                <a:gd name="T37" fmla="*/ 217279 h 313"/>
                <a:gd name="T38" fmla="*/ 15683 w 198"/>
                <a:gd name="T39" fmla="*/ 217279 h 313"/>
                <a:gd name="T40" fmla="*/ 7841 w 198"/>
                <a:gd name="T41" fmla="*/ 217279 h 313"/>
                <a:gd name="T42" fmla="*/ 0 w 198"/>
                <a:gd name="T43" fmla="*/ 226333 h 313"/>
                <a:gd name="T44" fmla="*/ 15683 w 198"/>
                <a:gd name="T45" fmla="*/ 249612 h 313"/>
                <a:gd name="T46" fmla="*/ 39206 w 198"/>
                <a:gd name="T47" fmla="*/ 257372 h 313"/>
                <a:gd name="T48" fmla="*/ 31365 w 198"/>
                <a:gd name="T49" fmla="*/ 280652 h 313"/>
                <a:gd name="T50" fmla="*/ 47048 w 198"/>
                <a:gd name="T51" fmla="*/ 404812 h 31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8"/>
                <a:gd name="T79" fmla="*/ 0 h 313"/>
                <a:gd name="T80" fmla="*/ 198 w 198"/>
                <a:gd name="T81" fmla="*/ 313 h 31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8" h="313">
                  <a:moveTo>
                    <a:pt x="36" y="313"/>
                  </a:moveTo>
                  <a:lnTo>
                    <a:pt x="60" y="307"/>
                  </a:lnTo>
                  <a:lnTo>
                    <a:pt x="96" y="295"/>
                  </a:lnTo>
                  <a:lnTo>
                    <a:pt x="102" y="283"/>
                  </a:lnTo>
                  <a:lnTo>
                    <a:pt x="132" y="27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lnTo>
                    <a:pt x="36" y="313"/>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94" name="Freeform 371"/>
            <p:cNvSpPr>
              <a:spLocks/>
            </p:cNvSpPr>
            <p:nvPr/>
          </p:nvSpPr>
          <p:spPr bwMode="auto">
            <a:xfrm>
              <a:off x="6485248" y="3531428"/>
              <a:ext cx="248844" cy="397333"/>
            </a:xfrm>
            <a:custGeom>
              <a:avLst/>
              <a:gdLst>
                <a:gd name="T0" fmla="*/ 47048 w 198"/>
                <a:gd name="T1" fmla="*/ 404812 h 313"/>
                <a:gd name="T2" fmla="*/ 78413 w 198"/>
                <a:gd name="T3" fmla="*/ 397052 h 313"/>
                <a:gd name="T4" fmla="*/ 125460 w 198"/>
                <a:gd name="T5" fmla="*/ 381532 h 313"/>
                <a:gd name="T6" fmla="*/ 133302 w 198"/>
                <a:gd name="T7" fmla="*/ 366012 h 313"/>
                <a:gd name="T8" fmla="*/ 172508 w 198"/>
                <a:gd name="T9" fmla="*/ 358252 h 313"/>
                <a:gd name="T10" fmla="*/ 235238 w 198"/>
                <a:gd name="T11" fmla="*/ 319452 h 313"/>
                <a:gd name="T12" fmla="*/ 235238 w 198"/>
                <a:gd name="T13" fmla="*/ 319452 h 313"/>
                <a:gd name="T14" fmla="*/ 211714 w 198"/>
                <a:gd name="T15" fmla="*/ 272892 h 313"/>
                <a:gd name="T16" fmla="*/ 219556 w 198"/>
                <a:gd name="T17" fmla="*/ 249612 h 313"/>
                <a:gd name="T18" fmla="*/ 227397 w 198"/>
                <a:gd name="T19" fmla="*/ 209519 h 313"/>
                <a:gd name="T20" fmla="*/ 250921 w 198"/>
                <a:gd name="T21" fmla="*/ 193999 h 313"/>
                <a:gd name="T22" fmla="*/ 258762 w 198"/>
                <a:gd name="T23" fmla="*/ 100880 h 313"/>
                <a:gd name="T24" fmla="*/ 70571 w 198"/>
                <a:gd name="T25" fmla="*/ 0 h 313"/>
                <a:gd name="T26" fmla="*/ 39206 w 198"/>
                <a:gd name="T27" fmla="*/ 15520 h 313"/>
                <a:gd name="T28" fmla="*/ 39206 w 198"/>
                <a:gd name="T29" fmla="*/ 23280 h 313"/>
                <a:gd name="T30" fmla="*/ 47048 w 198"/>
                <a:gd name="T31" fmla="*/ 62080 h 313"/>
                <a:gd name="T32" fmla="*/ 62730 w 198"/>
                <a:gd name="T33" fmla="*/ 77600 h 313"/>
                <a:gd name="T34" fmla="*/ 47048 w 198"/>
                <a:gd name="T35" fmla="*/ 170719 h 313"/>
                <a:gd name="T36" fmla="*/ 7841 w 198"/>
                <a:gd name="T37" fmla="*/ 217279 h 313"/>
                <a:gd name="T38" fmla="*/ 15683 w 198"/>
                <a:gd name="T39" fmla="*/ 217279 h 313"/>
                <a:gd name="T40" fmla="*/ 7841 w 198"/>
                <a:gd name="T41" fmla="*/ 217279 h 313"/>
                <a:gd name="T42" fmla="*/ 0 w 198"/>
                <a:gd name="T43" fmla="*/ 226333 h 313"/>
                <a:gd name="T44" fmla="*/ 15683 w 198"/>
                <a:gd name="T45" fmla="*/ 249612 h 313"/>
                <a:gd name="T46" fmla="*/ 39206 w 198"/>
                <a:gd name="T47" fmla="*/ 257372 h 313"/>
                <a:gd name="T48" fmla="*/ 31365 w 198"/>
                <a:gd name="T49" fmla="*/ 280652 h 31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98"/>
                <a:gd name="T76" fmla="*/ 0 h 313"/>
                <a:gd name="T77" fmla="*/ 198 w 198"/>
                <a:gd name="T78" fmla="*/ 313 h 31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98" h="313">
                  <a:moveTo>
                    <a:pt x="36" y="313"/>
                  </a:moveTo>
                  <a:lnTo>
                    <a:pt x="60" y="307"/>
                  </a:lnTo>
                  <a:lnTo>
                    <a:pt x="96" y="295"/>
                  </a:lnTo>
                  <a:lnTo>
                    <a:pt x="102" y="283"/>
                  </a:lnTo>
                  <a:lnTo>
                    <a:pt x="132" y="27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95" name="Freeform 372"/>
            <p:cNvSpPr>
              <a:spLocks/>
            </p:cNvSpPr>
            <p:nvPr/>
          </p:nvSpPr>
          <p:spPr bwMode="auto">
            <a:xfrm>
              <a:off x="6561582" y="4656427"/>
              <a:ext cx="383190" cy="347472"/>
            </a:xfrm>
            <a:custGeom>
              <a:avLst/>
              <a:gdLst>
                <a:gd name="T0" fmla="*/ 375023 w 51"/>
                <a:gd name="T1" fmla="*/ 7867 h 45"/>
                <a:gd name="T2" fmla="*/ 367210 w 51"/>
                <a:gd name="T3" fmla="*/ 7867 h 45"/>
                <a:gd name="T4" fmla="*/ 359397 w 51"/>
                <a:gd name="T5" fmla="*/ 15734 h 45"/>
                <a:gd name="T6" fmla="*/ 367210 w 51"/>
                <a:gd name="T7" fmla="*/ 7867 h 45"/>
                <a:gd name="T8" fmla="*/ 320332 w 51"/>
                <a:gd name="T9" fmla="*/ 0 h 45"/>
                <a:gd name="T10" fmla="*/ 265641 w 51"/>
                <a:gd name="T11" fmla="*/ 39335 h 45"/>
                <a:gd name="T12" fmla="*/ 203137 w 51"/>
                <a:gd name="T13" fmla="*/ 94403 h 45"/>
                <a:gd name="T14" fmla="*/ 171886 w 51"/>
                <a:gd name="T15" fmla="*/ 94403 h 45"/>
                <a:gd name="T16" fmla="*/ 132821 w 51"/>
                <a:gd name="T17" fmla="*/ 118004 h 45"/>
                <a:gd name="T18" fmla="*/ 109382 w 51"/>
                <a:gd name="T19" fmla="*/ 118004 h 45"/>
                <a:gd name="T20" fmla="*/ 101569 w 51"/>
                <a:gd name="T21" fmla="*/ 102270 h 45"/>
                <a:gd name="T22" fmla="*/ 85943 w 51"/>
                <a:gd name="T23" fmla="*/ 70802 h 45"/>
                <a:gd name="T24" fmla="*/ 85943 w 51"/>
                <a:gd name="T25" fmla="*/ 86536 h 45"/>
                <a:gd name="T26" fmla="*/ 85943 w 51"/>
                <a:gd name="T27" fmla="*/ 70802 h 45"/>
                <a:gd name="T28" fmla="*/ 70317 w 51"/>
                <a:gd name="T29" fmla="*/ 180939 h 45"/>
                <a:gd name="T30" fmla="*/ 46878 w 51"/>
                <a:gd name="T31" fmla="*/ 188806 h 45"/>
                <a:gd name="T32" fmla="*/ 7813 w 51"/>
                <a:gd name="T33" fmla="*/ 173073 h 45"/>
                <a:gd name="T34" fmla="*/ 0 w 51"/>
                <a:gd name="T35" fmla="*/ 188806 h 45"/>
                <a:gd name="T36" fmla="*/ 15626 w 51"/>
                <a:gd name="T37" fmla="*/ 212407 h 45"/>
                <a:gd name="T38" fmla="*/ 39065 w 51"/>
                <a:gd name="T39" fmla="*/ 275343 h 45"/>
                <a:gd name="T40" fmla="*/ 39065 w 51"/>
                <a:gd name="T41" fmla="*/ 306810 h 45"/>
                <a:gd name="T42" fmla="*/ 70317 w 51"/>
                <a:gd name="T43" fmla="*/ 354012 h 45"/>
                <a:gd name="T44" fmla="*/ 132821 w 51"/>
                <a:gd name="T45" fmla="*/ 338278 h 45"/>
                <a:gd name="T46" fmla="*/ 195325 w 51"/>
                <a:gd name="T47" fmla="*/ 330411 h 45"/>
                <a:gd name="T48" fmla="*/ 250015 w 51"/>
                <a:gd name="T49" fmla="*/ 322544 h 45"/>
                <a:gd name="T50" fmla="*/ 367210 w 51"/>
                <a:gd name="T51" fmla="*/ 196673 h 45"/>
                <a:gd name="T52" fmla="*/ 398462 w 51"/>
                <a:gd name="T53" fmla="*/ 125871 h 45"/>
                <a:gd name="T54" fmla="*/ 398462 w 51"/>
                <a:gd name="T55" fmla="*/ 125871 h 45"/>
                <a:gd name="T56" fmla="*/ 382836 w 51"/>
                <a:gd name="T57" fmla="*/ 125871 h 45"/>
                <a:gd name="T58" fmla="*/ 375023 w 51"/>
                <a:gd name="T59" fmla="*/ 7867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1"/>
                <a:gd name="T91" fmla="*/ 0 h 45"/>
                <a:gd name="T92" fmla="*/ 51 w 51"/>
                <a:gd name="T93" fmla="*/ 45 h 4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1" h="45">
                  <a:moveTo>
                    <a:pt x="48" y="1"/>
                  </a:moveTo>
                  <a:cubicBezTo>
                    <a:pt x="47" y="1"/>
                    <a:pt x="47" y="1"/>
                    <a:pt x="47" y="1"/>
                  </a:cubicBezTo>
                  <a:cubicBezTo>
                    <a:pt x="46" y="2"/>
                    <a:pt x="46" y="2"/>
                    <a:pt x="46" y="2"/>
                  </a:cubicBezTo>
                  <a:cubicBezTo>
                    <a:pt x="47" y="1"/>
                    <a:pt x="47" y="1"/>
                    <a:pt x="47" y="1"/>
                  </a:cubicBezTo>
                  <a:cubicBezTo>
                    <a:pt x="41" y="0"/>
                    <a:pt x="41" y="0"/>
                    <a:pt x="41" y="0"/>
                  </a:cubicBezTo>
                  <a:cubicBezTo>
                    <a:pt x="34" y="5"/>
                    <a:pt x="34" y="5"/>
                    <a:pt x="34" y="5"/>
                  </a:cubicBezTo>
                  <a:cubicBezTo>
                    <a:pt x="26" y="12"/>
                    <a:pt x="26" y="12"/>
                    <a:pt x="26" y="12"/>
                  </a:cubicBezTo>
                  <a:cubicBezTo>
                    <a:pt x="22" y="12"/>
                    <a:pt x="22" y="12"/>
                    <a:pt x="22" y="12"/>
                  </a:cubicBezTo>
                  <a:cubicBezTo>
                    <a:pt x="17" y="15"/>
                    <a:pt x="17" y="15"/>
                    <a:pt x="17" y="15"/>
                  </a:cubicBezTo>
                  <a:cubicBezTo>
                    <a:pt x="14" y="15"/>
                    <a:pt x="14" y="15"/>
                    <a:pt x="14" y="15"/>
                  </a:cubicBezTo>
                  <a:cubicBezTo>
                    <a:pt x="13" y="13"/>
                    <a:pt x="13" y="13"/>
                    <a:pt x="13" y="13"/>
                  </a:cubicBezTo>
                  <a:cubicBezTo>
                    <a:pt x="11" y="9"/>
                    <a:pt x="11" y="9"/>
                    <a:pt x="11" y="9"/>
                  </a:cubicBezTo>
                  <a:cubicBezTo>
                    <a:pt x="11" y="11"/>
                    <a:pt x="11" y="11"/>
                    <a:pt x="11" y="11"/>
                  </a:cubicBezTo>
                  <a:cubicBezTo>
                    <a:pt x="11" y="9"/>
                    <a:pt x="11" y="9"/>
                    <a:pt x="11" y="9"/>
                  </a:cubicBezTo>
                  <a:cubicBezTo>
                    <a:pt x="9" y="23"/>
                    <a:pt x="9" y="23"/>
                    <a:pt x="9" y="23"/>
                  </a:cubicBezTo>
                  <a:cubicBezTo>
                    <a:pt x="6" y="24"/>
                    <a:pt x="6" y="24"/>
                    <a:pt x="6" y="24"/>
                  </a:cubicBezTo>
                  <a:cubicBezTo>
                    <a:pt x="1" y="22"/>
                    <a:pt x="1" y="22"/>
                    <a:pt x="1" y="22"/>
                  </a:cubicBezTo>
                  <a:cubicBezTo>
                    <a:pt x="0" y="24"/>
                    <a:pt x="0" y="24"/>
                    <a:pt x="0" y="24"/>
                  </a:cubicBezTo>
                  <a:cubicBezTo>
                    <a:pt x="2" y="27"/>
                    <a:pt x="2" y="27"/>
                    <a:pt x="2" y="27"/>
                  </a:cubicBezTo>
                  <a:cubicBezTo>
                    <a:pt x="5" y="35"/>
                    <a:pt x="5" y="35"/>
                    <a:pt x="5" y="35"/>
                  </a:cubicBezTo>
                  <a:cubicBezTo>
                    <a:pt x="5" y="39"/>
                    <a:pt x="5" y="39"/>
                    <a:pt x="5" y="39"/>
                  </a:cubicBezTo>
                  <a:cubicBezTo>
                    <a:pt x="9" y="45"/>
                    <a:pt x="9" y="45"/>
                    <a:pt x="9" y="45"/>
                  </a:cubicBezTo>
                  <a:cubicBezTo>
                    <a:pt x="17" y="43"/>
                    <a:pt x="17" y="43"/>
                    <a:pt x="17" y="43"/>
                  </a:cubicBezTo>
                  <a:cubicBezTo>
                    <a:pt x="25" y="42"/>
                    <a:pt x="25" y="42"/>
                    <a:pt x="25" y="42"/>
                  </a:cubicBezTo>
                  <a:cubicBezTo>
                    <a:pt x="32" y="41"/>
                    <a:pt x="32" y="41"/>
                    <a:pt x="32" y="41"/>
                  </a:cubicBezTo>
                  <a:cubicBezTo>
                    <a:pt x="47" y="25"/>
                    <a:pt x="47" y="25"/>
                    <a:pt x="47" y="25"/>
                  </a:cubicBezTo>
                  <a:cubicBezTo>
                    <a:pt x="47" y="25"/>
                    <a:pt x="50" y="19"/>
                    <a:pt x="51" y="16"/>
                  </a:cubicBezTo>
                  <a:cubicBezTo>
                    <a:pt x="51" y="16"/>
                    <a:pt x="51" y="16"/>
                    <a:pt x="51" y="16"/>
                  </a:cubicBezTo>
                  <a:cubicBezTo>
                    <a:pt x="49" y="16"/>
                    <a:pt x="49" y="16"/>
                    <a:pt x="49" y="16"/>
                  </a:cubicBezTo>
                  <a:lnTo>
                    <a:pt x="48" y="1"/>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96" name="Freeform 373"/>
            <p:cNvSpPr>
              <a:spLocks/>
            </p:cNvSpPr>
            <p:nvPr/>
          </p:nvSpPr>
          <p:spPr bwMode="auto">
            <a:xfrm>
              <a:off x="6644018" y="4542728"/>
              <a:ext cx="227472" cy="230611"/>
            </a:xfrm>
            <a:custGeom>
              <a:avLst/>
              <a:gdLst>
                <a:gd name="T0" fmla="*/ 189230 w 180"/>
                <a:gd name="T1" fmla="*/ 70485 h 180"/>
                <a:gd name="T2" fmla="*/ 173460 w 180"/>
                <a:gd name="T3" fmla="*/ 70485 h 180"/>
                <a:gd name="T4" fmla="*/ 149807 w 180"/>
                <a:gd name="T5" fmla="*/ 39158 h 180"/>
                <a:gd name="T6" fmla="*/ 134038 w 180"/>
                <a:gd name="T7" fmla="*/ 7832 h 180"/>
                <a:gd name="T8" fmla="*/ 126153 w 180"/>
                <a:gd name="T9" fmla="*/ 7832 h 180"/>
                <a:gd name="T10" fmla="*/ 110384 w 180"/>
                <a:gd name="T11" fmla="*/ 15663 h 180"/>
                <a:gd name="T12" fmla="*/ 126153 w 180"/>
                <a:gd name="T13" fmla="*/ 7832 h 180"/>
                <a:gd name="T14" fmla="*/ 110384 w 180"/>
                <a:gd name="T15" fmla="*/ 0 h 180"/>
                <a:gd name="T16" fmla="*/ 86730 w 180"/>
                <a:gd name="T17" fmla="*/ 7832 h 180"/>
                <a:gd name="T18" fmla="*/ 23654 w 180"/>
                <a:gd name="T19" fmla="*/ 23495 h 180"/>
                <a:gd name="T20" fmla="*/ 15769 w 180"/>
                <a:gd name="T21" fmla="*/ 109643 h 180"/>
                <a:gd name="T22" fmla="*/ 0 w 180"/>
                <a:gd name="T23" fmla="*/ 117475 h 180"/>
                <a:gd name="T24" fmla="*/ 0 w 180"/>
                <a:gd name="T25" fmla="*/ 187960 h 180"/>
                <a:gd name="T26" fmla="*/ 15769 w 180"/>
                <a:gd name="T27" fmla="*/ 219287 h 180"/>
                <a:gd name="T28" fmla="*/ 23654 w 180"/>
                <a:gd name="T29" fmla="*/ 234950 h 180"/>
                <a:gd name="T30" fmla="*/ 47307 w 180"/>
                <a:gd name="T31" fmla="*/ 234950 h 180"/>
                <a:gd name="T32" fmla="*/ 86730 w 180"/>
                <a:gd name="T33" fmla="*/ 211455 h 180"/>
                <a:gd name="T34" fmla="*/ 118269 w 180"/>
                <a:gd name="T35" fmla="*/ 211455 h 180"/>
                <a:gd name="T36" fmla="*/ 181345 w 180"/>
                <a:gd name="T37" fmla="*/ 156633 h 180"/>
                <a:gd name="T38" fmla="*/ 236537 w 180"/>
                <a:gd name="T39" fmla="*/ 117475 h 180"/>
                <a:gd name="T40" fmla="*/ 197114 w 180"/>
                <a:gd name="T41" fmla="*/ 101812 h 180"/>
                <a:gd name="T42" fmla="*/ 189230 w 180"/>
                <a:gd name="T43" fmla="*/ 70485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80"/>
                <a:gd name="T67" fmla="*/ 0 h 180"/>
                <a:gd name="T68" fmla="*/ 180 w 180"/>
                <a:gd name="T69" fmla="*/ 180 h 18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80" h="180">
                  <a:moveTo>
                    <a:pt x="144" y="54"/>
                  </a:moveTo>
                  <a:lnTo>
                    <a:pt x="132" y="54"/>
                  </a:lnTo>
                  <a:lnTo>
                    <a:pt x="114" y="30"/>
                  </a:lnTo>
                  <a:lnTo>
                    <a:pt x="102" y="6"/>
                  </a:lnTo>
                  <a:lnTo>
                    <a:pt x="96" y="6"/>
                  </a:lnTo>
                  <a:lnTo>
                    <a:pt x="84" y="12"/>
                  </a:lnTo>
                  <a:lnTo>
                    <a:pt x="96" y="6"/>
                  </a:lnTo>
                  <a:lnTo>
                    <a:pt x="84" y="0"/>
                  </a:lnTo>
                  <a:lnTo>
                    <a:pt x="66" y="6"/>
                  </a:lnTo>
                  <a:lnTo>
                    <a:pt x="18" y="18"/>
                  </a:lnTo>
                  <a:lnTo>
                    <a:pt x="12" y="84"/>
                  </a:lnTo>
                  <a:lnTo>
                    <a:pt x="0" y="90"/>
                  </a:lnTo>
                  <a:lnTo>
                    <a:pt x="0" y="144"/>
                  </a:lnTo>
                  <a:lnTo>
                    <a:pt x="12" y="168"/>
                  </a:lnTo>
                  <a:lnTo>
                    <a:pt x="18" y="180"/>
                  </a:lnTo>
                  <a:lnTo>
                    <a:pt x="36" y="180"/>
                  </a:lnTo>
                  <a:lnTo>
                    <a:pt x="66" y="162"/>
                  </a:lnTo>
                  <a:lnTo>
                    <a:pt x="90" y="162"/>
                  </a:lnTo>
                  <a:lnTo>
                    <a:pt x="138" y="120"/>
                  </a:lnTo>
                  <a:lnTo>
                    <a:pt x="180" y="90"/>
                  </a:lnTo>
                  <a:lnTo>
                    <a:pt x="150" y="78"/>
                  </a:lnTo>
                  <a:lnTo>
                    <a:pt x="144" y="54"/>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97" name="Freeform 374"/>
            <p:cNvSpPr>
              <a:spLocks/>
            </p:cNvSpPr>
            <p:nvPr/>
          </p:nvSpPr>
          <p:spPr bwMode="auto">
            <a:xfrm>
              <a:off x="6877600" y="4365096"/>
              <a:ext cx="258005" cy="414475"/>
            </a:xfrm>
            <a:custGeom>
              <a:avLst/>
              <a:gdLst>
                <a:gd name="T0" fmla="*/ 173598 w 34"/>
                <a:gd name="T1" fmla="*/ 15640 h 54"/>
                <a:gd name="T2" fmla="*/ 134144 w 34"/>
                <a:gd name="T3" fmla="*/ 23460 h 54"/>
                <a:gd name="T4" fmla="*/ 134144 w 34"/>
                <a:gd name="T5" fmla="*/ 31280 h 54"/>
                <a:gd name="T6" fmla="*/ 134144 w 34"/>
                <a:gd name="T7" fmla="*/ 23460 h 54"/>
                <a:gd name="T8" fmla="*/ 126253 w 34"/>
                <a:gd name="T9" fmla="*/ 23460 h 54"/>
                <a:gd name="T10" fmla="*/ 126253 w 34"/>
                <a:gd name="T11" fmla="*/ 62559 h 54"/>
                <a:gd name="T12" fmla="*/ 149926 w 34"/>
                <a:gd name="T13" fmla="*/ 101659 h 54"/>
                <a:gd name="T14" fmla="*/ 149926 w 34"/>
                <a:gd name="T15" fmla="*/ 125119 h 54"/>
                <a:gd name="T16" fmla="*/ 126253 w 34"/>
                <a:gd name="T17" fmla="*/ 140758 h 54"/>
                <a:gd name="T18" fmla="*/ 118362 w 34"/>
                <a:gd name="T19" fmla="*/ 125119 h 54"/>
                <a:gd name="T20" fmla="*/ 102581 w 34"/>
                <a:gd name="T21" fmla="*/ 101659 h 54"/>
                <a:gd name="T22" fmla="*/ 71017 w 34"/>
                <a:gd name="T23" fmla="*/ 86019 h 54"/>
                <a:gd name="T24" fmla="*/ 0 w 34"/>
                <a:gd name="T25" fmla="*/ 117299 h 54"/>
                <a:gd name="T26" fmla="*/ 0 w 34"/>
                <a:gd name="T27" fmla="*/ 125119 h 54"/>
                <a:gd name="T28" fmla="*/ 7891 w 34"/>
                <a:gd name="T29" fmla="*/ 125119 h 54"/>
                <a:gd name="T30" fmla="*/ 15782 w 34"/>
                <a:gd name="T31" fmla="*/ 117299 h 54"/>
                <a:gd name="T32" fmla="*/ 7891 w 34"/>
                <a:gd name="T33" fmla="*/ 125119 h 54"/>
                <a:gd name="T34" fmla="*/ 71017 w 34"/>
                <a:gd name="T35" fmla="*/ 148578 h 54"/>
                <a:gd name="T36" fmla="*/ 71017 w 34"/>
                <a:gd name="T37" fmla="*/ 179858 h 54"/>
                <a:gd name="T38" fmla="*/ 71017 w 34"/>
                <a:gd name="T39" fmla="*/ 218957 h 54"/>
                <a:gd name="T40" fmla="*/ 55236 w 34"/>
                <a:gd name="T41" fmla="*/ 281517 h 54"/>
                <a:gd name="T42" fmla="*/ 39454 w 34"/>
                <a:gd name="T43" fmla="*/ 304976 h 54"/>
                <a:gd name="T44" fmla="*/ 47345 w 34"/>
                <a:gd name="T45" fmla="*/ 304976 h 54"/>
                <a:gd name="T46" fmla="*/ 55236 w 34"/>
                <a:gd name="T47" fmla="*/ 422275 h 54"/>
                <a:gd name="T48" fmla="*/ 71017 w 34"/>
                <a:gd name="T49" fmla="*/ 422275 h 54"/>
                <a:gd name="T50" fmla="*/ 71017 w 34"/>
                <a:gd name="T51" fmla="*/ 398815 h 54"/>
                <a:gd name="T52" fmla="*/ 126253 w 34"/>
                <a:gd name="T53" fmla="*/ 351896 h 54"/>
                <a:gd name="T54" fmla="*/ 142035 w 34"/>
                <a:gd name="T55" fmla="*/ 312796 h 54"/>
                <a:gd name="T56" fmla="*/ 126253 w 34"/>
                <a:gd name="T57" fmla="*/ 242417 h 54"/>
                <a:gd name="T58" fmla="*/ 165707 w 34"/>
                <a:gd name="T59" fmla="*/ 195498 h 54"/>
                <a:gd name="T60" fmla="*/ 236725 w 34"/>
                <a:gd name="T61" fmla="*/ 156398 h 54"/>
                <a:gd name="T62" fmla="*/ 260397 w 34"/>
                <a:gd name="T63" fmla="*/ 125119 h 54"/>
                <a:gd name="T64" fmla="*/ 268288 w 34"/>
                <a:gd name="T65" fmla="*/ 86019 h 54"/>
                <a:gd name="T66" fmla="*/ 260397 w 34"/>
                <a:gd name="T67" fmla="*/ 31280 h 54"/>
                <a:gd name="T68" fmla="*/ 260397 w 34"/>
                <a:gd name="T69" fmla="*/ 0 h 54"/>
                <a:gd name="T70" fmla="*/ 260397 w 34"/>
                <a:gd name="T71" fmla="*/ 0 h 54"/>
                <a:gd name="T72" fmla="*/ 236725 w 34"/>
                <a:gd name="T73" fmla="*/ 7820 h 54"/>
                <a:gd name="T74" fmla="*/ 173598 w 34"/>
                <a:gd name="T75" fmla="*/ 15640 h 5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
                <a:gd name="T115" fmla="*/ 0 h 54"/>
                <a:gd name="T116" fmla="*/ 34 w 34"/>
                <a:gd name="T117" fmla="*/ 54 h 5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 h="54">
                  <a:moveTo>
                    <a:pt x="22" y="2"/>
                  </a:moveTo>
                  <a:cubicBezTo>
                    <a:pt x="17" y="3"/>
                    <a:pt x="17" y="3"/>
                    <a:pt x="17" y="3"/>
                  </a:cubicBezTo>
                  <a:cubicBezTo>
                    <a:pt x="17" y="4"/>
                    <a:pt x="17" y="4"/>
                    <a:pt x="17" y="4"/>
                  </a:cubicBezTo>
                  <a:cubicBezTo>
                    <a:pt x="17" y="3"/>
                    <a:pt x="17" y="3"/>
                    <a:pt x="17" y="3"/>
                  </a:cubicBezTo>
                  <a:cubicBezTo>
                    <a:pt x="16" y="3"/>
                    <a:pt x="16" y="3"/>
                    <a:pt x="16" y="3"/>
                  </a:cubicBezTo>
                  <a:cubicBezTo>
                    <a:pt x="16" y="8"/>
                    <a:pt x="16" y="8"/>
                    <a:pt x="16" y="8"/>
                  </a:cubicBezTo>
                  <a:cubicBezTo>
                    <a:pt x="19" y="13"/>
                    <a:pt x="19" y="13"/>
                    <a:pt x="19" y="13"/>
                  </a:cubicBezTo>
                  <a:cubicBezTo>
                    <a:pt x="19" y="16"/>
                    <a:pt x="19" y="16"/>
                    <a:pt x="19" y="16"/>
                  </a:cubicBezTo>
                  <a:cubicBezTo>
                    <a:pt x="16" y="18"/>
                    <a:pt x="16" y="18"/>
                    <a:pt x="16" y="18"/>
                  </a:cubicBezTo>
                  <a:cubicBezTo>
                    <a:pt x="15" y="16"/>
                    <a:pt x="15" y="16"/>
                    <a:pt x="15" y="16"/>
                  </a:cubicBezTo>
                  <a:cubicBezTo>
                    <a:pt x="13" y="13"/>
                    <a:pt x="13" y="13"/>
                    <a:pt x="13" y="13"/>
                  </a:cubicBezTo>
                  <a:cubicBezTo>
                    <a:pt x="9" y="11"/>
                    <a:pt x="9" y="11"/>
                    <a:pt x="9" y="11"/>
                  </a:cubicBezTo>
                  <a:cubicBezTo>
                    <a:pt x="0" y="15"/>
                    <a:pt x="0" y="15"/>
                    <a:pt x="0" y="15"/>
                  </a:cubicBezTo>
                  <a:cubicBezTo>
                    <a:pt x="0" y="16"/>
                    <a:pt x="0" y="16"/>
                    <a:pt x="0" y="16"/>
                  </a:cubicBezTo>
                  <a:cubicBezTo>
                    <a:pt x="1" y="16"/>
                    <a:pt x="1" y="16"/>
                    <a:pt x="1" y="16"/>
                  </a:cubicBezTo>
                  <a:cubicBezTo>
                    <a:pt x="2" y="15"/>
                    <a:pt x="2" y="15"/>
                    <a:pt x="2" y="15"/>
                  </a:cubicBezTo>
                  <a:cubicBezTo>
                    <a:pt x="1" y="16"/>
                    <a:pt x="1" y="16"/>
                    <a:pt x="1" y="16"/>
                  </a:cubicBezTo>
                  <a:cubicBezTo>
                    <a:pt x="9" y="19"/>
                    <a:pt x="9" y="19"/>
                    <a:pt x="9" y="19"/>
                  </a:cubicBezTo>
                  <a:cubicBezTo>
                    <a:pt x="9" y="23"/>
                    <a:pt x="9" y="23"/>
                    <a:pt x="9" y="23"/>
                  </a:cubicBezTo>
                  <a:cubicBezTo>
                    <a:pt x="9" y="28"/>
                    <a:pt x="9" y="28"/>
                    <a:pt x="9" y="28"/>
                  </a:cubicBezTo>
                  <a:cubicBezTo>
                    <a:pt x="7" y="36"/>
                    <a:pt x="7" y="36"/>
                    <a:pt x="7" y="36"/>
                  </a:cubicBezTo>
                  <a:cubicBezTo>
                    <a:pt x="5" y="39"/>
                    <a:pt x="5" y="39"/>
                    <a:pt x="5" y="39"/>
                  </a:cubicBezTo>
                  <a:cubicBezTo>
                    <a:pt x="6" y="39"/>
                    <a:pt x="6" y="39"/>
                    <a:pt x="6" y="39"/>
                  </a:cubicBezTo>
                  <a:cubicBezTo>
                    <a:pt x="7" y="54"/>
                    <a:pt x="7" y="54"/>
                    <a:pt x="7" y="54"/>
                  </a:cubicBezTo>
                  <a:cubicBezTo>
                    <a:pt x="9" y="54"/>
                    <a:pt x="9" y="54"/>
                    <a:pt x="9" y="54"/>
                  </a:cubicBezTo>
                  <a:cubicBezTo>
                    <a:pt x="10" y="51"/>
                    <a:pt x="9" y="51"/>
                    <a:pt x="9" y="51"/>
                  </a:cubicBezTo>
                  <a:cubicBezTo>
                    <a:pt x="16" y="45"/>
                    <a:pt x="16" y="45"/>
                    <a:pt x="16" y="45"/>
                  </a:cubicBezTo>
                  <a:cubicBezTo>
                    <a:pt x="18" y="40"/>
                    <a:pt x="18" y="40"/>
                    <a:pt x="18" y="40"/>
                  </a:cubicBezTo>
                  <a:cubicBezTo>
                    <a:pt x="16" y="31"/>
                    <a:pt x="16" y="31"/>
                    <a:pt x="16" y="31"/>
                  </a:cubicBezTo>
                  <a:cubicBezTo>
                    <a:pt x="21" y="25"/>
                    <a:pt x="21" y="25"/>
                    <a:pt x="21" y="25"/>
                  </a:cubicBezTo>
                  <a:cubicBezTo>
                    <a:pt x="30" y="20"/>
                    <a:pt x="30" y="20"/>
                    <a:pt x="30" y="20"/>
                  </a:cubicBezTo>
                  <a:cubicBezTo>
                    <a:pt x="33" y="16"/>
                    <a:pt x="33" y="16"/>
                    <a:pt x="33" y="16"/>
                  </a:cubicBezTo>
                  <a:cubicBezTo>
                    <a:pt x="34" y="11"/>
                    <a:pt x="34" y="11"/>
                    <a:pt x="34" y="11"/>
                  </a:cubicBezTo>
                  <a:cubicBezTo>
                    <a:pt x="33" y="4"/>
                    <a:pt x="33" y="4"/>
                    <a:pt x="33" y="4"/>
                  </a:cubicBezTo>
                  <a:cubicBezTo>
                    <a:pt x="33" y="0"/>
                    <a:pt x="33" y="0"/>
                    <a:pt x="33" y="0"/>
                  </a:cubicBezTo>
                  <a:cubicBezTo>
                    <a:pt x="33" y="0"/>
                    <a:pt x="33" y="0"/>
                    <a:pt x="33" y="0"/>
                  </a:cubicBezTo>
                  <a:cubicBezTo>
                    <a:pt x="30" y="1"/>
                    <a:pt x="30" y="1"/>
                    <a:pt x="30" y="1"/>
                  </a:cubicBezTo>
                  <a:lnTo>
                    <a:pt x="22" y="2"/>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98" name="Freeform 375"/>
            <p:cNvSpPr>
              <a:spLocks/>
            </p:cNvSpPr>
            <p:nvPr/>
          </p:nvSpPr>
          <p:spPr bwMode="auto">
            <a:xfrm>
              <a:off x="6877608" y="4128205"/>
              <a:ext cx="250371" cy="260216"/>
            </a:xfrm>
            <a:custGeom>
              <a:avLst/>
              <a:gdLst>
                <a:gd name="T0" fmla="*/ 197235 w 33"/>
                <a:gd name="T1" fmla="*/ 46785 h 34"/>
                <a:gd name="T2" fmla="*/ 110451 w 33"/>
                <a:gd name="T3" fmla="*/ 7797 h 34"/>
                <a:gd name="T4" fmla="*/ 110451 w 33"/>
                <a:gd name="T5" fmla="*/ 7797 h 34"/>
                <a:gd name="T6" fmla="*/ 110451 w 33"/>
                <a:gd name="T7" fmla="*/ 7797 h 34"/>
                <a:gd name="T8" fmla="*/ 102562 w 33"/>
                <a:gd name="T9" fmla="*/ 0 h 34"/>
                <a:gd name="T10" fmla="*/ 94673 w 33"/>
                <a:gd name="T11" fmla="*/ 15595 h 34"/>
                <a:gd name="T12" fmla="*/ 94673 w 33"/>
                <a:gd name="T13" fmla="*/ 38987 h 34"/>
                <a:gd name="T14" fmla="*/ 63115 w 33"/>
                <a:gd name="T15" fmla="*/ 38987 h 34"/>
                <a:gd name="T16" fmla="*/ 47336 w 33"/>
                <a:gd name="T17" fmla="*/ 7797 h 34"/>
                <a:gd name="T18" fmla="*/ 7889 w 33"/>
                <a:gd name="T19" fmla="*/ 7797 h 34"/>
                <a:gd name="T20" fmla="*/ 15779 w 33"/>
                <a:gd name="T21" fmla="*/ 62380 h 34"/>
                <a:gd name="T22" fmla="*/ 0 w 33"/>
                <a:gd name="T23" fmla="*/ 85772 h 34"/>
                <a:gd name="T24" fmla="*/ 15779 w 33"/>
                <a:gd name="T25" fmla="*/ 148151 h 34"/>
                <a:gd name="T26" fmla="*/ 31558 w 33"/>
                <a:gd name="T27" fmla="*/ 187139 h 34"/>
                <a:gd name="T28" fmla="*/ 71005 w 33"/>
                <a:gd name="T29" fmla="*/ 202733 h 34"/>
                <a:gd name="T30" fmla="*/ 110451 w 33"/>
                <a:gd name="T31" fmla="*/ 210531 h 34"/>
                <a:gd name="T32" fmla="*/ 118341 w 33"/>
                <a:gd name="T33" fmla="*/ 226126 h 34"/>
                <a:gd name="T34" fmla="*/ 134120 w 33"/>
                <a:gd name="T35" fmla="*/ 265113 h 34"/>
                <a:gd name="T36" fmla="*/ 173567 w 33"/>
                <a:gd name="T37" fmla="*/ 257316 h 34"/>
                <a:gd name="T38" fmla="*/ 236682 w 33"/>
                <a:gd name="T39" fmla="*/ 249518 h 34"/>
                <a:gd name="T40" fmla="*/ 260350 w 33"/>
                <a:gd name="T41" fmla="*/ 241721 h 34"/>
                <a:gd name="T42" fmla="*/ 244571 w 33"/>
                <a:gd name="T43" fmla="*/ 218328 h 34"/>
                <a:gd name="T44" fmla="*/ 236682 w 33"/>
                <a:gd name="T45" fmla="*/ 148151 h 34"/>
                <a:gd name="T46" fmla="*/ 220903 w 33"/>
                <a:gd name="T47" fmla="*/ 109164 h 34"/>
                <a:gd name="T48" fmla="*/ 236682 w 33"/>
                <a:gd name="T49" fmla="*/ 93569 h 34"/>
                <a:gd name="T50" fmla="*/ 197235 w 33"/>
                <a:gd name="T51" fmla="*/ 70177 h 34"/>
                <a:gd name="T52" fmla="*/ 197235 w 33"/>
                <a:gd name="T53" fmla="*/ 46785 h 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3"/>
                <a:gd name="T82" fmla="*/ 0 h 34"/>
                <a:gd name="T83" fmla="*/ 33 w 33"/>
                <a:gd name="T84" fmla="*/ 34 h 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3" h="34">
                  <a:moveTo>
                    <a:pt x="25" y="6"/>
                  </a:moveTo>
                  <a:cubicBezTo>
                    <a:pt x="14" y="1"/>
                    <a:pt x="14" y="1"/>
                    <a:pt x="14" y="1"/>
                  </a:cubicBezTo>
                  <a:cubicBezTo>
                    <a:pt x="14" y="1"/>
                    <a:pt x="14" y="1"/>
                    <a:pt x="14" y="1"/>
                  </a:cubicBezTo>
                  <a:cubicBezTo>
                    <a:pt x="14" y="1"/>
                    <a:pt x="14" y="1"/>
                    <a:pt x="14" y="1"/>
                  </a:cubicBezTo>
                  <a:cubicBezTo>
                    <a:pt x="13" y="0"/>
                    <a:pt x="13" y="0"/>
                    <a:pt x="13" y="0"/>
                  </a:cubicBezTo>
                  <a:cubicBezTo>
                    <a:pt x="12" y="2"/>
                    <a:pt x="12" y="2"/>
                    <a:pt x="12" y="2"/>
                  </a:cubicBezTo>
                  <a:cubicBezTo>
                    <a:pt x="12" y="5"/>
                    <a:pt x="12" y="5"/>
                    <a:pt x="12" y="5"/>
                  </a:cubicBezTo>
                  <a:cubicBezTo>
                    <a:pt x="8" y="5"/>
                    <a:pt x="8" y="5"/>
                    <a:pt x="8" y="5"/>
                  </a:cubicBezTo>
                  <a:cubicBezTo>
                    <a:pt x="6" y="1"/>
                    <a:pt x="6" y="1"/>
                    <a:pt x="6" y="1"/>
                  </a:cubicBezTo>
                  <a:cubicBezTo>
                    <a:pt x="1" y="1"/>
                    <a:pt x="1" y="1"/>
                    <a:pt x="1" y="1"/>
                  </a:cubicBezTo>
                  <a:cubicBezTo>
                    <a:pt x="2" y="8"/>
                    <a:pt x="2" y="8"/>
                    <a:pt x="2" y="8"/>
                  </a:cubicBezTo>
                  <a:cubicBezTo>
                    <a:pt x="0" y="11"/>
                    <a:pt x="0" y="11"/>
                    <a:pt x="0" y="11"/>
                  </a:cubicBezTo>
                  <a:cubicBezTo>
                    <a:pt x="2" y="19"/>
                    <a:pt x="2" y="19"/>
                    <a:pt x="2" y="19"/>
                  </a:cubicBezTo>
                  <a:cubicBezTo>
                    <a:pt x="4" y="24"/>
                    <a:pt x="4" y="24"/>
                    <a:pt x="4" y="24"/>
                  </a:cubicBezTo>
                  <a:cubicBezTo>
                    <a:pt x="4" y="24"/>
                    <a:pt x="8" y="26"/>
                    <a:pt x="9" y="26"/>
                  </a:cubicBezTo>
                  <a:cubicBezTo>
                    <a:pt x="9" y="26"/>
                    <a:pt x="14" y="27"/>
                    <a:pt x="14" y="27"/>
                  </a:cubicBezTo>
                  <a:cubicBezTo>
                    <a:pt x="15" y="29"/>
                    <a:pt x="15" y="29"/>
                    <a:pt x="15" y="29"/>
                  </a:cubicBezTo>
                  <a:cubicBezTo>
                    <a:pt x="17" y="34"/>
                    <a:pt x="17" y="34"/>
                    <a:pt x="17" y="34"/>
                  </a:cubicBezTo>
                  <a:cubicBezTo>
                    <a:pt x="22" y="33"/>
                    <a:pt x="22" y="33"/>
                    <a:pt x="22" y="33"/>
                  </a:cubicBezTo>
                  <a:cubicBezTo>
                    <a:pt x="30" y="32"/>
                    <a:pt x="30" y="32"/>
                    <a:pt x="30" y="32"/>
                  </a:cubicBezTo>
                  <a:cubicBezTo>
                    <a:pt x="33" y="31"/>
                    <a:pt x="33" y="31"/>
                    <a:pt x="33" y="31"/>
                  </a:cubicBezTo>
                  <a:cubicBezTo>
                    <a:pt x="31" y="28"/>
                    <a:pt x="31" y="28"/>
                    <a:pt x="31" y="28"/>
                  </a:cubicBezTo>
                  <a:cubicBezTo>
                    <a:pt x="30" y="19"/>
                    <a:pt x="30" y="19"/>
                    <a:pt x="30" y="19"/>
                  </a:cubicBezTo>
                  <a:cubicBezTo>
                    <a:pt x="30" y="19"/>
                    <a:pt x="28" y="15"/>
                    <a:pt x="28" y="14"/>
                  </a:cubicBezTo>
                  <a:cubicBezTo>
                    <a:pt x="28" y="13"/>
                    <a:pt x="29" y="12"/>
                    <a:pt x="30" y="12"/>
                  </a:cubicBezTo>
                  <a:cubicBezTo>
                    <a:pt x="25" y="9"/>
                    <a:pt x="25" y="9"/>
                    <a:pt x="25" y="9"/>
                  </a:cubicBezTo>
                  <a:lnTo>
                    <a:pt x="25" y="6"/>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199" name="Freeform 376"/>
            <p:cNvSpPr>
              <a:spLocks/>
            </p:cNvSpPr>
            <p:nvPr/>
          </p:nvSpPr>
          <p:spPr bwMode="auto">
            <a:xfrm>
              <a:off x="6454724" y="4249743"/>
              <a:ext cx="287011" cy="292936"/>
            </a:xfrm>
            <a:custGeom>
              <a:avLst/>
              <a:gdLst>
                <a:gd name="T0" fmla="*/ 31416 w 38"/>
                <a:gd name="T1" fmla="*/ 290596 h 38"/>
                <a:gd name="T2" fmla="*/ 141371 w 38"/>
                <a:gd name="T3" fmla="*/ 290596 h 38"/>
                <a:gd name="T4" fmla="*/ 157079 w 38"/>
                <a:gd name="T5" fmla="*/ 298450 h 38"/>
                <a:gd name="T6" fmla="*/ 219910 w 38"/>
                <a:gd name="T7" fmla="*/ 298450 h 38"/>
                <a:gd name="T8" fmla="*/ 267034 w 38"/>
                <a:gd name="T9" fmla="*/ 290596 h 38"/>
                <a:gd name="T10" fmla="*/ 251326 w 38"/>
                <a:gd name="T11" fmla="*/ 259180 h 38"/>
                <a:gd name="T12" fmla="*/ 251326 w 38"/>
                <a:gd name="T13" fmla="*/ 172787 h 38"/>
                <a:gd name="T14" fmla="*/ 298450 w 38"/>
                <a:gd name="T15" fmla="*/ 164933 h 38"/>
                <a:gd name="T16" fmla="*/ 298450 w 38"/>
                <a:gd name="T17" fmla="*/ 133517 h 38"/>
                <a:gd name="T18" fmla="*/ 290596 w 38"/>
                <a:gd name="T19" fmla="*/ 133517 h 38"/>
                <a:gd name="T20" fmla="*/ 298450 w 38"/>
                <a:gd name="T21" fmla="*/ 133517 h 38"/>
                <a:gd name="T22" fmla="*/ 251326 w 38"/>
                <a:gd name="T23" fmla="*/ 125663 h 38"/>
                <a:gd name="T24" fmla="*/ 235618 w 38"/>
                <a:gd name="T25" fmla="*/ 31416 h 38"/>
                <a:gd name="T26" fmla="*/ 188495 w 38"/>
                <a:gd name="T27" fmla="*/ 31416 h 38"/>
                <a:gd name="T28" fmla="*/ 164933 w 38"/>
                <a:gd name="T29" fmla="*/ 47124 h 38"/>
                <a:gd name="T30" fmla="*/ 141371 w 38"/>
                <a:gd name="T31" fmla="*/ 47124 h 38"/>
                <a:gd name="T32" fmla="*/ 94247 w 38"/>
                <a:gd name="T33" fmla="*/ 0 h 38"/>
                <a:gd name="T34" fmla="*/ 31416 w 38"/>
                <a:gd name="T35" fmla="*/ 0 h 38"/>
                <a:gd name="T36" fmla="*/ 7854 w 38"/>
                <a:gd name="T37" fmla="*/ 15708 h 38"/>
                <a:gd name="T38" fmla="*/ 23562 w 38"/>
                <a:gd name="T39" fmla="*/ 117809 h 38"/>
                <a:gd name="T40" fmla="*/ 31416 w 38"/>
                <a:gd name="T41" fmla="*/ 164933 h 38"/>
                <a:gd name="T42" fmla="*/ 0 w 38"/>
                <a:gd name="T43" fmla="*/ 219910 h 38"/>
                <a:gd name="T44" fmla="*/ 0 w 38"/>
                <a:gd name="T45" fmla="*/ 282742 h 38"/>
                <a:gd name="T46" fmla="*/ 15708 w 38"/>
                <a:gd name="T47" fmla="*/ 274888 h 38"/>
                <a:gd name="T48" fmla="*/ 31416 w 38"/>
                <a:gd name="T49" fmla="*/ 290596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8"/>
                <a:gd name="T76" fmla="*/ 0 h 38"/>
                <a:gd name="T77" fmla="*/ 38 w 38"/>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8" h="38">
                  <a:moveTo>
                    <a:pt x="4" y="37"/>
                  </a:moveTo>
                  <a:cubicBezTo>
                    <a:pt x="18" y="37"/>
                    <a:pt x="18" y="37"/>
                    <a:pt x="18" y="37"/>
                  </a:cubicBezTo>
                  <a:cubicBezTo>
                    <a:pt x="20" y="38"/>
                    <a:pt x="20" y="38"/>
                    <a:pt x="20" y="38"/>
                  </a:cubicBezTo>
                  <a:cubicBezTo>
                    <a:pt x="28" y="38"/>
                    <a:pt x="28" y="38"/>
                    <a:pt x="28" y="38"/>
                  </a:cubicBezTo>
                  <a:cubicBezTo>
                    <a:pt x="34" y="37"/>
                    <a:pt x="34" y="37"/>
                    <a:pt x="34" y="37"/>
                  </a:cubicBezTo>
                  <a:cubicBezTo>
                    <a:pt x="32" y="33"/>
                    <a:pt x="32" y="33"/>
                    <a:pt x="32" y="33"/>
                  </a:cubicBezTo>
                  <a:cubicBezTo>
                    <a:pt x="32" y="22"/>
                    <a:pt x="32" y="22"/>
                    <a:pt x="32" y="22"/>
                  </a:cubicBezTo>
                  <a:cubicBezTo>
                    <a:pt x="38" y="21"/>
                    <a:pt x="38" y="21"/>
                    <a:pt x="38" y="21"/>
                  </a:cubicBezTo>
                  <a:cubicBezTo>
                    <a:pt x="38" y="17"/>
                    <a:pt x="38" y="17"/>
                    <a:pt x="38" y="17"/>
                  </a:cubicBezTo>
                  <a:cubicBezTo>
                    <a:pt x="37" y="17"/>
                    <a:pt x="37" y="17"/>
                    <a:pt x="37" y="17"/>
                  </a:cubicBezTo>
                  <a:cubicBezTo>
                    <a:pt x="38" y="17"/>
                    <a:pt x="38" y="17"/>
                    <a:pt x="38" y="17"/>
                  </a:cubicBezTo>
                  <a:cubicBezTo>
                    <a:pt x="32" y="16"/>
                    <a:pt x="32" y="16"/>
                    <a:pt x="32" y="16"/>
                  </a:cubicBezTo>
                  <a:cubicBezTo>
                    <a:pt x="30" y="4"/>
                    <a:pt x="30" y="4"/>
                    <a:pt x="30" y="4"/>
                  </a:cubicBezTo>
                  <a:cubicBezTo>
                    <a:pt x="30" y="4"/>
                    <a:pt x="25" y="4"/>
                    <a:pt x="24" y="4"/>
                  </a:cubicBezTo>
                  <a:cubicBezTo>
                    <a:pt x="24" y="4"/>
                    <a:pt x="22" y="6"/>
                    <a:pt x="21" y="6"/>
                  </a:cubicBezTo>
                  <a:cubicBezTo>
                    <a:pt x="20" y="7"/>
                    <a:pt x="19" y="6"/>
                    <a:pt x="18" y="6"/>
                  </a:cubicBezTo>
                  <a:cubicBezTo>
                    <a:pt x="17" y="6"/>
                    <a:pt x="13" y="0"/>
                    <a:pt x="12" y="0"/>
                  </a:cubicBezTo>
                  <a:cubicBezTo>
                    <a:pt x="11" y="0"/>
                    <a:pt x="4" y="0"/>
                    <a:pt x="4" y="0"/>
                  </a:cubicBezTo>
                  <a:cubicBezTo>
                    <a:pt x="1" y="2"/>
                    <a:pt x="1" y="2"/>
                    <a:pt x="1" y="2"/>
                  </a:cubicBezTo>
                  <a:cubicBezTo>
                    <a:pt x="3" y="15"/>
                    <a:pt x="3" y="15"/>
                    <a:pt x="3" y="15"/>
                  </a:cubicBezTo>
                  <a:cubicBezTo>
                    <a:pt x="4" y="21"/>
                    <a:pt x="4" y="21"/>
                    <a:pt x="4" y="21"/>
                  </a:cubicBezTo>
                  <a:cubicBezTo>
                    <a:pt x="0" y="28"/>
                    <a:pt x="0" y="28"/>
                    <a:pt x="0" y="28"/>
                  </a:cubicBezTo>
                  <a:cubicBezTo>
                    <a:pt x="0" y="36"/>
                    <a:pt x="0" y="36"/>
                    <a:pt x="0" y="36"/>
                  </a:cubicBezTo>
                  <a:cubicBezTo>
                    <a:pt x="2" y="35"/>
                    <a:pt x="2" y="35"/>
                    <a:pt x="2" y="35"/>
                  </a:cubicBezTo>
                  <a:lnTo>
                    <a:pt x="4" y="37"/>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00" name="Freeform 377"/>
            <p:cNvSpPr>
              <a:spLocks/>
            </p:cNvSpPr>
            <p:nvPr/>
          </p:nvSpPr>
          <p:spPr bwMode="auto">
            <a:xfrm>
              <a:off x="6454717" y="3973971"/>
              <a:ext cx="445783" cy="451871"/>
            </a:xfrm>
            <a:custGeom>
              <a:avLst/>
              <a:gdLst>
                <a:gd name="T0" fmla="*/ 164992 w 59"/>
                <a:gd name="T1" fmla="*/ 46818 h 59"/>
                <a:gd name="T2" fmla="*/ 141422 w 59"/>
                <a:gd name="T3" fmla="*/ 140453 h 59"/>
                <a:gd name="T4" fmla="*/ 117852 w 59"/>
                <a:gd name="T5" fmla="*/ 163862 h 59"/>
                <a:gd name="T6" fmla="*/ 86425 w 59"/>
                <a:gd name="T7" fmla="*/ 226286 h 59"/>
                <a:gd name="T8" fmla="*/ 54997 w 59"/>
                <a:gd name="T9" fmla="*/ 249695 h 59"/>
                <a:gd name="T10" fmla="*/ 23570 w 59"/>
                <a:gd name="T11" fmla="*/ 249695 h 59"/>
                <a:gd name="T12" fmla="*/ 0 w 59"/>
                <a:gd name="T13" fmla="*/ 273104 h 59"/>
                <a:gd name="T14" fmla="*/ 7857 w 59"/>
                <a:gd name="T15" fmla="*/ 296513 h 59"/>
                <a:gd name="T16" fmla="*/ 7857 w 59"/>
                <a:gd name="T17" fmla="*/ 296513 h 59"/>
                <a:gd name="T18" fmla="*/ 31427 w 59"/>
                <a:gd name="T19" fmla="*/ 280907 h 59"/>
                <a:gd name="T20" fmla="*/ 94281 w 59"/>
                <a:gd name="T21" fmla="*/ 280907 h 59"/>
                <a:gd name="T22" fmla="*/ 141422 w 59"/>
                <a:gd name="T23" fmla="*/ 327725 h 59"/>
                <a:gd name="T24" fmla="*/ 164992 w 59"/>
                <a:gd name="T25" fmla="*/ 327725 h 59"/>
                <a:gd name="T26" fmla="*/ 188563 w 59"/>
                <a:gd name="T27" fmla="*/ 312119 h 59"/>
                <a:gd name="T28" fmla="*/ 235703 w 59"/>
                <a:gd name="T29" fmla="*/ 312119 h 59"/>
                <a:gd name="T30" fmla="*/ 251417 w 59"/>
                <a:gd name="T31" fmla="*/ 405754 h 59"/>
                <a:gd name="T32" fmla="*/ 298558 w 59"/>
                <a:gd name="T33" fmla="*/ 413557 h 59"/>
                <a:gd name="T34" fmla="*/ 337842 w 59"/>
                <a:gd name="T35" fmla="*/ 413557 h 59"/>
                <a:gd name="T36" fmla="*/ 384982 w 59"/>
                <a:gd name="T37" fmla="*/ 436966 h 59"/>
                <a:gd name="T38" fmla="*/ 432123 w 59"/>
                <a:gd name="T39" fmla="*/ 460375 h 59"/>
                <a:gd name="T40" fmla="*/ 432123 w 59"/>
                <a:gd name="T41" fmla="*/ 444769 h 59"/>
                <a:gd name="T42" fmla="*/ 408553 w 59"/>
                <a:gd name="T43" fmla="*/ 413557 h 59"/>
                <a:gd name="T44" fmla="*/ 416409 w 59"/>
                <a:gd name="T45" fmla="*/ 390148 h 59"/>
                <a:gd name="T46" fmla="*/ 424266 w 59"/>
                <a:gd name="T47" fmla="*/ 343331 h 59"/>
                <a:gd name="T48" fmla="*/ 447836 w 59"/>
                <a:gd name="T49" fmla="*/ 335528 h 59"/>
                <a:gd name="T50" fmla="*/ 432123 w 59"/>
                <a:gd name="T51" fmla="*/ 288710 h 59"/>
                <a:gd name="T52" fmla="*/ 424266 w 59"/>
                <a:gd name="T53" fmla="*/ 241892 h 59"/>
                <a:gd name="T54" fmla="*/ 416409 w 59"/>
                <a:gd name="T55" fmla="*/ 195074 h 59"/>
                <a:gd name="T56" fmla="*/ 432123 w 59"/>
                <a:gd name="T57" fmla="*/ 140453 h 59"/>
                <a:gd name="T58" fmla="*/ 463550 w 59"/>
                <a:gd name="T59" fmla="*/ 85833 h 59"/>
                <a:gd name="T60" fmla="*/ 463550 w 59"/>
                <a:gd name="T61" fmla="*/ 78030 h 59"/>
                <a:gd name="T62" fmla="*/ 463550 w 59"/>
                <a:gd name="T63" fmla="*/ 39015 h 59"/>
                <a:gd name="T64" fmla="*/ 439980 w 59"/>
                <a:gd name="T65" fmla="*/ 23409 h 59"/>
                <a:gd name="T66" fmla="*/ 400696 w 59"/>
                <a:gd name="T67" fmla="*/ 23409 h 59"/>
                <a:gd name="T68" fmla="*/ 384982 w 59"/>
                <a:gd name="T69" fmla="*/ 0 h 59"/>
                <a:gd name="T70" fmla="*/ 322128 w 59"/>
                <a:gd name="T71" fmla="*/ 7803 h 59"/>
                <a:gd name="T72" fmla="*/ 251417 w 59"/>
                <a:gd name="T73" fmla="*/ 23409 h 59"/>
                <a:gd name="T74" fmla="*/ 212133 w 59"/>
                <a:gd name="T75" fmla="*/ 7803 h 59"/>
                <a:gd name="T76" fmla="*/ 164992 w 59"/>
                <a:gd name="T77" fmla="*/ 15606 h 59"/>
                <a:gd name="T78" fmla="*/ 164992 w 59"/>
                <a:gd name="T79" fmla="*/ 46818 h 5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9"/>
                <a:gd name="T121" fmla="*/ 0 h 59"/>
                <a:gd name="T122" fmla="*/ 59 w 59"/>
                <a:gd name="T123" fmla="*/ 59 h 5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9" h="59">
                  <a:moveTo>
                    <a:pt x="21" y="6"/>
                  </a:moveTo>
                  <a:cubicBezTo>
                    <a:pt x="18" y="18"/>
                    <a:pt x="18" y="18"/>
                    <a:pt x="18" y="18"/>
                  </a:cubicBezTo>
                  <a:cubicBezTo>
                    <a:pt x="15" y="21"/>
                    <a:pt x="15" y="21"/>
                    <a:pt x="15" y="21"/>
                  </a:cubicBezTo>
                  <a:cubicBezTo>
                    <a:pt x="11" y="29"/>
                    <a:pt x="11" y="29"/>
                    <a:pt x="11" y="29"/>
                  </a:cubicBezTo>
                  <a:cubicBezTo>
                    <a:pt x="7" y="32"/>
                    <a:pt x="7" y="32"/>
                    <a:pt x="7" y="32"/>
                  </a:cubicBezTo>
                  <a:cubicBezTo>
                    <a:pt x="3" y="32"/>
                    <a:pt x="3" y="32"/>
                    <a:pt x="3" y="32"/>
                  </a:cubicBezTo>
                  <a:cubicBezTo>
                    <a:pt x="0" y="35"/>
                    <a:pt x="0" y="35"/>
                    <a:pt x="0" y="35"/>
                  </a:cubicBezTo>
                  <a:cubicBezTo>
                    <a:pt x="1" y="38"/>
                    <a:pt x="1" y="38"/>
                    <a:pt x="1" y="38"/>
                  </a:cubicBezTo>
                  <a:cubicBezTo>
                    <a:pt x="1" y="38"/>
                    <a:pt x="1" y="38"/>
                    <a:pt x="1" y="38"/>
                  </a:cubicBezTo>
                  <a:cubicBezTo>
                    <a:pt x="4" y="36"/>
                    <a:pt x="4" y="36"/>
                    <a:pt x="4" y="36"/>
                  </a:cubicBezTo>
                  <a:cubicBezTo>
                    <a:pt x="4" y="36"/>
                    <a:pt x="11" y="36"/>
                    <a:pt x="12" y="36"/>
                  </a:cubicBezTo>
                  <a:cubicBezTo>
                    <a:pt x="13" y="36"/>
                    <a:pt x="17" y="42"/>
                    <a:pt x="18" y="42"/>
                  </a:cubicBezTo>
                  <a:cubicBezTo>
                    <a:pt x="19" y="42"/>
                    <a:pt x="20" y="43"/>
                    <a:pt x="21" y="42"/>
                  </a:cubicBezTo>
                  <a:cubicBezTo>
                    <a:pt x="22" y="42"/>
                    <a:pt x="24" y="40"/>
                    <a:pt x="24" y="40"/>
                  </a:cubicBezTo>
                  <a:cubicBezTo>
                    <a:pt x="25" y="40"/>
                    <a:pt x="30" y="40"/>
                    <a:pt x="30" y="40"/>
                  </a:cubicBezTo>
                  <a:cubicBezTo>
                    <a:pt x="32" y="52"/>
                    <a:pt x="32" y="52"/>
                    <a:pt x="32" y="52"/>
                  </a:cubicBezTo>
                  <a:cubicBezTo>
                    <a:pt x="38" y="53"/>
                    <a:pt x="38" y="53"/>
                    <a:pt x="38" y="53"/>
                  </a:cubicBezTo>
                  <a:cubicBezTo>
                    <a:pt x="43" y="53"/>
                    <a:pt x="43" y="53"/>
                    <a:pt x="43" y="53"/>
                  </a:cubicBezTo>
                  <a:cubicBezTo>
                    <a:pt x="49" y="56"/>
                    <a:pt x="49" y="56"/>
                    <a:pt x="49" y="56"/>
                  </a:cubicBezTo>
                  <a:cubicBezTo>
                    <a:pt x="55" y="59"/>
                    <a:pt x="55" y="59"/>
                    <a:pt x="55" y="59"/>
                  </a:cubicBezTo>
                  <a:cubicBezTo>
                    <a:pt x="55" y="57"/>
                    <a:pt x="55" y="57"/>
                    <a:pt x="55" y="57"/>
                  </a:cubicBezTo>
                  <a:cubicBezTo>
                    <a:pt x="52" y="53"/>
                    <a:pt x="52" y="53"/>
                    <a:pt x="52" y="53"/>
                  </a:cubicBezTo>
                  <a:cubicBezTo>
                    <a:pt x="53" y="50"/>
                    <a:pt x="53" y="50"/>
                    <a:pt x="53" y="50"/>
                  </a:cubicBezTo>
                  <a:cubicBezTo>
                    <a:pt x="54" y="44"/>
                    <a:pt x="54" y="44"/>
                    <a:pt x="54" y="44"/>
                  </a:cubicBezTo>
                  <a:cubicBezTo>
                    <a:pt x="57" y="43"/>
                    <a:pt x="57" y="43"/>
                    <a:pt x="57" y="43"/>
                  </a:cubicBezTo>
                  <a:cubicBezTo>
                    <a:pt x="55" y="37"/>
                    <a:pt x="55" y="37"/>
                    <a:pt x="55" y="37"/>
                  </a:cubicBezTo>
                  <a:cubicBezTo>
                    <a:pt x="54" y="31"/>
                    <a:pt x="54" y="31"/>
                    <a:pt x="54" y="31"/>
                  </a:cubicBezTo>
                  <a:cubicBezTo>
                    <a:pt x="53" y="25"/>
                    <a:pt x="53" y="25"/>
                    <a:pt x="53" y="25"/>
                  </a:cubicBezTo>
                  <a:cubicBezTo>
                    <a:pt x="55" y="18"/>
                    <a:pt x="55" y="18"/>
                    <a:pt x="55" y="18"/>
                  </a:cubicBezTo>
                  <a:cubicBezTo>
                    <a:pt x="59" y="11"/>
                    <a:pt x="59" y="11"/>
                    <a:pt x="59" y="11"/>
                  </a:cubicBezTo>
                  <a:cubicBezTo>
                    <a:pt x="59" y="10"/>
                    <a:pt x="59" y="10"/>
                    <a:pt x="59" y="10"/>
                  </a:cubicBezTo>
                  <a:cubicBezTo>
                    <a:pt x="59" y="5"/>
                    <a:pt x="59" y="5"/>
                    <a:pt x="59" y="5"/>
                  </a:cubicBezTo>
                  <a:cubicBezTo>
                    <a:pt x="56" y="3"/>
                    <a:pt x="56" y="3"/>
                    <a:pt x="56" y="3"/>
                  </a:cubicBezTo>
                  <a:cubicBezTo>
                    <a:pt x="51" y="3"/>
                    <a:pt x="51" y="3"/>
                    <a:pt x="51" y="3"/>
                  </a:cubicBezTo>
                  <a:cubicBezTo>
                    <a:pt x="49" y="0"/>
                    <a:pt x="49" y="0"/>
                    <a:pt x="49" y="0"/>
                  </a:cubicBezTo>
                  <a:cubicBezTo>
                    <a:pt x="41" y="1"/>
                    <a:pt x="41" y="1"/>
                    <a:pt x="41" y="1"/>
                  </a:cubicBezTo>
                  <a:cubicBezTo>
                    <a:pt x="32" y="3"/>
                    <a:pt x="32" y="3"/>
                    <a:pt x="32" y="3"/>
                  </a:cubicBezTo>
                  <a:cubicBezTo>
                    <a:pt x="27" y="1"/>
                    <a:pt x="27" y="1"/>
                    <a:pt x="27" y="1"/>
                  </a:cubicBezTo>
                  <a:cubicBezTo>
                    <a:pt x="21" y="2"/>
                    <a:pt x="21" y="2"/>
                    <a:pt x="21" y="2"/>
                  </a:cubicBezTo>
                  <a:cubicBezTo>
                    <a:pt x="21" y="6"/>
                    <a:pt x="21" y="6"/>
                    <a:pt x="21" y="6"/>
                  </a:cubicBezTo>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01" name="Freeform 378"/>
            <p:cNvSpPr>
              <a:spLocks/>
            </p:cNvSpPr>
            <p:nvPr/>
          </p:nvSpPr>
          <p:spPr bwMode="auto">
            <a:xfrm>
              <a:off x="6952405" y="3667002"/>
              <a:ext cx="355710" cy="347473"/>
            </a:xfrm>
            <a:custGeom>
              <a:avLst/>
              <a:gdLst>
                <a:gd name="T0" fmla="*/ 173139 w 47"/>
                <a:gd name="T1" fmla="*/ 354013 h 45"/>
                <a:gd name="T2" fmla="*/ 188878 w 47"/>
                <a:gd name="T3" fmla="*/ 346146 h 45"/>
                <a:gd name="T4" fmla="*/ 212488 w 47"/>
                <a:gd name="T5" fmla="*/ 354013 h 45"/>
                <a:gd name="T6" fmla="*/ 228228 w 47"/>
                <a:gd name="T7" fmla="*/ 354013 h 45"/>
                <a:gd name="T8" fmla="*/ 251838 w 47"/>
                <a:gd name="T9" fmla="*/ 338279 h 45"/>
                <a:gd name="T10" fmla="*/ 306928 w 47"/>
                <a:gd name="T11" fmla="*/ 322545 h 45"/>
                <a:gd name="T12" fmla="*/ 369887 w 47"/>
                <a:gd name="T13" fmla="*/ 251743 h 45"/>
                <a:gd name="T14" fmla="*/ 314797 w 47"/>
                <a:gd name="T15" fmla="*/ 243876 h 45"/>
                <a:gd name="T16" fmla="*/ 259708 w 47"/>
                <a:gd name="T17" fmla="*/ 212408 h 45"/>
                <a:gd name="T18" fmla="*/ 243968 w 47"/>
                <a:gd name="T19" fmla="*/ 188807 h 45"/>
                <a:gd name="T20" fmla="*/ 267578 w 47"/>
                <a:gd name="T21" fmla="*/ 173073 h 45"/>
                <a:gd name="T22" fmla="*/ 259708 w 47"/>
                <a:gd name="T23" fmla="*/ 157339 h 45"/>
                <a:gd name="T24" fmla="*/ 196748 w 47"/>
                <a:gd name="T25" fmla="*/ 62936 h 45"/>
                <a:gd name="T26" fmla="*/ 157399 w 47"/>
                <a:gd name="T27" fmla="*/ 47202 h 45"/>
                <a:gd name="T28" fmla="*/ 133789 w 47"/>
                <a:gd name="T29" fmla="*/ 0 h 45"/>
                <a:gd name="T30" fmla="*/ 133789 w 47"/>
                <a:gd name="T31" fmla="*/ 0 h 45"/>
                <a:gd name="T32" fmla="*/ 118049 w 47"/>
                <a:gd name="T33" fmla="*/ 7867 h 45"/>
                <a:gd name="T34" fmla="*/ 94439 w 47"/>
                <a:gd name="T35" fmla="*/ 23601 h 45"/>
                <a:gd name="T36" fmla="*/ 86569 w 47"/>
                <a:gd name="T37" fmla="*/ 110137 h 45"/>
                <a:gd name="T38" fmla="*/ 62959 w 47"/>
                <a:gd name="T39" fmla="*/ 157339 h 45"/>
                <a:gd name="T40" fmla="*/ 31480 w 47"/>
                <a:gd name="T41" fmla="*/ 188807 h 45"/>
                <a:gd name="T42" fmla="*/ 23610 w 47"/>
                <a:gd name="T43" fmla="*/ 236009 h 45"/>
                <a:gd name="T44" fmla="*/ 7870 w 47"/>
                <a:gd name="T45" fmla="*/ 236009 h 45"/>
                <a:gd name="T46" fmla="*/ 0 w 47"/>
                <a:gd name="T47" fmla="*/ 259610 h 45"/>
                <a:gd name="T48" fmla="*/ 31480 w 47"/>
                <a:gd name="T49" fmla="*/ 283210 h 45"/>
                <a:gd name="T50" fmla="*/ 55090 w 47"/>
                <a:gd name="T51" fmla="*/ 306811 h 45"/>
                <a:gd name="T52" fmla="*/ 70829 w 47"/>
                <a:gd name="T53" fmla="*/ 322545 h 45"/>
                <a:gd name="T54" fmla="*/ 70829 w 47"/>
                <a:gd name="T55" fmla="*/ 330412 h 45"/>
                <a:gd name="T56" fmla="*/ 94439 w 47"/>
                <a:gd name="T57" fmla="*/ 338279 h 45"/>
                <a:gd name="T58" fmla="*/ 173139 w 47"/>
                <a:gd name="T59" fmla="*/ 354013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7"/>
                <a:gd name="T91" fmla="*/ 0 h 45"/>
                <a:gd name="T92" fmla="*/ 47 w 47"/>
                <a:gd name="T93" fmla="*/ 45 h 4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7" h="45">
                  <a:moveTo>
                    <a:pt x="22" y="45"/>
                  </a:moveTo>
                  <a:cubicBezTo>
                    <a:pt x="23" y="45"/>
                    <a:pt x="24" y="44"/>
                    <a:pt x="24" y="44"/>
                  </a:cubicBezTo>
                  <a:cubicBezTo>
                    <a:pt x="27" y="45"/>
                    <a:pt x="27" y="45"/>
                    <a:pt x="27" y="45"/>
                  </a:cubicBezTo>
                  <a:cubicBezTo>
                    <a:pt x="29" y="45"/>
                    <a:pt x="29" y="45"/>
                    <a:pt x="29" y="45"/>
                  </a:cubicBezTo>
                  <a:cubicBezTo>
                    <a:pt x="32" y="43"/>
                    <a:pt x="32" y="43"/>
                    <a:pt x="32" y="43"/>
                  </a:cubicBezTo>
                  <a:cubicBezTo>
                    <a:pt x="39" y="41"/>
                    <a:pt x="39" y="41"/>
                    <a:pt x="39" y="41"/>
                  </a:cubicBezTo>
                  <a:cubicBezTo>
                    <a:pt x="47" y="32"/>
                    <a:pt x="47" y="32"/>
                    <a:pt x="47" y="32"/>
                  </a:cubicBezTo>
                  <a:cubicBezTo>
                    <a:pt x="40" y="31"/>
                    <a:pt x="40" y="31"/>
                    <a:pt x="40" y="31"/>
                  </a:cubicBezTo>
                  <a:cubicBezTo>
                    <a:pt x="33" y="27"/>
                    <a:pt x="33" y="27"/>
                    <a:pt x="33" y="27"/>
                  </a:cubicBezTo>
                  <a:cubicBezTo>
                    <a:pt x="31" y="24"/>
                    <a:pt x="31" y="24"/>
                    <a:pt x="31" y="24"/>
                  </a:cubicBezTo>
                  <a:cubicBezTo>
                    <a:pt x="34" y="22"/>
                    <a:pt x="34" y="22"/>
                    <a:pt x="34" y="22"/>
                  </a:cubicBezTo>
                  <a:cubicBezTo>
                    <a:pt x="33" y="20"/>
                    <a:pt x="33" y="20"/>
                    <a:pt x="33" y="20"/>
                  </a:cubicBezTo>
                  <a:cubicBezTo>
                    <a:pt x="25" y="8"/>
                    <a:pt x="25" y="8"/>
                    <a:pt x="25" y="8"/>
                  </a:cubicBezTo>
                  <a:cubicBezTo>
                    <a:pt x="20" y="6"/>
                    <a:pt x="20" y="6"/>
                    <a:pt x="20" y="6"/>
                  </a:cubicBezTo>
                  <a:cubicBezTo>
                    <a:pt x="17" y="0"/>
                    <a:pt x="17" y="0"/>
                    <a:pt x="17" y="0"/>
                  </a:cubicBezTo>
                  <a:cubicBezTo>
                    <a:pt x="17" y="0"/>
                    <a:pt x="17" y="0"/>
                    <a:pt x="17" y="0"/>
                  </a:cubicBezTo>
                  <a:cubicBezTo>
                    <a:pt x="15" y="1"/>
                    <a:pt x="15" y="1"/>
                    <a:pt x="15" y="1"/>
                  </a:cubicBezTo>
                  <a:cubicBezTo>
                    <a:pt x="12" y="3"/>
                    <a:pt x="12" y="3"/>
                    <a:pt x="12" y="3"/>
                  </a:cubicBezTo>
                  <a:cubicBezTo>
                    <a:pt x="11" y="14"/>
                    <a:pt x="11" y="14"/>
                    <a:pt x="11" y="14"/>
                  </a:cubicBezTo>
                  <a:cubicBezTo>
                    <a:pt x="8" y="20"/>
                    <a:pt x="8" y="20"/>
                    <a:pt x="8" y="20"/>
                  </a:cubicBezTo>
                  <a:cubicBezTo>
                    <a:pt x="4" y="24"/>
                    <a:pt x="4" y="24"/>
                    <a:pt x="4" y="24"/>
                  </a:cubicBezTo>
                  <a:cubicBezTo>
                    <a:pt x="3" y="30"/>
                    <a:pt x="3" y="30"/>
                    <a:pt x="3" y="30"/>
                  </a:cubicBezTo>
                  <a:cubicBezTo>
                    <a:pt x="1" y="30"/>
                    <a:pt x="1" y="30"/>
                    <a:pt x="1" y="30"/>
                  </a:cubicBezTo>
                  <a:cubicBezTo>
                    <a:pt x="0" y="33"/>
                    <a:pt x="0" y="33"/>
                    <a:pt x="0" y="33"/>
                  </a:cubicBezTo>
                  <a:cubicBezTo>
                    <a:pt x="4" y="36"/>
                    <a:pt x="4" y="36"/>
                    <a:pt x="4" y="36"/>
                  </a:cubicBezTo>
                  <a:cubicBezTo>
                    <a:pt x="7" y="39"/>
                    <a:pt x="7" y="39"/>
                    <a:pt x="7" y="39"/>
                  </a:cubicBezTo>
                  <a:cubicBezTo>
                    <a:pt x="9" y="41"/>
                    <a:pt x="9" y="41"/>
                    <a:pt x="9" y="41"/>
                  </a:cubicBezTo>
                  <a:cubicBezTo>
                    <a:pt x="9" y="42"/>
                    <a:pt x="9" y="42"/>
                    <a:pt x="9" y="42"/>
                  </a:cubicBezTo>
                  <a:cubicBezTo>
                    <a:pt x="12" y="43"/>
                    <a:pt x="12" y="43"/>
                    <a:pt x="12" y="43"/>
                  </a:cubicBezTo>
                  <a:cubicBezTo>
                    <a:pt x="12" y="43"/>
                    <a:pt x="21" y="45"/>
                    <a:pt x="22" y="45"/>
                  </a:cubicBez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02" name="Freeform 379"/>
            <p:cNvSpPr>
              <a:spLocks/>
            </p:cNvSpPr>
            <p:nvPr/>
          </p:nvSpPr>
          <p:spPr bwMode="auto">
            <a:xfrm>
              <a:off x="6975313" y="3989533"/>
              <a:ext cx="196939" cy="230611"/>
            </a:xfrm>
            <a:custGeom>
              <a:avLst/>
              <a:gdLst>
                <a:gd name="T0" fmla="*/ 181159 w 26"/>
                <a:gd name="T1" fmla="*/ 54822 h 30"/>
                <a:gd name="T2" fmla="*/ 204788 w 26"/>
                <a:gd name="T3" fmla="*/ 31327 h 30"/>
                <a:gd name="T4" fmla="*/ 204788 w 26"/>
                <a:gd name="T5" fmla="*/ 23495 h 30"/>
                <a:gd name="T6" fmla="*/ 189035 w 26"/>
                <a:gd name="T7" fmla="*/ 23495 h 30"/>
                <a:gd name="T8" fmla="*/ 165406 w 26"/>
                <a:gd name="T9" fmla="*/ 15663 h 30"/>
                <a:gd name="T10" fmla="*/ 149653 w 26"/>
                <a:gd name="T11" fmla="*/ 23495 h 30"/>
                <a:gd name="T12" fmla="*/ 70888 w 26"/>
                <a:gd name="T13" fmla="*/ 7832 h 30"/>
                <a:gd name="T14" fmla="*/ 47259 w 26"/>
                <a:gd name="T15" fmla="*/ 0 h 30"/>
                <a:gd name="T16" fmla="*/ 47259 w 26"/>
                <a:gd name="T17" fmla="*/ 7832 h 30"/>
                <a:gd name="T18" fmla="*/ 23629 w 26"/>
                <a:gd name="T19" fmla="*/ 7832 h 30"/>
                <a:gd name="T20" fmla="*/ 0 w 26"/>
                <a:gd name="T21" fmla="*/ 23495 h 30"/>
                <a:gd name="T22" fmla="*/ 15753 w 26"/>
                <a:gd name="T23" fmla="*/ 39158 h 30"/>
                <a:gd name="T24" fmla="*/ 15753 w 26"/>
                <a:gd name="T25" fmla="*/ 70485 h 30"/>
                <a:gd name="T26" fmla="*/ 0 w 26"/>
                <a:gd name="T27" fmla="*/ 101812 h 30"/>
                <a:gd name="T28" fmla="*/ 7876 w 26"/>
                <a:gd name="T29" fmla="*/ 148802 h 30"/>
                <a:gd name="T30" fmla="*/ 94518 w 26"/>
                <a:gd name="T31" fmla="*/ 187960 h 30"/>
                <a:gd name="T32" fmla="*/ 94518 w 26"/>
                <a:gd name="T33" fmla="*/ 211455 h 30"/>
                <a:gd name="T34" fmla="*/ 133900 w 26"/>
                <a:gd name="T35" fmla="*/ 234950 h 30"/>
                <a:gd name="T36" fmla="*/ 141776 w 26"/>
                <a:gd name="T37" fmla="*/ 227118 h 30"/>
                <a:gd name="T38" fmla="*/ 173282 w 26"/>
                <a:gd name="T39" fmla="*/ 180128 h 30"/>
                <a:gd name="T40" fmla="*/ 196912 w 26"/>
                <a:gd name="T41" fmla="*/ 156633 h 30"/>
                <a:gd name="T42" fmla="*/ 181159 w 26"/>
                <a:gd name="T43" fmla="*/ 133138 h 30"/>
                <a:gd name="T44" fmla="*/ 181159 w 26"/>
                <a:gd name="T45" fmla="*/ 54822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6"/>
                <a:gd name="T70" fmla="*/ 0 h 30"/>
                <a:gd name="T71" fmla="*/ 26 w 26"/>
                <a:gd name="T72" fmla="*/ 30 h 3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6" h="30">
                  <a:moveTo>
                    <a:pt x="23" y="7"/>
                  </a:moveTo>
                  <a:cubicBezTo>
                    <a:pt x="26" y="4"/>
                    <a:pt x="26" y="4"/>
                    <a:pt x="26" y="4"/>
                  </a:cubicBezTo>
                  <a:cubicBezTo>
                    <a:pt x="26" y="3"/>
                    <a:pt x="26" y="3"/>
                    <a:pt x="26" y="3"/>
                  </a:cubicBezTo>
                  <a:cubicBezTo>
                    <a:pt x="24" y="3"/>
                    <a:pt x="24" y="3"/>
                    <a:pt x="24" y="3"/>
                  </a:cubicBezTo>
                  <a:cubicBezTo>
                    <a:pt x="21" y="2"/>
                    <a:pt x="21" y="2"/>
                    <a:pt x="21" y="2"/>
                  </a:cubicBezTo>
                  <a:cubicBezTo>
                    <a:pt x="21" y="2"/>
                    <a:pt x="20" y="3"/>
                    <a:pt x="19" y="3"/>
                  </a:cubicBezTo>
                  <a:cubicBezTo>
                    <a:pt x="18" y="3"/>
                    <a:pt x="9" y="1"/>
                    <a:pt x="9" y="1"/>
                  </a:cubicBezTo>
                  <a:cubicBezTo>
                    <a:pt x="6" y="0"/>
                    <a:pt x="6" y="0"/>
                    <a:pt x="6" y="0"/>
                  </a:cubicBezTo>
                  <a:cubicBezTo>
                    <a:pt x="6" y="1"/>
                    <a:pt x="6" y="1"/>
                    <a:pt x="6" y="1"/>
                  </a:cubicBezTo>
                  <a:cubicBezTo>
                    <a:pt x="3" y="1"/>
                    <a:pt x="3" y="1"/>
                    <a:pt x="3" y="1"/>
                  </a:cubicBezTo>
                  <a:cubicBezTo>
                    <a:pt x="0" y="3"/>
                    <a:pt x="0" y="3"/>
                    <a:pt x="0" y="3"/>
                  </a:cubicBezTo>
                  <a:cubicBezTo>
                    <a:pt x="2" y="5"/>
                    <a:pt x="2" y="5"/>
                    <a:pt x="2" y="5"/>
                  </a:cubicBezTo>
                  <a:cubicBezTo>
                    <a:pt x="2" y="9"/>
                    <a:pt x="2" y="9"/>
                    <a:pt x="2" y="9"/>
                  </a:cubicBezTo>
                  <a:cubicBezTo>
                    <a:pt x="0" y="13"/>
                    <a:pt x="0" y="13"/>
                    <a:pt x="0" y="13"/>
                  </a:cubicBezTo>
                  <a:cubicBezTo>
                    <a:pt x="1" y="19"/>
                    <a:pt x="1" y="19"/>
                    <a:pt x="1" y="19"/>
                  </a:cubicBezTo>
                  <a:cubicBezTo>
                    <a:pt x="12" y="24"/>
                    <a:pt x="12" y="24"/>
                    <a:pt x="12" y="24"/>
                  </a:cubicBezTo>
                  <a:cubicBezTo>
                    <a:pt x="12" y="27"/>
                    <a:pt x="12" y="27"/>
                    <a:pt x="12" y="27"/>
                  </a:cubicBezTo>
                  <a:cubicBezTo>
                    <a:pt x="17" y="30"/>
                    <a:pt x="17" y="30"/>
                    <a:pt x="17" y="30"/>
                  </a:cubicBezTo>
                  <a:cubicBezTo>
                    <a:pt x="17" y="29"/>
                    <a:pt x="18" y="29"/>
                    <a:pt x="18" y="29"/>
                  </a:cubicBezTo>
                  <a:cubicBezTo>
                    <a:pt x="22" y="23"/>
                    <a:pt x="22" y="23"/>
                    <a:pt x="22" y="23"/>
                  </a:cubicBezTo>
                  <a:cubicBezTo>
                    <a:pt x="25" y="20"/>
                    <a:pt x="25" y="20"/>
                    <a:pt x="25" y="20"/>
                  </a:cubicBezTo>
                  <a:cubicBezTo>
                    <a:pt x="23" y="17"/>
                    <a:pt x="23" y="17"/>
                    <a:pt x="23" y="17"/>
                  </a:cubicBezTo>
                  <a:lnTo>
                    <a:pt x="23" y="7"/>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03" name="Freeform 380"/>
            <p:cNvSpPr>
              <a:spLocks/>
            </p:cNvSpPr>
            <p:nvPr/>
          </p:nvSpPr>
          <p:spPr bwMode="auto">
            <a:xfrm>
              <a:off x="6763138" y="4488221"/>
              <a:ext cx="181671" cy="176073"/>
            </a:xfrm>
            <a:custGeom>
              <a:avLst/>
              <a:gdLst>
                <a:gd name="T0" fmla="*/ 70842 w 24"/>
                <a:gd name="T1" fmla="*/ 38997 h 23"/>
                <a:gd name="T2" fmla="*/ 47228 w 24"/>
                <a:gd name="T3" fmla="*/ 62395 h 23"/>
                <a:gd name="T4" fmla="*/ 15743 w 24"/>
                <a:gd name="T5" fmla="*/ 54596 h 23"/>
                <a:gd name="T6" fmla="*/ 0 w 24"/>
                <a:gd name="T7" fmla="*/ 62395 h 23"/>
                <a:gd name="T8" fmla="*/ 7871 w 24"/>
                <a:gd name="T9" fmla="*/ 62395 h 23"/>
                <a:gd name="T10" fmla="*/ 23614 w 24"/>
                <a:gd name="T11" fmla="*/ 93593 h 23"/>
                <a:gd name="T12" fmla="*/ 47228 w 24"/>
                <a:gd name="T13" fmla="*/ 124791 h 23"/>
                <a:gd name="T14" fmla="*/ 62971 w 24"/>
                <a:gd name="T15" fmla="*/ 124791 h 23"/>
                <a:gd name="T16" fmla="*/ 70842 w 24"/>
                <a:gd name="T17" fmla="*/ 155989 h 23"/>
                <a:gd name="T18" fmla="*/ 110199 w 24"/>
                <a:gd name="T19" fmla="*/ 171588 h 23"/>
                <a:gd name="T20" fmla="*/ 157427 w 24"/>
                <a:gd name="T21" fmla="*/ 179387 h 23"/>
                <a:gd name="T22" fmla="*/ 173169 w 24"/>
                <a:gd name="T23" fmla="*/ 155989 h 23"/>
                <a:gd name="T24" fmla="*/ 188912 w 24"/>
                <a:gd name="T25" fmla="*/ 93593 h 23"/>
                <a:gd name="T26" fmla="*/ 188912 w 24"/>
                <a:gd name="T27" fmla="*/ 54596 h 23"/>
                <a:gd name="T28" fmla="*/ 188912 w 24"/>
                <a:gd name="T29" fmla="*/ 23398 h 23"/>
                <a:gd name="T30" fmla="*/ 125941 w 24"/>
                <a:gd name="T31" fmla="*/ 0 h 23"/>
                <a:gd name="T32" fmla="*/ 102327 w 24"/>
                <a:gd name="T33" fmla="*/ 7799 h 23"/>
                <a:gd name="T34" fmla="*/ 70842 w 24"/>
                <a:gd name="T35" fmla="*/ 38997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4"/>
                <a:gd name="T55" fmla="*/ 0 h 23"/>
                <a:gd name="T56" fmla="*/ 24 w 24"/>
                <a:gd name="T57" fmla="*/ 23 h 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4" h="23">
                  <a:moveTo>
                    <a:pt x="9" y="5"/>
                  </a:moveTo>
                  <a:cubicBezTo>
                    <a:pt x="9" y="5"/>
                    <a:pt x="6" y="8"/>
                    <a:pt x="6" y="8"/>
                  </a:cubicBezTo>
                  <a:cubicBezTo>
                    <a:pt x="5" y="8"/>
                    <a:pt x="2" y="7"/>
                    <a:pt x="2" y="7"/>
                  </a:cubicBezTo>
                  <a:cubicBezTo>
                    <a:pt x="0" y="8"/>
                    <a:pt x="0" y="8"/>
                    <a:pt x="0" y="8"/>
                  </a:cubicBezTo>
                  <a:cubicBezTo>
                    <a:pt x="1" y="8"/>
                    <a:pt x="1" y="8"/>
                    <a:pt x="1" y="8"/>
                  </a:cubicBezTo>
                  <a:cubicBezTo>
                    <a:pt x="3" y="12"/>
                    <a:pt x="3" y="12"/>
                    <a:pt x="3" y="12"/>
                  </a:cubicBezTo>
                  <a:cubicBezTo>
                    <a:pt x="6" y="16"/>
                    <a:pt x="6" y="16"/>
                    <a:pt x="6" y="16"/>
                  </a:cubicBezTo>
                  <a:cubicBezTo>
                    <a:pt x="8" y="16"/>
                    <a:pt x="8" y="16"/>
                    <a:pt x="8" y="16"/>
                  </a:cubicBezTo>
                  <a:cubicBezTo>
                    <a:pt x="9" y="20"/>
                    <a:pt x="9" y="20"/>
                    <a:pt x="9" y="20"/>
                  </a:cubicBezTo>
                  <a:cubicBezTo>
                    <a:pt x="14" y="22"/>
                    <a:pt x="14" y="22"/>
                    <a:pt x="14" y="22"/>
                  </a:cubicBezTo>
                  <a:cubicBezTo>
                    <a:pt x="20" y="23"/>
                    <a:pt x="20" y="23"/>
                    <a:pt x="20" y="23"/>
                  </a:cubicBezTo>
                  <a:cubicBezTo>
                    <a:pt x="22" y="20"/>
                    <a:pt x="22" y="20"/>
                    <a:pt x="22" y="20"/>
                  </a:cubicBezTo>
                  <a:cubicBezTo>
                    <a:pt x="24" y="12"/>
                    <a:pt x="24" y="12"/>
                    <a:pt x="24" y="12"/>
                  </a:cubicBezTo>
                  <a:cubicBezTo>
                    <a:pt x="24" y="7"/>
                    <a:pt x="24" y="7"/>
                    <a:pt x="24" y="7"/>
                  </a:cubicBezTo>
                  <a:cubicBezTo>
                    <a:pt x="24" y="3"/>
                    <a:pt x="24" y="3"/>
                    <a:pt x="24" y="3"/>
                  </a:cubicBezTo>
                  <a:cubicBezTo>
                    <a:pt x="16" y="0"/>
                    <a:pt x="16" y="0"/>
                    <a:pt x="16" y="0"/>
                  </a:cubicBezTo>
                  <a:cubicBezTo>
                    <a:pt x="13" y="1"/>
                    <a:pt x="13" y="1"/>
                    <a:pt x="13" y="1"/>
                  </a:cubicBezTo>
                  <a:lnTo>
                    <a:pt x="9" y="5"/>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04" name="Freeform 381"/>
            <p:cNvSpPr>
              <a:spLocks/>
            </p:cNvSpPr>
            <p:nvPr/>
          </p:nvSpPr>
          <p:spPr bwMode="auto">
            <a:xfrm>
              <a:off x="6695940" y="4014476"/>
              <a:ext cx="325177" cy="534453"/>
            </a:xfrm>
            <a:custGeom>
              <a:avLst/>
              <a:gdLst>
                <a:gd name="T0" fmla="*/ 212319 w 43"/>
                <a:gd name="T1" fmla="*/ 46672 h 70"/>
                <a:gd name="T2" fmla="*/ 180864 w 43"/>
                <a:gd name="T3" fmla="*/ 101124 h 70"/>
                <a:gd name="T4" fmla="*/ 165137 w 43"/>
                <a:gd name="T5" fmla="*/ 155575 h 70"/>
                <a:gd name="T6" fmla="*/ 173000 w 43"/>
                <a:gd name="T7" fmla="*/ 202247 h 70"/>
                <a:gd name="T8" fmla="*/ 180864 w 43"/>
                <a:gd name="T9" fmla="*/ 248920 h 70"/>
                <a:gd name="T10" fmla="*/ 196591 w 43"/>
                <a:gd name="T11" fmla="*/ 295592 h 70"/>
                <a:gd name="T12" fmla="*/ 173000 w 43"/>
                <a:gd name="T13" fmla="*/ 303371 h 70"/>
                <a:gd name="T14" fmla="*/ 165137 w 43"/>
                <a:gd name="T15" fmla="*/ 350043 h 70"/>
                <a:gd name="T16" fmla="*/ 157273 w 43"/>
                <a:gd name="T17" fmla="*/ 373380 h 70"/>
                <a:gd name="T18" fmla="*/ 180864 w 43"/>
                <a:gd name="T19" fmla="*/ 404495 h 70"/>
                <a:gd name="T20" fmla="*/ 180864 w 43"/>
                <a:gd name="T21" fmla="*/ 420052 h 70"/>
                <a:gd name="T22" fmla="*/ 133682 w 43"/>
                <a:gd name="T23" fmla="*/ 396716 h 70"/>
                <a:gd name="T24" fmla="*/ 86500 w 43"/>
                <a:gd name="T25" fmla="*/ 373380 h 70"/>
                <a:gd name="T26" fmla="*/ 47182 w 43"/>
                <a:gd name="T27" fmla="*/ 373380 h 70"/>
                <a:gd name="T28" fmla="*/ 47182 w 43"/>
                <a:gd name="T29" fmla="*/ 404495 h 70"/>
                <a:gd name="T30" fmla="*/ 0 w 43"/>
                <a:gd name="T31" fmla="*/ 412273 h 70"/>
                <a:gd name="T32" fmla="*/ 0 w 43"/>
                <a:gd name="T33" fmla="*/ 497840 h 70"/>
                <a:gd name="T34" fmla="*/ 15727 w 43"/>
                <a:gd name="T35" fmla="*/ 528955 h 70"/>
                <a:gd name="T36" fmla="*/ 47182 w 43"/>
                <a:gd name="T37" fmla="*/ 528955 h 70"/>
                <a:gd name="T38" fmla="*/ 62909 w 43"/>
                <a:gd name="T39" fmla="*/ 536733 h 70"/>
                <a:gd name="T40" fmla="*/ 55046 w 43"/>
                <a:gd name="T41" fmla="*/ 536733 h 70"/>
                <a:gd name="T42" fmla="*/ 70773 w 43"/>
                <a:gd name="T43" fmla="*/ 544512 h 70"/>
                <a:gd name="T44" fmla="*/ 86500 w 43"/>
                <a:gd name="T45" fmla="*/ 536733 h 70"/>
                <a:gd name="T46" fmla="*/ 117955 w 43"/>
                <a:gd name="T47" fmla="*/ 544512 h 70"/>
                <a:gd name="T48" fmla="*/ 141546 w 43"/>
                <a:gd name="T49" fmla="*/ 521176 h 70"/>
                <a:gd name="T50" fmla="*/ 173000 w 43"/>
                <a:gd name="T51" fmla="*/ 490061 h 70"/>
                <a:gd name="T52" fmla="*/ 196591 w 43"/>
                <a:gd name="T53" fmla="*/ 482282 h 70"/>
                <a:gd name="T54" fmla="*/ 188728 w 43"/>
                <a:gd name="T55" fmla="*/ 482282 h 70"/>
                <a:gd name="T56" fmla="*/ 188728 w 43"/>
                <a:gd name="T57" fmla="*/ 474503 h 70"/>
                <a:gd name="T58" fmla="*/ 259501 w 43"/>
                <a:gd name="T59" fmla="*/ 443388 h 70"/>
                <a:gd name="T60" fmla="*/ 290955 w 43"/>
                <a:gd name="T61" fmla="*/ 458946 h 70"/>
                <a:gd name="T62" fmla="*/ 306682 w 43"/>
                <a:gd name="T63" fmla="*/ 482282 h 70"/>
                <a:gd name="T64" fmla="*/ 314546 w 43"/>
                <a:gd name="T65" fmla="*/ 497840 h 70"/>
                <a:gd name="T66" fmla="*/ 338137 w 43"/>
                <a:gd name="T67" fmla="*/ 482282 h 70"/>
                <a:gd name="T68" fmla="*/ 338137 w 43"/>
                <a:gd name="T69" fmla="*/ 458946 h 70"/>
                <a:gd name="T70" fmla="*/ 314546 w 43"/>
                <a:gd name="T71" fmla="*/ 420052 h 70"/>
                <a:gd name="T72" fmla="*/ 314546 w 43"/>
                <a:gd name="T73" fmla="*/ 381158 h 70"/>
                <a:gd name="T74" fmla="*/ 322410 w 43"/>
                <a:gd name="T75" fmla="*/ 381158 h 70"/>
                <a:gd name="T76" fmla="*/ 306682 w 43"/>
                <a:gd name="T77" fmla="*/ 342265 h 70"/>
                <a:gd name="T78" fmla="*/ 298819 w 43"/>
                <a:gd name="T79" fmla="*/ 326707 h 70"/>
                <a:gd name="T80" fmla="*/ 259501 w 43"/>
                <a:gd name="T81" fmla="*/ 318928 h 70"/>
                <a:gd name="T82" fmla="*/ 220182 w 43"/>
                <a:gd name="T83" fmla="*/ 303371 h 70"/>
                <a:gd name="T84" fmla="*/ 204455 w 43"/>
                <a:gd name="T85" fmla="*/ 264477 h 70"/>
                <a:gd name="T86" fmla="*/ 188728 w 43"/>
                <a:gd name="T87" fmla="*/ 202247 h 70"/>
                <a:gd name="T88" fmla="*/ 204455 w 43"/>
                <a:gd name="T89" fmla="*/ 178911 h 70"/>
                <a:gd name="T90" fmla="*/ 196591 w 43"/>
                <a:gd name="T91" fmla="*/ 124460 h 70"/>
                <a:gd name="T92" fmla="*/ 235910 w 43"/>
                <a:gd name="T93" fmla="*/ 124460 h 70"/>
                <a:gd name="T94" fmla="*/ 251637 w 43"/>
                <a:gd name="T95" fmla="*/ 155575 h 70"/>
                <a:gd name="T96" fmla="*/ 283091 w 43"/>
                <a:gd name="T97" fmla="*/ 155575 h 70"/>
                <a:gd name="T98" fmla="*/ 283091 w 43"/>
                <a:gd name="T99" fmla="*/ 132239 h 70"/>
                <a:gd name="T100" fmla="*/ 290955 w 43"/>
                <a:gd name="T101" fmla="*/ 116681 h 70"/>
                <a:gd name="T102" fmla="*/ 298819 w 43"/>
                <a:gd name="T103" fmla="*/ 124460 h 70"/>
                <a:gd name="T104" fmla="*/ 290955 w 43"/>
                <a:gd name="T105" fmla="*/ 77787 h 70"/>
                <a:gd name="T106" fmla="*/ 306682 w 43"/>
                <a:gd name="T107" fmla="*/ 46672 h 70"/>
                <a:gd name="T108" fmla="*/ 306682 w 43"/>
                <a:gd name="T109" fmla="*/ 15557 h 70"/>
                <a:gd name="T110" fmla="*/ 290955 w 43"/>
                <a:gd name="T111" fmla="*/ 0 h 70"/>
                <a:gd name="T112" fmla="*/ 275228 w 43"/>
                <a:gd name="T113" fmla="*/ 0 h 70"/>
                <a:gd name="T114" fmla="*/ 220182 w 43"/>
                <a:gd name="T115" fmla="*/ 7779 h 70"/>
                <a:gd name="T116" fmla="*/ 212319 w 43"/>
                <a:gd name="T117" fmla="*/ 0 h 70"/>
                <a:gd name="T118" fmla="*/ 212319 w 43"/>
                <a:gd name="T119" fmla="*/ 38894 h 70"/>
                <a:gd name="T120" fmla="*/ 212319 w 43"/>
                <a:gd name="T121" fmla="*/ 46672 h 7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3"/>
                <a:gd name="T184" fmla="*/ 0 h 70"/>
                <a:gd name="T185" fmla="*/ 43 w 43"/>
                <a:gd name="T186" fmla="*/ 70 h 7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3" h="70">
                  <a:moveTo>
                    <a:pt x="27" y="6"/>
                  </a:moveTo>
                  <a:cubicBezTo>
                    <a:pt x="23" y="13"/>
                    <a:pt x="23" y="13"/>
                    <a:pt x="23" y="13"/>
                  </a:cubicBezTo>
                  <a:cubicBezTo>
                    <a:pt x="21" y="20"/>
                    <a:pt x="21" y="20"/>
                    <a:pt x="21" y="20"/>
                  </a:cubicBezTo>
                  <a:cubicBezTo>
                    <a:pt x="22" y="26"/>
                    <a:pt x="22" y="26"/>
                    <a:pt x="22" y="26"/>
                  </a:cubicBezTo>
                  <a:cubicBezTo>
                    <a:pt x="23" y="32"/>
                    <a:pt x="23" y="32"/>
                    <a:pt x="23" y="32"/>
                  </a:cubicBezTo>
                  <a:cubicBezTo>
                    <a:pt x="25" y="38"/>
                    <a:pt x="25" y="38"/>
                    <a:pt x="25" y="38"/>
                  </a:cubicBezTo>
                  <a:cubicBezTo>
                    <a:pt x="22" y="39"/>
                    <a:pt x="22" y="39"/>
                    <a:pt x="22" y="39"/>
                  </a:cubicBezTo>
                  <a:cubicBezTo>
                    <a:pt x="21" y="45"/>
                    <a:pt x="21" y="45"/>
                    <a:pt x="21" y="45"/>
                  </a:cubicBezTo>
                  <a:cubicBezTo>
                    <a:pt x="20" y="48"/>
                    <a:pt x="20" y="48"/>
                    <a:pt x="20" y="48"/>
                  </a:cubicBezTo>
                  <a:cubicBezTo>
                    <a:pt x="23" y="52"/>
                    <a:pt x="23" y="52"/>
                    <a:pt x="23" y="52"/>
                  </a:cubicBezTo>
                  <a:cubicBezTo>
                    <a:pt x="23" y="54"/>
                    <a:pt x="23" y="54"/>
                    <a:pt x="23" y="54"/>
                  </a:cubicBezTo>
                  <a:cubicBezTo>
                    <a:pt x="17" y="51"/>
                    <a:pt x="17" y="51"/>
                    <a:pt x="17" y="51"/>
                  </a:cubicBezTo>
                  <a:cubicBezTo>
                    <a:pt x="11" y="48"/>
                    <a:pt x="11" y="48"/>
                    <a:pt x="11" y="48"/>
                  </a:cubicBezTo>
                  <a:cubicBezTo>
                    <a:pt x="6" y="48"/>
                    <a:pt x="6" y="48"/>
                    <a:pt x="6" y="48"/>
                  </a:cubicBezTo>
                  <a:cubicBezTo>
                    <a:pt x="6" y="52"/>
                    <a:pt x="6" y="52"/>
                    <a:pt x="6" y="52"/>
                  </a:cubicBezTo>
                  <a:cubicBezTo>
                    <a:pt x="0" y="53"/>
                    <a:pt x="0" y="53"/>
                    <a:pt x="0" y="53"/>
                  </a:cubicBezTo>
                  <a:cubicBezTo>
                    <a:pt x="0" y="64"/>
                    <a:pt x="0" y="64"/>
                    <a:pt x="0" y="64"/>
                  </a:cubicBezTo>
                  <a:cubicBezTo>
                    <a:pt x="2" y="68"/>
                    <a:pt x="2" y="68"/>
                    <a:pt x="2" y="68"/>
                  </a:cubicBezTo>
                  <a:cubicBezTo>
                    <a:pt x="6" y="68"/>
                    <a:pt x="6" y="68"/>
                    <a:pt x="6" y="68"/>
                  </a:cubicBezTo>
                  <a:cubicBezTo>
                    <a:pt x="8" y="69"/>
                    <a:pt x="8" y="69"/>
                    <a:pt x="8" y="69"/>
                  </a:cubicBezTo>
                  <a:cubicBezTo>
                    <a:pt x="7" y="69"/>
                    <a:pt x="7" y="69"/>
                    <a:pt x="7" y="69"/>
                  </a:cubicBezTo>
                  <a:cubicBezTo>
                    <a:pt x="9" y="70"/>
                    <a:pt x="9" y="70"/>
                    <a:pt x="9" y="70"/>
                  </a:cubicBezTo>
                  <a:cubicBezTo>
                    <a:pt x="11" y="69"/>
                    <a:pt x="11" y="69"/>
                    <a:pt x="11" y="69"/>
                  </a:cubicBezTo>
                  <a:cubicBezTo>
                    <a:pt x="11" y="69"/>
                    <a:pt x="14" y="70"/>
                    <a:pt x="15" y="70"/>
                  </a:cubicBezTo>
                  <a:cubicBezTo>
                    <a:pt x="15" y="70"/>
                    <a:pt x="18" y="67"/>
                    <a:pt x="18" y="67"/>
                  </a:cubicBezTo>
                  <a:cubicBezTo>
                    <a:pt x="22" y="63"/>
                    <a:pt x="22" y="63"/>
                    <a:pt x="22" y="63"/>
                  </a:cubicBezTo>
                  <a:cubicBezTo>
                    <a:pt x="25" y="62"/>
                    <a:pt x="25" y="62"/>
                    <a:pt x="25" y="62"/>
                  </a:cubicBezTo>
                  <a:cubicBezTo>
                    <a:pt x="24" y="62"/>
                    <a:pt x="24" y="62"/>
                    <a:pt x="24" y="62"/>
                  </a:cubicBezTo>
                  <a:cubicBezTo>
                    <a:pt x="24" y="61"/>
                    <a:pt x="24" y="61"/>
                    <a:pt x="24" y="61"/>
                  </a:cubicBezTo>
                  <a:cubicBezTo>
                    <a:pt x="33" y="57"/>
                    <a:pt x="33" y="57"/>
                    <a:pt x="33" y="57"/>
                  </a:cubicBezTo>
                  <a:cubicBezTo>
                    <a:pt x="37" y="59"/>
                    <a:pt x="37" y="59"/>
                    <a:pt x="37" y="59"/>
                  </a:cubicBezTo>
                  <a:cubicBezTo>
                    <a:pt x="39" y="62"/>
                    <a:pt x="39" y="62"/>
                    <a:pt x="39" y="62"/>
                  </a:cubicBezTo>
                  <a:cubicBezTo>
                    <a:pt x="40" y="64"/>
                    <a:pt x="40" y="64"/>
                    <a:pt x="40" y="64"/>
                  </a:cubicBezTo>
                  <a:cubicBezTo>
                    <a:pt x="43" y="62"/>
                    <a:pt x="43" y="62"/>
                    <a:pt x="43" y="62"/>
                  </a:cubicBezTo>
                  <a:cubicBezTo>
                    <a:pt x="43" y="59"/>
                    <a:pt x="43" y="59"/>
                    <a:pt x="43" y="59"/>
                  </a:cubicBezTo>
                  <a:cubicBezTo>
                    <a:pt x="40" y="54"/>
                    <a:pt x="40" y="54"/>
                    <a:pt x="40" y="54"/>
                  </a:cubicBezTo>
                  <a:cubicBezTo>
                    <a:pt x="40" y="49"/>
                    <a:pt x="40" y="49"/>
                    <a:pt x="40" y="49"/>
                  </a:cubicBezTo>
                  <a:cubicBezTo>
                    <a:pt x="41" y="49"/>
                    <a:pt x="41" y="49"/>
                    <a:pt x="41" y="49"/>
                  </a:cubicBezTo>
                  <a:cubicBezTo>
                    <a:pt x="39" y="44"/>
                    <a:pt x="39" y="44"/>
                    <a:pt x="39" y="44"/>
                  </a:cubicBezTo>
                  <a:cubicBezTo>
                    <a:pt x="38" y="42"/>
                    <a:pt x="38" y="42"/>
                    <a:pt x="38" y="42"/>
                  </a:cubicBezTo>
                  <a:cubicBezTo>
                    <a:pt x="38" y="42"/>
                    <a:pt x="33" y="41"/>
                    <a:pt x="33" y="41"/>
                  </a:cubicBezTo>
                  <a:cubicBezTo>
                    <a:pt x="32" y="41"/>
                    <a:pt x="28" y="39"/>
                    <a:pt x="28" y="39"/>
                  </a:cubicBezTo>
                  <a:cubicBezTo>
                    <a:pt x="26" y="34"/>
                    <a:pt x="26" y="34"/>
                    <a:pt x="26" y="34"/>
                  </a:cubicBezTo>
                  <a:cubicBezTo>
                    <a:pt x="24" y="26"/>
                    <a:pt x="24" y="26"/>
                    <a:pt x="24" y="26"/>
                  </a:cubicBezTo>
                  <a:cubicBezTo>
                    <a:pt x="26" y="23"/>
                    <a:pt x="26" y="23"/>
                    <a:pt x="26" y="23"/>
                  </a:cubicBezTo>
                  <a:cubicBezTo>
                    <a:pt x="25" y="16"/>
                    <a:pt x="25" y="16"/>
                    <a:pt x="25" y="16"/>
                  </a:cubicBezTo>
                  <a:cubicBezTo>
                    <a:pt x="30" y="16"/>
                    <a:pt x="30" y="16"/>
                    <a:pt x="30" y="16"/>
                  </a:cubicBezTo>
                  <a:cubicBezTo>
                    <a:pt x="32" y="20"/>
                    <a:pt x="32" y="20"/>
                    <a:pt x="32" y="20"/>
                  </a:cubicBezTo>
                  <a:cubicBezTo>
                    <a:pt x="36" y="20"/>
                    <a:pt x="36" y="20"/>
                    <a:pt x="36" y="20"/>
                  </a:cubicBezTo>
                  <a:cubicBezTo>
                    <a:pt x="36" y="17"/>
                    <a:pt x="36" y="17"/>
                    <a:pt x="36" y="17"/>
                  </a:cubicBezTo>
                  <a:cubicBezTo>
                    <a:pt x="37" y="15"/>
                    <a:pt x="37" y="15"/>
                    <a:pt x="37" y="15"/>
                  </a:cubicBezTo>
                  <a:cubicBezTo>
                    <a:pt x="38" y="16"/>
                    <a:pt x="38" y="16"/>
                    <a:pt x="38" y="16"/>
                  </a:cubicBezTo>
                  <a:cubicBezTo>
                    <a:pt x="37" y="10"/>
                    <a:pt x="37" y="10"/>
                    <a:pt x="37" y="10"/>
                  </a:cubicBezTo>
                  <a:cubicBezTo>
                    <a:pt x="39" y="6"/>
                    <a:pt x="39" y="6"/>
                    <a:pt x="39" y="6"/>
                  </a:cubicBezTo>
                  <a:cubicBezTo>
                    <a:pt x="39" y="2"/>
                    <a:pt x="39" y="2"/>
                    <a:pt x="39" y="2"/>
                  </a:cubicBezTo>
                  <a:cubicBezTo>
                    <a:pt x="37" y="0"/>
                    <a:pt x="37" y="0"/>
                    <a:pt x="37" y="0"/>
                  </a:cubicBezTo>
                  <a:cubicBezTo>
                    <a:pt x="35" y="0"/>
                    <a:pt x="35" y="0"/>
                    <a:pt x="35" y="0"/>
                  </a:cubicBezTo>
                  <a:cubicBezTo>
                    <a:pt x="28" y="1"/>
                    <a:pt x="28" y="1"/>
                    <a:pt x="28" y="1"/>
                  </a:cubicBezTo>
                  <a:cubicBezTo>
                    <a:pt x="27" y="0"/>
                    <a:pt x="27" y="0"/>
                    <a:pt x="27" y="0"/>
                  </a:cubicBezTo>
                  <a:cubicBezTo>
                    <a:pt x="27" y="5"/>
                    <a:pt x="27" y="5"/>
                    <a:pt x="27" y="5"/>
                  </a:cubicBezTo>
                  <a:lnTo>
                    <a:pt x="27" y="6"/>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05" name="Freeform 382"/>
            <p:cNvSpPr>
              <a:spLocks/>
            </p:cNvSpPr>
            <p:nvPr/>
          </p:nvSpPr>
          <p:spPr bwMode="auto">
            <a:xfrm>
              <a:off x="6048666" y="3737109"/>
              <a:ext cx="180145" cy="138677"/>
            </a:xfrm>
            <a:custGeom>
              <a:avLst/>
              <a:gdLst>
                <a:gd name="T0" fmla="*/ 148299 w 144"/>
                <a:gd name="T1" fmla="*/ 102401 h 109"/>
                <a:gd name="T2" fmla="*/ 156104 w 144"/>
                <a:gd name="T3" fmla="*/ 102401 h 109"/>
                <a:gd name="T4" fmla="*/ 179520 w 144"/>
                <a:gd name="T5" fmla="*/ 71292 h 109"/>
                <a:gd name="T6" fmla="*/ 187325 w 144"/>
                <a:gd name="T7" fmla="*/ 63514 h 109"/>
                <a:gd name="T8" fmla="*/ 171715 w 144"/>
                <a:gd name="T9" fmla="*/ 63514 h 109"/>
                <a:gd name="T10" fmla="*/ 140494 w 144"/>
                <a:gd name="T11" fmla="*/ 32405 h 109"/>
                <a:gd name="T12" fmla="*/ 124883 w 144"/>
                <a:gd name="T13" fmla="*/ 0 h 109"/>
                <a:gd name="T14" fmla="*/ 117078 w 144"/>
                <a:gd name="T15" fmla="*/ 0 h 109"/>
                <a:gd name="T16" fmla="*/ 70247 w 144"/>
                <a:gd name="T17" fmla="*/ 24628 h 109"/>
                <a:gd name="T18" fmla="*/ 31221 w 144"/>
                <a:gd name="T19" fmla="*/ 55737 h 109"/>
                <a:gd name="T20" fmla="*/ 7805 w 144"/>
                <a:gd name="T21" fmla="*/ 86846 h 109"/>
                <a:gd name="T22" fmla="*/ 0 w 144"/>
                <a:gd name="T23" fmla="*/ 110178 h 109"/>
                <a:gd name="T24" fmla="*/ 0 w 144"/>
                <a:gd name="T25" fmla="*/ 125732 h 109"/>
                <a:gd name="T26" fmla="*/ 7805 w 144"/>
                <a:gd name="T27" fmla="*/ 141287 h 109"/>
                <a:gd name="T28" fmla="*/ 46831 w 144"/>
                <a:gd name="T29" fmla="*/ 133510 h 109"/>
                <a:gd name="T30" fmla="*/ 46831 w 144"/>
                <a:gd name="T31" fmla="*/ 141287 h 109"/>
                <a:gd name="T32" fmla="*/ 54636 w 144"/>
                <a:gd name="T33" fmla="*/ 110178 h 109"/>
                <a:gd name="T34" fmla="*/ 93663 w 144"/>
                <a:gd name="T35" fmla="*/ 110178 h 109"/>
                <a:gd name="T36" fmla="*/ 124883 w 144"/>
                <a:gd name="T37" fmla="*/ 110178 h 109"/>
                <a:gd name="T38" fmla="*/ 148299 w 144"/>
                <a:gd name="T39" fmla="*/ 102401 h 1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09"/>
                <a:gd name="T62" fmla="*/ 144 w 144"/>
                <a:gd name="T63" fmla="*/ 109 h 10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lnTo>
                    <a:pt x="114" y="79"/>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06" name="Freeform 383"/>
            <p:cNvSpPr>
              <a:spLocks/>
            </p:cNvSpPr>
            <p:nvPr/>
          </p:nvSpPr>
          <p:spPr bwMode="auto">
            <a:xfrm>
              <a:off x="6048666" y="3737109"/>
              <a:ext cx="180145" cy="138677"/>
            </a:xfrm>
            <a:custGeom>
              <a:avLst/>
              <a:gdLst>
                <a:gd name="T0" fmla="*/ 148299 w 144"/>
                <a:gd name="T1" fmla="*/ 102401 h 109"/>
                <a:gd name="T2" fmla="*/ 156104 w 144"/>
                <a:gd name="T3" fmla="*/ 102401 h 109"/>
                <a:gd name="T4" fmla="*/ 179520 w 144"/>
                <a:gd name="T5" fmla="*/ 71292 h 109"/>
                <a:gd name="T6" fmla="*/ 187325 w 144"/>
                <a:gd name="T7" fmla="*/ 63514 h 109"/>
                <a:gd name="T8" fmla="*/ 171715 w 144"/>
                <a:gd name="T9" fmla="*/ 63514 h 109"/>
                <a:gd name="T10" fmla="*/ 140494 w 144"/>
                <a:gd name="T11" fmla="*/ 32405 h 109"/>
                <a:gd name="T12" fmla="*/ 124883 w 144"/>
                <a:gd name="T13" fmla="*/ 0 h 109"/>
                <a:gd name="T14" fmla="*/ 117078 w 144"/>
                <a:gd name="T15" fmla="*/ 0 h 109"/>
                <a:gd name="T16" fmla="*/ 70247 w 144"/>
                <a:gd name="T17" fmla="*/ 24628 h 109"/>
                <a:gd name="T18" fmla="*/ 31221 w 144"/>
                <a:gd name="T19" fmla="*/ 55737 h 109"/>
                <a:gd name="T20" fmla="*/ 7805 w 144"/>
                <a:gd name="T21" fmla="*/ 86846 h 109"/>
                <a:gd name="T22" fmla="*/ 0 w 144"/>
                <a:gd name="T23" fmla="*/ 110178 h 109"/>
                <a:gd name="T24" fmla="*/ 0 w 144"/>
                <a:gd name="T25" fmla="*/ 125732 h 109"/>
                <a:gd name="T26" fmla="*/ 7805 w 144"/>
                <a:gd name="T27" fmla="*/ 141287 h 109"/>
                <a:gd name="T28" fmla="*/ 46831 w 144"/>
                <a:gd name="T29" fmla="*/ 133510 h 109"/>
                <a:gd name="T30" fmla="*/ 46831 w 144"/>
                <a:gd name="T31" fmla="*/ 141287 h 109"/>
                <a:gd name="T32" fmla="*/ 54636 w 144"/>
                <a:gd name="T33" fmla="*/ 110178 h 109"/>
                <a:gd name="T34" fmla="*/ 93663 w 144"/>
                <a:gd name="T35" fmla="*/ 110178 h 109"/>
                <a:gd name="T36" fmla="*/ 124883 w 144"/>
                <a:gd name="T37" fmla="*/ 110178 h 10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4"/>
                <a:gd name="T58" fmla="*/ 0 h 109"/>
                <a:gd name="T59" fmla="*/ 144 w 144"/>
                <a:gd name="T60" fmla="*/ 109 h 10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07" name="Freeform 384"/>
            <p:cNvSpPr>
              <a:spLocks/>
            </p:cNvSpPr>
            <p:nvPr/>
          </p:nvSpPr>
          <p:spPr bwMode="auto">
            <a:xfrm>
              <a:off x="6167717" y="3838399"/>
              <a:ext cx="22900" cy="6233"/>
            </a:xfrm>
            <a:custGeom>
              <a:avLst/>
              <a:gdLst>
                <a:gd name="T0" fmla="*/ 0 w 18"/>
                <a:gd name="T1" fmla="*/ 6350 h 6"/>
                <a:gd name="T2" fmla="*/ 7937 w 18"/>
                <a:gd name="T3" fmla="*/ 6350 h 6"/>
                <a:gd name="T4" fmla="*/ 23812 w 18"/>
                <a:gd name="T5" fmla="*/ 0 h 6"/>
                <a:gd name="T6" fmla="*/ 0 w 18"/>
                <a:gd name="T7" fmla="*/ 6350 h 6"/>
                <a:gd name="T8" fmla="*/ 0 60000 65536"/>
                <a:gd name="T9" fmla="*/ 0 60000 65536"/>
                <a:gd name="T10" fmla="*/ 0 60000 65536"/>
                <a:gd name="T11" fmla="*/ 0 60000 65536"/>
                <a:gd name="T12" fmla="*/ 0 w 18"/>
                <a:gd name="T13" fmla="*/ 0 h 6"/>
                <a:gd name="T14" fmla="*/ 18 w 18"/>
                <a:gd name="T15" fmla="*/ 6 h 6"/>
              </a:gdLst>
              <a:ahLst/>
              <a:cxnLst>
                <a:cxn ang="T8">
                  <a:pos x="T0" y="T1"/>
                </a:cxn>
                <a:cxn ang="T9">
                  <a:pos x="T2" y="T3"/>
                </a:cxn>
                <a:cxn ang="T10">
                  <a:pos x="T4" y="T5"/>
                </a:cxn>
                <a:cxn ang="T11">
                  <a:pos x="T6" y="T7"/>
                </a:cxn>
              </a:cxnLst>
              <a:rect l="T12" t="T13" r="T14" b="T15"/>
              <a:pathLst>
                <a:path w="18" h="6">
                  <a:moveTo>
                    <a:pt x="0" y="6"/>
                  </a:moveTo>
                  <a:lnTo>
                    <a:pt x="6" y="6"/>
                  </a:lnTo>
                  <a:lnTo>
                    <a:pt x="18" y="0"/>
                  </a:lnTo>
                  <a:lnTo>
                    <a:pt x="0" y="6"/>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08" name="Freeform 385"/>
            <p:cNvSpPr>
              <a:spLocks/>
            </p:cNvSpPr>
            <p:nvPr/>
          </p:nvSpPr>
          <p:spPr bwMode="auto">
            <a:xfrm>
              <a:off x="6167717" y="3838399"/>
              <a:ext cx="22900" cy="6233"/>
            </a:xfrm>
            <a:custGeom>
              <a:avLst/>
              <a:gdLst>
                <a:gd name="T0" fmla="*/ 0 w 18"/>
                <a:gd name="T1" fmla="*/ 6350 h 6"/>
                <a:gd name="T2" fmla="*/ 7937 w 18"/>
                <a:gd name="T3" fmla="*/ 6350 h 6"/>
                <a:gd name="T4" fmla="*/ 23812 w 18"/>
                <a:gd name="T5" fmla="*/ 0 h 6"/>
                <a:gd name="T6" fmla="*/ 0 60000 65536"/>
                <a:gd name="T7" fmla="*/ 0 60000 65536"/>
                <a:gd name="T8" fmla="*/ 0 60000 65536"/>
                <a:gd name="T9" fmla="*/ 0 w 18"/>
                <a:gd name="T10" fmla="*/ 0 h 6"/>
                <a:gd name="T11" fmla="*/ 18 w 18"/>
                <a:gd name="T12" fmla="*/ 6 h 6"/>
              </a:gdLst>
              <a:ahLst/>
              <a:cxnLst>
                <a:cxn ang="T6">
                  <a:pos x="T0" y="T1"/>
                </a:cxn>
                <a:cxn ang="T7">
                  <a:pos x="T2" y="T3"/>
                </a:cxn>
                <a:cxn ang="T8">
                  <a:pos x="T4" y="T5"/>
                </a:cxn>
              </a:cxnLst>
              <a:rect l="T9" t="T10" r="T11" b="T12"/>
              <a:pathLst>
                <a:path w="18" h="6">
                  <a:moveTo>
                    <a:pt x="0" y="6"/>
                  </a:moveTo>
                  <a:lnTo>
                    <a:pt x="6" y="6"/>
                  </a:lnTo>
                  <a:lnTo>
                    <a:pt x="18" y="0"/>
                  </a:lnTo>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09" name="Freeform 386"/>
            <p:cNvSpPr>
              <a:spLocks/>
            </p:cNvSpPr>
            <p:nvPr/>
          </p:nvSpPr>
          <p:spPr bwMode="auto">
            <a:xfrm>
              <a:off x="6092898" y="3844635"/>
              <a:ext cx="97706" cy="129329"/>
            </a:xfrm>
            <a:custGeom>
              <a:avLst/>
              <a:gdLst>
                <a:gd name="T0" fmla="*/ 78154 w 78"/>
                <a:gd name="T1" fmla="*/ 7751 h 102"/>
                <a:gd name="T2" fmla="*/ 78154 w 78"/>
                <a:gd name="T3" fmla="*/ 0 h 102"/>
                <a:gd name="T4" fmla="*/ 46892 w 78"/>
                <a:gd name="T5" fmla="*/ 0 h 102"/>
                <a:gd name="T6" fmla="*/ 7815 w 78"/>
                <a:gd name="T7" fmla="*/ 0 h 102"/>
                <a:gd name="T8" fmla="*/ 0 w 78"/>
                <a:gd name="T9" fmla="*/ 31003 h 102"/>
                <a:gd name="T10" fmla="*/ 15631 w 78"/>
                <a:gd name="T11" fmla="*/ 54255 h 102"/>
                <a:gd name="T12" fmla="*/ 0 w 78"/>
                <a:gd name="T13" fmla="*/ 85258 h 102"/>
                <a:gd name="T14" fmla="*/ 0 w 78"/>
                <a:gd name="T15" fmla="*/ 108511 h 102"/>
                <a:gd name="T16" fmla="*/ 7815 w 78"/>
                <a:gd name="T17" fmla="*/ 131763 h 102"/>
                <a:gd name="T18" fmla="*/ 46892 w 78"/>
                <a:gd name="T19" fmla="*/ 131763 h 102"/>
                <a:gd name="T20" fmla="*/ 101600 w 78"/>
                <a:gd name="T21" fmla="*/ 116261 h 102"/>
                <a:gd name="T22" fmla="*/ 78154 w 78"/>
                <a:gd name="T23" fmla="*/ 46505 h 102"/>
                <a:gd name="T24" fmla="*/ 78154 w 78"/>
                <a:gd name="T25" fmla="*/ 7751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8"/>
                <a:gd name="T40" fmla="*/ 0 h 102"/>
                <a:gd name="T41" fmla="*/ 78 w 78"/>
                <a:gd name="T42" fmla="*/ 102 h 1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8" h="102">
                  <a:moveTo>
                    <a:pt x="60" y="6"/>
                  </a:moveTo>
                  <a:lnTo>
                    <a:pt x="60" y="0"/>
                  </a:lnTo>
                  <a:lnTo>
                    <a:pt x="36" y="0"/>
                  </a:lnTo>
                  <a:lnTo>
                    <a:pt x="6" y="0"/>
                  </a:lnTo>
                  <a:lnTo>
                    <a:pt x="0" y="24"/>
                  </a:lnTo>
                  <a:lnTo>
                    <a:pt x="12" y="42"/>
                  </a:lnTo>
                  <a:lnTo>
                    <a:pt x="0" y="66"/>
                  </a:lnTo>
                  <a:lnTo>
                    <a:pt x="0" y="84"/>
                  </a:lnTo>
                  <a:lnTo>
                    <a:pt x="6" y="102"/>
                  </a:lnTo>
                  <a:lnTo>
                    <a:pt x="36" y="102"/>
                  </a:lnTo>
                  <a:lnTo>
                    <a:pt x="78" y="90"/>
                  </a:lnTo>
                  <a:lnTo>
                    <a:pt x="60" y="36"/>
                  </a:lnTo>
                  <a:lnTo>
                    <a:pt x="60" y="6"/>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10" name="Freeform 387"/>
            <p:cNvSpPr>
              <a:spLocks/>
            </p:cNvSpPr>
            <p:nvPr/>
          </p:nvSpPr>
          <p:spPr bwMode="auto">
            <a:xfrm>
              <a:off x="6237942" y="3744909"/>
              <a:ext cx="285483" cy="261775"/>
            </a:xfrm>
            <a:custGeom>
              <a:avLst/>
              <a:gdLst>
                <a:gd name="T0" fmla="*/ 156243 w 228"/>
                <a:gd name="T1" fmla="*/ 196447 h 205"/>
                <a:gd name="T2" fmla="*/ 195304 w 228"/>
                <a:gd name="T3" fmla="*/ 212059 h 205"/>
                <a:gd name="T4" fmla="*/ 234365 w 228"/>
                <a:gd name="T5" fmla="*/ 157418 h 205"/>
                <a:gd name="T6" fmla="*/ 257801 w 228"/>
                <a:gd name="T7" fmla="*/ 94971 h 205"/>
                <a:gd name="T8" fmla="*/ 265613 w 228"/>
                <a:gd name="T9" fmla="*/ 71554 h 205"/>
                <a:gd name="T10" fmla="*/ 289050 w 228"/>
                <a:gd name="T11" fmla="*/ 63748 h 205"/>
                <a:gd name="T12" fmla="*/ 296862 w 228"/>
                <a:gd name="T13" fmla="*/ 40330 h 205"/>
                <a:gd name="T14" fmla="*/ 273426 w 228"/>
                <a:gd name="T15" fmla="*/ 32524 h 205"/>
                <a:gd name="T16" fmla="*/ 257801 w 228"/>
                <a:gd name="T17" fmla="*/ 9107 h 205"/>
                <a:gd name="T18" fmla="*/ 265613 w 228"/>
                <a:gd name="T19" fmla="*/ 0 h 205"/>
                <a:gd name="T20" fmla="*/ 226553 w 228"/>
                <a:gd name="T21" fmla="*/ 32524 h 205"/>
                <a:gd name="T22" fmla="*/ 187492 w 228"/>
                <a:gd name="T23" fmla="*/ 40330 h 205"/>
                <a:gd name="T24" fmla="*/ 140619 w 228"/>
                <a:gd name="T25" fmla="*/ 40330 h 205"/>
                <a:gd name="T26" fmla="*/ 109370 w 228"/>
                <a:gd name="T27" fmla="*/ 55942 h 205"/>
                <a:gd name="T28" fmla="*/ 62497 w 228"/>
                <a:gd name="T29" fmla="*/ 40330 h 205"/>
                <a:gd name="T30" fmla="*/ 31249 w 228"/>
                <a:gd name="T31" fmla="*/ 40330 h 205"/>
                <a:gd name="T32" fmla="*/ 15624 w 228"/>
                <a:gd name="T33" fmla="*/ 63748 h 205"/>
                <a:gd name="T34" fmla="*/ 15624 w 228"/>
                <a:gd name="T35" fmla="*/ 87165 h 205"/>
                <a:gd name="T36" fmla="*/ 15624 w 228"/>
                <a:gd name="T37" fmla="*/ 118389 h 205"/>
                <a:gd name="T38" fmla="*/ 0 w 228"/>
                <a:gd name="T39" fmla="*/ 173030 h 205"/>
                <a:gd name="T40" fmla="*/ 0 w 228"/>
                <a:gd name="T41" fmla="*/ 212059 h 205"/>
                <a:gd name="T42" fmla="*/ 31249 w 228"/>
                <a:gd name="T43" fmla="*/ 212059 h 205"/>
                <a:gd name="T44" fmla="*/ 62497 w 228"/>
                <a:gd name="T45" fmla="*/ 251088 h 205"/>
                <a:gd name="T46" fmla="*/ 93746 w 228"/>
                <a:gd name="T47" fmla="*/ 258894 h 205"/>
                <a:gd name="T48" fmla="*/ 124995 w 228"/>
                <a:gd name="T49" fmla="*/ 266700 h 205"/>
                <a:gd name="T50" fmla="*/ 132807 w 228"/>
                <a:gd name="T51" fmla="*/ 227671 h 205"/>
                <a:gd name="T52" fmla="*/ 156243 w 228"/>
                <a:gd name="T53" fmla="*/ 196447 h 20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8"/>
                <a:gd name="T82" fmla="*/ 0 h 205"/>
                <a:gd name="T83" fmla="*/ 228 w 228"/>
                <a:gd name="T84" fmla="*/ 205 h 20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8" h="205">
                  <a:moveTo>
                    <a:pt x="120" y="151"/>
                  </a:moveTo>
                  <a:lnTo>
                    <a:pt x="150" y="163"/>
                  </a:lnTo>
                  <a:lnTo>
                    <a:pt x="180" y="121"/>
                  </a:lnTo>
                  <a:lnTo>
                    <a:pt x="198" y="73"/>
                  </a:lnTo>
                  <a:lnTo>
                    <a:pt x="204" y="55"/>
                  </a:lnTo>
                  <a:lnTo>
                    <a:pt x="222" y="49"/>
                  </a:lnTo>
                  <a:lnTo>
                    <a:pt x="228" y="31"/>
                  </a:lnTo>
                  <a:lnTo>
                    <a:pt x="210" y="25"/>
                  </a:lnTo>
                  <a:lnTo>
                    <a:pt x="198" y="7"/>
                  </a:lnTo>
                  <a:lnTo>
                    <a:pt x="204" y="0"/>
                  </a:lnTo>
                  <a:lnTo>
                    <a:pt x="174" y="25"/>
                  </a:lnTo>
                  <a:lnTo>
                    <a:pt x="144" y="31"/>
                  </a:lnTo>
                  <a:lnTo>
                    <a:pt x="108" y="31"/>
                  </a:lnTo>
                  <a:lnTo>
                    <a:pt x="84" y="43"/>
                  </a:lnTo>
                  <a:lnTo>
                    <a:pt x="48" y="31"/>
                  </a:lnTo>
                  <a:lnTo>
                    <a:pt x="24" y="31"/>
                  </a:lnTo>
                  <a:lnTo>
                    <a:pt x="12" y="49"/>
                  </a:lnTo>
                  <a:lnTo>
                    <a:pt x="12" y="67"/>
                  </a:lnTo>
                  <a:lnTo>
                    <a:pt x="12" y="91"/>
                  </a:lnTo>
                  <a:lnTo>
                    <a:pt x="0" y="133"/>
                  </a:lnTo>
                  <a:lnTo>
                    <a:pt x="0" y="163"/>
                  </a:lnTo>
                  <a:lnTo>
                    <a:pt x="24" y="163"/>
                  </a:lnTo>
                  <a:lnTo>
                    <a:pt x="48" y="193"/>
                  </a:lnTo>
                  <a:lnTo>
                    <a:pt x="72" y="199"/>
                  </a:lnTo>
                  <a:lnTo>
                    <a:pt x="96" y="205"/>
                  </a:lnTo>
                  <a:lnTo>
                    <a:pt x="102" y="175"/>
                  </a:lnTo>
                  <a:lnTo>
                    <a:pt x="120" y="151"/>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11" name="Freeform 388"/>
            <p:cNvSpPr>
              <a:spLocks/>
            </p:cNvSpPr>
            <p:nvPr/>
          </p:nvSpPr>
          <p:spPr bwMode="auto">
            <a:xfrm>
              <a:off x="6515801" y="3844619"/>
              <a:ext cx="308385" cy="183864"/>
            </a:xfrm>
            <a:custGeom>
              <a:avLst/>
              <a:gdLst>
                <a:gd name="T0" fmla="*/ 101677 w 246"/>
                <a:gd name="T1" fmla="*/ 46831 h 144"/>
                <a:gd name="T2" fmla="*/ 93856 w 246"/>
                <a:gd name="T3" fmla="*/ 62442 h 144"/>
                <a:gd name="T4" fmla="*/ 46928 w 246"/>
                <a:gd name="T5" fmla="*/ 78052 h 144"/>
                <a:gd name="T6" fmla="*/ 15643 w 246"/>
                <a:gd name="T7" fmla="*/ 85857 h 144"/>
                <a:gd name="T8" fmla="*/ 0 w 246"/>
                <a:gd name="T9" fmla="*/ 132689 h 144"/>
                <a:gd name="T10" fmla="*/ 15643 w 246"/>
                <a:gd name="T11" fmla="*/ 171715 h 144"/>
                <a:gd name="T12" fmla="*/ 23464 w 246"/>
                <a:gd name="T13" fmla="*/ 187325 h 144"/>
                <a:gd name="T14" fmla="*/ 54749 w 246"/>
                <a:gd name="T15" fmla="*/ 171715 h 144"/>
                <a:gd name="T16" fmla="*/ 86035 w 246"/>
                <a:gd name="T17" fmla="*/ 171715 h 144"/>
                <a:gd name="T18" fmla="*/ 101677 w 246"/>
                <a:gd name="T19" fmla="*/ 179520 h 144"/>
                <a:gd name="T20" fmla="*/ 101677 w 246"/>
                <a:gd name="T21" fmla="*/ 148299 h 144"/>
                <a:gd name="T22" fmla="*/ 148605 w 246"/>
                <a:gd name="T23" fmla="*/ 140494 h 144"/>
                <a:gd name="T24" fmla="*/ 187712 w 246"/>
                <a:gd name="T25" fmla="*/ 156104 h 144"/>
                <a:gd name="T26" fmla="*/ 258104 w 246"/>
                <a:gd name="T27" fmla="*/ 140494 h 144"/>
                <a:gd name="T28" fmla="*/ 320675 w 246"/>
                <a:gd name="T29" fmla="*/ 132689 h 144"/>
                <a:gd name="T30" fmla="*/ 320675 w 246"/>
                <a:gd name="T31" fmla="*/ 132689 h 144"/>
                <a:gd name="T32" fmla="*/ 273747 w 246"/>
                <a:gd name="T33" fmla="*/ 85857 h 144"/>
                <a:gd name="T34" fmla="*/ 242462 w 246"/>
                <a:gd name="T35" fmla="*/ 70247 h 144"/>
                <a:gd name="T36" fmla="*/ 218998 w 246"/>
                <a:gd name="T37" fmla="*/ 31221 h 144"/>
                <a:gd name="T38" fmla="*/ 203355 w 246"/>
                <a:gd name="T39" fmla="*/ 0 h 144"/>
                <a:gd name="T40" fmla="*/ 140784 w 246"/>
                <a:gd name="T41" fmla="*/ 39026 h 144"/>
                <a:gd name="T42" fmla="*/ 101677 w 246"/>
                <a:gd name="T43" fmla="*/ 46831 h 1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46"/>
                <a:gd name="T67" fmla="*/ 0 h 144"/>
                <a:gd name="T68" fmla="*/ 246 w 246"/>
                <a:gd name="T69" fmla="*/ 144 h 1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46" h="144">
                  <a:moveTo>
                    <a:pt x="78" y="36"/>
                  </a:moveTo>
                  <a:lnTo>
                    <a:pt x="72" y="48"/>
                  </a:lnTo>
                  <a:lnTo>
                    <a:pt x="36" y="60"/>
                  </a:lnTo>
                  <a:lnTo>
                    <a:pt x="12" y="66"/>
                  </a:lnTo>
                  <a:lnTo>
                    <a:pt x="0" y="102"/>
                  </a:lnTo>
                  <a:lnTo>
                    <a:pt x="12" y="132"/>
                  </a:lnTo>
                  <a:lnTo>
                    <a:pt x="18" y="144"/>
                  </a:lnTo>
                  <a:lnTo>
                    <a:pt x="42" y="132"/>
                  </a:lnTo>
                  <a:lnTo>
                    <a:pt x="66" y="132"/>
                  </a:lnTo>
                  <a:lnTo>
                    <a:pt x="78" y="138"/>
                  </a:lnTo>
                  <a:lnTo>
                    <a:pt x="78" y="114"/>
                  </a:lnTo>
                  <a:lnTo>
                    <a:pt x="114" y="108"/>
                  </a:lnTo>
                  <a:lnTo>
                    <a:pt x="144" y="120"/>
                  </a:lnTo>
                  <a:lnTo>
                    <a:pt x="198" y="108"/>
                  </a:lnTo>
                  <a:lnTo>
                    <a:pt x="246" y="102"/>
                  </a:lnTo>
                  <a:lnTo>
                    <a:pt x="210" y="66"/>
                  </a:lnTo>
                  <a:lnTo>
                    <a:pt x="186" y="54"/>
                  </a:lnTo>
                  <a:lnTo>
                    <a:pt x="168" y="24"/>
                  </a:lnTo>
                  <a:lnTo>
                    <a:pt x="156" y="0"/>
                  </a:lnTo>
                  <a:lnTo>
                    <a:pt x="108" y="30"/>
                  </a:lnTo>
                  <a:lnTo>
                    <a:pt x="78" y="36"/>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12" name="Freeform 389"/>
            <p:cNvSpPr>
              <a:spLocks/>
            </p:cNvSpPr>
            <p:nvPr/>
          </p:nvSpPr>
          <p:spPr bwMode="auto">
            <a:xfrm>
              <a:off x="6425750" y="4014478"/>
              <a:ext cx="187779" cy="229051"/>
            </a:xfrm>
            <a:custGeom>
              <a:avLst/>
              <a:gdLst>
                <a:gd name="T0" fmla="*/ 85916 w 150"/>
                <a:gd name="T1" fmla="*/ 210026 h 180"/>
                <a:gd name="T2" fmla="*/ 117158 w 150"/>
                <a:gd name="T3" fmla="*/ 186690 h 180"/>
                <a:gd name="T4" fmla="*/ 148400 w 150"/>
                <a:gd name="T5" fmla="*/ 124460 h 180"/>
                <a:gd name="T6" fmla="*/ 171831 w 150"/>
                <a:gd name="T7" fmla="*/ 101124 h 180"/>
                <a:gd name="T8" fmla="*/ 195263 w 150"/>
                <a:gd name="T9" fmla="*/ 7779 h 180"/>
                <a:gd name="T10" fmla="*/ 179642 w 150"/>
                <a:gd name="T11" fmla="*/ 0 h 180"/>
                <a:gd name="T12" fmla="*/ 148400 w 150"/>
                <a:gd name="T13" fmla="*/ 0 h 180"/>
                <a:gd name="T14" fmla="*/ 117158 w 150"/>
                <a:gd name="T15" fmla="*/ 15557 h 180"/>
                <a:gd name="T16" fmla="*/ 93726 w 150"/>
                <a:gd name="T17" fmla="*/ 23336 h 180"/>
                <a:gd name="T18" fmla="*/ 78105 w 150"/>
                <a:gd name="T19" fmla="*/ 38894 h 180"/>
                <a:gd name="T20" fmla="*/ 62484 w 150"/>
                <a:gd name="T21" fmla="*/ 46672 h 180"/>
                <a:gd name="T22" fmla="*/ 62484 w 150"/>
                <a:gd name="T23" fmla="*/ 62230 h 180"/>
                <a:gd name="T24" fmla="*/ 78105 w 150"/>
                <a:gd name="T25" fmla="*/ 70009 h 180"/>
                <a:gd name="T26" fmla="*/ 70295 w 150"/>
                <a:gd name="T27" fmla="*/ 108902 h 180"/>
                <a:gd name="T28" fmla="*/ 62484 w 150"/>
                <a:gd name="T29" fmla="*/ 147796 h 180"/>
                <a:gd name="T30" fmla="*/ 39053 w 150"/>
                <a:gd name="T31" fmla="*/ 147796 h 180"/>
                <a:gd name="T32" fmla="*/ 15621 w 150"/>
                <a:gd name="T33" fmla="*/ 163353 h 180"/>
                <a:gd name="T34" fmla="*/ 0 w 150"/>
                <a:gd name="T35" fmla="*/ 178911 h 180"/>
                <a:gd name="T36" fmla="*/ 23432 w 150"/>
                <a:gd name="T37" fmla="*/ 202247 h 180"/>
                <a:gd name="T38" fmla="*/ 31242 w 150"/>
                <a:gd name="T39" fmla="*/ 233362 h 180"/>
                <a:gd name="T40" fmla="*/ 54674 w 150"/>
                <a:gd name="T41" fmla="*/ 210026 h 180"/>
                <a:gd name="T42" fmla="*/ 85916 w 150"/>
                <a:gd name="T43" fmla="*/ 210026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0"/>
                <a:gd name="T67" fmla="*/ 0 h 180"/>
                <a:gd name="T68" fmla="*/ 150 w 150"/>
                <a:gd name="T69" fmla="*/ 180 h 18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0" h="180">
                  <a:moveTo>
                    <a:pt x="66" y="162"/>
                  </a:moveTo>
                  <a:lnTo>
                    <a:pt x="90" y="144"/>
                  </a:lnTo>
                  <a:lnTo>
                    <a:pt x="114" y="96"/>
                  </a:lnTo>
                  <a:lnTo>
                    <a:pt x="132" y="78"/>
                  </a:lnTo>
                  <a:lnTo>
                    <a:pt x="150" y="6"/>
                  </a:lnTo>
                  <a:lnTo>
                    <a:pt x="138" y="0"/>
                  </a:lnTo>
                  <a:lnTo>
                    <a:pt x="114" y="0"/>
                  </a:lnTo>
                  <a:lnTo>
                    <a:pt x="90" y="12"/>
                  </a:lnTo>
                  <a:lnTo>
                    <a:pt x="72" y="18"/>
                  </a:lnTo>
                  <a:lnTo>
                    <a:pt x="60" y="30"/>
                  </a:lnTo>
                  <a:lnTo>
                    <a:pt x="48" y="36"/>
                  </a:lnTo>
                  <a:lnTo>
                    <a:pt x="48" y="48"/>
                  </a:lnTo>
                  <a:lnTo>
                    <a:pt x="60" y="54"/>
                  </a:lnTo>
                  <a:lnTo>
                    <a:pt x="54" y="84"/>
                  </a:lnTo>
                  <a:lnTo>
                    <a:pt x="48" y="114"/>
                  </a:lnTo>
                  <a:lnTo>
                    <a:pt x="30" y="114"/>
                  </a:lnTo>
                  <a:lnTo>
                    <a:pt x="12" y="126"/>
                  </a:lnTo>
                  <a:lnTo>
                    <a:pt x="0" y="138"/>
                  </a:lnTo>
                  <a:lnTo>
                    <a:pt x="18" y="156"/>
                  </a:lnTo>
                  <a:lnTo>
                    <a:pt x="24" y="180"/>
                  </a:lnTo>
                  <a:lnTo>
                    <a:pt x="42" y="162"/>
                  </a:lnTo>
                  <a:lnTo>
                    <a:pt x="66" y="162"/>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13" name="Freeform 390"/>
            <p:cNvSpPr>
              <a:spLocks/>
            </p:cNvSpPr>
            <p:nvPr/>
          </p:nvSpPr>
          <p:spPr bwMode="auto">
            <a:xfrm>
              <a:off x="6387542" y="4061222"/>
              <a:ext cx="112972" cy="127771"/>
            </a:xfrm>
            <a:custGeom>
              <a:avLst/>
              <a:gdLst>
                <a:gd name="T0" fmla="*/ 78317 w 90"/>
                <a:gd name="T1" fmla="*/ 99546 h 102"/>
                <a:gd name="T2" fmla="*/ 101812 w 90"/>
                <a:gd name="T3" fmla="*/ 99546 h 102"/>
                <a:gd name="T4" fmla="*/ 109643 w 90"/>
                <a:gd name="T5" fmla="*/ 61259 h 102"/>
                <a:gd name="T6" fmla="*/ 117475 w 90"/>
                <a:gd name="T7" fmla="*/ 22972 h 102"/>
                <a:gd name="T8" fmla="*/ 101812 w 90"/>
                <a:gd name="T9" fmla="*/ 15315 h 102"/>
                <a:gd name="T10" fmla="*/ 101812 w 90"/>
                <a:gd name="T11" fmla="*/ 0 h 102"/>
                <a:gd name="T12" fmla="*/ 62653 w 90"/>
                <a:gd name="T13" fmla="*/ 0 h 102"/>
                <a:gd name="T14" fmla="*/ 0 w 90"/>
                <a:gd name="T15" fmla="*/ 0 h 102"/>
                <a:gd name="T16" fmla="*/ 0 w 90"/>
                <a:gd name="T17" fmla="*/ 22972 h 102"/>
                <a:gd name="T18" fmla="*/ 0 w 90"/>
                <a:gd name="T19" fmla="*/ 68916 h 102"/>
                <a:gd name="T20" fmla="*/ 39158 w 90"/>
                <a:gd name="T21" fmla="*/ 130175 h 102"/>
                <a:gd name="T22" fmla="*/ 54822 w 90"/>
                <a:gd name="T23" fmla="*/ 114860 h 102"/>
                <a:gd name="T24" fmla="*/ 78317 w 90"/>
                <a:gd name="T25" fmla="*/ 99546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0"/>
                <a:gd name="T40" fmla="*/ 0 h 102"/>
                <a:gd name="T41" fmla="*/ 90 w 90"/>
                <a:gd name="T42" fmla="*/ 102 h 1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0" h="102">
                  <a:moveTo>
                    <a:pt x="60" y="78"/>
                  </a:moveTo>
                  <a:lnTo>
                    <a:pt x="78" y="78"/>
                  </a:lnTo>
                  <a:lnTo>
                    <a:pt x="84" y="48"/>
                  </a:lnTo>
                  <a:lnTo>
                    <a:pt x="90" y="18"/>
                  </a:lnTo>
                  <a:lnTo>
                    <a:pt x="78" y="12"/>
                  </a:lnTo>
                  <a:lnTo>
                    <a:pt x="78" y="0"/>
                  </a:lnTo>
                  <a:lnTo>
                    <a:pt x="48" y="0"/>
                  </a:lnTo>
                  <a:lnTo>
                    <a:pt x="0" y="0"/>
                  </a:lnTo>
                  <a:lnTo>
                    <a:pt x="0" y="18"/>
                  </a:lnTo>
                  <a:lnTo>
                    <a:pt x="0" y="54"/>
                  </a:lnTo>
                  <a:lnTo>
                    <a:pt x="30" y="102"/>
                  </a:lnTo>
                  <a:lnTo>
                    <a:pt x="42" y="90"/>
                  </a:lnTo>
                  <a:lnTo>
                    <a:pt x="60" y="78"/>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14" name="Freeform 391"/>
            <p:cNvSpPr>
              <a:spLocks/>
            </p:cNvSpPr>
            <p:nvPr/>
          </p:nvSpPr>
          <p:spPr bwMode="auto">
            <a:xfrm>
              <a:off x="6357052" y="3807241"/>
              <a:ext cx="180145" cy="253983"/>
            </a:xfrm>
            <a:custGeom>
              <a:avLst/>
              <a:gdLst>
                <a:gd name="T0" fmla="*/ 187325 w 144"/>
                <a:gd name="T1" fmla="*/ 227398 h 198"/>
                <a:gd name="T2" fmla="*/ 179520 w 144"/>
                <a:gd name="T3" fmla="*/ 211715 h 198"/>
                <a:gd name="T4" fmla="*/ 163909 w 144"/>
                <a:gd name="T5" fmla="*/ 172509 h 198"/>
                <a:gd name="T6" fmla="*/ 179520 w 144"/>
                <a:gd name="T7" fmla="*/ 125461 h 198"/>
                <a:gd name="T8" fmla="*/ 171715 w 144"/>
                <a:gd name="T9" fmla="*/ 125461 h 198"/>
                <a:gd name="T10" fmla="*/ 148299 w 144"/>
                <a:gd name="T11" fmla="*/ 86254 h 198"/>
                <a:gd name="T12" fmla="*/ 148299 w 144"/>
                <a:gd name="T13" fmla="*/ 62730 h 198"/>
                <a:gd name="T14" fmla="*/ 179520 w 144"/>
                <a:gd name="T15" fmla="*/ 54889 h 198"/>
                <a:gd name="T16" fmla="*/ 163909 w 144"/>
                <a:gd name="T17" fmla="*/ 0 h 198"/>
                <a:gd name="T18" fmla="*/ 163909 w 144"/>
                <a:gd name="T19" fmla="*/ 0 h 198"/>
                <a:gd name="T20" fmla="*/ 140494 w 144"/>
                <a:gd name="T21" fmla="*/ 7841 h 198"/>
                <a:gd name="T22" fmla="*/ 132689 w 144"/>
                <a:gd name="T23" fmla="*/ 31365 h 198"/>
                <a:gd name="T24" fmla="*/ 109273 w 144"/>
                <a:gd name="T25" fmla="*/ 94096 h 198"/>
                <a:gd name="T26" fmla="*/ 70247 w 144"/>
                <a:gd name="T27" fmla="*/ 148985 h 198"/>
                <a:gd name="T28" fmla="*/ 31221 w 144"/>
                <a:gd name="T29" fmla="*/ 133302 h 198"/>
                <a:gd name="T30" fmla="*/ 7805 w 144"/>
                <a:gd name="T31" fmla="*/ 164667 h 198"/>
                <a:gd name="T32" fmla="*/ 0 w 144"/>
                <a:gd name="T33" fmla="*/ 203874 h 198"/>
                <a:gd name="T34" fmla="*/ 23416 w 144"/>
                <a:gd name="T35" fmla="*/ 203874 h 198"/>
                <a:gd name="T36" fmla="*/ 31221 w 144"/>
                <a:gd name="T37" fmla="*/ 258763 h 198"/>
                <a:gd name="T38" fmla="*/ 93663 w 144"/>
                <a:gd name="T39" fmla="*/ 258763 h 198"/>
                <a:gd name="T40" fmla="*/ 132689 w 144"/>
                <a:gd name="T41" fmla="*/ 258763 h 198"/>
                <a:gd name="T42" fmla="*/ 187325 w 144"/>
                <a:gd name="T43" fmla="*/ 227398 h 1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4"/>
                <a:gd name="T67" fmla="*/ 0 h 198"/>
                <a:gd name="T68" fmla="*/ 144 w 144"/>
                <a:gd name="T69" fmla="*/ 198 h 19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4" h="198">
                  <a:moveTo>
                    <a:pt x="144" y="174"/>
                  </a:moveTo>
                  <a:lnTo>
                    <a:pt x="138" y="162"/>
                  </a:lnTo>
                  <a:lnTo>
                    <a:pt x="126" y="132"/>
                  </a:lnTo>
                  <a:lnTo>
                    <a:pt x="138" y="96"/>
                  </a:lnTo>
                  <a:lnTo>
                    <a:pt x="132" y="96"/>
                  </a:lnTo>
                  <a:lnTo>
                    <a:pt x="114" y="66"/>
                  </a:lnTo>
                  <a:lnTo>
                    <a:pt x="114" y="48"/>
                  </a:lnTo>
                  <a:lnTo>
                    <a:pt x="138" y="42"/>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lnTo>
                    <a:pt x="144" y="174"/>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15" name="Freeform 392"/>
            <p:cNvSpPr>
              <a:spLocks/>
            </p:cNvSpPr>
            <p:nvPr/>
          </p:nvSpPr>
          <p:spPr bwMode="auto">
            <a:xfrm>
              <a:off x="6357052" y="3807241"/>
              <a:ext cx="180145" cy="253983"/>
            </a:xfrm>
            <a:custGeom>
              <a:avLst/>
              <a:gdLst>
                <a:gd name="T0" fmla="*/ 187325 w 144"/>
                <a:gd name="T1" fmla="*/ 227398 h 198"/>
                <a:gd name="T2" fmla="*/ 179520 w 144"/>
                <a:gd name="T3" fmla="*/ 211715 h 198"/>
                <a:gd name="T4" fmla="*/ 163909 w 144"/>
                <a:gd name="T5" fmla="*/ 172509 h 198"/>
                <a:gd name="T6" fmla="*/ 179520 w 144"/>
                <a:gd name="T7" fmla="*/ 125461 h 198"/>
                <a:gd name="T8" fmla="*/ 171715 w 144"/>
                <a:gd name="T9" fmla="*/ 125461 h 198"/>
                <a:gd name="T10" fmla="*/ 148299 w 144"/>
                <a:gd name="T11" fmla="*/ 86254 h 198"/>
                <a:gd name="T12" fmla="*/ 148299 w 144"/>
                <a:gd name="T13" fmla="*/ 62730 h 198"/>
                <a:gd name="T14" fmla="*/ 179520 w 144"/>
                <a:gd name="T15" fmla="*/ 54889 h 198"/>
                <a:gd name="T16" fmla="*/ 163909 w 144"/>
                <a:gd name="T17" fmla="*/ 0 h 198"/>
                <a:gd name="T18" fmla="*/ 163909 w 144"/>
                <a:gd name="T19" fmla="*/ 0 h 198"/>
                <a:gd name="T20" fmla="*/ 140494 w 144"/>
                <a:gd name="T21" fmla="*/ 7841 h 198"/>
                <a:gd name="T22" fmla="*/ 132689 w 144"/>
                <a:gd name="T23" fmla="*/ 31365 h 198"/>
                <a:gd name="T24" fmla="*/ 109273 w 144"/>
                <a:gd name="T25" fmla="*/ 94096 h 198"/>
                <a:gd name="T26" fmla="*/ 70247 w 144"/>
                <a:gd name="T27" fmla="*/ 148985 h 198"/>
                <a:gd name="T28" fmla="*/ 31221 w 144"/>
                <a:gd name="T29" fmla="*/ 133302 h 198"/>
                <a:gd name="T30" fmla="*/ 7805 w 144"/>
                <a:gd name="T31" fmla="*/ 164667 h 198"/>
                <a:gd name="T32" fmla="*/ 0 w 144"/>
                <a:gd name="T33" fmla="*/ 203874 h 198"/>
                <a:gd name="T34" fmla="*/ 23416 w 144"/>
                <a:gd name="T35" fmla="*/ 203874 h 198"/>
                <a:gd name="T36" fmla="*/ 31221 w 144"/>
                <a:gd name="T37" fmla="*/ 258763 h 198"/>
                <a:gd name="T38" fmla="*/ 93663 w 144"/>
                <a:gd name="T39" fmla="*/ 258763 h 198"/>
                <a:gd name="T40" fmla="*/ 132689 w 144"/>
                <a:gd name="T41" fmla="*/ 258763 h 19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4"/>
                <a:gd name="T64" fmla="*/ 0 h 198"/>
                <a:gd name="T65" fmla="*/ 144 w 144"/>
                <a:gd name="T66" fmla="*/ 198 h 19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4" h="198">
                  <a:moveTo>
                    <a:pt x="144" y="174"/>
                  </a:moveTo>
                  <a:lnTo>
                    <a:pt x="138" y="162"/>
                  </a:lnTo>
                  <a:lnTo>
                    <a:pt x="126" y="132"/>
                  </a:lnTo>
                  <a:lnTo>
                    <a:pt x="138" y="96"/>
                  </a:lnTo>
                  <a:lnTo>
                    <a:pt x="132" y="96"/>
                  </a:lnTo>
                  <a:lnTo>
                    <a:pt x="114" y="66"/>
                  </a:lnTo>
                  <a:lnTo>
                    <a:pt x="114" y="48"/>
                  </a:lnTo>
                  <a:lnTo>
                    <a:pt x="138" y="42"/>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16" name="Freeform 393"/>
            <p:cNvSpPr>
              <a:spLocks/>
            </p:cNvSpPr>
            <p:nvPr/>
          </p:nvSpPr>
          <p:spPr bwMode="auto">
            <a:xfrm>
              <a:off x="6190610" y="3797875"/>
              <a:ext cx="61066" cy="154260"/>
            </a:xfrm>
            <a:custGeom>
              <a:avLst/>
              <a:gdLst>
                <a:gd name="T0" fmla="*/ 63500 w 48"/>
                <a:gd name="T1" fmla="*/ 62865 h 120"/>
                <a:gd name="T2" fmla="*/ 63500 w 48"/>
                <a:gd name="T3" fmla="*/ 31433 h 120"/>
                <a:gd name="T4" fmla="*/ 63500 w 48"/>
                <a:gd name="T5" fmla="*/ 7858 h 120"/>
                <a:gd name="T6" fmla="*/ 55563 w 48"/>
                <a:gd name="T7" fmla="*/ 7858 h 120"/>
                <a:gd name="T8" fmla="*/ 39687 w 48"/>
                <a:gd name="T9" fmla="*/ 0 h 120"/>
                <a:gd name="T10" fmla="*/ 31750 w 48"/>
                <a:gd name="T11" fmla="*/ 7858 h 120"/>
                <a:gd name="T12" fmla="*/ 7938 w 48"/>
                <a:gd name="T13" fmla="*/ 39291 h 120"/>
                <a:gd name="T14" fmla="*/ 0 w 48"/>
                <a:gd name="T15" fmla="*/ 39291 h 120"/>
                <a:gd name="T16" fmla="*/ 0 w 48"/>
                <a:gd name="T17" fmla="*/ 62865 h 120"/>
                <a:gd name="T18" fmla="*/ 7938 w 48"/>
                <a:gd name="T19" fmla="*/ 117872 h 120"/>
                <a:gd name="T20" fmla="*/ 31750 w 48"/>
                <a:gd name="T21" fmla="*/ 157163 h 120"/>
                <a:gd name="T22" fmla="*/ 31750 w 48"/>
                <a:gd name="T23" fmla="*/ 157163 h 120"/>
                <a:gd name="T24" fmla="*/ 47625 w 48"/>
                <a:gd name="T25" fmla="*/ 157163 h 120"/>
                <a:gd name="T26" fmla="*/ 47625 w 48"/>
                <a:gd name="T27" fmla="*/ 117872 h 120"/>
                <a:gd name="T28" fmla="*/ 63500 w 48"/>
                <a:gd name="T29" fmla="*/ 62865 h 1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120"/>
                <a:gd name="T47" fmla="*/ 48 w 48"/>
                <a:gd name="T48" fmla="*/ 120 h 1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120">
                  <a:moveTo>
                    <a:pt x="48" y="48"/>
                  </a:moveTo>
                  <a:lnTo>
                    <a:pt x="48" y="24"/>
                  </a:lnTo>
                  <a:lnTo>
                    <a:pt x="48" y="6"/>
                  </a:lnTo>
                  <a:lnTo>
                    <a:pt x="42" y="6"/>
                  </a:lnTo>
                  <a:lnTo>
                    <a:pt x="30" y="0"/>
                  </a:lnTo>
                  <a:lnTo>
                    <a:pt x="24" y="6"/>
                  </a:lnTo>
                  <a:lnTo>
                    <a:pt x="6" y="30"/>
                  </a:lnTo>
                  <a:lnTo>
                    <a:pt x="0" y="30"/>
                  </a:lnTo>
                  <a:lnTo>
                    <a:pt x="0" y="48"/>
                  </a:lnTo>
                  <a:lnTo>
                    <a:pt x="6" y="90"/>
                  </a:lnTo>
                  <a:lnTo>
                    <a:pt x="24" y="120"/>
                  </a:lnTo>
                  <a:lnTo>
                    <a:pt x="36" y="120"/>
                  </a:lnTo>
                  <a:lnTo>
                    <a:pt x="36" y="90"/>
                  </a:lnTo>
                  <a:lnTo>
                    <a:pt x="48" y="48"/>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17" name="Freeform 394"/>
            <p:cNvSpPr>
              <a:spLocks/>
            </p:cNvSpPr>
            <p:nvPr/>
          </p:nvSpPr>
          <p:spPr bwMode="auto">
            <a:xfrm>
              <a:off x="6167703" y="3838386"/>
              <a:ext cx="53432" cy="121539"/>
            </a:xfrm>
            <a:custGeom>
              <a:avLst/>
              <a:gdLst>
                <a:gd name="T0" fmla="*/ 23812 w 42"/>
                <a:gd name="T1" fmla="*/ 23217 h 96"/>
                <a:gd name="T2" fmla="*/ 23812 w 42"/>
                <a:gd name="T3" fmla="*/ 0 h 96"/>
                <a:gd name="T4" fmla="*/ 7937 w 42"/>
                <a:gd name="T5" fmla="*/ 7739 h 96"/>
                <a:gd name="T6" fmla="*/ 0 w 42"/>
                <a:gd name="T7" fmla="*/ 7739 h 96"/>
                <a:gd name="T8" fmla="*/ 0 w 42"/>
                <a:gd name="T9" fmla="*/ 15478 h 96"/>
                <a:gd name="T10" fmla="*/ 0 w 42"/>
                <a:gd name="T11" fmla="*/ 54173 h 96"/>
                <a:gd name="T12" fmla="*/ 23812 w 42"/>
                <a:gd name="T13" fmla="*/ 123825 h 96"/>
                <a:gd name="T14" fmla="*/ 55562 w 42"/>
                <a:gd name="T15" fmla="*/ 116086 h 96"/>
                <a:gd name="T16" fmla="*/ 31750 w 42"/>
                <a:gd name="T17" fmla="*/ 77391 h 96"/>
                <a:gd name="T18" fmla="*/ 23812 w 42"/>
                <a:gd name="T19" fmla="*/ 23217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96"/>
                <a:gd name="T32" fmla="*/ 42 w 42"/>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96">
                  <a:moveTo>
                    <a:pt x="18" y="18"/>
                  </a:moveTo>
                  <a:lnTo>
                    <a:pt x="18" y="0"/>
                  </a:lnTo>
                  <a:lnTo>
                    <a:pt x="6" y="6"/>
                  </a:lnTo>
                  <a:lnTo>
                    <a:pt x="0" y="6"/>
                  </a:lnTo>
                  <a:lnTo>
                    <a:pt x="0" y="12"/>
                  </a:lnTo>
                  <a:lnTo>
                    <a:pt x="0" y="42"/>
                  </a:lnTo>
                  <a:lnTo>
                    <a:pt x="18" y="96"/>
                  </a:lnTo>
                  <a:lnTo>
                    <a:pt x="42" y="90"/>
                  </a:lnTo>
                  <a:lnTo>
                    <a:pt x="24" y="60"/>
                  </a:lnTo>
                  <a:lnTo>
                    <a:pt x="18" y="18"/>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18" name="Freeform 395"/>
            <p:cNvSpPr>
              <a:spLocks/>
            </p:cNvSpPr>
            <p:nvPr/>
          </p:nvSpPr>
          <p:spPr bwMode="auto">
            <a:xfrm>
              <a:off x="6448650" y="4520912"/>
              <a:ext cx="308385" cy="319427"/>
            </a:xfrm>
            <a:custGeom>
              <a:avLst/>
              <a:gdLst>
                <a:gd name="T0" fmla="*/ 164248 w 246"/>
                <a:gd name="T1" fmla="*/ 325438 h 252"/>
                <a:gd name="T2" fmla="*/ 187712 w 246"/>
                <a:gd name="T3" fmla="*/ 317689 h 252"/>
                <a:gd name="T4" fmla="*/ 203355 w 246"/>
                <a:gd name="T5" fmla="*/ 209210 h 252"/>
                <a:gd name="T6" fmla="*/ 203355 w 246"/>
                <a:gd name="T7" fmla="*/ 139473 h 252"/>
                <a:gd name="T8" fmla="*/ 218998 w 246"/>
                <a:gd name="T9" fmla="*/ 131725 h 252"/>
                <a:gd name="T10" fmla="*/ 226819 w 246"/>
                <a:gd name="T11" fmla="*/ 46491 h 252"/>
                <a:gd name="T12" fmla="*/ 289390 w 246"/>
                <a:gd name="T13" fmla="*/ 30994 h 252"/>
                <a:gd name="T14" fmla="*/ 312854 w 246"/>
                <a:gd name="T15" fmla="*/ 23246 h 252"/>
                <a:gd name="T16" fmla="*/ 312854 w 246"/>
                <a:gd name="T17" fmla="*/ 23246 h 252"/>
                <a:gd name="T18" fmla="*/ 312854 w 246"/>
                <a:gd name="T19" fmla="*/ 23246 h 252"/>
                <a:gd name="T20" fmla="*/ 320675 w 246"/>
                <a:gd name="T21" fmla="*/ 23246 h 252"/>
                <a:gd name="T22" fmla="*/ 305032 w 246"/>
                <a:gd name="T23" fmla="*/ 15497 h 252"/>
                <a:gd name="T24" fmla="*/ 273747 w 246"/>
                <a:gd name="T25" fmla="*/ 15497 h 252"/>
                <a:gd name="T26" fmla="*/ 281568 w 246"/>
                <a:gd name="T27" fmla="*/ 23246 h 252"/>
                <a:gd name="T28" fmla="*/ 273747 w 246"/>
                <a:gd name="T29" fmla="*/ 15497 h 252"/>
                <a:gd name="T30" fmla="*/ 226819 w 246"/>
                <a:gd name="T31" fmla="*/ 23246 h 252"/>
                <a:gd name="T32" fmla="*/ 164248 w 246"/>
                <a:gd name="T33" fmla="*/ 23246 h 252"/>
                <a:gd name="T34" fmla="*/ 148605 w 246"/>
                <a:gd name="T35" fmla="*/ 15497 h 252"/>
                <a:gd name="T36" fmla="*/ 39107 w 246"/>
                <a:gd name="T37" fmla="*/ 15497 h 252"/>
                <a:gd name="T38" fmla="*/ 23464 w 246"/>
                <a:gd name="T39" fmla="*/ 0 h 252"/>
                <a:gd name="T40" fmla="*/ 7821 w 246"/>
                <a:gd name="T41" fmla="*/ 7749 h 252"/>
                <a:gd name="T42" fmla="*/ 0 w 246"/>
                <a:gd name="T43" fmla="*/ 54240 h 252"/>
                <a:gd name="T44" fmla="*/ 54749 w 246"/>
                <a:gd name="T45" fmla="*/ 162719 h 252"/>
                <a:gd name="T46" fmla="*/ 62571 w 246"/>
                <a:gd name="T47" fmla="*/ 185965 h 252"/>
                <a:gd name="T48" fmla="*/ 78213 w 246"/>
                <a:gd name="T49" fmla="*/ 286695 h 252"/>
                <a:gd name="T50" fmla="*/ 117320 w 246"/>
                <a:gd name="T51" fmla="*/ 325438 h 252"/>
                <a:gd name="T52" fmla="*/ 125141 w 246"/>
                <a:gd name="T53" fmla="*/ 309941 h 252"/>
                <a:gd name="T54" fmla="*/ 164248 w 246"/>
                <a:gd name="T55" fmla="*/ 325438 h 25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46"/>
                <a:gd name="T85" fmla="*/ 0 h 252"/>
                <a:gd name="T86" fmla="*/ 246 w 246"/>
                <a:gd name="T87" fmla="*/ 252 h 25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46" h="252">
                  <a:moveTo>
                    <a:pt x="126" y="252"/>
                  </a:moveTo>
                  <a:lnTo>
                    <a:pt x="144" y="246"/>
                  </a:lnTo>
                  <a:lnTo>
                    <a:pt x="156" y="162"/>
                  </a:lnTo>
                  <a:lnTo>
                    <a:pt x="156" y="108"/>
                  </a:lnTo>
                  <a:lnTo>
                    <a:pt x="168" y="102"/>
                  </a:lnTo>
                  <a:lnTo>
                    <a:pt x="174" y="36"/>
                  </a:lnTo>
                  <a:lnTo>
                    <a:pt x="222" y="24"/>
                  </a:lnTo>
                  <a:lnTo>
                    <a:pt x="240" y="18"/>
                  </a:lnTo>
                  <a:lnTo>
                    <a:pt x="246" y="18"/>
                  </a:lnTo>
                  <a:lnTo>
                    <a:pt x="234" y="12"/>
                  </a:lnTo>
                  <a:lnTo>
                    <a:pt x="210" y="12"/>
                  </a:lnTo>
                  <a:lnTo>
                    <a:pt x="216" y="18"/>
                  </a:lnTo>
                  <a:lnTo>
                    <a:pt x="210" y="12"/>
                  </a:lnTo>
                  <a:lnTo>
                    <a:pt x="174" y="18"/>
                  </a:lnTo>
                  <a:lnTo>
                    <a:pt x="126" y="18"/>
                  </a:lnTo>
                  <a:lnTo>
                    <a:pt x="114" y="12"/>
                  </a:lnTo>
                  <a:lnTo>
                    <a:pt x="30" y="12"/>
                  </a:lnTo>
                  <a:lnTo>
                    <a:pt x="18" y="0"/>
                  </a:lnTo>
                  <a:lnTo>
                    <a:pt x="6" y="6"/>
                  </a:lnTo>
                  <a:lnTo>
                    <a:pt x="0" y="42"/>
                  </a:lnTo>
                  <a:lnTo>
                    <a:pt x="42" y="126"/>
                  </a:lnTo>
                  <a:lnTo>
                    <a:pt x="48" y="144"/>
                  </a:lnTo>
                  <a:lnTo>
                    <a:pt x="60" y="222"/>
                  </a:lnTo>
                  <a:lnTo>
                    <a:pt x="90" y="252"/>
                  </a:lnTo>
                  <a:lnTo>
                    <a:pt x="96" y="240"/>
                  </a:lnTo>
                  <a:lnTo>
                    <a:pt x="126" y="252"/>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19" name="Freeform 396"/>
            <p:cNvSpPr>
              <a:spLocks/>
            </p:cNvSpPr>
            <p:nvPr/>
          </p:nvSpPr>
          <p:spPr bwMode="auto">
            <a:xfrm>
              <a:off x="6190616" y="3645173"/>
              <a:ext cx="76333" cy="91933"/>
            </a:xfrm>
            <a:custGeom>
              <a:avLst/>
              <a:gdLst>
                <a:gd name="T0" fmla="*/ 0 w 10"/>
                <a:gd name="T1" fmla="*/ 93663 h 12"/>
                <a:gd name="T2" fmla="*/ 31750 w 10"/>
                <a:gd name="T3" fmla="*/ 85858 h 12"/>
                <a:gd name="T4" fmla="*/ 71438 w 10"/>
                <a:gd name="T5" fmla="*/ 78053 h 12"/>
                <a:gd name="T6" fmla="*/ 79375 w 10"/>
                <a:gd name="T7" fmla="*/ 62442 h 12"/>
                <a:gd name="T8" fmla="*/ 79375 w 10"/>
                <a:gd name="T9" fmla="*/ 0 h 12"/>
                <a:gd name="T10" fmla="*/ 0 60000 65536"/>
                <a:gd name="T11" fmla="*/ 0 60000 65536"/>
                <a:gd name="T12" fmla="*/ 0 60000 65536"/>
                <a:gd name="T13" fmla="*/ 0 60000 65536"/>
                <a:gd name="T14" fmla="*/ 0 60000 65536"/>
                <a:gd name="T15" fmla="*/ 0 w 10"/>
                <a:gd name="T16" fmla="*/ 0 h 12"/>
                <a:gd name="T17" fmla="*/ 10 w 10"/>
                <a:gd name="T18" fmla="*/ 12 h 12"/>
              </a:gdLst>
              <a:ahLst/>
              <a:cxnLst>
                <a:cxn ang="T10">
                  <a:pos x="T0" y="T1"/>
                </a:cxn>
                <a:cxn ang="T11">
                  <a:pos x="T2" y="T3"/>
                </a:cxn>
                <a:cxn ang="T12">
                  <a:pos x="T4" y="T5"/>
                </a:cxn>
                <a:cxn ang="T13">
                  <a:pos x="T6" y="T7"/>
                </a:cxn>
                <a:cxn ang="T14">
                  <a:pos x="T8" y="T9"/>
                </a:cxn>
              </a:cxnLst>
              <a:rect l="T15" t="T16" r="T17" b="T18"/>
              <a:pathLst>
                <a:path w="10" h="12">
                  <a:moveTo>
                    <a:pt x="0" y="12"/>
                  </a:moveTo>
                  <a:cubicBezTo>
                    <a:pt x="4" y="11"/>
                    <a:pt x="4" y="11"/>
                    <a:pt x="4" y="11"/>
                  </a:cubicBezTo>
                  <a:cubicBezTo>
                    <a:pt x="9" y="10"/>
                    <a:pt x="9" y="10"/>
                    <a:pt x="9" y="10"/>
                  </a:cubicBezTo>
                  <a:cubicBezTo>
                    <a:pt x="9" y="10"/>
                    <a:pt x="10" y="8"/>
                    <a:pt x="10" y="8"/>
                  </a:cubicBezTo>
                  <a:cubicBezTo>
                    <a:pt x="10" y="7"/>
                    <a:pt x="10" y="0"/>
                    <a:pt x="10" y="0"/>
                  </a:cubicBezTo>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20" name="Freeform 397"/>
            <p:cNvSpPr>
              <a:spLocks/>
            </p:cNvSpPr>
            <p:nvPr/>
          </p:nvSpPr>
          <p:spPr bwMode="auto">
            <a:xfrm>
              <a:off x="2048827" y="1610199"/>
              <a:ext cx="650355" cy="905300"/>
            </a:xfrm>
            <a:custGeom>
              <a:avLst/>
              <a:gdLst>
                <a:gd name="T0" fmla="*/ 660548 w 516"/>
                <a:gd name="T1" fmla="*/ 124886 h 709"/>
                <a:gd name="T2" fmla="*/ 636957 w 516"/>
                <a:gd name="T3" fmla="*/ 101470 h 709"/>
                <a:gd name="T4" fmla="*/ 566184 w 516"/>
                <a:gd name="T5" fmla="*/ 109276 h 709"/>
                <a:gd name="T6" fmla="*/ 463956 w 516"/>
                <a:gd name="T7" fmla="*/ 62443 h 709"/>
                <a:gd name="T8" fmla="*/ 416774 w 516"/>
                <a:gd name="T9" fmla="*/ 70249 h 709"/>
                <a:gd name="T10" fmla="*/ 377456 w 516"/>
                <a:gd name="T11" fmla="*/ 46832 h 709"/>
                <a:gd name="T12" fmla="*/ 369592 w 516"/>
                <a:gd name="T13" fmla="*/ 23416 h 709"/>
                <a:gd name="T14" fmla="*/ 298819 w 516"/>
                <a:gd name="T15" fmla="*/ 0 h 709"/>
                <a:gd name="T16" fmla="*/ 259501 w 516"/>
                <a:gd name="T17" fmla="*/ 31222 h 709"/>
                <a:gd name="T18" fmla="*/ 196592 w 516"/>
                <a:gd name="T19" fmla="*/ 54638 h 709"/>
                <a:gd name="T20" fmla="*/ 149410 w 516"/>
                <a:gd name="T21" fmla="*/ 85859 h 709"/>
                <a:gd name="T22" fmla="*/ 117955 w 516"/>
                <a:gd name="T23" fmla="*/ 163913 h 709"/>
                <a:gd name="T24" fmla="*/ 55046 w 516"/>
                <a:gd name="T25" fmla="*/ 179524 h 709"/>
                <a:gd name="T26" fmla="*/ 55046 w 516"/>
                <a:gd name="T27" fmla="*/ 226357 h 709"/>
                <a:gd name="T28" fmla="*/ 102228 w 516"/>
                <a:gd name="T29" fmla="*/ 288800 h 709"/>
                <a:gd name="T30" fmla="*/ 149410 w 516"/>
                <a:gd name="T31" fmla="*/ 312216 h 709"/>
                <a:gd name="T32" fmla="*/ 149410 w 516"/>
                <a:gd name="T33" fmla="*/ 343438 h 709"/>
                <a:gd name="T34" fmla="*/ 117955 w 516"/>
                <a:gd name="T35" fmla="*/ 359048 h 709"/>
                <a:gd name="T36" fmla="*/ 78637 w 516"/>
                <a:gd name="T37" fmla="*/ 343438 h 709"/>
                <a:gd name="T38" fmla="*/ 0 w 516"/>
                <a:gd name="T39" fmla="*/ 398075 h 709"/>
                <a:gd name="T40" fmla="*/ 23591 w 516"/>
                <a:gd name="T41" fmla="*/ 421492 h 709"/>
                <a:gd name="T42" fmla="*/ 55046 w 516"/>
                <a:gd name="T43" fmla="*/ 452713 h 709"/>
                <a:gd name="T44" fmla="*/ 125819 w 516"/>
                <a:gd name="T45" fmla="*/ 452713 h 709"/>
                <a:gd name="T46" fmla="*/ 180864 w 516"/>
                <a:gd name="T47" fmla="*/ 460519 h 709"/>
                <a:gd name="T48" fmla="*/ 157273 w 516"/>
                <a:gd name="T49" fmla="*/ 515156 h 709"/>
                <a:gd name="T50" fmla="*/ 94364 w 516"/>
                <a:gd name="T51" fmla="*/ 538573 h 709"/>
                <a:gd name="T52" fmla="*/ 47182 w 516"/>
                <a:gd name="T53" fmla="*/ 569794 h 709"/>
                <a:gd name="T54" fmla="*/ 39318 w 516"/>
                <a:gd name="T55" fmla="*/ 608821 h 709"/>
                <a:gd name="T56" fmla="*/ 94364 w 516"/>
                <a:gd name="T57" fmla="*/ 647848 h 709"/>
                <a:gd name="T58" fmla="*/ 102228 w 516"/>
                <a:gd name="T59" fmla="*/ 688176 h 709"/>
                <a:gd name="T60" fmla="*/ 141546 w 516"/>
                <a:gd name="T61" fmla="*/ 703787 h 709"/>
                <a:gd name="T62" fmla="*/ 149410 w 516"/>
                <a:gd name="T63" fmla="*/ 758425 h 709"/>
                <a:gd name="T64" fmla="*/ 204455 w 516"/>
                <a:gd name="T65" fmla="*/ 750619 h 709"/>
                <a:gd name="T66" fmla="*/ 275228 w 516"/>
                <a:gd name="T67" fmla="*/ 750619 h 709"/>
                <a:gd name="T68" fmla="*/ 235910 w 516"/>
                <a:gd name="T69" fmla="*/ 820868 h 709"/>
                <a:gd name="T70" fmla="*/ 117955 w 516"/>
                <a:gd name="T71" fmla="*/ 922338 h 709"/>
                <a:gd name="T72" fmla="*/ 251637 w 516"/>
                <a:gd name="T73" fmla="*/ 852089 h 709"/>
                <a:gd name="T74" fmla="*/ 353865 w 516"/>
                <a:gd name="T75" fmla="*/ 742814 h 709"/>
                <a:gd name="T76" fmla="*/ 346001 w 516"/>
                <a:gd name="T77" fmla="*/ 719398 h 709"/>
                <a:gd name="T78" fmla="*/ 408910 w 516"/>
                <a:gd name="T79" fmla="*/ 640043 h 709"/>
                <a:gd name="T80" fmla="*/ 424638 w 516"/>
                <a:gd name="T81" fmla="*/ 672565 h 709"/>
                <a:gd name="T82" fmla="*/ 432501 w 516"/>
                <a:gd name="T83" fmla="*/ 711592 h 709"/>
                <a:gd name="T84" fmla="*/ 479683 w 516"/>
                <a:gd name="T85" fmla="*/ 672565 h 709"/>
                <a:gd name="T86" fmla="*/ 534729 w 516"/>
                <a:gd name="T87" fmla="*/ 640043 h 709"/>
                <a:gd name="T88" fmla="*/ 558320 w 516"/>
                <a:gd name="T89" fmla="*/ 656954 h 709"/>
                <a:gd name="T90" fmla="*/ 676275 w 516"/>
                <a:gd name="T91" fmla="*/ 680371 h 709"/>
                <a:gd name="T92" fmla="*/ 676275 w 516"/>
                <a:gd name="T93" fmla="*/ 124886 h 709"/>
                <a:gd name="T94" fmla="*/ 660548 w 516"/>
                <a:gd name="T95" fmla="*/ 124886 h 7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16"/>
                <a:gd name="T145" fmla="*/ 0 h 709"/>
                <a:gd name="T146" fmla="*/ 516 w 516"/>
                <a:gd name="T147" fmla="*/ 709 h 70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16" h="709">
                  <a:moveTo>
                    <a:pt x="504" y="96"/>
                  </a:moveTo>
                  <a:lnTo>
                    <a:pt x="486" y="78"/>
                  </a:lnTo>
                  <a:lnTo>
                    <a:pt x="432" y="84"/>
                  </a:lnTo>
                  <a:lnTo>
                    <a:pt x="354" y="48"/>
                  </a:lnTo>
                  <a:lnTo>
                    <a:pt x="318" y="54"/>
                  </a:lnTo>
                  <a:lnTo>
                    <a:pt x="288" y="36"/>
                  </a:lnTo>
                  <a:lnTo>
                    <a:pt x="282" y="18"/>
                  </a:lnTo>
                  <a:lnTo>
                    <a:pt x="228" y="0"/>
                  </a:lnTo>
                  <a:lnTo>
                    <a:pt x="198" y="24"/>
                  </a:lnTo>
                  <a:lnTo>
                    <a:pt x="150" y="42"/>
                  </a:lnTo>
                  <a:lnTo>
                    <a:pt x="114" y="66"/>
                  </a:lnTo>
                  <a:lnTo>
                    <a:pt x="90" y="126"/>
                  </a:lnTo>
                  <a:lnTo>
                    <a:pt x="42" y="138"/>
                  </a:lnTo>
                  <a:lnTo>
                    <a:pt x="42" y="174"/>
                  </a:lnTo>
                  <a:lnTo>
                    <a:pt x="78" y="222"/>
                  </a:lnTo>
                  <a:lnTo>
                    <a:pt x="114" y="240"/>
                  </a:lnTo>
                  <a:lnTo>
                    <a:pt x="114" y="264"/>
                  </a:lnTo>
                  <a:lnTo>
                    <a:pt x="90" y="276"/>
                  </a:lnTo>
                  <a:lnTo>
                    <a:pt x="60" y="264"/>
                  </a:lnTo>
                  <a:lnTo>
                    <a:pt x="0" y="306"/>
                  </a:lnTo>
                  <a:lnTo>
                    <a:pt x="18" y="324"/>
                  </a:lnTo>
                  <a:lnTo>
                    <a:pt x="42" y="348"/>
                  </a:lnTo>
                  <a:lnTo>
                    <a:pt x="96" y="348"/>
                  </a:lnTo>
                  <a:lnTo>
                    <a:pt x="138" y="354"/>
                  </a:lnTo>
                  <a:lnTo>
                    <a:pt x="120" y="396"/>
                  </a:lnTo>
                  <a:lnTo>
                    <a:pt x="72" y="414"/>
                  </a:lnTo>
                  <a:lnTo>
                    <a:pt x="36" y="438"/>
                  </a:lnTo>
                  <a:lnTo>
                    <a:pt x="30" y="468"/>
                  </a:lnTo>
                  <a:lnTo>
                    <a:pt x="72" y="498"/>
                  </a:lnTo>
                  <a:lnTo>
                    <a:pt x="78" y="529"/>
                  </a:lnTo>
                  <a:lnTo>
                    <a:pt x="108" y="541"/>
                  </a:lnTo>
                  <a:lnTo>
                    <a:pt x="114" y="583"/>
                  </a:lnTo>
                  <a:lnTo>
                    <a:pt x="156" y="577"/>
                  </a:lnTo>
                  <a:lnTo>
                    <a:pt x="210" y="577"/>
                  </a:lnTo>
                  <a:lnTo>
                    <a:pt x="180" y="631"/>
                  </a:lnTo>
                  <a:lnTo>
                    <a:pt x="90" y="709"/>
                  </a:lnTo>
                  <a:lnTo>
                    <a:pt x="192" y="655"/>
                  </a:lnTo>
                  <a:lnTo>
                    <a:pt x="270" y="571"/>
                  </a:lnTo>
                  <a:lnTo>
                    <a:pt x="264" y="553"/>
                  </a:lnTo>
                  <a:lnTo>
                    <a:pt x="312" y="492"/>
                  </a:lnTo>
                  <a:lnTo>
                    <a:pt x="324" y="517"/>
                  </a:lnTo>
                  <a:lnTo>
                    <a:pt x="330" y="547"/>
                  </a:lnTo>
                  <a:lnTo>
                    <a:pt x="366" y="517"/>
                  </a:lnTo>
                  <a:lnTo>
                    <a:pt x="408" y="492"/>
                  </a:lnTo>
                  <a:lnTo>
                    <a:pt x="426" y="505"/>
                  </a:lnTo>
                  <a:lnTo>
                    <a:pt x="516" y="523"/>
                  </a:lnTo>
                  <a:lnTo>
                    <a:pt x="516" y="96"/>
                  </a:lnTo>
                  <a:lnTo>
                    <a:pt x="504" y="96"/>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21" name="Freeform 398"/>
            <p:cNvSpPr>
              <a:spLocks/>
            </p:cNvSpPr>
            <p:nvPr/>
          </p:nvSpPr>
          <p:spPr bwMode="auto">
            <a:xfrm>
              <a:off x="2699144" y="1572825"/>
              <a:ext cx="2038084" cy="1425729"/>
            </a:xfrm>
            <a:custGeom>
              <a:avLst/>
              <a:gdLst>
                <a:gd name="T0" fmla="*/ 1271326 w 1622"/>
                <a:gd name="T1" fmla="*/ 1241896 h 1117"/>
                <a:gd name="T2" fmla="*/ 1451637 w 1622"/>
                <a:gd name="T3" fmla="*/ 1405748 h 1117"/>
                <a:gd name="T4" fmla="*/ 1554859 w 1622"/>
                <a:gd name="T5" fmla="*/ 1421353 h 1117"/>
                <a:gd name="T6" fmla="*/ 1648935 w 1622"/>
                <a:gd name="T7" fmla="*/ 1366736 h 1117"/>
                <a:gd name="T8" fmla="*/ 1790048 w 1622"/>
                <a:gd name="T9" fmla="*/ 1273106 h 1117"/>
                <a:gd name="T10" fmla="*/ 1837086 w 1622"/>
                <a:gd name="T11" fmla="*/ 1358933 h 1117"/>
                <a:gd name="T12" fmla="*/ 1891963 w 1622"/>
                <a:gd name="T13" fmla="*/ 1343328 h 1117"/>
                <a:gd name="T14" fmla="*/ 1891963 w 1622"/>
                <a:gd name="T15" fmla="*/ 1397946 h 1117"/>
                <a:gd name="T16" fmla="*/ 1986038 w 1622"/>
                <a:gd name="T17" fmla="*/ 1312118 h 1117"/>
                <a:gd name="T18" fmla="*/ 1884123 w 1622"/>
                <a:gd name="T19" fmla="*/ 1257501 h 1117"/>
                <a:gd name="T20" fmla="*/ 1915482 w 1622"/>
                <a:gd name="T21" fmla="*/ 1202883 h 1117"/>
                <a:gd name="T22" fmla="*/ 1750850 w 1622"/>
                <a:gd name="T23" fmla="*/ 1273106 h 1117"/>
                <a:gd name="T24" fmla="*/ 1829246 w 1622"/>
                <a:gd name="T25" fmla="*/ 1187278 h 1117"/>
                <a:gd name="T26" fmla="*/ 1954680 w 1622"/>
                <a:gd name="T27" fmla="*/ 1163871 h 1117"/>
                <a:gd name="T28" fmla="*/ 2080114 w 1622"/>
                <a:gd name="T29" fmla="*/ 1117056 h 1117"/>
                <a:gd name="T30" fmla="*/ 2087954 w 1622"/>
                <a:gd name="T31" fmla="*/ 1007821 h 1117"/>
                <a:gd name="T32" fmla="*/ 1978199 w 1622"/>
                <a:gd name="T33" fmla="*/ 914191 h 1117"/>
                <a:gd name="T34" fmla="*/ 1891963 w 1622"/>
                <a:gd name="T35" fmla="*/ 719129 h 1117"/>
                <a:gd name="T36" fmla="*/ 1813567 w 1622"/>
                <a:gd name="T37" fmla="*/ 804957 h 1117"/>
                <a:gd name="T38" fmla="*/ 1774369 w 1622"/>
                <a:gd name="T39" fmla="*/ 789352 h 1117"/>
                <a:gd name="T40" fmla="*/ 1727331 w 1622"/>
                <a:gd name="T41" fmla="*/ 671014 h 1117"/>
                <a:gd name="T42" fmla="*/ 1648935 w 1622"/>
                <a:gd name="T43" fmla="*/ 624199 h 1117"/>
                <a:gd name="T44" fmla="*/ 1570538 w 1622"/>
                <a:gd name="T45" fmla="*/ 616396 h 1117"/>
                <a:gd name="T46" fmla="*/ 1570538 w 1622"/>
                <a:gd name="T47" fmla="*/ 695722 h 1117"/>
                <a:gd name="T48" fmla="*/ 1554859 w 1622"/>
                <a:gd name="T49" fmla="*/ 812759 h 1117"/>
                <a:gd name="T50" fmla="*/ 1523501 w 1622"/>
                <a:gd name="T51" fmla="*/ 976611 h 1117"/>
                <a:gd name="T52" fmla="*/ 1507821 w 1622"/>
                <a:gd name="T53" fmla="*/ 1117056 h 1117"/>
                <a:gd name="T54" fmla="*/ 1459477 w 1622"/>
                <a:gd name="T55" fmla="*/ 961006 h 1117"/>
                <a:gd name="T56" fmla="*/ 1232128 w 1622"/>
                <a:gd name="T57" fmla="*/ 867376 h 1117"/>
                <a:gd name="T58" fmla="*/ 1177250 w 1622"/>
                <a:gd name="T59" fmla="*/ 797154 h 1117"/>
                <a:gd name="T60" fmla="*/ 1216448 w 1622"/>
                <a:gd name="T61" fmla="*/ 585186 h 1117"/>
                <a:gd name="T62" fmla="*/ 1294845 w 1622"/>
                <a:gd name="T63" fmla="*/ 522767 h 1117"/>
                <a:gd name="T64" fmla="*/ 1341883 w 1622"/>
                <a:gd name="T65" fmla="*/ 444742 h 1117"/>
                <a:gd name="T66" fmla="*/ 1435958 w 1622"/>
                <a:gd name="T67" fmla="*/ 366717 h 1117"/>
                <a:gd name="T68" fmla="*/ 1451637 w 1622"/>
                <a:gd name="T69" fmla="*/ 265285 h 1117"/>
                <a:gd name="T70" fmla="*/ 1435958 w 1622"/>
                <a:gd name="T71" fmla="*/ 179457 h 1117"/>
                <a:gd name="T72" fmla="*/ 1373241 w 1622"/>
                <a:gd name="T73" fmla="*/ 249680 h 1117"/>
                <a:gd name="T74" fmla="*/ 1310524 w 1622"/>
                <a:gd name="T75" fmla="*/ 234075 h 1117"/>
                <a:gd name="T76" fmla="*/ 1255647 w 1622"/>
                <a:gd name="T77" fmla="*/ 241877 h 1117"/>
                <a:gd name="T78" fmla="*/ 1208609 w 1622"/>
                <a:gd name="T79" fmla="*/ 148247 h 1117"/>
                <a:gd name="T80" fmla="*/ 1145892 w 1622"/>
                <a:gd name="T81" fmla="*/ 0 h 1117"/>
                <a:gd name="T82" fmla="*/ 1106694 w 1622"/>
                <a:gd name="T83" fmla="*/ 148247 h 1117"/>
                <a:gd name="T84" fmla="*/ 1169411 w 1622"/>
                <a:gd name="T85" fmla="*/ 241877 h 1117"/>
                <a:gd name="T86" fmla="*/ 1106694 w 1622"/>
                <a:gd name="T87" fmla="*/ 265285 h 1117"/>
                <a:gd name="T88" fmla="*/ 1059656 w 1622"/>
                <a:gd name="T89" fmla="*/ 304297 h 1117"/>
                <a:gd name="T90" fmla="*/ 926382 w 1622"/>
                <a:gd name="T91" fmla="*/ 288692 h 1117"/>
                <a:gd name="T92" fmla="*/ 808788 w 1622"/>
                <a:gd name="T93" fmla="*/ 273087 h 1117"/>
                <a:gd name="T94" fmla="*/ 824467 w 1622"/>
                <a:gd name="T95" fmla="*/ 343309 h 1117"/>
                <a:gd name="T96" fmla="*/ 761750 w 1622"/>
                <a:gd name="T97" fmla="*/ 288692 h 1117"/>
                <a:gd name="T98" fmla="*/ 636316 w 1622"/>
                <a:gd name="T99" fmla="*/ 273087 h 1117"/>
                <a:gd name="T100" fmla="*/ 597118 w 1622"/>
                <a:gd name="T101" fmla="*/ 226272 h 1117"/>
                <a:gd name="T102" fmla="*/ 448165 w 1622"/>
                <a:gd name="T103" fmla="*/ 171655 h 1117"/>
                <a:gd name="T104" fmla="*/ 338411 w 1622"/>
                <a:gd name="T105" fmla="*/ 124840 h 1117"/>
                <a:gd name="T106" fmla="*/ 150259 w 1622"/>
                <a:gd name="T107" fmla="*/ 234075 h 1117"/>
                <a:gd name="T108" fmla="*/ 48344 w 1622"/>
                <a:gd name="T109" fmla="*/ 179457 h 1117"/>
                <a:gd name="T110" fmla="*/ 0 w 1622"/>
                <a:gd name="T111" fmla="*/ 719129 h 1117"/>
                <a:gd name="T112" fmla="*/ 79703 w 1622"/>
                <a:gd name="T113" fmla="*/ 758142 h 1117"/>
                <a:gd name="T114" fmla="*/ 228656 w 1622"/>
                <a:gd name="T115" fmla="*/ 882981 h 1117"/>
                <a:gd name="T116" fmla="*/ 275693 w 1622"/>
                <a:gd name="T117" fmla="*/ 984414 h 1117"/>
                <a:gd name="T118" fmla="*/ 361929 w 1622"/>
                <a:gd name="T119" fmla="*/ 1117056 h 1117"/>
                <a:gd name="T120" fmla="*/ 456005 w 1622"/>
                <a:gd name="T121" fmla="*/ 1210686 h 1117"/>
                <a:gd name="T122" fmla="*/ 1216448 w 1622"/>
                <a:gd name="T123" fmla="*/ 1226291 h 111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22"/>
                <a:gd name="T187" fmla="*/ 0 h 1117"/>
                <a:gd name="T188" fmla="*/ 1622 w 1622"/>
                <a:gd name="T189" fmla="*/ 1117 h 111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22" h="1117">
                  <a:moveTo>
                    <a:pt x="931" y="943"/>
                  </a:moveTo>
                  <a:lnTo>
                    <a:pt x="973" y="955"/>
                  </a:lnTo>
                  <a:lnTo>
                    <a:pt x="1075" y="1003"/>
                  </a:lnTo>
                  <a:lnTo>
                    <a:pt x="1111" y="1081"/>
                  </a:lnTo>
                  <a:lnTo>
                    <a:pt x="1111" y="1117"/>
                  </a:lnTo>
                  <a:lnTo>
                    <a:pt x="1190" y="1093"/>
                  </a:lnTo>
                  <a:lnTo>
                    <a:pt x="1232" y="1057"/>
                  </a:lnTo>
                  <a:lnTo>
                    <a:pt x="1262" y="1051"/>
                  </a:lnTo>
                  <a:lnTo>
                    <a:pt x="1322" y="1039"/>
                  </a:lnTo>
                  <a:lnTo>
                    <a:pt x="1370" y="979"/>
                  </a:lnTo>
                  <a:lnTo>
                    <a:pt x="1394" y="985"/>
                  </a:lnTo>
                  <a:lnTo>
                    <a:pt x="1406" y="1045"/>
                  </a:lnTo>
                  <a:lnTo>
                    <a:pt x="1430" y="1027"/>
                  </a:lnTo>
                  <a:lnTo>
                    <a:pt x="1448" y="1033"/>
                  </a:lnTo>
                  <a:lnTo>
                    <a:pt x="1436" y="1051"/>
                  </a:lnTo>
                  <a:lnTo>
                    <a:pt x="1448" y="1075"/>
                  </a:lnTo>
                  <a:lnTo>
                    <a:pt x="1502" y="1033"/>
                  </a:lnTo>
                  <a:lnTo>
                    <a:pt x="1520" y="1009"/>
                  </a:lnTo>
                  <a:lnTo>
                    <a:pt x="1466" y="1003"/>
                  </a:lnTo>
                  <a:lnTo>
                    <a:pt x="1442" y="967"/>
                  </a:lnTo>
                  <a:lnTo>
                    <a:pt x="1460" y="949"/>
                  </a:lnTo>
                  <a:lnTo>
                    <a:pt x="1466" y="925"/>
                  </a:lnTo>
                  <a:lnTo>
                    <a:pt x="1382" y="943"/>
                  </a:lnTo>
                  <a:lnTo>
                    <a:pt x="1340" y="979"/>
                  </a:lnTo>
                  <a:lnTo>
                    <a:pt x="1358" y="937"/>
                  </a:lnTo>
                  <a:lnTo>
                    <a:pt x="1400" y="913"/>
                  </a:lnTo>
                  <a:lnTo>
                    <a:pt x="1424" y="889"/>
                  </a:lnTo>
                  <a:lnTo>
                    <a:pt x="1496" y="895"/>
                  </a:lnTo>
                  <a:lnTo>
                    <a:pt x="1550" y="889"/>
                  </a:lnTo>
                  <a:lnTo>
                    <a:pt x="1592" y="859"/>
                  </a:lnTo>
                  <a:lnTo>
                    <a:pt x="1622" y="835"/>
                  </a:lnTo>
                  <a:lnTo>
                    <a:pt x="1598" y="775"/>
                  </a:lnTo>
                  <a:lnTo>
                    <a:pt x="1592" y="745"/>
                  </a:lnTo>
                  <a:lnTo>
                    <a:pt x="1514" y="703"/>
                  </a:lnTo>
                  <a:lnTo>
                    <a:pt x="1514" y="679"/>
                  </a:lnTo>
                  <a:lnTo>
                    <a:pt x="1448" y="553"/>
                  </a:lnTo>
                  <a:lnTo>
                    <a:pt x="1430" y="607"/>
                  </a:lnTo>
                  <a:lnTo>
                    <a:pt x="1388" y="619"/>
                  </a:lnTo>
                  <a:lnTo>
                    <a:pt x="1376" y="607"/>
                  </a:lnTo>
                  <a:lnTo>
                    <a:pt x="1358" y="607"/>
                  </a:lnTo>
                  <a:lnTo>
                    <a:pt x="1358" y="522"/>
                  </a:lnTo>
                  <a:lnTo>
                    <a:pt x="1322" y="516"/>
                  </a:lnTo>
                  <a:lnTo>
                    <a:pt x="1292" y="474"/>
                  </a:lnTo>
                  <a:lnTo>
                    <a:pt x="1262" y="480"/>
                  </a:lnTo>
                  <a:lnTo>
                    <a:pt x="1226" y="468"/>
                  </a:lnTo>
                  <a:lnTo>
                    <a:pt x="1202" y="474"/>
                  </a:lnTo>
                  <a:lnTo>
                    <a:pt x="1202" y="504"/>
                  </a:lnTo>
                  <a:lnTo>
                    <a:pt x="1202" y="535"/>
                  </a:lnTo>
                  <a:lnTo>
                    <a:pt x="1196" y="601"/>
                  </a:lnTo>
                  <a:lnTo>
                    <a:pt x="1190" y="625"/>
                  </a:lnTo>
                  <a:lnTo>
                    <a:pt x="1226" y="697"/>
                  </a:lnTo>
                  <a:lnTo>
                    <a:pt x="1166" y="751"/>
                  </a:lnTo>
                  <a:lnTo>
                    <a:pt x="1178" y="841"/>
                  </a:lnTo>
                  <a:lnTo>
                    <a:pt x="1154" y="859"/>
                  </a:lnTo>
                  <a:lnTo>
                    <a:pt x="1130" y="847"/>
                  </a:lnTo>
                  <a:lnTo>
                    <a:pt x="1117" y="739"/>
                  </a:lnTo>
                  <a:lnTo>
                    <a:pt x="1057" y="733"/>
                  </a:lnTo>
                  <a:lnTo>
                    <a:pt x="943" y="667"/>
                  </a:lnTo>
                  <a:lnTo>
                    <a:pt x="919" y="667"/>
                  </a:lnTo>
                  <a:lnTo>
                    <a:pt x="901" y="613"/>
                  </a:lnTo>
                  <a:lnTo>
                    <a:pt x="883" y="595"/>
                  </a:lnTo>
                  <a:lnTo>
                    <a:pt x="931" y="450"/>
                  </a:lnTo>
                  <a:lnTo>
                    <a:pt x="961" y="420"/>
                  </a:lnTo>
                  <a:lnTo>
                    <a:pt x="991" y="402"/>
                  </a:lnTo>
                  <a:lnTo>
                    <a:pt x="1009" y="402"/>
                  </a:lnTo>
                  <a:lnTo>
                    <a:pt x="1027" y="342"/>
                  </a:lnTo>
                  <a:lnTo>
                    <a:pt x="1039" y="294"/>
                  </a:lnTo>
                  <a:lnTo>
                    <a:pt x="1099" y="282"/>
                  </a:lnTo>
                  <a:lnTo>
                    <a:pt x="1130" y="258"/>
                  </a:lnTo>
                  <a:lnTo>
                    <a:pt x="1111" y="204"/>
                  </a:lnTo>
                  <a:lnTo>
                    <a:pt x="1124" y="168"/>
                  </a:lnTo>
                  <a:lnTo>
                    <a:pt x="1099" y="138"/>
                  </a:lnTo>
                  <a:lnTo>
                    <a:pt x="1063" y="132"/>
                  </a:lnTo>
                  <a:lnTo>
                    <a:pt x="1051" y="192"/>
                  </a:lnTo>
                  <a:lnTo>
                    <a:pt x="1015" y="246"/>
                  </a:lnTo>
                  <a:lnTo>
                    <a:pt x="1003" y="180"/>
                  </a:lnTo>
                  <a:lnTo>
                    <a:pt x="985" y="156"/>
                  </a:lnTo>
                  <a:lnTo>
                    <a:pt x="961" y="186"/>
                  </a:lnTo>
                  <a:lnTo>
                    <a:pt x="949" y="156"/>
                  </a:lnTo>
                  <a:lnTo>
                    <a:pt x="925" y="114"/>
                  </a:lnTo>
                  <a:lnTo>
                    <a:pt x="913" y="60"/>
                  </a:lnTo>
                  <a:lnTo>
                    <a:pt x="877" y="0"/>
                  </a:lnTo>
                  <a:lnTo>
                    <a:pt x="847" y="84"/>
                  </a:lnTo>
                  <a:lnTo>
                    <a:pt x="847" y="114"/>
                  </a:lnTo>
                  <a:lnTo>
                    <a:pt x="889" y="150"/>
                  </a:lnTo>
                  <a:lnTo>
                    <a:pt x="895" y="186"/>
                  </a:lnTo>
                  <a:lnTo>
                    <a:pt x="865" y="216"/>
                  </a:lnTo>
                  <a:lnTo>
                    <a:pt x="847" y="204"/>
                  </a:lnTo>
                  <a:lnTo>
                    <a:pt x="823" y="204"/>
                  </a:lnTo>
                  <a:lnTo>
                    <a:pt x="811" y="234"/>
                  </a:lnTo>
                  <a:lnTo>
                    <a:pt x="769" y="222"/>
                  </a:lnTo>
                  <a:lnTo>
                    <a:pt x="709" y="222"/>
                  </a:lnTo>
                  <a:lnTo>
                    <a:pt x="673" y="198"/>
                  </a:lnTo>
                  <a:lnTo>
                    <a:pt x="619" y="210"/>
                  </a:lnTo>
                  <a:lnTo>
                    <a:pt x="625" y="228"/>
                  </a:lnTo>
                  <a:lnTo>
                    <a:pt x="631" y="264"/>
                  </a:lnTo>
                  <a:lnTo>
                    <a:pt x="613" y="258"/>
                  </a:lnTo>
                  <a:lnTo>
                    <a:pt x="583" y="222"/>
                  </a:lnTo>
                  <a:lnTo>
                    <a:pt x="517" y="234"/>
                  </a:lnTo>
                  <a:lnTo>
                    <a:pt x="487" y="210"/>
                  </a:lnTo>
                  <a:lnTo>
                    <a:pt x="499" y="186"/>
                  </a:lnTo>
                  <a:lnTo>
                    <a:pt x="457" y="174"/>
                  </a:lnTo>
                  <a:lnTo>
                    <a:pt x="409" y="150"/>
                  </a:lnTo>
                  <a:lnTo>
                    <a:pt x="343" y="132"/>
                  </a:lnTo>
                  <a:lnTo>
                    <a:pt x="301" y="144"/>
                  </a:lnTo>
                  <a:lnTo>
                    <a:pt x="259" y="96"/>
                  </a:lnTo>
                  <a:lnTo>
                    <a:pt x="145" y="150"/>
                  </a:lnTo>
                  <a:lnTo>
                    <a:pt x="115" y="180"/>
                  </a:lnTo>
                  <a:lnTo>
                    <a:pt x="67" y="168"/>
                  </a:lnTo>
                  <a:lnTo>
                    <a:pt x="37" y="138"/>
                  </a:lnTo>
                  <a:lnTo>
                    <a:pt x="0" y="126"/>
                  </a:lnTo>
                  <a:lnTo>
                    <a:pt x="0" y="553"/>
                  </a:lnTo>
                  <a:lnTo>
                    <a:pt x="61" y="583"/>
                  </a:lnTo>
                  <a:lnTo>
                    <a:pt x="109" y="559"/>
                  </a:lnTo>
                  <a:lnTo>
                    <a:pt x="175" y="679"/>
                  </a:lnTo>
                  <a:lnTo>
                    <a:pt x="217" y="709"/>
                  </a:lnTo>
                  <a:lnTo>
                    <a:pt x="211" y="757"/>
                  </a:lnTo>
                  <a:lnTo>
                    <a:pt x="229" y="793"/>
                  </a:lnTo>
                  <a:lnTo>
                    <a:pt x="277" y="859"/>
                  </a:lnTo>
                  <a:lnTo>
                    <a:pt x="343" y="901"/>
                  </a:lnTo>
                  <a:lnTo>
                    <a:pt x="349" y="931"/>
                  </a:lnTo>
                  <a:lnTo>
                    <a:pt x="871" y="931"/>
                  </a:lnTo>
                  <a:lnTo>
                    <a:pt x="931" y="943"/>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22" name="Freeform 399"/>
            <p:cNvSpPr>
              <a:spLocks/>
            </p:cNvSpPr>
            <p:nvPr/>
          </p:nvSpPr>
          <p:spPr bwMode="auto">
            <a:xfrm>
              <a:off x="3083861" y="2760131"/>
              <a:ext cx="1380096" cy="727668"/>
            </a:xfrm>
            <a:custGeom>
              <a:avLst/>
              <a:gdLst>
                <a:gd name="T0" fmla="*/ 391747 w 1099"/>
                <a:gd name="T1" fmla="*/ 569980 h 571"/>
                <a:gd name="T2" fmla="*/ 454427 w 1099"/>
                <a:gd name="T3" fmla="*/ 562189 h 571"/>
                <a:gd name="T4" fmla="*/ 564116 w 1099"/>
                <a:gd name="T5" fmla="*/ 616720 h 571"/>
                <a:gd name="T6" fmla="*/ 618960 w 1099"/>
                <a:gd name="T7" fmla="*/ 679042 h 571"/>
                <a:gd name="T8" fmla="*/ 689475 w 1099"/>
                <a:gd name="T9" fmla="*/ 717993 h 571"/>
                <a:gd name="T10" fmla="*/ 689475 w 1099"/>
                <a:gd name="T11" fmla="*/ 663461 h 571"/>
                <a:gd name="T12" fmla="*/ 744319 w 1099"/>
                <a:gd name="T13" fmla="*/ 608930 h 571"/>
                <a:gd name="T14" fmla="*/ 869678 w 1099"/>
                <a:gd name="T15" fmla="*/ 616720 h 571"/>
                <a:gd name="T16" fmla="*/ 971533 w 1099"/>
                <a:gd name="T17" fmla="*/ 601140 h 571"/>
                <a:gd name="T18" fmla="*/ 1018542 w 1099"/>
                <a:gd name="T19" fmla="*/ 632301 h 571"/>
                <a:gd name="T20" fmla="*/ 1082527 w 1099"/>
                <a:gd name="T21" fmla="*/ 733573 h 571"/>
                <a:gd name="T22" fmla="*/ 1098197 w 1099"/>
                <a:gd name="T23" fmla="*/ 663461 h 571"/>
                <a:gd name="T24" fmla="*/ 1106032 w 1099"/>
                <a:gd name="T25" fmla="*/ 531029 h 571"/>
                <a:gd name="T26" fmla="*/ 1215721 w 1099"/>
                <a:gd name="T27" fmla="*/ 445337 h 571"/>
                <a:gd name="T28" fmla="*/ 1200052 w 1099"/>
                <a:gd name="T29" fmla="*/ 351855 h 571"/>
                <a:gd name="T30" fmla="*/ 1231391 w 1099"/>
                <a:gd name="T31" fmla="*/ 359645 h 571"/>
                <a:gd name="T32" fmla="*/ 1239226 w 1099"/>
                <a:gd name="T33" fmla="*/ 328485 h 571"/>
                <a:gd name="T34" fmla="*/ 1278401 w 1099"/>
                <a:gd name="T35" fmla="*/ 281744 h 571"/>
                <a:gd name="T36" fmla="*/ 1356751 w 1099"/>
                <a:gd name="T37" fmla="*/ 250583 h 571"/>
                <a:gd name="T38" fmla="*/ 1435100 w 1099"/>
                <a:gd name="T39" fmla="*/ 148013 h 571"/>
                <a:gd name="T40" fmla="*/ 1388090 w 1099"/>
                <a:gd name="T41" fmla="*/ 62321 h 571"/>
                <a:gd name="T42" fmla="*/ 1247061 w 1099"/>
                <a:gd name="T43" fmla="*/ 155803 h 571"/>
                <a:gd name="T44" fmla="*/ 1153042 w 1099"/>
                <a:gd name="T45" fmla="*/ 210334 h 571"/>
                <a:gd name="T46" fmla="*/ 1049882 w 1099"/>
                <a:gd name="T47" fmla="*/ 194754 h 571"/>
                <a:gd name="T48" fmla="*/ 869678 w 1099"/>
                <a:gd name="T49" fmla="*/ 31161 h 571"/>
                <a:gd name="T50" fmla="*/ 736484 w 1099"/>
                <a:gd name="T51" fmla="*/ 0 h 571"/>
                <a:gd name="T52" fmla="*/ 62680 w 1099"/>
                <a:gd name="T53" fmla="*/ 46741 h 571"/>
                <a:gd name="T54" fmla="*/ 47010 w 1099"/>
                <a:gd name="T55" fmla="*/ 31161 h 571"/>
                <a:gd name="T56" fmla="*/ 23505 w 1099"/>
                <a:gd name="T57" fmla="*/ 101272 h 571"/>
                <a:gd name="T58" fmla="*/ 0 w 1099"/>
                <a:gd name="T59" fmla="*/ 225914 h 571"/>
                <a:gd name="T60" fmla="*/ 15670 w 1099"/>
                <a:gd name="T61" fmla="*/ 305114 h 571"/>
                <a:gd name="T62" fmla="*/ 86184 w 1099"/>
                <a:gd name="T63" fmla="*/ 437547 h 571"/>
                <a:gd name="T64" fmla="*/ 180204 w 1099"/>
                <a:gd name="T65" fmla="*/ 523239 h 571"/>
                <a:gd name="T66" fmla="*/ 250718 w 1099"/>
                <a:gd name="T67" fmla="*/ 531029 h 5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99"/>
                <a:gd name="T103" fmla="*/ 0 h 571"/>
                <a:gd name="T104" fmla="*/ 1099 w 1099"/>
                <a:gd name="T105" fmla="*/ 571 h 57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99" h="571">
                  <a:moveTo>
                    <a:pt x="252" y="439"/>
                  </a:moveTo>
                  <a:lnTo>
                    <a:pt x="300" y="439"/>
                  </a:lnTo>
                  <a:lnTo>
                    <a:pt x="318" y="427"/>
                  </a:lnTo>
                  <a:lnTo>
                    <a:pt x="348" y="433"/>
                  </a:lnTo>
                  <a:lnTo>
                    <a:pt x="396" y="487"/>
                  </a:lnTo>
                  <a:lnTo>
                    <a:pt x="432" y="475"/>
                  </a:lnTo>
                  <a:lnTo>
                    <a:pt x="456" y="493"/>
                  </a:lnTo>
                  <a:lnTo>
                    <a:pt x="474" y="523"/>
                  </a:lnTo>
                  <a:lnTo>
                    <a:pt x="498" y="547"/>
                  </a:lnTo>
                  <a:lnTo>
                    <a:pt x="528" y="553"/>
                  </a:lnTo>
                  <a:lnTo>
                    <a:pt x="528" y="511"/>
                  </a:lnTo>
                  <a:lnTo>
                    <a:pt x="552" y="487"/>
                  </a:lnTo>
                  <a:lnTo>
                    <a:pt x="570" y="469"/>
                  </a:lnTo>
                  <a:lnTo>
                    <a:pt x="630" y="475"/>
                  </a:lnTo>
                  <a:lnTo>
                    <a:pt x="666" y="475"/>
                  </a:lnTo>
                  <a:lnTo>
                    <a:pt x="714" y="463"/>
                  </a:lnTo>
                  <a:lnTo>
                    <a:pt x="744" y="463"/>
                  </a:lnTo>
                  <a:lnTo>
                    <a:pt x="774" y="457"/>
                  </a:lnTo>
                  <a:lnTo>
                    <a:pt x="780" y="487"/>
                  </a:lnTo>
                  <a:lnTo>
                    <a:pt x="792" y="529"/>
                  </a:lnTo>
                  <a:lnTo>
                    <a:pt x="829" y="565"/>
                  </a:lnTo>
                  <a:lnTo>
                    <a:pt x="847" y="571"/>
                  </a:lnTo>
                  <a:lnTo>
                    <a:pt x="841" y="511"/>
                  </a:lnTo>
                  <a:lnTo>
                    <a:pt x="817" y="445"/>
                  </a:lnTo>
                  <a:lnTo>
                    <a:pt x="847" y="409"/>
                  </a:lnTo>
                  <a:lnTo>
                    <a:pt x="877" y="397"/>
                  </a:lnTo>
                  <a:lnTo>
                    <a:pt x="931" y="343"/>
                  </a:lnTo>
                  <a:lnTo>
                    <a:pt x="925" y="307"/>
                  </a:lnTo>
                  <a:lnTo>
                    <a:pt x="919" y="271"/>
                  </a:lnTo>
                  <a:lnTo>
                    <a:pt x="937" y="283"/>
                  </a:lnTo>
                  <a:lnTo>
                    <a:pt x="943" y="277"/>
                  </a:lnTo>
                  <a:lnTo>
                    <a:pt x="937" y="253"/>
                  </a:lnTo>
                  <a:lnTo>
                    <a:pt x="949" y="253"/>
                  </a:lnTo>
                  <a:lnTo>
                    <a:pt x="967" y="247"/>
                  </a:lnTo>
                  <a:lnTo>
                    <a:pt x="979" y="217"/>
                  </a:lnTo>
                  <a:lnTo>
                    <a:pt x="1003" y="211"/>
                  </a:lnTo>
                  <a:lnTo>
                    <a:pt x="1039" y="193"/>
                  </a:lnTo>
                  <a:lnTo>
                    <a:pt x="1039" y="144"/>
                  </a:lnTo>
                  <a:lnTo>
                    <a:pt x="1099" y="114"/>
                  </a:lnTo>
                  <a:lnTo>
                    <a:pt x="1087" y="54"/>
                  </a:lnTo>
                  <a:lnTo>
                    <a:pt x="1063" y="48"/>
                  </a:lnTo>
                  <a:lnTo>
                    <a:pt x="1015" y="108"/>
                  </a:lnTo>
                  <a:lnTo>
                    <a:pt x="955" y="120"/>
                  </a:lnTo>
                  <a:lnTo>
                    <a:pt x="925" y="126"/>
                  </a:lnTo>
                  <a:lnTo>
                    <a:pt x="883" y="162"/>
                  </a:lnTo>
                  <a:lnTo>
                    <a:pt x="804" y="186"/>
                  </a:lnTo>
                  <a:lnTo>
                    <a:pt x="804" y="150"/>
                  </a:lnTo>
                  <a:lnTo>
                    <a:pt x="768" y="72"/>
                  </a:lnTo>
                  <a:lnTo>
                    <a:pt x="666" y="24"/>
                  </a:lnTo>
                  <a:lnTo>
                    <a:pt x="624" y="12"/>
                  </a:lnTo>
                  <a:lnTo>
                    <a:pt x="564" y="0"/>
                  </a:lnTo>
                  <a:lnTo>
                    <a:pt x="42" y="0"/>
                  </a:lnTo>
                  <a:lnTo>
                    <a:pt x="48" y="36"/>
                  </a:lnTo>
                  <a:lnTo>
                    <a:pt x="30" y="48"/>
                  </a:lnTo>
                  <a:lnTo>
                    <a:pt x="36" y="24"/>
                  </a:lnTo>
                  <a:lnTo>
                    <a:pt x="0" y="12"/>
                  </a:lnTo>
                  <a:lnTo>
                    <a:pt x="18" y="78"/>
                  </a:lnTo>
                  <a:lnTo>
                    <a:pt x="12" y="126"/>
                  </a:lnTo>
                  <a:lnTo>
                    <a:pt x="0" y="174"/>
                  </a:lnTo>
                  <a:lnTo>
                    <a:pt x="12" y="211"/>
                  </a:lnTo>
                  <a:lnTo>
                    <a:pt x="12" y="235"/>
                  </a:lnTo>
                  <a:lnTo>
                    <a:pt x="42" y="295"/>
                  </a:lnTo>
                  <a:lnTo>
                    <a:pt x="66" y="337"/>
                  </a:lnTo>
                  <a:lnTo>
                    <a:pt x="84" y="367"/>
                  </a:lnTo>
                  <a:lnTo>
                    <a:pt x="138" y="403"/>
                  </a:lnTo>
                  <a:lnTo>
                    <a:pt x="144" y="415"/>
                  </a:lnTo>
                  <a:lnTo>
                    <a:pt x="192" y="409"/>
                  </a:lnTo>
                  <a:lnTo>
                    <a:pt x="252" y="439"/>
                  </a:lnTo>
                  <a:close/>
                </a:path>
              </a:pathLst>
            </a:custGeom>
            <a:solidFill>
              <a:srgbClr val="007299"/>
            </a:solidFill>
            <a:ln w="9525">
              <a:solidFill>
                <a:sysClr val="window" lastClr="FFFFFF">
                  <a:lumMod val="85000"/>
                </a:sys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23" name="Freeform 400"/>
            <p:cNvSpPr>
              <a:spLocks/>
            </p:cNvSpPr>
            <p:nvPr/>
          </p:nvSpPr>
          <p:spPr bwMode="auto">
            <a:xfrm>
              <a:off x="3964764" y="3748023"/>
              <a:ext cx="106867" cy="110631"/>
            </a:xfrm>
            <a:custGeom>
              <a:avLst/>
              <a:gdLst>
                <a:gd name="T0" fmla="*/ 111125 w 14"/>
                <a:gd name="T1" fmla="*/ 112713 h 14"/>
                <a:gd name="T2" fmla="*/ 103188 w 14"/>
                <a:gd name="T3" fmla="*/ 88560 h 14"/>
                <a:gd name="T4" fmla="*/ 111125 w 14"/>
                <a:gd name="T5" fmla="*/ 0 h 14"/>
                <a:gd name="T6" fmla="*/ 55563 w 14"/>
                <a:gd name="T7" fmla="*/ 24153 h 14"/>
                <a:gd name="T8" fmla="*/ 0 w 14"/>
                <a:gd name="T9" fmla="*/ 48306 h 14"/>
                <a:gd name="T10" fmla="*/ 39688 w 14"/>
                <a:gd name="T11" fmla="*/ 112713 h 14"/>
                <a:gd name="T12" fmla="*/ 71438 w 14"/>
                <a:gd name="T13" fmla="*/ 104662 h 14"/>
                <a:gd name="T14" fmla="*/ 111125 w 14"/>
                <a:gd name="T15" fmla="*/ 112713 h 14"/>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4"/>
                <a:gd name="T26" fmla="*/ 14 w 14"/>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4">
                  <a:moveTo>
                    <a:pt x="14" y="14"/>
                  </a:moveTo>
                  <a:cubicBezTo>
                    <a:pt x="14" y="12"/>
                    <a:pt x="13" y="11"/>
                    <a:pt x="13" y="11"/>
                  </a:cubicBezTo>
                  <a:cubicBezTo>
                    <a:pt x="14" y="0"/>
                    <a:pt x="14" y="0"/>
                    <a:pt x="14" y="0"/>
                  </a:cubicBezTo>
                  <a:cubicBezTo>
                    <a:pt x="7" y="3"/>
                    <a:pt x="7" y="3"/>
                    <a:pt x="7" y="3"/>
                  </a:cubicBezTo>
                  <a:cubicBezTo>
                    <a:pt x="0" y="6"/>
                    <a:pt x="0" y="6"/>
                    <a:pt x="0" y="6"/>
                  </a:cubicBezTo>
                  <a:cubicBezTo>
                    <a:pt x="5" y="14"/>
                    <a:pt x="5" y="14"/>
                    <a:pt x="5" y="14"/>
                  </a:cubicBezTo>
                  <a:cubicBezTo>
                    <a:pt x="9" y="13"/>
                    <a:pt x="9" y="13"/>
                    <a:pt x="9" y="13"/>
                  </a:cubicBezTo>
                  <a:lnTo>
                    <a:pt x="14" y="14"/>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24" name="Freeform 401"/>
            <p:cNvSpPr>
              <a:spLocks/>
            </p:cNvSpPr>
            <p:nvPr/>
          </p:nvSpPr>
          <p:spPr bwMode="auto">
            <a:xfrm>
              <a:off x="4002951" y="3849293"/>
              <a:ext cx="91599" cy="68560"/>
            </a:xfrm>
            <a:custGeom>
              <a:avLst/>
              <a:gdLst>
                <a:gd name="T0" fmla="*/ 71438 w 12"/>
                <a:gd name="T1" fmla="*/ 7761 h 9"/>
                <a:gd name="T2" fmla="*/ 31750 w 12"/>
                <a:gd name="T3" fmla="*/ 0 h 9"/>
                <a:gd name="T4" fmla="*/ 0 w 12"/>
                <a:gd name="T5" fmla="*/ 7761 h 9"/>
                <a:gd name="T6" fmla="*/ 15875 w 12"/>
                <a:gd name="T7" fmla="*/ 23283 h 9"/>
                <a:gd name="T8" fmla="*/ 87313 w 12"/>
                <a:gd name="T9" fmla="*/ 69850 h 9"/>
                <a:gd name="T10" fmla="*/ 95250 w 12"/>
                <a:gd name="T11" fmla="*/ 38806 h 9"/>
                <a:gd name="T12" fmla="*/ 71438 w 12"/>
                <a:gd name="T13" fmla="*/ 7761 h 9"/>
                <a:gd name="T14" fmla="*/ 0 60000 65536"/>
                <a:gd name="T15" fmla="*/ 0 60000 65536"/>
                <a:gd name="T16" fmla="*/ 0 60000 65536"/>
                <a:gd name="T17" fmla="*/ 0 60000 65536"/>
                <a:gd name="T18" fmla="*/ 0 60000 65536"/>
                <a:gd name="T19" fmla="*/ 0 60000 65536"/>
                <a:gd name="T20" fmla="*/ 0 60000 65536"/>
                <a:gd name="T21" fmla="*/ 0 w 12"/>
                <a:gd name="T22" fmla="*/ 0 h 9"/>
                <a:gd name="T23" fmla="*/ 12 w 12"/>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9">
                  <a:moveTo>
                    <a:pt x="9" y="1"/>
                  </a:moveTo>
                  <a:cubicBezTo>
                    <a:pt x="4" y="0"/>
                    <a:pt x="4" y="0"/>
                    <a:pt x="4" y="0"/>
                  </a:cubicBezTo>
                  <a:cubicBezTo>
                    <a:pt x="0" y="1"/>
                    <a:pt x="0" y="1"/>
                    <a:pt x="0" y="1"/>
                  </a:cubicBezTo>
                  <a:cubicBezTo>
                    <a:pt x="2" y="3"/>
                    <a:pt x="2" y="3"/>
                    <a:pt x="2" y="3"/>
                  </a:cubicBezTo>
                  <a:cubicBezTo>
                    <a:pt x="11" y="9"/>
                    <a:pt x="11" y="9"/>
                    <a:pt x="11" y="9"/>
                  </a:cubicBezTo>
                  <a:cubicBezTo>
                    <a:pt x="12" y="5"/>
                    <a:pt x="12" y="5"/>
                    <a:pt x="12" y="5"/>
                  </a:cubicBezTo>
                  <a:cubicBezTo>
                    <a:pt x="11" y="4"/>
                    <a:pt x="10" y="2"/>
                    <a:pt x="9" y="1"/>
                  </a:cubicBez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25" name="Freeform 402"/>
            <p:cNvSpPr>
              <a:spLocks/>
            </p:cNvSpPr>
            <p:nvPr/>
          </p:nvSpPr>
          <p:spPr bwMode="auto">
            <a:xfrm>
              <a:off x="4086887" y="3888254"/>
              <a:ext cx="135873" cy="59211"/>
            </a:xfrm>
            <a:custGeom>
              <a:avLst/>
              <a:gdLst>
                <a:gd name="T0" fmla="*/ 109891 w 18"/>
                <a:gd name="T1" fmla="*/ 7541 h 8"/>
                <a:gd name="T2" fmla="*/ 70644 w 18"/>
                <a:gd name="T3" fmla="*/ 7541 h 8"/>
                <a:gd name="T4" fmla="*/ 15699 w 18"/>
                <a:gd name="T5" fmla="*/ 7541 h 8"/>
                <a:gd name="T6" fmla="*/ 7849 w 18"/>
                <a:gd name="T7" fmla="*/ 0 h 8"/>
                <a:gd name="T8" fmla="*/ 0 w 18"/>
                <a:gd name="T9" fmla="*/ 30163 h 8"/>
                <a:gd name="T10" fmla="*/ 31397 w 18"/>
                <a:gd name="T11" fmla="*/ 60325 h 8"/>
                <a:gd name="T12" fmla="*/ 47096 w 18"/>
                <a:gd name="T13" fmla="*/ 60325 h 8"/>
                <a:gd name="T14" fmla="*/ 54945 w 18"/>
                <a:gd name="T15" fmla="*/ 45244 h 8"/>
                <a:gd name="T16" fmla="*/ 78493 w 18"/>
                <a:gd name="T17" fmla="*/ 22622 h 8"/>
                <a:gd name="T18" fmla="*/ 109891 w 18"/>
                <a:gd name="T19" fmla="*/ 30163 h 8"/>
                <a:gd name="T20" fmla="*/ 117740 w 18"/>
                <a:gd name="T21" fmla="*/ 52784 h 8"/>
                <a:gd name="T22" fmla="*/ 141288 w 18"/>
                <a:gd name="T23" fmla="*/ 30163 h 8"/>
                <a:gd name="T24" fmla="*/ 109891 w 18"/>
                <a:gd name="T25" fmla="*/ 7541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
                <a:gd name="T40" fmla="*/ 0 h 8"/>
                <a:gd name="T41" fmla="*/ 18 w 18"/>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 h="8">
                  <a:moveTo>
                    <a:pt x="14" y="1"/>
                  </a:moveTo>
                  <a:cubicBezTo>
                    <a:pt x="9" y="1"/>
                    <a:pt x="9" y="1"/>
                    <a:pt x="9" y="1"/>
                  </a:cubicBezTo>
                  <a:cubicBezTo>
                    <a:pt x="9" y="1"/>
                    <a:pt x="3" y="2"/>
                    <a:pt x="2" y="1"/>
                  </a:cubicBezTo>
                  <a:cubicBezTo>
                    <a:pt x="1" y="1"/>
                    <a:pt x="1" y="1"/>
                    <a:pt x="1" y="0"/>
                  </a:cubicBezTo>
                  <a:cubicBezTo>
                    <a:pt x="0" y="4"/>
                    <a:pt x="0" y="4"/>
                    <a:pt x="0" y="4"/>
                  </a:cubicBezTo>
                  <a:cubicBezTo>
                    <a:pt x="0" y="4"/>
                    <a:pt x="3" y="7"/>
                    <a:pt x="4" y="8"/>
                  </a:cubicBezTo>
                  <a:cubicBezTo>
                    <a:pt x="5" y="8"/>
                    <a:pt x="6" y="8"/>
                    <a:pt x="6" y="8"/>
                  </a:cubicBezTo>
                  <a:cubicBezTo>
                    <a:pt x="7" y="6"/>
                    <a:pt x="7" y="6"/>
                    <a:pt x="7" y="6"/>
                  </a:cubicBezTo>
                  <a:cubicBezTo>
                    <a:pt x="10" y="3"/>
                    <a:pt x="10" y="3"/>
                    <a:pt x="10" y="3"/>
                  </a:cubicBezTo>
                  <a:cubicBezTo>
                    <a:pt x="14" y="4"/>
                    <a:pt x="14" y="4"/>
                    <a:pt x="14" y="4"/>
                  </a:cubicBezTo>
                  <a:cubicBezTo>
                    <a:pt x="15" y="7"/>
                    <a:pt x="15" y="7"/>
                    <a:pt x="15" y="7"/>
                  </a:cubicBezTo>
                  <a:cubicBezTo>
                    <a:pt x="18" y="4"/>
                    <a:pt x="18" y="4"/>
                    <a:pt x="18" y="4"/>
                  </a:cubicBezTo>
                  <a:lnTo>
                    <a:pt x="14" y="1"/>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26" name="Freeform 403"/>
            <p:cNvSpPr>
              <a:spLocks/>
            </p:cNvSpPr>
            <p:nvPr/>
          </p:nvSpPr>
          <p:spPr bwMode="auto">
            <a:xfrm>
              <a:off x="4176967" y="3819690"/>
              <a:ext cx="279377" cy="313195"/>
            </a:xfrm>
            <a:custGeom>
              <a:avLst/>
              <a:gdLst>
                <a:gd name="T0" fmla="*/ 290512 w 37"/>
                <a:gd name="T1" fmla="*/ 264610 h 41"/>
                <a:gd name="T2" fmla="*/ 290512 w 37"/>
                <a:gd name="T3" fmla="*/ 264610 h 41"/>
                <a:gd name="T4" fmla="*/ 290512 w 37"/>
                <a:gd name="T5" fmla="*/ 210131 h 41"/>
                <a:gd name="T6" fmla="*/ 274809 w 37"/>
                <a:gd name="T7" fmla="*/ 179001 h 41"/>
                <a:gd name="T8" fmla="*/ 282660 w 37"/>
                <a:gd name="T9" fmla="*/ 163435 h 41"/>
                <a:gd name="T10" fmla="*/ 243402 w 37"/>
                <a:gd name="T11" fmla="*/ 155653 h 41"/>
                <a:gd name="T12" fmla="*/ 164885 w 37"/>
                <a:gd name="T13" fmla="*/ 124522 h 41"/>
                <a:gd name="T14" fmla="*/ 149182 w 37"/>
                <a:gd name="T15" fmla="*/ 85609 h 41"/>
                <a:gd name="T16" fmla="*/ 157034 w 37"/>
                <a:gd name="T17" fmla="*/ 23348 h 41"/>
                <a:gd name="T18" fmla="*/ 188440 w 37"/>
                <a:gd name="T19" fmla="*/ 7783 h 41"/>
                <a:gd name="T20" fmla="*/ 188440 w 37"/>
                <a:gd name="T21" fmla="*/ 0 h 41"/>
                <a:gd name="T22" fmla="*/ 133478 w 37"/>
                <a:gd name="T23" fmla="*/ 15565 h 41"/>
                <a:gd name="T24" fmla="*/ 102072 w 37"/>
                <a:gd name="T25" fmla="*/ 31131 h 41"/>
                <a:gd name="T26" fmla="*/ 86368 w 37"/>
                <a:gd name="T27" fmla="*/ 70044 h 41"/>
                <a:gd name="T28" fmla="*/ 70665 w 37"/>
                <a:gd name="T29" fmla="*/ 77826 h 41"/>
                <a:gd name="T30" fmla="*/ 47110 w 37"/>
                <a:gd name="T31" fmla="*/ 101174 h 41"/>
                <a:gd name="T32" fmla="*/ 23555 w 37"/>
                <a:gd name="T33" fmla="*/ 124522 h 41"/>
                <a:gd name="T34" fmla="*/ 31407 w 37"/>
                <a:gd name="T35" fmla="*/ 140087 h 41"/>
                <a:gd name="T36" fmla="*/ 39258 w 37"/>
                <a:gd name="T37" fmla="*/ 179001 h 41"/>
                <a:gd name="T38" fmla="*/ 39258 w 37"/>
                <a:gd name="T39" fmla="*/ 202348 h 41"/>
                <a:gd name="T40" fmla="*/ 47110 w 37"/>
                <a:gd name="T41" fmla="*/ 233479 h 41"/>
                <a:gd name="T42" fmla="*/ 15703 w 37"/>
                <a:gd name="T43" fmla="*/ 256827 h 41"/>
                <a:gd name="T44" fmla="*/ 0 w 37"/>
                <a:gd name="T45" fmla="*/ 272392 h 41"/>
                <a:gd name="T46" fmla="*/ 62813 w 37"/>
                <a:gd name="T47" fmla="*/ 295740 h 41"/>
                <a:gd name="T48" fmla="*/ 94220 w 37"/>
                <a:gd name="T49" fmla="*/ 319088 h 4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7"/>
                <a:gd name="T76" fmla="*/ 0 h 41"/>
                <a:gd name="T77" fmla="*/ 37 w 37"/>
                <a:gd name="T78" fmla="*/ 41 h 4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7" h="41">
                  <a:moveTo>
                    <a:pt x="37" y="34"/>
                  </a:moveTo>
                  <a:cubicBezTo>
                    <a:pt x="37" y="34"/>
                    <a:pt x="37" y="34"/>
                    <a:pt x="37" y="34"/>
                  </a:cubicBezTo>
                  <a:cubicBezTo>
                    <a:pt x="37" y="27"/>
                    <a:pt x="37" y="27"/>
                    <a:pt x="37" y="27"/>
                  </a:cubicBezTo>
                  <a:cubicBezTo>
                    <a:pt x="35" y="23"/>
                    <a:pt x="35" y="23"/>
                    <a:pt x="35" y="23"/>
                  </a:cubicBezTo>
                  <a:cubicBezTo>
                    <a:pt x="36" y="21"/>
                    <a:pt x="36" y="21"/>
                    <a:pt x="36" y="21"/>
                  </a:cubicBezTo>
                  <a:cubicBezTo>
                    <a:pt x="31" y="20"/>
                    <a:pt x="31" y="20"/>
                    <a:pt x="31" y="20"/>
                  </a:cubicBezTo>
                  <a:cubicBezTo>
                    <a:pt x="21" y="16"/>
                    <a:pt x="21" y="16"/>
                    <a:pt x="21" y="16"/>
                  </a:cubicBezTo>
                  <a:cubicBezTo>
                    <a:pt x="19" y="11"/>
                    <a:pt x="19" y="11"/>
                    <a:pt x="19" y="11"/>
                  </a:cubicBezTo>
                  <a:cubicBezTo>
                    <a:pt x="20" y="3"/>
                    <a:pt x="20" y="3"/>
                    <a:pt x="20" y="3"/>
                  </a:cubicBezTo>
                  <a:cubicBezTo>
                    <a:pt x="24" y="1"/>
                    <a:pt x="24" y="1"/>
                    <a:pt x="24" y="1"/>
                  </a:cubicBezTo>
                  <a:cubicBezTo>
                    <a:pt x="24" y="0"/>
                    <a:pt x="24" y="0"/>
                    <a:pt x="24" y="0"/>
                  </a:cubicBezTo>
                  <a:cubicBezTo>
                    <a:pt x="17" y="2"/>
                    <a:pt x="17" y="2"/>
                    <a:pt x="17" y="2"/>
                  </a:cubicBezTo>
                  <a:cubicBezTo>
                    <a:pt x="13" y="4"/>
                    <a:pt x="13" y="4"/>
                    <a:pt x="13" y="4"/>
                  </a:cubicBezTo>
                  <a:cubicBezTo>
                    <a:pt x="11" y="9"/>
                    <a:pt x="11" y="9"/>
                    <a:pt x="11" y="9"/>
                  </a:cubicBezTo>
                  <a:cubicBezTo>
                    <a:pt x="9" y="10"/>
                    <a:pt x="9" y="10"/>
                    <a:pt x="9" y="10"/>
                  </a:cubicBezTo>
                  <a:cubicBezTo>
                    <a:pt x="6" y="13"/>
                    <a:pt x="6" y="13"/>
                    <a:pt x="6" y="13"/>
                  </a:cubicBezTo>
                  <a:cubicBezTo>
                    <a:pt x="3" y="16"/>
                    <a:pt x="3" y="16"/>
                    <a:pt x="3" y="16"/>
                  </a:cubicBezTo>
                  <a:cubicBezTo>
                    <a:pt x="4" y="18"/>
                    <a:pt x="4" y="18"/>
                    <a:pt x="4" y="18"/>
                  </a:cubicBezTo>
                  <a:cubicBezTo>
                    <a:pt x="5" y="23"/>
                    <a:pt x="5" y="23"/>
                    <a:pt x="5" y="23"/>
                  </a:cubicBezTo>
                  <a:cubicBezTo>
                    <a:pt x="5" y="26"/>
                    <a:pt x="5" y="26"/>
                    <a:pt x="5" y="26"/>
                  </a:cubicBezTo>
                  <a:cubicBezTo>
                    <a:pt x="6" y="30"/>
                    <a:pt x="6" y="30"/>
                    <a:pt x="6" y="30"/>
                  </a:cubicBezTo>
                  <a:cubicBezTo>
                    <a:pt x="2" y="33"/>
                    <a:pt x="2" y="33"/>
                    <a:pt x="2" y="33"/>
                  </a:cubicBezTo>
                  <a:cubicBezTo>
                    <a:pt x="0" y="35"/>
                    <a:pt x="0" y="35"/>
                    <a:pt x="0" y="35"/>
                  </a:cubicBezTo>
                  <a:cubicBezTo>
                    <a:pt x="8" y="38"/>
                    <a:pt x="8" y="38"/>
                    <a:pt x="8" y="38"/>
                  </a:cubicBezTo>
                  <a:cubicBezTo>
                    <a:pt x="12" y="41"/>
                    <a:pt x="12" y="41"/>
                    <a:pt x="12" y="41"/>
                  </a:cubicBezTo>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27" name="Freeform 404"/>
            <p:cNvSpPr>
              <a:spLocks/>
            </p:cNvSpPr>
            <p:nvPr/>
          </p:nvSpPr>
          <p:spPr bwMode="auto">
            <a:xfrm>
              <a:off x="4268569" y="4079926"/>
              <a:ext cx="187779" cy="137119"/>
            </a:xfrm>
            <a:custGeom>
              <a:avLst/>
              <a:gdLst>
                <a:gd name="T0" fmla="*/ 0 w 150"/>
                <a:gd name="T1" fmla="*/ 54328 h 108"/>
                <a:gd name="T2" fmla="*/ 0 w 150"/>
                <a:gd name="T3" fmla="*/ 54328 h 108"/>
                <a:gd name="T4" fmla="*/ 39052 w 150"/>
                <a:gd name="T5" fmla="*/ 77611 h 108"/>
                <a:gd name="T6" fmla="*/ 62484 w 150"/>
                <a:gd name="T7" fmla="*/ 100894 h 108"/>
                <a:gd name="T8" fmla="*/ 93726 w 150"/>
                <a:gd name="T9" fmla="*/ 100894 h 108"/>
                <a:gd name="T10" fmla="*/ 109347 w 150"/>
                <a:gd name="T11" fmla="*/ 124178 h 108"/>
                <a:gd name="T12" fmla="*/ 117157 w 150"/>
                <a:gd name="T13" fmla="*/ 116417 h 108"/>
                <a:gd name="T14" fmla="*/ 109347 w 150"/>
                <a:gd name="T15" fmla="*/ 124178 h 108"/>
                <a:gd name="T16" fmla="*/ 124968 w 150"/>
                <a:gd name="T17" fmla="*/ 139700 h 108"/>
                <a:gd name="T18" fmla="*/ 140589 w 150"/>
                <a:gd name="T19" fmla="*/ 54328 h 108"/>
                <a:gd name="T20" fmla="*/ 132778 w 150"/>
                <a:gd name="T21" fmla="*/ 15522 h 108"/>
                <a:gd name="T22" fmla="*/ 195262 w 150"/>
                <a:gd name="T23" fmla="*/ 0 h 108"/>
                <a:gd name="T24" fmla="*/ 0 w 150"/>
                <a:gd name="T25" fmla="*/ 54328 h 10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0"/>
                <a:gd name="T40" fmla="*/ 0 h 108"/>
                <a:gd name="T41" fmla="*/ 150 w 150"/>
                <a:gd name="T42" fmla="*/ 108 h 10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0" h="108">
                  <a:moveTo>
                    <a:pt x="0" y="42"/>
                  </a:moveTo>
                  <a:lnTo>
                    <a:pt x="0" y="42"/>
                  </a:lnTo>
                  <a:lnTo>
                    <a:pt x="30" y="60"/>
                  </a:lnTo>
                  <a:lnTo>
                    <a:pt x="48" y="78"/>
                  </a:lnTo>
                  <a:lnTo>
                    <a:pt x="72" y="78"/>
                  </a:lnTo>
                  <a:lnTo>
                    <a:pt x="84" y="96"/>
                  </a:lnTo>
                  <a:lnTo>
                    <a:pt x="90" y="90"/>
                  </a:lnTo>
                  <a:lnTo>
                    <a:pt x="84" y="96"/>
                  </a:lnTo>
                  <a:lnTo>
                    <a:pt x="96" y="108"/>
                  </a:lnTo>
                  <a:lnTo>
                    <a:pt x="108" y="42"/>
                  </a:lnTo>
                  <a:lnTo>
                    <a:pt x="102" y="12"/>
                  </a:lnTo>
                  <a:lnTo>
                    <a:pt x="150" y="0"/>
                  </a:lnTo>
                  <a:lnTo>
                    <a:pt x="0" y="42"/>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28" name="Freeform 405"/>
            <p:cNvSpPr>
              <a:spLocks/>
            </p:cNvSpPr>
            <p:nvPr/>
          </p:nvSpPr>
          <p:spPr bwMode="auto">
            <a:xfrm>
              <a:off x="4268569" y="4079926"/>
              <a:ext cx="187779" cy="137119"/>
            </a:xfrm>
            <a:custGeom>
              <a:avLst/>
              <a:gdLst>
                <a:gd name="T0" fmla="*/ 0 w 150"/>
                <a:gd name="T1" fmla="*/ 54328 h 108"/>
                <a:gd name="T2" fmla="*/ 0 w 150"/>
                <a:gd name="T3" fmla="*/ 54328 h 108"/>
                <a:gd name="T4" fmla="*/ 39052 w 150"/>
                <a:gd name="T5" fmla="*/ 77611 h 108"/>
                <a:gd name="T6" fmla="*/ 62484 w 150"/>
                <a:gd name="T7" fmla="*/ 100894 h 108"/>
                <a:gd name="T8" fmla="*/ 93726 w 150"/>
                <a:gd name="T9" fmla="*/ 100894 h 108"/>
                <a:gd name="T10" fmla="*/ 109347 w 150"/>
                <a:gd name="T11" fmla="*/ 124178 h 108"/>
                <a:gd name="T12" fmla="*/ 117157 w 150"/>
                <a:gd name="T13" fmla="*/ 116417 h 108"/>
                <a:gd name="T14" fmla="*/ 109347 w 150"/>
                <a:gd name="T15" fmla="*/ 124178 h 108"/>
                <a:gd name="T16" fmla="*/ 124968 w 150"/>
                <a:gd name="T17" fmla="*/ 139700 h 108"/>
                <a:gd name="T18" fmla="*/ 140589 w 150"/>
                <a:gd name="T19" fmla="*/ 54328 h 108"/>
                <a:gd name="T20" fmla="*/ 132778 w 150"/>
                <a:gd name="T21" fmla="*/ 15522 h 108"/>
                <a:gd name="T22" fmla="*/ 195262 w 150"/>
                <a:gd name="T23" fmla="*/ 0 h 10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0"/>
                <a:gd name="T37" fmla="*/ 0 h 108"/>
                <a:gd name="T38" fmla="*/ 150 w 150"/>
                <a:gd name="T39" fmla="*/ 108 h 10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0" h="108">
                  <a:moveTo>
                    <a:pt x="0" y="42"/>
                  </a:moveTo>
                  <a:lnTo>
                    <a:pt x="0" y="42"/>
                  </a:lnTo>
                  <a:lnTo>
                    <a:pt x="30" y="60"/>
                  </a:lnTo>
                  <a:lnTo>
                    <a:pt x="48" y="78"/>
                  </a:lnTo>
                  <a:lnTo>
                    <a:pt x="72" y="78"/>
                  </a:lnTo>
                  <a:lnTo>
                    <a:pt x="84" y="96"/>
                  </a:lnTo>
                  <a:lnTo>
                    <a:pt x="90" y="90"/>
                  </a:lnTo>
                  <a:lnTo>
                    <a:pt x="84" y="96"/>
                  </a:lnTo>
                  <a:lnTo>
                    <a:pt x="96" y="108"/>
                  </a:lnTo>
                  <a:lnTo>
                    <a:pt x="108" y="42"/>
                  </a:lnTo>
                  <a:lnTo>
                    <a:pt x="102" y="12"/>
                  </a:lnTo>
                  <a:lnTo>
                    <a:pt x="150" y="0"/>
                  </a:lnTo>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29" name="Freeform 406"/>
            <p:cNvSpPr>
              <a:spLocks/>
            </p:cNvSpPr>
            <p:nvPr/>
          </p:nvSpPr>
          <p:spPr bwMode="auto">
            <a:xfrm>
              <a:off x="4599829" y="3910063"/>
              <a:ext cx="112972" cy="176075"/>
            </a:xfrm>
            <a:custGeom>
              <a:avLst/>
              <a:gdLst>
                <a:gd name="T0" fmla="*/ 117475 w 90"/>
                <a:gd name="T1" fmla="*/ 163789 h 138"/>
                <a:gd name="T2" fmla="*/ 101812 w 90"/>
                <a:gd name="T3" fmla="*/ 132591 h 138"/>
                <a:gd name="T4" fmla="*/ 86148 w 90"/>
                <a:gd name="T5" fmla="*/ 101393 h 138"/>
                <a:gd name="T6" fmla="*/ 109643 w 90"/>
                <a:gd name="T7" fmla="*/ 77995 h 138"/>
                <a:gd name="T8" fmla="*/ 117475 w 90"/>
                <a:gd name="T9" fmla="*/ 54596 h 138"/>
                <a:gd name="T10" fmla="*/ 86148 w 90"/>
                <a:gd name="T11" fmla="*/ 46797 h 138"/>
                <a:gd name="T12" fmla="*/ 78317 w 90"/>
                <a:gd name="T13" fmla="*/ 23398 h 138"/>
                <a:gd name="T14" fmla="*/ 46990 w 90"/>
                <a:gd name="T15" fmla="*/ 0 h 138"/>
                <a:gd name="T16" fmla="*/ 15663 w 90"/>
                <a:gd name="T17" fmla="*/ 31198 h 138"/>
                <a:gd name="T18" fmla="*/ 0 w 90"/>
                <a:gd name="T19" fmla="*/ 54596 h 138"/>
                <a:gd name="T20" fmla="*/ 7832 w 90"/>
                <a:gd name="T21" fmla="*/ 77995 h 138"/>
                <a:gd name="T22" fmla="*/ 23495 w 90"/>
                <a:gd name="T23" fmla="*/ 85794 h 138"/>
                <a:gd name="T24" fmla="*/ 39158 w 90"/>
                <a:gd name="T25" fmla="*/ 109193 h 138"/>
                <a:gd name="T26" fmla="*/ 31327 w 90"/>
                <a:gd name="T27" fmla="*/ 155990 h 138"/>
                <a:gd name="T28" fmla="*/ 54822 w 90"/>
                <a:gd name="T29" fmla="*/ 179388 h 138"/>
                <a:gd name="T30" fmla="*/ 78317 w 90"/>
                <a:gd name="T31" fmla="*/ 171589 h 138"/>
                <a:gd name="T32" fmla="*/ 117475 w 90"/>
                <a:gd name="T33" fmla="*/ 163789 h 138"/>
                <a:gd name="T34" fmla="*/ 117475 w 90"/>
                <a:gd name="T35" fmla="*/ 163789 h 1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0"/>
                <a:gd name="T55" fmla="*/ 0 h 138"/>
                <a:gd name="T56" fmla="*/ 90 w 90"/>
                <a:gd name="T57" fmla="*/ 138 h 13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0" h="138">
                  <a:moveTo>
                    <a:pt x="90" y="126"/>
                  </a:moveTo>
                  <a:lnTo>
                    <a:pt x="78" y="102"/>
                  </a:lnTo>
                  <a:lnTo>
                    <a:pt x="66" y="78"/>
                  </a:lnTo>
                  <a:lnTo>
                    <a:pt x="84" y="60"/>
                  </a:lnTo>
                  <a:lnTo>
                    <a:pt x="90" y="42"/>
                  </a:lnTo>
                  <a:lnTo>
                    <a:pt x="66" y="36"/>
                  </a:lnTo>
                  <a:lnTo>
                    <a:pt x="60" y="18"/>
                  </a:lnTo>
                  <a:lnTo>
                    <a:pt x="36" y="0"/>
                  </a:lnTo>
                  <a:lnTo>
                    <a:pt x="12" y="24"/>
                  </a:lnTo>
                  <a:lnTo>
                    <a:pt x="0" y="42"/>
                  </a:lnTo>
                  <a:lnTo>
                    <a:pt x="6" y="60"/>
                  </a:lnTo>
                  <a:lnTo>
                    <a:pt x="18" y="66"/>
                  </a:lnTo>
                  <a:lnTo>
                    <a:pt x="30" y="84"/>
                  </a:lnTo>
                  <a:lnTo>
                    <a:pt x="24" y="120"/>
                  </a:lnTo>
                  <a:lnTo>
                    <a:pt x="42" y="138"/>
                  </a:lnTo>
                  <a:lnTo>
                    <a:pt x="60" y="132"/>
                  </a:lnTo>
                  <a:lnTo>
                    <a:pt x="90" y="126"/>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30" name="Freeform 407"/>
            <p:cNvSpPr>
              <a:spLocks/>
            </p:cNvSpPr>
            <p:nvPr/>
          </p:nvSpPr>
          <p:spPr bwMode="auto">
            <a:xfrm>
              <a:off x="4599829" y="3910063"/>
              <a:ext cx="112972" cy="176075"/>
            </a:xfrm>
            <a:custGeom>
              <a:avLst/>
              <a:gdLst>
                <a:gd name="T0" fmla="*/ 117475 w 90"/>
                <a:gd name="T1" fmla="*/ 163789 h 138"/>
                <a:gd name="T2" fmla="*/ 101812 w 90"/>
                <a:gd name="T3" fmla="*/ 132591 h 138"/>
                <a:gd name="T4" fmla="*/ 86148 w 90"/>
                <a:gd name="T5" fmla="*/ 101393 h 138"/>
                <a:gd name="T6" fmla="*/ 109643 w 90"/>
                <a:gd name="T7" fmla="*/ 77995 h 138"/>
                <a:gd name="T8" fmla="*/ 117475 w 90"/>
                <a:gd name="T9" fmla="*/ 54596 h 138"/>
                <a:gd name="T10" fmla="*/ 86148 w 90"/>
                <a:gd name="T11" fmla="*/ 46797 h 138"/>
                <a:gd name="T12" fmla="*/ 78317 w 90"/>
                <a:gd name="T13" fmla="*/ 23398 h 138"/>
                <a:gd name="T14" fmla="*/ 46990 w 90"/>
                <a:gd name="T15" fmla="*/ 0 h 138"/>
                <a:gd name="T16" fmla="*/ 15663 w 90"/>
                <a:gd name="T17" fmla="*/ 31198 h 138"/>
                <a:gd name="T18" fmla="*/ 0 w 90"/>
                <a:gd name="T19" fmla="*/ 54596 h 138"/>
                <a:gd name="T20" fmla="*/ 7832 w 90"/>
                <a:gd name="T21" fmla="*/ 77995 h 138"/>
                <a:gd name="T22" fmla="*/ 23495 w 90"/>
                <a:gd name="T23" fmla="*/ 85794 h 138"/>
                <a:gd name="T24" fmla="*/ 39158 w 90"/>
                <a:gd name="T25" fmla="*/ 109193 h 138"/>
                <a:gd name="T26" fmla="*/ 31327 w 90"/>
                <a:gd name="T27" fmla="*/ 155990 h 138"/>
                <a:gd name="T28" fmla="*/ 54822 w 90"/>
                <a:gd name="T29" fmla="*/ 179388 h 138"/>
                <a:gd name="T30" fmla="*/ 78317 w 90"/>
                <a:gd name="T31" fmla="*/ 171589 h 138"/>
                <a:gd name="T32" fmla="*/ 117475 w 90"/>
                <a:gd name="T33" fmla="*/ 163789 h 138"/>
                <a:gd name="T34" fmla="*/ 117475 w 90"/>
                <a:gd name="T35" fmla="*/ 163789 h 1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0"/>
                <a:gd name="T55" fmla="*/ 0 h 138"/>
                <a:gd name="T56" fmla="*/ 90 w 90"/>
                <a:gd name="T57" fmla="*/ 138 h 13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0" h="138">
                  <a:moveTo>
                    <a:pt x="90" y="126"/>
                  </a:moveTo>
                  <a:lnTo>
                    <a:pt x="78" y="102"/>
                  </a:lnTo>
                  <a:lnTo>
                    <a:pt x="66" y="78"/>
                  </a:lnTo>
                  <a:lnTo>
                    <a:pt x="84" y="60"/>
                  </a:lnTo>
                  <a:lnTo>
                    <a:pt x="90" y="42"/>
                  </a:lnTo>
                  <a:lnTo>
                    <a:pt x="66" y="36"/>
                  </a:lnTo>
                  <a:lnTo>
                    <a:pt x="60" y="18"/>
                  </a:lnTo>
                  <a:lnTo>
                    <a:pt x="36" y="0"/>
                  </a:lnTo>
                  <a:lnTo>
                    <a:pt x="12" y="24"/>
                  </a:lnTo>
                  <a:lnTo>
                    <a:pt x="0" y="42"/>
                  </a:lnTo>
                  <a:lnTo>
                    <a:pt x="6" y="60"/>
                  </a:lnTo>
                  <a:lnTo>
                    <a:pt x="18" y="66"/>
                  </a:lnTo>
                  <a:lnTo>
                    <a:pt x="30" y="84"/>
                  </a:lnTo>
                  <a:lnTo>
                    <a:pt x="24" y="120"/>
                  </a:lnTo>
                  <a:lnTo>
                    <a:pt x="42" y="138"/>
                  </a:lnTo>
                  <a:lnTo>
                    <a:pt x="60" y="132"/>
                  </a:lnTo>
                  <a:lnTo>
                    <a:pt x="90" y="126"/>
                  </a:lnTo>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31" name="Freeform 408"/>
            <p:cNvSpPr>
              <a:spLocks/>
            </p:cNvSpPr>
            <p:nvPr/>
          </p:nvSpPr>
          <p:spPr bwMode="auto">
            <a:xfrm>
              <a:off x="4767772" y="3980183"/>
              <a:ext cx="73279" cy="91932"/>
            </a:xfrm>
            <a:custGeom>
              <a:avLst/>
              <a:gdLst>
                <a:gd name="T0" fmla="*/ 7620 w 60"/>
                <a:gd name="T1" fmla="*/ 54636 h 72"/>
                <a:gd name="T2" fmla="*/ 7620 w 60"/>
                <a:gd name="T3" fmla="*/ 85857 h 72"/>
                <a:gd name="T4" fmla="*/ 15240 w 60"/>
                <a:gd name="T5" fmla="*/ 93662 h 72"/>
                <a:gd name="T6" fmla="*/ 45720 w 60"/>
                <a:gd name="T7" fmla="*/ 78052 h 72"/>
                <a:gd name="T8" fmla="*/ 76200 w 60"/>
                <a:gd name="T9" fmla="*/ 31221 h 72"/>
                <a:gd name="T10" fmla="*/ 22860 w 60"/>
                <a:gd name="T11" fmla="*/ 0 h 72"/>
                <a:gd name="T12" fmla="*/ 7620 w 60"/>
                <a:gd name="T13" fmla="*/ 0 h 72"/>
                <a:gd name="T14" fmla="*/ 0 w 60"/>
                <a:gd name="T15" fmla="*/ 23416 h 72"/>
                <a:gd name="T16" fmla="*/ 7620 w 60"/>
                <a:gd name="T17" fmla="*/ 54636 h 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72"/>
                <a:gd name="T29" fmla="*/ 60 w 60"/>
                <a:gd name="T30" fmla="*/ 72 h 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72">
                  <a:moveTo>
                    <a:pt x="6" y="42"/>
                  </a:moveTo>
                  <a:lnTo>
                    <a:pt x="6" y="66"/>
                  </a:lnTo>
                  <a:lnTo>
                    <a:pt x="12" y="72"/>
                  </a:lnTo>
                  <a:lnTo>
                    <a:pt x="36" y="60"/>
                  </a:lnTo>
                  <a:lnTo>
                    <a:pt x="60" y="24"/>
                  </a:lnTo>
                  <a:lnTo>
                    <a:pt x="18" y="0"/>
                  </a:lnTo>
                  <a:lnTo>
                    <a:pt x="6" y="0"/>
                  </a:lnTo>
                  <a:lnTo>
                    <a:pt x="0" y="18"/>
                  </a:lnTo>
                  <a:lnTo>
                    <a:pt x="6" y="42"/>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32" name="Freeform 409"/>
            <p:cNvSpPr>
              <a:spLocks/>
            </p:cNvSpPr>
            <p:nvPr/>
          </p:nvSpPr>
          <p:spPr bwMode="auto">
            <a:xfrm>
              <a:off x="4314358" y="4662708"/>
              <a:ext cx="465629" cy="987883"/>
            </a:xfrm>
            <a:custGeom>
              <a:avLst/>
              <a:gdLst>
                <a:gd name="T0" fmla="*/ 367045 w 62"/>
                <a:gd name="T1" fmla="*/ 288679 h 129"/>
                <a:gd name="T2" fmla="*/ 374854 w 62"/>
                <a:gd name="T3" fmla="*/ 249668 h 129"/>
                <a:gd name="T4" fmla="*/ 390473 w 62"/>
                <a:gd name="T5" fmla="*/ 226262 h 129"/>
                <a:gd name="T6" fmla="*/ 390473 w 62"/>
                <a:gd name="T7" fmla="*/ 226262 h 129"/>
                <a:gd name="T8" fmla="*/ 445140 w 62"/>
                <a:gd name="T9" fmla="*/ 171647 h 129"/>
                <a:gd name="T10" fmla="*/ 468568 w 62"/>
                <a:gd name="T11" fmla="*/ 156043 h 129"/>
                <a:gd name="T12" fmla="*/ 484187 w 62"/>
                <a:gd name="T13" fmla="*/ 109230 h 129"/>
                <a:gd name="T14" fmla="*/ 476378 w 62"/>
                <a:gd name="T15" fmla="*/ 101428 h 129"/>
                <a:gd name="T16" fmla="*/ 452949 w 62"/>
                <a:gd name="T17" fmla="*/ 117032 h 129"/>
                <a:gd name="T18" fmla="*/ 406092 w 62"/>
                <a:gd name="T19" fmla="*/ 140438 h 129"/>
                <a:gd name="T20" fmla="*/ 367045 w 62"/>
                <a:gd name="T21" fmla="*/ 132636 h 129"/>
                <a:gd name="T22" fmla="*/ 374854 w 62"/>
                <a:gd name="T23" fmla="*/ 78021 h 129"/>
                <a:gd name="T24" fmla="*/ 351426 w 62"/>
                <a:gd name="T25" fmla="*/ 62417 h 129"/>
                <a:gd name="T26" fmla="*/ 304569 w 62"/>
                <a:gd name="T27" fmla="*/ 46813 h 129"/>
                <a:gd name="T28" fmla="*/ 281141 w 62"/>
                <a:gd name="T29" fmla="*/ 31209 h 129"/>
                <a:gd name="T30" fmla="*/ 257712 w 62"/>
                <a:gd name="T31" fmla="*/ 0 h 129"/>
                <a:gd name="T32" fmla="*/ 257712 w 62"/>
                <a:gd name="T33" fmla="*/ 0 h 129"/>
                <a:gd name="T34" fmla="*/ 226475 w 62"/>
                <a:gd name="T35" fmla="*/ 7802 h 129"/>
                <a:gd name="T36" fmla="*/ 218665 w 62"/>
                <a:gd name="T37" fmla="*/ 15604 h 129"/>
                <a:gd name="T38" fmla="*/ 179618 w 62"/>
                <a:gd name="T39" fmla="*/ 7802 h 129"/>
                <a:gd name="T40" fmla="*/ 163999 w 62"/>
                <a:gd name="T41" fmla="*/ 7802 h 129"/>
                <a:gd name="T42" fmla="*/ 148380 w 62"/>
                <a:gd name="T43" fmla="*/ 15604 h 129"/>
                <a:gd name="T44" fmla="*/ 156189 w 62"/>
                <a:gd name="T45" fmla="*/ 23406 h 129"/>
                <a:gd name="T46" fmla="*/ 148380 w 62"/>
                <a:gd name="T47" fmla="*/ 54615 h 129"/>
                <a:gd name="T48" fmla="*/ 124952 w 62"/>
                <a:gd name="T49" fmla="*/ 78021 h 129"/>
                <a:gd name="T50" fmla="*/ 124952 w 62"/>
                <a:gd name="T51" fmla="*/ 124834 h 129"/>
                <a:gd name="T52" fmla="*/ 109333 w 62"/>
                <a:gd name="T53" fmla="*/ 156043 h 129"/>
                <a:gd name="T54" fmla="*/ 85904 w 62"/>
                <a:gd name="T55" fmla="*/ 257470 h 129"/>
                <a:gd name="T56" fmla="*/ 93714 w 62"/>
                <a:gd name="T57" fmla="*/ 335492 h 129"/>
                <a:gd name="T58" fmla="*/ 46857 w 62"/>
                <a:gd name="T59" fmla="*/ 436919 h 129"/>
                <a:gd name="T60" fmla="*/ 39047 w 62"/>
                <a:gd name="T61" fmla="*/ 546149 h 129"/>
                <a:gd name="T62" fmla="*/ 39047 w 62"/>
                <a:gd name="T63" fmla="*/ 600764 h 129"/>
                <a:gd name="T64" fmla="*/ 31238 w 62"/>
                <a:gd name="T65" fmla="*/ 655379 h 129"/>
                <a:gd name="T66" fmla="*/ 46857 w 62"/>
                <a:gd name="T67" fmla="*/ 686588 h 129"/>
                <a:gd name="T68" fmla="*/ 23428 w 62"/>
                <a:gd name="T69" fmla="*/ 811422 h 129"/>
                <a:gd name="T70" fmla="*/ 0 w 62"/>
                <a:gd name="T71" fmla="*/ 866036 h 129"/>
                <a:gd name="T72" fmla="*/ 7809 w 62"/>
                <a:gd name="T73" fmla="*/ 905047 h 129"/>
                <a:gd name="T74" fmla="*/ 31238 w 62"/>
                <a:gd name="T75" fmla="*/ 951860 h 129"/>
                <a:gd name="T76" fmla="*/ 156189 w 62"/>
                <a:gd name="T77" fmla="*/ 1006475 h 129"/>
                <a:gd name="T78" fmla="*/ 124952 w 62"/>
                <a:gd name="T79" fmla="*/ 975266 h 129"/>
                <a:gd name="T80" fmla="*/ 109333 w 62"/>
                <a:gd name="T81" fmla="*/ 920651 h 129"/>
                <a:gd name="T82" fmla="*/ 124952 w 62"/>
                <a:gd name="T83" fmla="*/ 881641 h 129"/>
                <a:gd name="T84" fmla="*/ 148380 w 62"/>
                <a:gd name="T85" fmla="*/ 834828 h 129"/>
                <a:gd name="T86" fmla="*/ 171808 w 62"/>
                <a:gd name="T87" fmla="*/ 811422 h 129"/>
                <a:gd name="T88" fmla="*/ 187427 w 62"/>
                <a:gd name="T89" fmla="*/ 772411 h 129"/>
                <a:gd name="T90" fmla="*/ 163999 w 62"/>
                <a:gd name="T91" fmla="*/ 756807 h 129"/>
                <a:gd name="T92" fmla="*/ 148380 w 62"/>
                <a:gd name="T93" fmla="*/ 725598 h 129"/>
                <a:gd name="T94" fmla="*/ 187427 w 62"/>
                <a:gd name="T95" fmla="*/ 678785 h 129"/>
                <a:gd name="T96" fmla="*/ 210856 w 62"/>
                <a:gd name="T97" fmla="*/ 647577 h 129"/>
                <a:gd name="T98" fmla="*/ 234284 w 62"/>
                <a:gd name="T99" fmla="*/ 600764 h 129"/>
                <a:gd name="T100" fmla="*/ 218665 w 62"/>
                <a:gd name="T101" fmla="*/ 577358 h 129"/>
                <a:gd name="T102" fmla="*/ 218665 w 62"/>
                <a:gd name="T103" fmla="*/ 561753 h 129"/>
                <a:gd name="T104" fmla="*/ 265522 w 62"/>
                <a:gd name="T105" fmla="*/ 546149 h 129"/>
                <a:gd name="T106" fmla="*/ 281141 w 62"/>
                <a:gd name="T107" fmla="*/ 514941 h 129"/>
                <a:gd name="T108" fmla="*/ 288950 w 62"/>
                <a:gd name="T109" fmla="*/ 483732 h 129"/>
                <a:gd name="T110" fmla="*/ 367045 w 62"/>
                <a:gd name="T111" fmla="*/ 460326 h 129"/>
                <a:gd name="T112" fmla="*/ 398283 w 62"/>
                <a:gd name="T113" fmla="*/ 436919 h 129"/>
                <a:gd name="T114" fmla="*/ 413902 w 62"/>
                <a:gd name="T115" fmla="*/ 397909 h 129"/>
                <a:gd name="T116" fmla="*/ 398283 w 62"/>
                <a:gd name="T117" fmla="*/ 366700 h 129"/>
                <a:gd name="T118" fmla="*/ 374854 w 62"/>
                <a:gd name="T119" fmla="*/ 343294 h 129"/>
                <a:gd name="T120" fmla="*/ 398283 w 62"/>
                <a:gd name="T121" fmla="*/ 351096 h 129"/>
                <a:gd name="T122" fmla="*/ 367045 w 62"/>
                <a:gd name="T123" fmla="*/ 327689 h 129"/>
                <a:gd name="T124" fmla="*/ 367045 w 62"/>
                <a:gd name="T125" fmla="*/ 288679 h 12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2"/>
                <a:gd name="T190" fmla="*/ 0 h 129"/>
                <a:gd name="T191" fmla="*/ 62 w 62"/>
                <a:gd name="T192" fmla="*/ 129 h 12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2" h="129">
                  <a:moveTo>
                    <a:pt x="47" y="37"/>
                  </a:moveTo>
                  <a:cubicBezTo>
                    <a:pt x="48" y="32"/>
                    <a:pt x="48" y="32"/>
                    <a:pt x="48" y="32"/>
                  </a:cubicBezTo>
                  <a:cubicBezTo>
                    <a:pt x="50" y="29"/>
                    <a:pt x="50" y="29"/>
                    <a:pt x="50" y="29"/>
                  </a:cubicBezTo>
                  <a:cubicBezTo>
                    <a:pt x="50" y="29"/>
                    <a:pt x="50" y="29"/>
                    <a:pt x="50" y="29"/>
                  </a:cubicBezTo>
                  <a:cubicBezTo>
                    <a:pt x="57" y="22"/>
                    <a:pt x="57" y="22"/>
                    <a:pt x="57" y="22"/>
                  </a:cubicBezTo>
                  <a:cubicBezTo>
                    <a:pt x="60" y="20"/>
                    <a:pt x="60" y="20"/>
                    <a:pt x="60" y="20"/>
                  </a:cubicBezTo>
                  <a:cubicBezTo>
                    <a:pt x="62" y="14"/>
                    <a:pt x="62" y="14"/>
                    <a:pt x="62" y="14"/>
                  </a:cubicBezTo>
                  <a:cubicBezTo>
                    <a:pt x="61" y="13"/>
                    <a:pt x="61" y="13"/>
                    <a:pt x="61" y="13"/>
                  </a:cubicBezTo>
                  <a:cubicBezTo>
                    <a:pt x="58" y="15"/>
                    <a:pt x="58" y="15"/>
                    <a:pt x="58" y="15"/>
                  </a:cubicBezTo>
                  <a:cubicBezTo>
                    <a:pt x="52" y="18"/>
                    <a:pt x="52" y="18"/>
                    <a:pt x="52" y="18"/>
                  </a:cubicBezTo>
                  <a:cubicBezTo>
                    <a:pt x="47" y="17"/>
                    <a:pt x="47" y="17"/>
                    <a:pt x="47" y="17"/>
                  </a:cubicBezTo>
                  <a:cubicBezTo>
                    <a:pt x="48" y="10"/>
                    <a:pt x="48" y="10"/>
                    <a:pt x="48" y="10"/>
                  </a:cubicBezTo>
                  <a:cubicBezTo>
                    <a:pt x="45" y="8"/>
                    <a:pt x="45" y="8"/>
                    <a:pt x="45" y="8"/>
                  </a:cubicBezTo>
                  <a:cubicBezTo>
                    <a:pt x="39" y="6"/>
                    <a:pt x="39" y="6"/>
                    <a:pt x="39" y="6"/>
                  </a:cubicBezTo>
                  <a:cubicBezTo>
                    <a:pt x="36" y="4"/>
                    <a:pt x="36" y="4"/>
                    <a:pt x="36" y="4"/>
                  </a:cubicBezTo>
                  <a:cubicBezTo>
                    <a:pt x="33" y="0"/>
                    <a:pt x="33" y="0"/>
                    <a:pt x="33" y="0"/>
                  </a:cubicBezTo>
                  <a:cubicBezTo>
                    <a:pt x="33" y="0"/>
                    <a:pt x="33" y="0"/>
                    <a:pt x="33" y="0"/>
                  </a:cubicBezTo>
                  <a:cubicBezTo>
                    <a:pt x="29" y="1"/>
                    <a:pt x="29" y="1"/>
                    <a:pt x="29" y="1"/>
                  </a:cubicBezTo>
                  <a:cubicBezTo>
                    <a:pt x="28" y="2"/>
                    <a:pt x="28" y="2"/>
                    <a:pt x="28" y="2"/>
                  </a:cubicBezTo>
                  <a:cubicBezTo>
                    <a:pt x="23" y="1"/>
                    <a:pt x="23" y="1"/>
                    <a:pt x="23" y="1"/>
                  </a:cubicBezTo>
                  <a:cubicBezTo>
                    <a:pt x="21" y="1"/>
                    <a:pt x="21" y="1"/>
                    <a:pt x="21" y="1"/>
                  </a:cubicBezTo>
                  <a:cubicBezTo>
                    <a:pt x="19" y="2"/>
                    <a:pt x="19" y="2"/>
                    <a:pt x="19" y="2"/>
                  </a:cubicBezTo>
                  <a:cubicBezTo>
                    <a:pt x="20" y="3"/>
                    <a:pt x="20" y="3"/>
                    <a:pt x="20" y="3"/>
                  </a:cubicBezTo>
                  <a:cubicBezTo>
                    <a:pt x="19" y="7"/>
                    <a:pt x="19" y="7"/>
                    <a:pt x="19" y="7"/>
                  </a:cubicBezTo>
                  <a:cubicBezTo>
                    <a:pt x="16" y="10"/>
                    <a:pt x="16" y="10"/>
                    <a:pt x="16" y="10"/>
                  </a:cubicBezTo>
                  <a:cubicBezTo>
                    <a:pt x="16" y="16"/>
                    <a:pt x="16" y="16"/>
                    <a:pt x="16" y="16"/>
                  </a:cubicBezTo>
                  <a:cubicBezTo>
                    <a:pt x="14" y="20"/>
                    <a:pt x="14" y="20"/>
                    <a:pt x="14" y="20"/>
                  </a:cubicBezTo>
                  <a:cubicBezTo>
                    <a:pt x="11" y="33"/>
                    <a:pt x="11" y="33"/>
                    <a:pt x="11" y="33"/>
                  </a:cubicBezTo>
                  <a:cubicBezTo>
                    <a:pt x="12" y="43"/>
                    <a:pt x="12" y="43"/>
                    <a:pt x="12" y="43"/>
                  </a:cubicBezTo>
                  <a:cubicBezTo>
                    <a:pt x="6" y="56"/>
                    <a:pt x="6" y="56"/>
                    <a:pt x="6" y="56"/>
                  </a:cubicBezTo>
                  <a:cubicBezTo>
                    <a:pt x="5" y="70"/>
                    <a:pt x="5" y="70"/>
                    <a:pt x="5" y="70"/>
                  </a:cubicBezTo>
                  <a:cubicBezTo>
                    <a:pt x="5" y="77"/>
                    <a:pt x="5" y="77"/>
                    <a:pt x="5" y="77"/>
                  </a:cubicBezTo>
                  <a:cubicBezTo>
                    <a:pt x="4" y="84"/>
                    <a:pt x="4" y="84"/>
                    <a:pt x="4" y="84"/>
                  </a:cubicBezTo>
                  <a:cubicBezTo>
                    <a:pt x="6" y="88"/>
                    <a:pt x="6" y="88"/>
                    <a:pt x="6" y="88"/>
                  </a:cubicBezTo>
                  <a:cubicBezTo>
                    <a:pt x="3" y="104"/>
                    <a:pt x="3" y="104"/>
                    <a:pt x="3" y="104"/>
                  </a:cubicBezTo>
                  <a:cubicBezTo>
                    <a:pt x="0" y="111"/>
                    <a:pt x="0" y="111"/>
                    <a:pt x="0" y="111"/>
                  </a:cubicBezTo>
                  <a:cubicBezTo>
                    <a:pt x="1" y="116"/>
                    <a:pt x="1" y="116"/>
                    <a:pt x="1" y="116"/>
                  </a:cubicBezTo>
                  <a:cubicBezTo>
                    <a:pt x="4" y="122"/>
                    <a:pt x="4" y="122"/>
                    <a:pt x="4" y="122"/>
                  </a:cubicBezTo>
                  <a:cubicBezTo>
                    <a:pt x="20" y="129"/>
                    <a:pt x="20" y="129"/>
                    <a:pt x="20" y="129"/>
                  </a:cubicBezTo>
                  <a:cubicBezTo>
                    <a:pt x="16" y="125"/>
                    <a:pt x="16" y="125"/>
                    <a:pt x="16" y="125"/>
                  </a:cubicBezTo>
                  <a:cubicBezTo>
                    <a:pt x="14" y="118"/>
                    <a:pt x="14" y="118"/>
                    <a:pt x="14" y="118"/>
                  </a:cubicBezTo>
                  <a:cubicBezTo>
                    <a:pt x="16" y="113"/>
                    <a:pt x="16" y="113"/>
                    <a:pt x="16" y="113"/>
                  </a:cubicBezTo>
                  <a:cubicBezTo>
                    <a:pt x="19" y="107"/>
                    <a:pt x="19" y="107"/>
                    <a:pt x="19" y="107"/>
                  </a:cubicBezTo>
                  <a:cubicBezTo>
                    <a:pt x="22" y="104"/>
                    <a:pt x="22" y="104"/>
                    <a:pt x="22" y="104"/>
                  </a:cubicBezTo>
                  <a:cubicBezTo>
                    <a:pt x="24" y="99"/>
                    <a:pt x="24" y="99"/>
                    <a:pt x="24" y="99"/>
                  </a:cubicBezTo>
                  <a:cubicBezTo>
                    <a:pt x="21" y="97"/>
                    <a:pt x="21" y="97"/>
                    <a:pt x="21" y="97"/>
                  </a:cubicBezTo>
                  <a:cubicBezTo>
                    <a:pt x="19" y="93"/>
                    <a:pt x="19" y="93"/>
                    <a:pt x="19" y="93"/>
                  </a:cubicBezTo>
                  <a:cubicBezTo>
                    <a:pt x="24" y="87"/>
                    <a:pt x="24" y="87"/>
                    <a:pt x="24" y="87"/>
                  </a:cubicBezTo>
                  <a:cubicBezTo>
                    <a:pt x="27" y="83"/>
                    <a:pt x="27" y="83"/>
                    <a:pt x="27" y="83"/>
                  </a:cubicBezTo>
                  <a:cubicBezTo>
                    <a:pt x="27" y="83"/>
                    <a:pt x="28" y="81"/>
                    <a:pt x="30" y="77"/>
                  </a:cubicBezTo>
                  <a:cubicBezTo>
                    <a:pt x="33" y="73"/>
                    <a:pt x="28" y="74"/>
                    <a:pt x="28" y="74"/>
                  </a:cubicBezTo>
                  <a:cubicBezTo>
                    <a:pt x="28" y="72"/>
                    <a:pt x="28" y="72"/>
                    <a:pt x="28" y="72"/>
                  </a:cubicBezTo>
                  <a:cubicBezTo>
                    <a:pt x="34" y="70"/>
                    <a:pt x="34" y="70"/>
                    <a:pt x="34" y="70"/>
                  </a:cubicBezTo>
                  <a:cubicBezTo>
                    <a:pt x="36" y="66"/>
                    <a:pt x="36" y="66"/>
                    <a:pt x="36" y="66"/>
                  </a:cubicBezTo>
                  <a:cubicBezTo>
                    <a:pt x="37" y="62"/>
                    <a:pt x="37" y="62"/>
                    <a:pt x="37" y="62"/>
                  </a:cubicBezTo>
                  <a:cubicBezTo>
                    <a:pt x="37" y="62"/>
                    <a:pt x="42" y="60"/>
                    <a:pt x="47" y="59"/>
                  </a:cubicBezTo>
                  <a:cubicBezTo>
                    <a:pt x="52" y="58"/>
                    <a:pt x="51" y="56"/>
                    <a:pt x="51" y="56"/>
                  </a:cubicBezTo>
                  <a:cubicBezTo>
                    <a:pt x="53" y="51"/>
                    <a:pt x="53" y="51"/>
                    <a:pt x="53" y="51"/>
                  </a:cubicBezTo>
                  <a:cubicBezTo>
                    <a:pt x="51" y="47"/>
                    <a:pt x="51" y="47"/>
                    <a:pt x="51" y="47"/>
                  </a:cubicBezTo>
                  <a:cubicBezTo>
                    <a:pt x="48" y="44"/>
                    <a:pt x="48" y="44"/>
                    <a:pt x="48" y="44"/>
                  </a:cubicBezTo>
                  <a:cubicBezTo>
                    <a:pt x="51" y="45"/>
                    <a:pt x="51" y="45"/>
                    <a:pt x="51" y="45"/>
                  </a:cubicBezTo>
                  <a:cubicBezTo>
                    <a:pt x="47" y="42"/>
                    <a:pt x="47" y="42"/>
                    <a:pt x="47" y="42"/>
                  </a:cubicBezTo>
                  <a:lnTo>
                    <a:pt x="47" y="37"/>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33" name="Freeform 410"/>
            <p:cNvSpPr>
              <a:spLocks/>
            </p:cNvSpPr>
            <p:nvPr/>
          </p:nvSpPr>
          <p:spPr bwMode="auto">
            <a:xfrm>
              <a:off x="4561664" y="4598844"/>
              <a:ext cx="213732" cy="202563"/>
            </a:xfrm>
            <a:custGeom>
              <a:avLst/>
              <a:gdLst>
                <a:gd name="T0" fmla="*/ 63500 w 168"/>
                <a:gd name="T1" fmla="*/ 0 h 156"/>
                <a:gd name="T2" fmla="*/ 0 w 168"/>
                <a:gd name="T3" fmla="*/ 47625 h 156"/>
                <a:gd name="T4" fmla="*/ 0 w 168"/>
                <a:gd name="T5" fmla="*/ 63500 h 156"/>
                <a:gd name="T6" fmla="*/ 23813 w 168"/>
                <a:gd name="T7" fmla="*/ 95250 h 156"/>
                <a:gd name="T8" fmla="*/ 47625 w 168"/>
                <a:gd name="T9" fmla="*/ 111125 h 156"/>
                <a:gd name="T10" fmla="*/ 95250 w 168"/>
                <a:gd name="T11" fmla="*/ 127000 h 156"/>
                <a:gd name="T12" fmla="*/ 119062 w 168"/>
                <a:gd name="T13" fmla="*/ 142875 h 156"/>
                <a:gd name="T14" fmla="*/ 111125 w 168"/>
                <a:gd name="T15" fmla="*/ 198438 h 156"/>
                <a:gd name="T16" fmla="*/ 150812 w 168"/>
                <a:gd name="T17" fmla="*/ 206375 h 156"/>
                <a:gd name="T18" fmla="*/ 198438 w 168"/>
                <a:gd name="T19" fmla="*/ 182563 h 156"/>
                <a:gd name="T20" fmla="*/ 222250 w 168"/>
                <a:gd name="T21" fmla="*/ 166687 h 156"/>
                <a:gd name="T22" fmla="*/ 214313 w 168"/>
                <a:gd name="T23" fmla="*/ 150812 h 156"/>
                <a:gd name="T24" fmla="*/ 214313 w 168"/>
                <a:gd name="T25" fmla="*/ 119062 h 156"/>
                <a:gd name="T26" fmla="*/ 190500 w 168"/>
                <a:gd name="T27" fmla="*/ 111125 h 156"/>
                <a:gd name="T28" fmla="*/ 158750 w 168"/>
                <a:gd name="T29" fmla="*/ 71437 h 156"/>
                <a:gd name="T30" fmla="*/ 142875 w 168"/>
                <a:gd name="T31" fmla="*/ 55562 h 156"/>
                <a:gd name="T32" fmla="*/ 119062 w 168"/>
                <a:gd name="T33" fmla="*/ 15875 h 156"/>
                <a:gd name="T34" fmla="*/ 119062 w 168"/>
                <a:gd name="T35" fmla="*/ 7937 h 156"/>
                <a:gd name="T36" fmla="*/ 103188 w 168"/>
                <a:gd name="T37" fmla="*/ 0 h 156"/>
                <a:gd name="T38" fmla="*/ 63500 w 168"/>
                <a:gd name="T39" fmla="*/ 0 h 1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8"/>
                <a:gd name="T61" fmla="*/ 0 h 156"/>
                <a:gd name="T62" fmla="*/ 168 w 168"/>
                <a:gd name="T63" fmla="*/ 156 h 15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8" h="156">
                  <a:moveTo>
                    <a:pt x="48" y="0"/>
                  </a:moveTo>
                  <a:lnTo>
                    <a:pt x="0" y="36"/>
                  </a:lnTo>
                  <a:lnTo>
                    <a:pt x="0" y="48"/>
                  </a:lnTo>
                  <a:lnTo>
                    <a:pt x="18" y="72"/>
                  </a:lnTo>
                  <a:lnTo>
                    <a:pt x="36" y="84"/>
                  </a:lnTo>
                  <a:lnTo>
                    <a:pt x="72" y="96"/>
                  </a:lnTo>
                  <a:lnTo>
                    <a:pt x="90" y="108"/>
                  </a:lnTo>
                  <a:lnTo>
                    <a:pt x="84" y="150"/>
                  </a:lnTo>
                  <a:lnTo>
                    <a:pt x="114" y="156"/>
                  </a:lnTo>
                  <a:lnTo>
                    <a:pt x="150" y="138"/>
                  </a:lnTo>
                  <a:lnTo>
                    <a:pt x="168" y="126"/>
                  </a:lnTo>
                  <a:lnTo>
                    <a:pt x="162" y="114"/>
                  </a:lnTo>
                  <a:lnTo>
                    <a:pt x="162" y="90"/>
                  </a:lnTo>
                  <a:lnTo>
                    <a:pt x="144" y="84"/>
                  </a:lnTo>
                  <a:lnTo>
                    <a:pt x="120" y="54"/>
                  </a:lnTo>
                  <a:lnTo>
                    <a:pt x="108" y="42"/>
                  </a:lnTo>
                  <a:lnTo>
                    <a:pt x="90" y="12"/>
                  </a:lnTo>
                  <a:lnTo>
                    <a:pt x="90" y="6"/>
                  </a:lnTo>
                  <a:lnTo>
                    <a:pt x="78" y="0"/>
                  </a:lnTo>
                  <a:lnTo>
                    <a:pt x="48" y="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34" name="Freeform 411"/>
            <p:cNvSpPr>
              <a:spLocks/>
            </p:cNvSpPr>
            <p:nvPr/>
          </p:nvSpPr>
          <p:spPr bwMode="auto">
            <a:xfrm>
              <a:off x="4670057" y="4883991"/>
              <a:ext cx="126712" cy="144909"/>
            </a:xfrm>
            <a:custGeom>
              <a:avLst/>
              <a:gdLst>
                <a:gd name="T0" fmla="*/ 85258 w 102"/>
                <a:gd name="T1" fmla="*/ 31081 h 114"/>
                <a:gd name="T2" fmla="*/ 46505 w 102"/>
                <a:gd name="T3" fmla="*/ 7770 h 114"/>
                <a:gd name="T4" fmla="*/ 23252 w 102"/>
                <a:gd name="T5" fmla="*/ 0 h 114"/>
                <a:gd name="T6" fmla="*/ 7751 w 102"/>
                <a:gd name="T7" fmla="*/ 23311 h 114"/>
                <a:gd name="T8" fmla="*/ 0 w 102"/>
                <a:gd name="T9" fmla="*/ 62163 h 114"/>
                <a:gd name="T10" fmla="*/ 0 w 102"/>
                <a:gd name="T11" fmla="*/ 101015 h 114"/>
                <a:gd name="T12" fmla="*/ 31003 w 102"/>
                <a:gd name="T13" fmla="*/ 124326 h 114"/>
                <a:gd name="T14" fmla="*/ 46505 w 102"/>
                <a:gd name="T15" fmla="*/ 139867 h 114"/>
                <a:gd name="T16" fmla="*/ 85258 w 102"/>
                <a:gd name="T17" fmla="*/ 147637 h 114"/>
                <a:gd name="T18" fmla="*/ 124012 w 102"/>
                <a:gd name="T19" fmla="*/ 116556 h 114"/>
                <a:gd name="T20" fmla="*/ 131763 w 102"/>
                <a:gd name="T21" fmla="*/ 101015 h 114"/>
                <a:gd name="T22" fmla="*/ 108511 w 102"/>
                <a:gd name="T23" fmla="*/ 54393 h 114"/>
                <a:gd name="T24" fmla="*/ 85258 w 102"/>
                <a:gd name="T25" fmla="*/ 31081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2"/>
                <a:gd name="T40" fmla="*/ 0 h 114"/>
                <a:gd name="T41" fmla="*/ 102 w 102"/>
                <a:gd name="T42" fmla="*/ 114 h 11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2" h="114">
                  <a:moveTo>
                    <a:pt x="66" y="24"/>
                  </a:moveTo>
                  <a:lnTo>
                    <a:pt x="36" y="6"/>
                  </a:lnTo>
                  <a:lnTo>
                    <a:pt x="18" y="0"/>
                  </a:lnTo>
                  <a:lnTo>
                    <a:pt x="6" y="18"/>
                  </a:lnTo>
                  <a:lnTo>
                    <a:pt x="0" y="48"/>
                  </a:lnTo>
                  <a:lnTo>
                    <a:pt x="0" y="78"/>
                  </a:lnTo>
                  <a:lnTo>
                    <a:pt x="24" y="96"/>
                  </a:lnTo>
                  <a:lnTo>
                    <a:pt x="36" y="108"/>
                  </a:lnTo>
                  <a:lnTo>
                    <a:pt x="66" y="114"/>
                  </a:lnTo>
                  <a:lnTo>
                    <a:pt x="96" y="90"/>
                  </a:lnTo>
                  <a:lnTo>
                    <a:pt x="102" y="78"/>
                  </a:lnTo>
                  <a:lnTo>
                    <a:pt x="84" y="42"/>
                  </a:lnTo>
                  <a:lnTo>
                    <a:pt x="66" y="24"/>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35" name="Freeform 412"/>
            <p:cNvSpPr>
              <a:spLocks/>
            </p:cNvSpPr>
            <p:nvPr/>
          </p:nvSpPr>
          <p:spPr bwMode="auto">
            <a:xfrm>
              <a:off x="4395301" y="4363567"/>
              <a:ext cx="280905" cy="313193"/>
            </a:xfrm>
            <a:custGeom>
              <a:avLst/>
              <a:gdLst>
                <a:gd name="T0" fmla="*/ 173681 w 37"/>
                <a:gd name="T1" fmla="*/ 303522 h 41"/>
                <a:gd name="T2" fmla="*/ 173681 w 37"/>
                <a:gd name="T3" fmla="*/ 287957 h 41"/>
                <a:gd name="T4" fmla="*/ 236838 w 37"/>
                <a:gd name="T5" fmla="*/ 241261 h 41"/>
                <a:gd name="T6" fmla="*/ 276311 w 37"/>
                <a:gd name="T7" fmla="*/ 241261 h 41"/>
                <a:gd name="T8" fmla="*/ 292100 w 37"/>
                <a:gd name="T9" fmla="*/ 249044 h 41"/>
                <a:gd name="T10" fmla="*/ 292100 w 37"/>
                <a:gd name="T11" fmla="*/ 194565 h 41"/>
                <a:gd name="T12" fmla="*/ 292100 w 37"/>
                <a:gd name="T13" fmla="*/ 163435 h 41"/>
                <a:gd name="T14" fmla="*/ 244732 w 37"/>
                <a:gd name="T15" fmla="*/ 155652 h 41"/>
                <a:gd name="T16" fmla="*/ 228943 w 37"/>
                <a:gd name="T17" fmla="*/ 132304 h 41"/>
                <a:gd name="T18" fmla="*/ 228943 w 37"/>
                <a:gd name="T19" fmla="*/ 101174 h 41"/>
                <a:gd name="T20" fmla="*/ 173681 w 37"/>
                <a:gd name="T21" fmla="*/ 77826 h 41"/>
                <a:gd name="T22" fmla="*/ 126314 w 37"/>
                <a:gd name="T23" fmla="*/ 54478 h 41"/>
                <a:gd name="T24" fmla="*/ 118419 w 37"/>
                <a:gd name="T25" fmla="*/ 7783 h 41"/>
                <a:gd name="T26" fmla="*/ 71051 w 37"/>
                <a:gd name="T27" fmla="*/ 0 h 41"/>
                <a:gd name="T28" fmla="*/ 39473 w 37"/>
                <a:gd name="T29" fmla="*/ 23348 h 41"/>
                <a:gd name="T30" fmla="*/ 7895 w 37"/>
                <a:gd name="T31" fmla="*/ 31130 h 41"/>
                <a:gd name="T32" fmla="*/ 23684 w 37"/>
                <a:gd name="T33" fmla="*/ 54478 h 41"/>
                <a:gd name="T34" fmla="*/ 15789 w 37"/>
                <a:gd name="T35" fmla="*/ 116739 h 41"/>
                <a:gd name="T36" fmla="*/ 7895 w 37"/>
                <a:gd name="T37" fmla="*/ 163435 h 41"/>
                <a:gd name="T38" fmla="*/ 0 w 37"/>
                <a:gd name="T39" fmla="*/ 202348 h 41"/>
                <a:gd name="T40" fmla="*/ 7895 w 37"/>
                <a:gd name="T41" fmla="*/ 194565 h 41"/>
                <a:gd name="T42" fmla="*/ 31578 w 37"/>
                <a:gd name="T43" fmla="*/ 217913 h 41"/>
                <a:gd name="T44" fmla="*/ 23684 w 37"/>
                <a:gd name="T45" fmla="*/ 249044 h 41"/>
                <a:gd name="T46" fmla="*/ 55262 w 37"/>
                <a:gd name="T47" fmla="*/ 303522 h 41"/>
                <a:gd name="T48" fmla="*/ 63157 w 37"/>
                <a:gd name="T49" fmla="*/ 319087 h 41"/>
                <a:gd name="T50" fmla="*/ 78946 w 37"/>
                <a:gd name="T51" fmla="*/ 311304 h 41"/>
                <a:gd name="T52" fmla="*/ 94735 w 37"/>
                <a:gd name="T53" fmla="*/ 311304 h 41"/>
                <a:gd name="T54" fmla="*/ 134208 w 37"/>
                <a:gd name="T55" fmla="*/ 319087 h 41"/>
                <a:gd name="T56" fmla="*/ 142103 w 37"/>
                <a:gd name="T57" fmla="*/ 311304 h 41"/>
                <a:gd name="T58" fmla="*/ 173681 w 37"/>
                <a:gd name="T59" fmla="*/ 303522 h 41"/>
                <a:gd name="T60" fmla="*/ 173681 w 37"/>
                <a:gd name="T61" fmla="*/ 303522 h 4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7"/>
                <a:gd name="T94" fmla="*/ 0 h 41"/>
                <a:gd name="T95" fmla="*/ 37 w 37"/>
                <a:gd name="T96" fmla="*/ 41 h 4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7" h="41">
                  <a:moveTo>
                    <a:pt x="22" y="39"/>
                  </a:moveTo>
                  <a:cubicBezTo>
                    <a:pt x="22" y="37"/>
                    <a:pt x="22" y="37"/>
                    <a:pt x="22" y="37"/>
                  </a:cubicBezTo>
                  <a:cubicBezTo>
                    <a:pt x="30" y="31"/>
                    <a:pt x="30" y="31"/>
                    <a:pt x="30" y="31"/>
                  </a:cubicBezTo>
                  <a:cubicBezTo>
                    <a:pt x="35" y="31"/>
                    <a:pt x="35" y="31"/>
                    <a:pt x="35" y="31"/>
                  </a:cubicBezTo>
                  <a:cubicBezTo>
                    <a:pt x="37" y="32"/>
                    <a:pt x="37" y="32"/>
                    <a:pt x="37" y="32"/>
                  </a:cubicBezTo>
                  <a:cubicBezTo>
                    <a:pt x="37" y="25"/>
                    <a:pt x="37" y="25"/>
                    <a:pt x="37" y="25"/>
                  </a:cubicBezTo>
                  <a:cubicBezTo>
                    <a:pt x="37" y="21"/>
                    <a:pt x="37" y="21"/>
                    <a:pt x="37" y="21"/>
                  </a:cubicBezTo>
                  <a:cubicBezTo>
                    <a:pt x="37" y="21"/>
                    <a:pt x="32" y="20"/>
                    <a:pt x="31" y="20"/>
                  </a:cubicBezTo>
                  <a:cubicBezTo>
                    <a:pt x="31" y="20"/>
                    <a:pt x="29" y="17"/>
                    <a:pt x="29" y="17"/>
                  </a:cubicBezTo>
                  <a:cubicBezTo>
                    <a:pt x="29" y="13"/>
                    <a:pt x="29" y="13"/>
                    <a:pt x="29" y="13"/>
                  </a:cubicBezTo>
                  <a:cubicBezTo>
                    <a:pt x="22" y="10"/>
                    <a:pt x="22" y="10"/>
                    <a:pt x="22" y="10"/>
                  </a:cubicBezTo>
                  <a:cubicBezTo>
                    <a:pt x="16" y="7"/>
                    <a:pt x="16" y="7"/>
                    <a:pt x="16" y="7"/>
                  </a:cubicBezTo>
                  <a:cubicBezTo>
                    <a:pt x="15" y="1"/>
                    <a:pt x="15" y="1"/>
                    <a:pt x="15" y="1"/>
                  </a:cubicBezTo>
                  <a:cubicBezTo>
                    <a:pt x="9" y="0"/>
                    <a:pt x="9" y="0"/>
                    <a:pt x="9" y="0"/>
                  </a:cubicBezTo>
                  <a:cubicBezTo>
                    <a:pt x="5" y="3"/>
                    <a:pt x="5" y="3"/>
                    <a:pt x="5" y="3"/>
                  </a:cubicBezTo>
                  <a:cubicBezTo>
                    <a:pt x="1" y="4"/>
                    <a:pt x="1" y="4"/>
                    <a:pt x="1" y="4"/>
                  </a:cubicBezTo>
                  <a:cubicBezTo>
                    <a:pt x="3" y="7"/>
                    <a:pt x="3" y="7"/>
                    <a:pt x="3" y="7"/>
                  </a:cubicBezTo>
                  <a:cubicBezTo>
                    <a:pt x="2" y="15"/>
                    <a:pt x="2" y="15"/>
                    <a:pt x="2" y="15"/>
                  </a:cubicBezTo>
                  <a:cubicBezTo>
                    <a:pt x="1" y="21"/>
                    <a:pt x="1" y="21"/>
                    <a:pt x="1" y="21"/>
                  </a:cubicBezTo>
                  <a:cubicBezTo>
                    <a:pt x="0" y="26"/>
                    <a:pt x="0" y="26"/>
                    <a:pt x="0" y="26"/>
                  </a:cubicBezTo>
                  <a:cubicBezTo>
                    <a:pt x="1" y="25"/>
                    <a:pt x="1" y="25"/>
                    <a:pt x="1" y="25"/>
                  </a:cubicBezTo>
                  <a:cubicBezTo>
                    <a:pt x="4" y="28"/>
                    <a:pt x="4" y="28"/>
                    <a:pt x="4" y="28"/>
                  </a:cubicBezTo>
                  <a:cubicBezTo>
                    <a:pt x="3" y="32"/>
                    <a:pt x="3" y="32"/>
                    <a:pt x="3" y="32"/>
                  </a:cubicBezTo>
                  <a:cubicBezTo>
                    <a:pt x="7" y="39"/>
                    <a:pt x="7" y="39"/>
                    <a:pt x="7" y="39"/>
                  </a:cubicBezTo>
                  <a:cubicBezTo>
                    <a:pt x="8" y="41"/>
                    <a:pt x="8" y="41"/>
                    <a:pt x="8" y="41"/>
                  </a:cubicBezTo>
                  <a:cubicBezTo>
                    <a:pt x="10" y="40"/>
                    <a:pt x="10" y="40"/>
                    <a:pt x="10" y="40"/>
                  </a:cubicBezTo>
                  <a:cubicBezTo>
                    <a:pt x="12" y="40"/>
                    <a:pt x="12" y="40"/>
                    <a:pt x="12" y="40"/>
                  </a:cubicBezTo>
                  <a:cubicBezTo>
                    <a:pt x="17" y="41"/>
                    <a:pt x="17" y="41"/>
                    <a:pt x="17" y="41"/>
                  </a:cubicBezTo>
                  <a:cubicBezTo>
                    <a:pt x="18" y="40"/>
                    <a:pt x="18" y="40"/>
                    <a:pt x="18" y="40"/>
                  </a:cubicBezTo>
                  <a:cubicBezTo>
                    <a:pt x="22" y="39"/>
                    <a:pt x="22" y="39"/>
                    <a:pt x="22" y="39"/>
                  </a:cubicBezTo>
                  <a:cubicBezTo>
                    <a:pt x="22" y="39"/>
                    <a:pt x="22" y="39"/>
                    <a:pt x="22" y="39"/>
                  </a:cubicBezTo>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36" name="Freeform 413"/>
            <p:cNvSpPr>
              <a:spLocks/>
            </p:cNvSpPr>
            <p:nvPr/>
          </p:nvSpPr>
          <p:spPr bwMode="auto">
            <a:xfrm>
              <a:off x="4314347" y="3987976"/>
              <a:ext cx="919046" cy="994115"/>
            </a:xfrm>
            <a:custGeom>
              <a:avLst/>
              <a:gdLst>
                <a:gd name="T0" fmla="*/ 485671 w 122"/>
                <a:gd name="T1" fmla="*/ 794678 h 130"/>
                <a:gd name="T2" fmla="*/ 446504 w 122"/>
                <a:gd name="T3" fmla="*/ 857006 h 130"/>
                <a:gd name="T4" fmla="*/ 391670 w 122"/>
                <a:gd name="T5" fmla="*/ 911542 h 130"/>
                <a:gd name="T6" fmla="*/ 391670 w 122"/>
                <a:gd name="T7" fmla="*/ 911542 h 130"/>
                <a:gd name="T8" fmla="*/ 454337 w 122"/>
                <a:gd name="T9" fmla="*/ 942706 h 130"/>
                <a:gd name="T10" fmla="*/ 501338 w 122"/>
                <a:gd name="T11" fmla="*/ 1012825 h 130"/>
                <a:gd name="T12" fmla="*/ 540505 w 122"/>
                <a:gd name="T13" fmla="*/ 958288 h 130"/>
                <a:gd name="T14" fmla="*/ 611005 w 122"/>
                <a:gd name="T15" fmla="*/ 818051 h 130"/>
                <a:gd name="T16" fmla="*/ 720673 w 122"/>
                <a:gd name="T17" fmla="*/ 716768 h 130"/>
                <a:gd name="T18" fmla="*/ 791174 w 122"/>
                <a:gd name="T19" fmla="*/ 701186 h 130"/>
                <a:gd name="T20" fmla="*/ 814674 w 122"/>
                <a:gd name="T21" fmla="*/ 638859 h 130"/>
                <a:gd name="T22" fmla="*/ 846007 w 122"/>
                <a:gd name="T23" fmla="*/ 584322 h 130"/>
                <a:gd name="T24" fmla="*/ 877341 w 122"/>
                <a:gd name="T25" fmla="*/ 444085 h 130"/>
                <a:gd name="T26" fmla="*/ 955675 w 122"/>
                <a:gd name="T27" fmla="*/ 319429 h 130"/>
                <a:gd name="T28" fmla="*/ 893008 w 122"/>
                <a:gd name="T29" fmla="*/ 249311 h 130"/>
                <a:gd name="T30" fmla="*/ 744173 w 122"/>
                <a:gd name="T31" fmla="*/ 202565 h 130"/>
                <a:gd name="T32" fmla="*/ 705006 w 122"/>
                <a:gd name="T33" fmla="*/ 171401 h 130"/>
                <a:gd name="T34" fmla="*/ 587505 w 122"/>
                <a:gd name="T35" fmla="*/ 116864 h 130"/>
                <a:gd name="T36" fmla="*/ 556172 w 122"/>
                <a:gd name="T37" fmla="*/ 23373 h 130"/>
                <a:gd name="T38" fmla="*/ 517005 w 122"/>
                <a:gd name="T39" fmla="*/ 70119 h 130"/>
                <a:gd name="T40" fmla="*/ 477838 w 122"/>
                <a:gd name="T41" fmla="*/ 77910 h 130"/>
                <a:gd name="T42" fmla="*/ 438671 w 122"/>
                <a:gd name="T43" fmla="*/ 77910 h 130"/>
                <a:gd name="T44" fmla="*/ 415170 w 122"/>
                <a:gd name="T45" fmla="*/ 85701 h 130"/>
                <a:gd name="T46" fmla="*/ 376003 w 122"/>
                <a:gd name="T47" fmla="*/ 93492 h 130"/>
                <a:gd name="T48" fmla="*/ 329003 w 122"/>
                <a:gd name="T49" fmla="*/ 77910 h 130"/>
                <a:gd name="T50" fmla="*/ 321170 w 122"/>
                <a:gd name="T51" fmla="*/ 7791 h 130"/>
                <a:gd name="T52" fmla="*/ 313336 w 122"/>
                <a:gd name="T53" fmla="*/ 15582 h 130"/>
                <a:gd name="T54" fmla="*/ 211502 w 122"/>
                <a:gd name="T55" fmla="*/ 31164 h 130"/>
                <a:gd name="T56" fmla="*/ 242835 w 122"/>
                <a:gd name="T57" fmla="*/ 93492 h 130"/>
                <a:gd name="T58" fmla="*/ 148835 w 122"/>
                <a:gd name="T59" fmla="*/ 93492 h 130"/>
                <a:gd name="T60" fmla="*/ 94001 w 122"/>
                <a:gd name="T61" fmla="*/ 148028 h 130"/>
                <a:gd name="T62" fmla="*/ 62667 w 122"/>
                <a:gd name="T63" fmla="*/ 218147 h 130"/>
                <a:gd name="T64" fmla="*/ 31334 w 122"/>
                <a:gd name="T65" fmla="*/ 257102 h 130"/>
                <a:gd name="T66" fmla="*/ 0 w 122"/>
                <a:gd name="T67" fmla="*/ 350593 h 130"/>
                <a:gd name="T68" fmla="*/ 70501 w 122"/>
                <a:gd name="T69" fmla="*/ 358384 h 130"/>
                <a:gd name="T70" fmla="*/ 94001 w 122"/>
                <a:gd name="T71" fmla="*/ 405130 h 130"/>
                <a:gd name="T72" fmla="*/ 125334 w 122"/>
                <a:gd name="T73" fmla="*/ 405130 h 130"/>
                <a:gd name="T74" fmla="*/ 203668 w 122"/>
                <a:gd name="T75" fmla="*/ 389548 h 130"/>
                <a:gd name="T76" fmla="*/ 258502 w 122"/>
                <a:gd name="T77" fmla="*/ 459667 h 130"/>
                <a:gd name="T78" fmla="*/ 313336 w 122"/>
                <a:gd name="T79" fmla="*/ 514203 h 130"/>
                <a:gd name="T80" fmla="*/ 376003 w 122"/>
                <a:gd name="T81" fmla="*/ 545367 h 130"/>
                <a:gd name="T82" fmla="*/ 376003 w 122"/>
                <a:gd name="T83" fmla="*/ 631068 h 13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2"/>
                <a:gd name="T127" fmla="*/ 0 h 130"/>
                <a:gd name="T128" fmla="*/ 122 w 122"/>
                <a:gd name="T129" fmla="*/ 130 h 13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2" h="130">
                  <a:moveTo>
                    <a:pt x="61" y="101"/>
                  </a:moveTo>
                  <a:cubicBezTo>
                    <a:pt x="62" y="102"/>
                    <a:pt x="62" y="102"/>
                    <a:pt x="62" y="102"/>
                  </a:cubicBezTo>
                  <a:cubicBezTo>
                    <a:pt x="60" y="108"/>
                    <a:pt x="60" y="108"/>
                    <a:pt x="60" y="108"/>
                  </a:cubicBezTo>
                  <a:cubicBezTo>
                    <a:pt x="57" y="110"/>
                    <a:pt x="57" y="110"/>
                    <a:pt x="57" y="110"/>
                  </a:cubicBezTo>
                  <a:cubicBezTo>
                    <a:pt x="50" y="117"/>
                    <a:pt x="50" y="117"/>
                    <a:pt x="50" y="117"/>
                  </a:cubicBezTo>
                  <a:cubicBezTo>
                    <a:pt x="50" y="117"/>
                    <a:pt x="50" y="117"/>
                    <a:pt x="50" y="117"/>
                  </a:cubicBezTo>
                  <a:cubicBezTo>
                    <a:pt x="51" y="117"/>
                    <a:pt x="51" y="117"/>
                    <a:pt x="51" y="117"/>
                  </a:cubicBezTo>
                  <a:cubicBezTo>
                    <a:pt x="50" y="117"/>
                    <a:pt x="50" y="117"/>
                    <a:pt x="50" y="117"/>
                  </a:cubicBezTo>
                  <a:cubicBezTo>
                    <a:pt x="53" y="118"/>
                    <a:pt x="53" y="118"/>
                    <a:pt x="53" y="118"/>
                  </a:cubicBezTo>
                  <a:cubicBezTo>
                    <a:pt x="58" y="121"/>
                    <a:pt x="58" y="121"/>
                    <a:pt x="58" y="121"/>
                  </a:cubicBezTo>
                  <a:cubicBezTo>
                    <a:pt x="61" y="124"/>
                    <a:pt x="61" y="124"/>
                    <a:pt x="61" y="124"/>
                  </a:cubicBezTo>
                  <a:cubicBezTo>
                    <a:pt x="64" y="130"/>
                    <a:pt x="64" y="130"/>
                    <a:pt x="64" y="130"/>
                  </a:cubicBezTo>
                  <a:cubicBezTo>
                    <a:pt x="65" y="127"/>
                    <a:pt x="65" y="127"/>
                    <a:pt x="65" y="127"/>
                  </a:cubicBezTo>
                  <a:cubicBezTo>
                    <a:pt x="69" y="123"/>
                    <a:pt x="69" y="123"/>
                    <a:pt x="69" y="123"/>
                  </a:cubicBezTo>
                  <a:cubicBezTo>
                    <a:pt x="74" y="118"/>
                    <a:pt x="74" y="118"/>
                    <a:pt x="74" y="118"/>
                  </a:cubicBezTo>
                  <a:cubicBezTo>
                    <a:pt x="78" y="105"/>
                    <a:pt x="78" y="105"/>
                    <a:pt x="78" y="105"/>
                  </a:cubicBezTo>
                  <a:cubicBezTo>
                    <a:pt x="81" y="99"/>
                    <a:pt x="81" y="99"/>
                    <a:pt x="81" y="99"/>
                  </a:cubicBezTo>
                  <a:cubicBezTo>
                    <a:pt x="92" y="92"/>
                    <a:pt x="92" y="92"/>
                    <a:pt x="92" y="92"/>
                  </a:cubicBezTo>
                  <a:cubicBezTo>
                    <a:pt x="99" y="91"/>
                    <a:pt x="99" y="91"/>
                    <a:pt x="99" y="91"/>
                  </a:cubicBezTo>
                  <a:cubicBezTo>
                    <a:pt x="101" y="90"/>
                    <a:pt x="101" y="90"/>
                    <a:pt x="101" y="90"/>
                  </a:cubicBezTo>
                  <a:cubicBezTo>
                    <a:pt x="103" y="86"/>
                    <a:pt x="103" y="86"/>
                    <a:pt x="103" y="86"/>
                  </a:cubicBezTo>
                  <a:cubicBezTo>
                    <a:pt x="104" y="82"/>
                    <a:pt x="104" y="82"/>
                    <a:pt x="104" y="82"/>
                  </a:cubicBezTo>
                  <a:cubicBezTo>
                    <a:pt x="107" y="77"/>
                    <a:pt x="107" y="77"/>
                    <a:pt x="107" y="77"/>
                  </a:cubicBezTo>
                  <a:cubicBezTo>
                    <a:pt x="108" y="75"/>
                    <a:pt x="108" y="75"/>
                    <a:pt x="108" y="75"/>
                  </a:cubicBezTo>
                  <a:cubicBezTo>
                    <a:pt x="109" y="58"/>
                    <a:pt x="109" y="58"/>
                    <a:pt x="109" y="58"/>
                  </a:cubicBezTo>
                  <a:cubicBezTo>
                    <a:pt x="112" y="57"/>
                    <a:pt x="112" y="57"/>
                    <a:pt x="112" y="57"/>
                  </a:cubicBezTo>
                  <a:cubicBezTo>
                    <a:pt x="122" y="44"/>
                    <a:pt x="122" y="44"/>
                    <a:pt x="122" y="44"/>
                  </a:cubicBezTo>
                  <a:cubicBezTo>
                    <a:pt x="122" y="41"/>
                    <a:pt x="122" y="41"/>
                    <a:pt x="122" y="41"/>
                  </a:cubicBezTo>
                  <a:cubicBezTo>
                    <a:pt x="120" y="34"/>
                    <a:pt x="120" y="34"/>
                    <a:pt x="120" y="34"/>
                  </a:cubicBezTo>
                  <a:cubicBezTo>
                    <a:pt x="114" y="32"/>
                    <a:pt x="114" y="32"/>
                    <a:pt x="114" y="32"/>
                  </a:cubicBezTo>
                  <a:cubicBezTo>
                    <a:pt x="105" y="27"/>
                    <a:pt x="105" y="27"/>
                    <a:pt x="105" y="27"/>
                  </a:cubicBezTo>
                  <a:cubicBezTo>
                    <a:pt x="95" y="26"/>
                    <a:pt x="95" y="26"/>
                    <a:pt x="95" y="26"/>
                  </a:cubicBezTo>
                  <a:cubicBezTo>
                    <a:pt x="92" y="25"/>
                    <a:pt x="92" y="25"/>
                    <a:pt x="92" y="25"/>
                  </a:cubicBezTo>
                  <a:cubicBezTo>
                    <a:pt x="90" y="22"/>
                    <a:pt x="90" y="22"/>
                    <a:pt x="90" y="22"/>
                  </a:cubicBezTo>
                  <a:cubicBezTo>
                    <a:pt x="82" y="19"/>
                    <a:pt x="82" y="19"/>
                    <a:pt x="82" y="19"/>
                  </a:cubicBezTo>
                  <a:cubicBezTo>
                    <a:pt x="75" y="15"/>
                    <a:pt x="75" y="15"/>
                    <a:pt x="75" y="15"/>
                  </a:cubicBezTo>
                  <a:cubicBezTo>
                    <a:pt x="74" y="11"/>
                    <a:pt x="74" y="11"/>
                    <a:pt x="74" y="11"/>
                  </a:cubicBezTo>
                  <a:cubicBezTo>
                    <a:pt x="71" y="3"/>
                    <a:pt x="71" y="3"/>
                    <a:pt x="71" y="3"/>
                  </a:cubicBezTo>
                  <a:cubicBezTo>
                    <a:pt x="70" y="3"/>
                    <a:pt x="70" y="3"/>
                    <a:pt x="70" y="3"/>
                  </a:cubicBezTo>
                  <a:cubicBezTo>
                    <a:pt x="66" y="9"/>
                    <a:pt x="66" y="9"/>
                    <a:pt x="66" y="9"/>
                  </a:cubicBezTo>
                  <a:cubicBezTo>
                    <a:pt x="62" y="11"/>
                    <a:pt x="62" y="11"/>
                    <a:pt x="62" y="11"/>
                  </a:cubicBezTo>
                  <a:cubicBezTo>
                    <a:pt x="61" y="10"/>
                    <a:pt x="61" y="10"/>
                    <a:pt x="61" y="10"/>
                  </a:cubicBezTo>
                  <a:cubicBezTo>
                    <a:pt x="61" y="10"/>
                    <a:pt x="61" y="10"/>
                    <a:pt x="61" y="10"/>
                  </a:cubicBezTo>
                  <a:cubicBezTo>
                    <a:pt x="56" y="10"/>
                    <a:pt x="56" y="10"/>
                    <a:pt x="56" y="10"/>
                  </a:cubicBezTo>
                  <a:cubicBezTo>
                    <a:pt x="54" y="11"/>
                    <a:pt x="54" y="11"/>
                    <a:pt x="54" y="11"/>
                  </a:cubicBezTo>
                  <a:cubicBezTo>
                    <a:pt x="53" y="11"/>
                    <a:pt x="53" y="11"/>
                    <a:pt x="53" y="11"/>
                  </a:cubicBezTo>
                  <a:cubicBezTo>
                    <a:pt x="53" y="11"/>
                    <a:pt x="53" y="11"/>
                    <a:pt x="53" y="11"/>
                  </a:cubicBezTo>
                  <a:cubicBezTo>
                    <a:pt x="48" y="12"/>
                    <a:pt x="48" y="12"/>
                    <a:pt x="48" y="12"/>
                  </a:cubicBezTo>
                  <a:cubicBezTo>
                    <a:pt x="45" y="13"/>
                    <a:pt x="45" y="13"/>
                    <a:pt x="45" y="13"/>
                  </a:cubicBezTo>
                  <a:cubicBezTo>
                    <a:pt x="42" y="10"/>
                    <a:pt x="42" y="10"/>
                    <a:pt x="42" y="10"/>
                  </a:cubicBezTo>
                  <a:cubicBezTo>
                    <a:pt x="43" y="4"/>
                    <a:pt x="43" y="4"/>
                    <a:pt x="43" y="4"/>
                  </a:cubicBezTo>
                  <a:cubicBezTo>
                    <a:pt x="41" y="1"/>
                    <a:pt x="41" y="1"/>
                    <a:pt x="41" y="1"/>
                  </a:cubicBezTo>
                  <a:cubicBezTo>
                    <a:pt x="39" y="0"/>
                    <a:pt x="39" y="0"/>
                    <a:pt x="39" y="0"/>
                  </a:cubicBezTo>
                  <a:cubicBezTo>
                    <a:pt x="40" y="2"/>
                    <a:pt x="40" y="2"/>
                    <a:pt x="40" y="2"/>
                  </a:cubicBezTo>
                  <a:cubicBezTo>
                    <a:pt x="35" y="4"/>
                    <a:pt x="35" y="4"/>
                    <a:pt x="35" y="4"/>
                  </a:cubicBezTo>
                  <a:cubicBezTo>
                    <a:pt x="27" y="4"/>
                    <a:pt x="27" y="4"/>
                    <a:pt x="27" y="4"/>
                  </a:cubicBezTo>
                  <a:cubicBezTo>
                    <a:pt x="30" y="9"/>
                    <a:pt x="30" y="9"/>
                    <a:pt x="30" y="9"/>
                  </a:cubicBezTo>
                  <a:cubicBezTo>
                    <a:pt x="31" y="12"/>
                    <a:pt x="31" y="12"/>
                    <a:pt x="31" y="12"/>
                  </a:cubicBezTo>
                  <a:cubicBezTo>
                    <a:pt x="22" y="15"/>
                    <a:pt x="22" y="15"/>
                    <a:pt x="22" y="15"/>
                  </a:cubicBezTo>
                  <a:cubicBezTo>
                    <a:pt x="19" y="12"/>
                    <a:pt x="19" y="12"/>
                    <a:pt x="19" y="12"/>
                  </a:cubicBezTo>
                  <a:cubicBezTo>
                    <a:pt x="11" y="14"/>
                    <a:pt x="11" y="14"/>
                    <a:pt x="11" y="14"/>
                  </a:cubicBezTo>
                  <a:cubicBezTo>
                    <a:pt x="12" y="19"/>
                    <a:pt x="12" y="19"/>
                    <a:pt x="12" y="19"/>
                  </a:cubicBezTo>
                  <a:cubicBezTo>
                    <a:pt x="10" y="30"/>
                    <a:pt x="10" y="30"/>
                    <a:pt x="10" y="30"/>
                  </a:cubicBezTo>
                  <a:cubicBezTo>
                    <a:pt x="8" y="28"/>
                    <a:pt x="8" y="28"/>
                    <a:pt x="8" y="28"/>
                  </a:cubicBezTo>
                  <a:cubicBezTo>
                    <a:pt x="7" y="31"/>
                    <a:pt x="7" y="31"/>
                    <a:pt x="7" y="31"/>
                  </a:cubicBezTo>
                  <a:cubicBezTo>
                    <a:pt x="4" y="33"/>
                    <a:pt x="4" y="33"/>
                    <a:pt x="4" y="33"/>
                  </a:cubicBezTo>
                  <a:cubicBezTo>
                    <a:pt x="0" y="39"/>
                    <a:pt x="0" y="39"/>
                    <a:pt x="0" y="39"/>
                  </a:cubicBezTo>
                  <a:cubicBezTo>
                    <a:pt x="0" y="45"/>
                    <a:pt x="0" y="45"/>
                    <a:pt x="0" y="45"/>
                  </a:cubicBezTo>
                  <a:cubicBezTo>
                    <a:pt x="4" y="48"/>
                    <a:pt x="4" y="48"/>
                    <a:pt x="4" y="48"/>
                  </a:cubicBezTo>
                  <a:cubicBezTo>
                    <a:pt x="9" y="46"/>
                    <a:pt x="9" y="46"/>
                    <a:pt x="9" y="46"/>
                  </a:cubicBezTo>
                  <a:cubicBezTo>
                    <a:pt x="10" y="52"/>
                    <a:pt x="10" y="52"/>
                    <a:pt x="10" y="52"/>
                  </a:cubicBezTo>
                  <a:cubicBezTo>
                    <a:pt x="12" y="52"/>
                    <a:pt x="12" y="52"/>
                    <a:pt x="12" y="52"/>
                  </a:cubicBezTo>
                  <a:cubicBezTo>
                    <a:pt x="12" y="53"/>
                    <a:pt x="12" y="53"/>
                    <a:pt x="12" y="53"/>
                  </a:cubicBezTo>
                  <a:cubicBezTo>
                    <a:pt x="16" y="52"/>
                    <a:pt x="16" y="52"/>
                    <a:pt x="16" y="52"/>
                  </a:cubicBezTo>
                  <a:cubicBezTo>
                    <a:pt x="20" y="49"/>
                    <a:pt x="20" y="49"/>
                    <a:pt x="20" y="49"/>
                  </a:cubicBezTo>
                  <a:cubicBezTo>
                    <a:pt x="26" y="50"/>
                    <a:pt x="26" y="50"/>
                    <a:pt x="26" y="50"/>
                  </a:cubicBezTo>
                  <a:cubicBezTo>
                    <a:pt x="27" y="56"/>
                    <a:pt x="27" y="56"/>
                    <a:pt x="27" y="56"/>
                  </a:cubicBezTo>
                  <a:cubicBezTo>
                    <a:pt x="33" y="59"/>
                    <a:pt x="33" y="59"/>
                    <a:pt x="33" y="59"/>
                  </a:cubicBezTo>
                  <a:cubicBezTo>
                    <a:pt x="40" y="62"/>
                    <a:pt x="40" y="62"/>
                    <a:pt x="40" y="62"/>
                  </a:cubicBezTo>
                  <a:cubicBezTo>
                    <a:pt x="40" y="66"/>
                    <a:pt x="40" y="66"/>
                    <a:pt x="40" y="66"/>
                  </a:cubicBezTo>
                  <a:cubicBezTo>
                    <a:pt x="40" y="66"/>
                    <a:pt x="42" y="69"/>
                    <a:pt x="42" y="69"/>
                  </a:cubicBezTo>
                  <a:cubicBezTo>
                    <a:pt x="43" y="69"/>
                    <a:pt x="48" y="70"/>
                    <a:pt x="48" y="70"/>
                  </a:cubicBezTo>
                  <a:cubicBezTo>
                    <a:pt x="48" y="74"/>
                    <a:pt x="48" y="74"/>
                    <a:pt x="48" y="74"/>
                  </a:cubicBezTo>
                  <a:cubicBezTo>
                    <a:pt x="48" y="81"/>
                    <a:pt x="48" y="81"/>
                    <a:pt x="48" y="81"/>
                  </a:cubicBezTo>
                </a:path>
              </a:pathLst>
            </a:custGeom>
            <a:solidFill>
              <a:srgbClr val="ED7E13"/>
            </a:solidFill>
            <a:ln w="9525">
              <a:solidFill>
                <a:sysClr val="window" lastClr="FFFFFF">
                  <a:lumMod val="85000"/>
                </a:sys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37" name="Freeform 414"/>
            <p:cNvSpPr>
              <a:spLocks/>
            </p:cNvSpPr>
            <p:nvPr/>
          </p:nvSpPr>
          <p:spPr bwMode="auto">
            <a:xfrm>
              <a:off x="4676204" y="4608123"/>
              <a:ext cx="99233" cy="154260"/>
            </a:xfrm>
            <a:custGeom>
              <a:avLst/>
              <a:gdLst>
                <a:gd name="T0" fmla="*/ 0 w 78"/>
                <a:gd name="T1" fmla="*/ 0 h 120"/>
                <a:gd name="T2" fmla="*/ 0 w 78"/>
                <a:gd name="T3" fmla="*/ 7858 h 120"/>
                <a:gd name="T4" fmla="*/ 23813 w 78"/>
                <a:gd name="T5" fmla="*/ 47149 h 120"/>
                <a:gd name="T6" fmla="*/ 39688 w 78"/>
                <a:gd name="T7" fmla="*/ 62865 h 120"/>
                <a:gd name="T8" fmla="*/ 71438 w 78"/>
                <a:gd name="T9" fmla="*/ 102156 h 120"/>
                <a:gd name="T10" fmla="*/ 87313 w 78"/>
                <a:gd name="T11" fmla="*/ 125730 h 120"/>
                <a:gd name="T12" fmla="*/ 95250 w 78"/>
                <a:gd name="T13" fmla="*/ 141447 h 120"/>
                <a:gd name="T14" fmla="*/ 103188 w 78"/>
                <a:gd name="T15" fmla="*/ 157163 h 120"/>
                <a:gd name="T16" fmla="*/ 0 w 78"/>
                <a:gd name="T17" fmla="*/ 0 h 1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8"/>
                <a:gd name="T28" fmla="*/ 0 h 120"/>
                <a:gd name="T29" fmla="*/ 78 w 78"/>
                <a:gd name="T30" fmla="*/ 120 h 1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8" h="120">
                  <a:moveTo>
                    <a:pt x="0" y="0"/>
                  </a:moveTo>
                  <a:lnTo>
                    <a:pt x="0" y="6"/>
                  </a:lnTo>
                  <a:lnTo>
                    <a:pt x="18" y="36"/>
                  </a:lnTo>
                  <a:lnTo>
                    <a:pt x="30" y="48"/>
                  </a:lnTo>
                  <a:lnTo>
                    <a:pt x="54" y="78"/>
                  </a:lnTo>
                  <a:lnTo>
                    <a:pt x="66" y="96"/>
                  </a:lnTo>
                  <a:lnTo>
                    <a:pt x="72" y="108"/>
                  </a:lnTo>
                  <a:lnTo>
                    <a:pt x="78" y="120"/>
                  </a:lnTo>
                  <a:lnTo>
                    <a:pt x="0" y="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38" name="Freeform 415"/>
            <p:cNvSpPr>
              <a:spLocks/>
            </p:cNvSpPr>
            <p:nvPr/>
          </p:nvSpPr>
          <p:spPr bwMode="auto">
            <a:xfrm>
              <a:off x="4676204" y="4608123"/>
              <a:ext cx="99233" cy="154260"/>
            </a:xfrm>
            <a:custGeom>
              <a:avLst/>
              <a:gdLst>
                <a:gd name="T0" fmla="*/ 0 w 78"/>
                <a:gd name="T1" fmla="*/ 0 h 120"/>
                <a:gd name="T2" fmla="*/ 0 w 78"/>
                <a:gd name="T3" fmla="*/ 7858 h 120"/>
                <a:gd name="T4" fmla="*/ 23813 w 78"/>
                <a:gd name="T5" fmla="*/ 47149 h 120"/>
                <a:gd name="T6" fmla="*/ 39688 w 78"/>
                <a:gd name="T7" fmla="*/ 62865 h 120"/>
                <a:gd name="T8" fmla="*/ 71438 w 78"/>
                <a:gd name="T9" fmla="*/ 102156 h 120"/>
                <a:gd name="T10" fmla="*/ 87313 w 78"/>
                <a:gd name="T11" fmla="*/ 125730 h 120"/>
                <a:gd name="T12" fmla="*/ 95250 w 78"/>
                <a:gd name="T13" fmla="*/ 141447 h 120"/>
                <a:gd name="T14" fmla="*/ 103188 w 78"/>
                <a:gd name="T15" fmla="*/ 157163 h 120"/>
                <a:gd name="T16" fmla="*/ 0 60000 65536"/>
                <a:gd name="T17" fmla="*/ 0 60000 65536"/>
                <a:gd name="T18" fmla="*/ 0 60000 65536"/>
                <a:gd name="T19" fmla="*/ 0 60000 65536"/>
                <a:gd name="T20" fmla="*/ 0 60000 65536"/>
                <a:gd name="T21" fmla="*/ 0 60000 65536"/>
                <a:gd name="T22" fmla="*/ 0 60000 65536"/>
                <a:gd name="T23" fmla="*/ 0 60000 65536"/>
                <a:gd name="T24" fmla="*/ 0 w 78"/>
                <a:gd name="T25" fmla="*/ 0 h 120"/>
                <a:gd name="T26" fmla="*/ 78 w 78"/>
                <a:gd name="T27" fmla="*/ 120 h 1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8" h="120">
                  <a:moveTo>
                    <a:pt x="0" y="0"/>
                  </a:moveTo>
                  <a:lnTo>
                    <a:pt x="0" y="6"/>
                  </a:lnTo>
                  <a:lnTo>
                    <a:pt x="18" y="36"/>
                  </a:lnTo>
                  <a:lnTo>
                    <a:pt x="30" y="48"/>
                  </a:lnTo>
                  <a:lnTo>
                    <a:pt x="54" y="78"/>
                  </a:lnTo>
                  <a:lnTo>
                    <a:pt x="66" y="96"/>
                  </a:lnTo>
                  <a:lnTo>
                    <a:pt x="72" y="108"/>
                  </a:lnTo>
                  <a:lnTo>
                    <a:pt x="78" y="120"/>
                  </a:lnTo>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39" name="Freeform 416"/>
            <p:cNvSpPr>
              <a:spLocks/>
            </p:cNvSpPr>
            <p:nvPr/>
          </p:nvSpPr>
          <p:spPr bwMode="auto">
            <a:xfrm>
              <a:off x="4682279" y="3964604"/>
              <a:ext cx="93127" cy="107513"/>
            </a:xfrm>
            <a:custGeom>
              <a:avLst/>
              <a:gdLst>
                <a:gd name="T0" fmla="*/ 96838 w 72"/>
                <a:gd name="T1" fmla="*/ 101713 h 84"/>
                <a:gd name="T2" fmla="*/ 96838 w 72"/>
                <a:gd name="T3" fmla="*/ 70417 h 84"/>
                <a:gd name="T4" fmla="*/ 88768 w 72"/>
                <a:gd name="T5" fmla="*/ 39120 h 84"/>
                <a:gd name="T6" fmla="*/ 96838 w 72"/>
                <a:gd name="T7" fmla="*/ 15648 h 84"/>
                <a:gd name="T8" fmla="*/ 32279 w 72"/>
                <a:gd name="T9" fmla="*/ 7824 h 84"/>
                <a:gd name="T10" fmla="*/ 32279 w 72"/>
                <a:gd name="T11" fmla="*/ 0 h 84"/>
                <a:gd name="T12" fmla="*/ 24210 w 72"/>
                <a:gd name="T13" fmla="*/ 23472 h 84"/>
                <a:gd name="T14" fmla="*/ 0 w 72"/>
                <a:gd name="T15" fmla="*/ 46944 h 84"/>
                <a:gd name="T16" fmla="*/ 16140 w 72"/>
                <a:gd name="T17" fmla="*/ 78241 h 84"/>
                <a:gd name="T18" fmla="*/ 32279 w 72"/>
                <a:gd name="T19" fmla="*/ 109537 h 84"/>
                <a:gd name="T20" fmla="*/ 40349 w 72"/>
                <a:gd name="T21" fmla="*/ 109537 h 84"/>
                <a:gd name="T22" fmla="*/ 56489 w 72"/>
                <a:gd name="T23" fmla="*/ 101713 h 84"/>
                <a:gd name="T24" fmla="*/ 96838 w 72"/>
                <a:gd name="T25" fmla="*/ 101713 h 84"/>
                <a:gd name="T26" fmla="*/ 96838 w 72"/>
                <a:gd name="T27" fmla="*/ 101713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2"/>
                <a:gd name="T43" fmla="*/ 0 h 84"/>
                <a:gd name="T44" fmla="*/ 72 w 72"/>
                <a:gd name="T45" fmla="*/ 84 h 8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2" h="84">
                  <a:moveTo>
                    <a:pt x="72" y="78"/>
                  </a:moveTo>
                  <a:lnTo>
                    <a:pt x="72" y="54"/>
                  </a:lnTo>
                  <a:lnTo>
                    <a:pt x="66" y="30"/>
                  </a:lnTo>
                  <a:lnTo>
                    <a:pt x="72" y="12"/>
                  </a:lnTo>
                  <a:lnTo>
                    <a:pt x="24" y="6"/>
                  </a:lnTo>
                  <a:lnTo>
                    <a:pt x="24" y="0"/>
                  </a:lnTo>
                  <a:lnTo>
                    <a:pt x="18" y="18"/>
                  </a:lnTo>
                  <a:lnTo>
                    <a:pt x="0" y="36"/>
                  </a:lnTo>
                  <a:lnTo>
                    <a:pt x="12" y="60"/>
                  </a:lnTo>
                  <a:lnTo>
                    <a:pt x="24" y="84"/>
                  </a:lnTo>
                  <a:lnTo>
                    <a:pt x="30" y="84"/>
                  </a:lnTo>
                  <a:lnTo>
                    <a:pt x="42" y="78"/>
                  </a:lnTo>
                  <a:lnTo>
                    <a:pt x="72" y="78"/>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40" name="Freeform 417"/>
            <p:cNvSpPr>
              <a:spLocks/>
            </p:cNvSpPr>
            <p:nvPr/>
          </p:nvSpPr>
          <p:spPr bwMode="auto">
            <a:xfrm>
              <a:off x="4682279" y="3964604"/>
              <a:ext cx="93127" cy="107513"/>
            </a:xfrm>
            <a:custGeom>
              <a:avLst/>
              <a:gdLst>
                <a:gd name="T0" fmla="*/ 96838 w 72"/>
                <a:gd name="T1" fmla="*/ 101713 h 84"/>
                <a:gd name="T2" fmla="*/ 96838 w 72"/>
                <a:gd name="T3" fmla="*/ 70417 h 84"/>
                <a:gd name="T4" fmla="*/ 88768 w 72"/>
                <a:gd name="T5" fmla="*/ 39120 h 84"/>
                <a:gd name="T6" fmla="*/ 96838 w 72"/>
                <a:gd name="T7" fmla="*/ 15648 h 84"/>
                <a:gd name="T8" fmla="*/ 32279 w 72"/>
                <a:gd name="T9" fmla="*/ 7824 h 84"/>
                <a:gd name="T10" fmla="*/ 32279 w 72"/>
                <a:gd name="T11" fmla="*/ 0 h 84"/>
                <a:gd name="T12" fmla="*/ 24210 w 72"/>
                <a:gd name="T13" fmla="*/ 23472 h 84"/>
                <a:gd name="T14" fmla="*/ 0 w 72"/>
                <a:gd name="T15" fmla="*/ 46944 h 84"/>
                <a:gd name="T16" fmla="*/ 16140 w 72"/>
                <a:gd name="T17" fmla="*/ 78241 h 84"/>
                <a:gd name="T18" fmla="*/ 32279 w 72"/>
                <a:gd name="T19" fmla="*/ 109537 h 84"/>
                <a:gd name="T20" fmla="*/ 40349 w 72"/>
                <a:gd name="T21" fmla="*/ 109537 h 84"/>
                <a:gd name="T22" fmla="*/ 56489 w 72"/>
                <a:gd name="T23" fmla="*/ 101713 h 84"/>
                <a:gd name="T24" fmla="*/ 96838 w 72"/>
                <a:gd name="T25" fmla="*/ 101713 h 84"/>
                <a:gd name="T26" fmla="*/ 96838 w 72"/>
                <a:gd name="T27" fmla="*/ 101713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2"/>
                <a:gd name="T43" fmla="*/ 0 h 84"/>
                <a:gd name="T44" fmla="*/ 72 w 72"/>
                <a:gd name="T45" fmla="*/ 84 h 8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2" h="84">
                  <a:moveTo>
                    <a:pt x="72" y="78"/>
                  </a:moveTo>
                  <a:lnTo>
                    <a:pt x="72" y="54"/>
                  </a:lnTo>
                  <a:lnTo>
                    <a:pt x="66" y="30"/>
                  </a:lnTo>
                  <a:lnTo>
                    <a:pt x="72" y="12"/>
                  </a:lnTo>
                  <a:lnTo>
                    <a:pt x="24" y="6"/>
                  </a:lnTo>
                  <a:lnTo>
                    <a:pt x="24" y="0"/>
                  </a:lnTo>
                  <a:lnTo>
                    <a:pt x="18" y="18"/>
                  </a:lnTo>
                  <a:lnTo>
                    <a:pt x="0" y="36"/>
                  </a:lnTo>
                  <a:lnTo>
                    <a:pt x="12" y="60"/>
                  </a:lnTo>
                  <a:lnTo>
                    <a:pt x="24" y="84"/>
                  </a:lnTo>
                  <a:lnTo>
                    <a:pt x="30" y="84"/>
                  </a:lnTo>
                  <a:lnTo>
                    <a:pt x="42" y="78"/>
                  </a:lnTo>
                  <a:lnTo>
                    <a:pt x="72" y="78"/>
                  </a:lnTo>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41" name="Freeform 418"/>
            <p:cNvSpPr>
              <a:spLocks/>
            </p:cNvSpPr>
            <p:nvPr/>
          </p:nvSpPr>
          <p:spPr bwMode="auto">
            <a:xfrm>
              <a:off x="4323505" y="3825921"/>
              <a:ext cx="322124" cy="275799"/>
            </a:xfrm>
            <a:custGeom>
              <a:avLst/>
              <a:gdLst>
                <a:gd name="T0" fmla="*/ 296013 w 43"/>
                <a:gd name="T1" fmla="*/ 163910 h 36"/>
                <a:gd name="T2" fmla="*/ 288223 w 43"/>
                <a:gd name="T3" fmla="*/ 140494 h 36"/>
                <a:gd name="T4" fmla="*/ 303803 w 43"/>
                <a:gd name="T5" fmla="*/ 117078 h 36"/>
                <a:gd name="T6" fmla="*/ 334962 w 43"/>
                <a:gd name="T7" fmla="*/ 85857 h 36"/>
                <a:gd name="T8" fmla="*/ 327172 w 43"/>
                <a:gd name="T9" fmla="*/ 85857 h 36"/>
                <a:gd name="T10" fmla="*/ 303803 w 43"/>
                <a:gd name="T11" fmla="*/ 78052 h 36"/>
                <a:gd name="T12" fmla="*/ 296013 w 43"/>
                <a:gd name="T13" fmla="*/ 62442 h 36"/>
                <a:gd name="T14" fmla="*/ 249274 w 43"/>
                <a:gd name="T15" fmla="*/ 39026 h 36"/>
                <a:gd name="T16" fmla="*/ 171376 w 43"/>
                <a:gd name="T17" fmla="*/ 46831 h 36"/>
                <a:gd name="T18" fmla="*/ 132427 w 43"/>
                <a:gd name="T19" fmla="*/ 39026 h 36"/>
                <a:gd name="T20" fmla="*/ 124637 w 43"/>
                <a:gd name="T21" fmla="*/ 23416 h 36"/>
                <a:gd name="T22" fmla="*/ 85688 w 43"/>
                <a:gd name="T23" fmla="*/ 15610 h 36"/>
                <a:gd name="T24" fmla="*/ 46739 w 43"/>
                <a:gd name="T25" fmla="*/ 23416 h 36"/>
                <a:gd name="T26" fmla="*/ 38949 w 43"/>
                <a:gd name="T27" fmla="*/ 0 h 36"/>
                <a:gd name="T28" fmla="*/ 7790 w 43"/>
                <a:gd name="T29" fmla="*/ 15610 h 36"/>
                <a:gd name="T30" fmla="*/ 0 w 43"/>
                <a:gd name="T31" fmla="*/ 78052 h 36"/>
                <a:gd name="T32" fmla="*/ 15580 w 43"/>
                <a:gd name="T33" fmla="*/ 117078 h 36"/>
                <a:gd name="T34" fmla="*/ 93478 w 43"/>
                <a:gd name="T35" fmla="*/ 148299 h 36"/>
                <a:gd name="T36" fmla="*/ 132427 w 43"/>
                <a:gd name="T37" fmla="*/ 156104 h 36"/>
                <a:gd name="T38" fmla="*/ 124637 w 43"/>
                <a:gd name="T39" fmla="*/ 171715 h 36"/>
                <a:gd name="T40" fmla="*/ 140217 w 43"/>
                <a:gd name="T41" fmla="*/ 202936 h 36"/>
                <a:gd name="T42" fmla="*/ 140217 w 43"/>
                <a:gd name="T43" fmla="*/ 257572 h 36"/>
                <a:gd name="T44" fmla="*/ 140217 w 43"/>
                <a:gd name="T45" fmla="*/ 257572 h 36"/>
                <a:gd name="T46" fmla="*/ 163586 w 43"/>
                <a:gd name="T47" fmla="*/ 280988 h 36"/>
                <a:gd name="T48" fmla="*/ 233694 w 43"/>
                <a:gd name="T49" fmla="*/ 257572 h 36"/>
                <a:gd name="T50" fmla="*/ 225905 w 43"/>
                <a:gd name="T51" fmla="*/ 234157 h 36"/>
                <a:gd name="T52" fmla="*/ 202535 w 43"/>
                <a:gd name="T53" fmla="*/ 195131 h 36"/>
                <a:gd name="T54" fmla="*/ 264854 w 43"/>
                <a:gd name="T55" fmla="*/ 195131 h 36"/>
                <a:gd name="T56" fmla="*/ 303803 w 43"/>
                <a:gd name="T57" fmla="*/ 179520 h 36"/>
                <a:gd name="T58" fmla="*/ 296013 w 43"/>
                <a:gd name="T59" fmla="*/ 163910 h 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3"/>
                <a:gd name="T91" fmla="*/ 0 h 36"/>
                <a:gd name="T92" fmla="*/ 43 w 43"/>
                <a:gd name="T93" fmla="*/ 36 h 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3" h="36">
                  <a:moveTo>
                    <a:pt x="38" y="21"/>
                  </a:moveTo>
                  <a:cubicBezTo>
                    <a:pt x="37" y="18"/>
                    <a:pt x="37" y="18"/>
                    <a:pt x="37" y="18"/>
                  </a:cubicBezTo>
                  <a:cubicBezTo>
                    <a:pt x="39" y="15"/>
                    <a:pt x="39" y="15"/>
                    <a:pt x="39" y="15"/>
                  </a:cubicBezTo>
                  <a:cubicBezTo>
                    <a:pt x="43" y="11"/>
                    <a:pt x="43" y="11"/>
                    <a:pt x="43" y="11"/>
                  </a:cubicBezTo>
                  <a:cubicBezTo>
                    <a:pt x="42" y="11"/>
                    <a:pt x="42" y="11"/>
                    <a:pt x="42" y="11"/>
                  </a:cubicBezTo>
                  <a:cubicBezTo>
                    <a:pt x="39" y="10"/>
                    <a:pt x="39" y="10"/>
                    <a:pt x="39" y="10"/>
                  </a:cubicBezTo>
                  <a:cubicBezTo>
                    <a:pt x="38" y="8"/>
                    <a:pt x="38" y="8"/>
                    <a:pt x="38" y="8"/>
                  </a:cubicBezTo>
                  <a:cubicBezTo>
                    <a:pt x="32" y="5"/>
                    <a:pt x="32" y="5"/>
                    <a:pt x="32" y="5"/>
                  </a:cubicBezTo>
                  <a:cubicBezTo>
                    <a:pt x="22" y="6"/>
                    <a:pt x="22" y="6"/>
                    <a:pt x="22" y="6"/>
                  </a:cubicBezTo>
                  <a:cubicBezTo>
                    <a:pt x="17" y="5"/>
                    <a:pt x="17" y="5"/>
                    <a:pt x="17" y="5"/>
                  </a:cubicBezTo>
                  <a:cubicBezTo>
                    <a:pt x="16" y="3"/>
                    <a:pt x="16" y="3"/>
                    <a:pt x="16" y="3"/>
                  </a:cubicBezTo>
                  <a:cubicBezTo>
                    <a:pt x="11" y="2"/>
                    <a:pt x="11" y="2"/>
                    <a:pt x="11" y="2"/>
                  </a:cubicBezTo>
                  <a:cubicBezTo>
                    <a:pt x="11" y="2"/>
                    <a:pt x="7" y="3"/>
                    <a:pt x="6" y="3"/>
                  </a:cubicBezTo>
                  <a:cubicBezTo>
                    <a:pt x="5" y="3"/>
                    <a:pt x="5" y="1"/>
                    <a:pt x="5" y="0"/>
                  </a:cubicBezTo>
                  <a:cubicBezTo>
                    <a:pt x="1" y="2"/>
                    <a:pt x="1" y="2"/>
                    <a:pt x="1" y="2"/>
                  </a:cubicBezTo>
                  <a:cubicBezTo>
                    <a:pt x="0" y="10"/>
                    <a:pt x="0" y="10"/>
                    <a:pt x="0" y="10"/>
                  </a:cubicBezTo>
                  <a:cubicBezTo>
                    <a:pt x="2" y="15"/>
                    <a:pt x="2" y="15"/>
                    <a:pt x="2" y="15"/>
                  </a:cubicBezTo>
                  <a:cubicBezTo>
                    <a:pt x="12" y="19"/>
                    <a:pt x="12" y="19"/>
                    <a:pt x="12" y="19"/>
                  </a:cubicBezTo>
                  <a:cubicBezTo>
                    <a:pt x="17" y="20"/>
                    <a:pt x="17" y="20"/>
                    <a:pt x="17" y="20"/>
                  </a:cubicBezTo>
                  <a:cubicBezTo>
                    <a:pt x="16" y="22"/>
                    <a:pt x="16" y="22"/>
                    <a:pt x="16" y="22"/>
                  </a:cubicBezTo>
                  <a:cubicBezTo>
                    <a:pt x="18" y="26"/>
                    <a:pt x="18" y="26"/>
                    <a:pt x="18" y="26"/>
                  </a:cubicBezTo>
                  <a:cubicBezTo>
                    <a:pt x="18" y="33"/>
                    <a:pt x="18" y="33"/>
                    <a:pt x="18" y="33"/>
                  </a:cubicBezTo>
                  <a:cubicBezTo>
                    <a:pt x="18" y="33"/>
                    <a:pt x="18" y="33"/>
                    <a:pt x="18" y="33"/>
                  </a:cubicBezTo>
                  <a:cubicBezTo>
                    <a:pt x="21" y="36"/>
                    <a:pt x="21" y="36"/>
                    <a:pt x="21" y="36"/>
                  </a:cubicBezTo>
                  <a:cubicBezTo>
                    <a:pt x="30" y="33"/>
                    <a:pt x="30" y="33"/>
                    <a:pt x="30" y="33"/>
                  </a:cubicBezTo>
                  <a:cubicBezTo>
                    <a:pt x="29" y="30"/>
                    <a:pt x="29" y="30"/>
                    <a:pt x="29" y="30"/>
                  </a:cubicBezTo>
                  <a:cubicBezTo>
                    <a:pt x="26" y="25"/>
                    <a:pt x="26" y="25"/>
                    <a:pt x="26" y="25"/>
                  </a:cubicBezTo>
                  <a:cubicBezTo>
                    <a:pt x="34" y="25"/>
                    <a:pt x="34" y="25"/>
                    <a:pt x="34" y="25"/>
                  </a:cubicBezTo>
                  <a:cubicBezTo>
                    <a:pt x="39" y="23"/>
                    <a:pt x="39" y="23"/>
                    <a:pt x="39" y="23"/>
                  </a:cubicBezTo>
                  <a:cubicBezTo>
                    <a:pt x="38" y="21"/>
                    <a:pt x="38" y="21"/>
                    <a:pt x="38" y="21"/>
                  </a:cubicBezTo>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42" name="Freeform 419"/>
            <p:cNvSpPr>
              <a:spLocks/>
            </p:cNvSpPr>
            <p:nvPr/>
          </p:nvSpPr>
          <p:spPr bwMode="auto">
            <a:xfrm>
              <a:off x="4117416" y="4132957"/>
              <a:ext cx="303805" cy="428497"/>
            </a:xfrm>
            <a:custGeom>
              <a:avLst/>
              <a:gdLst>
                <a:gd name="T0" fmla="*/ 300117 w 240"/>
                <a:gd name="T1" fmla="*/ 264269 h 337"/>
                <a:gd name="T2" fmla="*/ 300117 w 240"/>
                <a:gd name="T3" fmla="*/ 256496 h 337"/>
                <a:gd name="T4" fmla="*/ 284322 w 240"/>
                <a:gd name="T5" fmla="*/ 256496 h 337"/>
                <a:gd name="T6" fmla="*/ 276424 w 240"/>
                <a:gd name="T7" fmla="*/ 209861 h 337"/>
                <a:gd name="T8" fmla="*/ 236935 w 240"/>
                <a:gd name="T9" fmla="*/ 225406 h 337"/>
                <a:gd name="T10" fmla="*/ 205343 w 240"/>
                <a:gd name="T11" fmla="*/ 202088 h 337"/>
                <a:gd name="T12" fmla="*/ 205343 w 240"/>
                <a:gd name="T13" fmla="*/ 155452 h 337"/>
                <a:gd name="T14" fmla="*/ 236935 w 240"/>
                <a:gd name="T15" fmla="*/ 108817 h 337"/>
                <a:gd name="T16" fmla="*/ 260628 w 240"/>
                <a:gd name="T17" fmla="*/ 93271 h 337"/>
                <a:gd name="T18" fmla="*/ 268526 w 240"/>
                <a:gd name="T19" fmla="*/ 69954 h 337"/>
                <a:gd name="T20" fmla="*/ 252730 w 240"/>
                <a:gd name="T21" fmla="*/ 46636 h 337"/>
                <a:gd name="T22" fmla="*/ 221139 w 240"/>
                <a:gd name="T23" fmla="*/ 46636 h 337"/>
                <a:gd name="T24" fmla="*/ 197446 w 240"/>
                <a:gd name="T25" fmla="*/ 23318 h 337"/>
                <a:gd name="T26" fmla="*/ 157957 w 240"/>
                <a:gd name="T27" fmla="*/ 0 h 337"/>
                <a:gd name="T28" fmla="*/ 157957 w 240"/>
                <a:gd name="T29" fmla="*/ 0 h 337"/>
                <a:gd name="T30" fmla="*/ 142161 w 240"/>
                <a:gd name="T31" fmla="*/ 31090 h 337"/>
                <a:gd name="T32" fmla="*/ 110570 w 240"/>
                <a:gd name="T33" fmla="*/ 62181 h 337"/>
                <a:gd name="T34" fmla="*/ 86876 w 240"/>
                <a:gd name="T35" fmla="*/ 69954 h 337"/>
                <a:gd name="T36" fmla="*/ 55285 w 240"/>
                <a:gd name="T37" fmla="*/ 101044 h 337"/>
                <a:gd name="T38" fmla="*/ 31591 w 240"/>
                <a:gd name="T39" fmla="*/ 93271 h 337"/>
                <a:gd name="T40" fmla="*/ 23693 w 240"/>
                <a:gd name="T41" fmla="*/ 77726 h 337"/>
                <a:gd name="T42" fmla="*/ 0 w 240"/>
                <a:gd name="T43" fmla="*/ 93271 h 337"/>
                <a:gd name="T44" fmla="*/ 23693 w 240"/>
                <a:gd name="T45" fmla="*/ 147680 h 337"/>
                <a:gd name="T46" fmla="*/ 71080 w 240"/>
                <a:gd name="T47" fmla="*/ 225406 h 337"/>
                <a:gd name="T48" fmla="*/ 118467 w 240"/>
                <a:gd name="T49" fmla="*/ 326450 h 337"/>
                <a:gd name="T50" fmla="*/ 118467 w 240"/>
                <a:gd name="T51" fmla="*/ 341995 h 337"/>
                <a:gd name="T52" fmla="*/ 284322 w 240"/>
                <a:gd name="T53" fmla="*/ 436562 h 337"/>
                <a:gd name="T54" fmla="*/ 292220 w 240"/>
                <a:gd name="T55" fmla="*/ 436562 h 337"/>
                <a:gd name="T56" fmla="*/ 300117 w 240"/>
                <a:gd name="T57" fmla="*/ 397699 h 337"/>
                <a:gd name="T58" fmla="*/ 308015 w 240"/>
                <a:gd name="T59" fmla="*/ 349768 h 337"/>
                <a:gd name="T60" fmla="*/ 315913 w 240"/>
                <a:gd name="T61" fmla="*/ 287587 h 337"/>
                <a:gd name="T62" fmla="*/ 300117 w 240"/>
                <a:gd name="T63" fmla="*/ 264269 h 3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0"/>
                <a:gd name="T97" fmla="*/ 0 h 337"/>
                <a:gd name="T98" fmla="*/ 240 w 240"/>
                <a:gd name="T99" fmla="*/ 337 h 3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0" h="337">
                  <a:moveTo>
                    <a:pt x="228" y="204"/>
                  </a:moveTo>
                  <a:lnTo>
                    <a:pt x="228" y="198"/>
                  </a:lnTo>
                  <a:lnTo>
                    <a:pt x="216" y="198"/>
                  </a:lnTo>
                  <a:lnTo>
                    <a:pt x="210" y="162"/>
                  </a:lnTo>
                  <a:lnTo>
                    <a:pt x="180" y="174"/>
                  </a:lnTo>
                  <a:lnTo>
                    <a:pt x="156" y="156"/>
                  </a:lnTo>
                  <a:lnTo>
                    <a:pt x="156" y="120"/>
                  </a:lnTo>
                  <a:lnTo>
                    <a:pt x="180" y="84"/>
                  </a:lnTo>
                  <a:lnTo>
                    <a:pt x="198" y="72"/>
                  </a:lnTo>
                  <a:lnTo>
                    <a:pt x="204" y="54"/>
                  </a:lnTo>
                  <a:lnTo>
                    <a:pt x="192" y="36"/>
                  </a:lnTo>
                  <a:lnTo>
                    <a:pt x="168" y="36"/>
                  </a:lnTo>
                  <a:lnTo>
                    <a:pt x="150" y="18"/>
                  </a:lnTo>
                  <a:lnTo>
                    <a:pt x="120" y="0"/>
                  </a:lnTo>
                  <a:lnTo>
                    <a:pt x="108" y="24"/>
                  </a:lnTo>
                  <a:lnTo>
                    <a:pt x="84" y="48"/>
                  </a:lnTo>
                  <a:lnTo>
                    <a:pt x="66" y="54"/>
                  </a:lnTo>
                  <a:lnTo>
                    <a:pt x="42" y="78"/>
                  </a:lnTo>
                  <a:lnTo>
                    <a:pt x="24" y="72"/>
                  </a:lnTo>
                  <a:lnTo>
                    <a:pt x="18" y="60"/>
                  </a:lnTo>
                  <a:lnTo>
                    <a:pt x="0" y="72"/>
                  </a:lnTo>
                  <a:lnTo>
                    <a:pt x="18" y="114"/>
                  </a:lnTo>
                  <a:lnTo>
                    <a:pt x="54" y="174"/>
                  </a:lnTo>
                  <a:lnTo>
                    <a:pt x="90" y="252"/>
                  </a:lnTo>
                  <a:lnTo>
                    <a:pt x="90" y="264"/>
                  </a:lnTo>
                  <a:lnTo>
                    <a:pt x="216" y="337"/>
                  </a:lnTo>
                  <a:lnTo>
                    <a:pt x="222" y="337"/>
                  </a:lnTo>
                  <a:lnTo>
                    <a:pt x="228" y="307"/>
                  </a:lnTo>
                  <a:lnTo>
                    <a:pt x="234" y="270"/>
                  </a:lnTo>
                  <a:lnTo>
                    <a:pt x="240" y="222"/>
                  </a:lnTo>
                  <a:lnTo>
                    <a:pt x="228" y="204"/>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43" name="Freeform 420"/>
            <p:cNvSpPr>
              <a:spLocks/>
            </p:cNvSpPr>
            <p:nvPr/>
          </p:nvSpPr>
          <p:spPr bwMode="auto">
            <a:xfrm>
              <a:off x="4117416" y="4132957"/>
              <a:ext cx="303805" cy="428497"/>
            </a:xfrm>
            <a:custGeom>
              <a:avLst/>
              <a:gdLst>
                <a:gd name="T0" fmla="*/ 300117 w 240"/>
                <a:gd name="T1" fmla="*/ 264269 h 337"/>
                <a:gd name="T2" fmla="*/ 300117 w 240"/>
                <a:gd name="T3" fmla="*/ 256496 h 337"/>
                <a:gd name="T4" fmla="*/ 284322 w 240"/>
                <a:gd name="T5" fmla="*/ 256496 h 337"/>
                <a:gd name="T6" fmla="*/ 276424 w 240"/>
                <a:gd name="T7" fmla="*/ 209861 h 337"/>
                <a:gd name="T8" fmla="*/ 236935 w 240"/>
                <a:gd name="T9" fmla="*/ 225406 h 337"/>
                <a:gd name="T10" fmla="*/ 205343 w 240"/>
                <a:gd name="T11" fmla="*/ 202088 h 337"/>
                <a:gd name="T12" fmla="*/ 205343 w 240"/>
                <a:gd name="T13" fmla="*/ 155452 h 337"/>
                <a:gd name="T14" fmla="*/ 236935 w 240"/>
                <a:gd name="T15" fmla="*/ 108817 h 337"/>
                <a:gd name="T16" fmla="*/ 260628 w 240"/>
                <a:gd name="T17" fmla="*/ 93271 h 337"/>
                <a:gd name="T18" fmla="*/ 268526 w 240"/>
                <a:gd name="T19" fmla="*/ 69954 h 337"/>
                <a:gd name="T20" fmla="*/ 252730 w 240"/>
                <a:gd name="T21" fmla="*/ 46636 h 337"/>
                <a:gd name="T22" fmla="*/ 221139 w 240"/>
                <a:gd name="T23" fmla="*/ 46636 h 337"/>
                <a:gd name="T24" fmla="*/ 197446 w 240"/>
                <a:gd name="T25" fmla="*/ 23318 h 337"/>
                <a:gd name="T26" fmla="*/ 157957 w 240"/>
                <a:gd name="T27" fmla="*/ 0 h 337"/>
                <a:gd name="T28" fmla="*/ 157957 w 240"/>
                <a:gd name="T29" fmla="*/ 0 h 337"/>
                <a:gd name="T30" fmla="*/ 142161 w 240"/>
                <a:gd name="T31" fmla="*/ 31090 h 337"/>
                <a:gd name="T32" fmla="*/ 110570 w 240"/>
                <a:gd name="T33" fmla="*/ 62181 h 337"/>
                <a:gd name="T34" fmla="*/ 86876 w 240"/>
                <a:gd name="T35" fmla="*/ 69954 h 337"/>
                <a:gd name="T36" fmla="*/ 55285 w 240"/>
                <a:gd name="T37" fmla="*/ 101044 h 337"/>
                <a:gd name="T38" fmla="*/ 31591 w 240"/>
                <a:gd name="T39" fmla="*/ 93271 h 337"/>
                <a:gd name="T40" fmla="*/ 23693 w 240"/>
                <a:gd name="T41" fmla="*/ 77726 h 337"/>
                <a:gd name="T42" fmla="*/ 0 w 240"/>
                <a:gd name="T43" fmla="*/ 93271 h 337"/>
                <a:gd name="T44" fmla="*/ 23693 w 240"/>
                <a:gd name="T45" fmla="*/ 147680 h 337"/>
                <a:gd name="T46" fmla="*/ 71080 w 240"/>
                <a:gd name="T47" fmla="*/ 225406 h 337"/>
                <a:gd name="T48" fmla="*/ 118467 w 240"/>
                <a:gd name="T49" fmla="*/ 326450 h 337"/>
                <a:gd name="T50" fmla="*/ 118467 w 240"/>
                <a:gd name="T51" fmla="*/ 341995 h 337"/>
                <a:gd name="T52" fmla="*/ 284322 w 240"/>
                <a:gd name="T53" fmla="*/ 436562 h 337"/>
                <a:gd name="T54" fmla="*/ 292220 w 240"/>
                <a:gd name="T55" fmla="*/ 436562 h 337"/>
                <a:gd name="T56" fmla="*/ 300117 w 240"/>
                <a:gd name="T57" fmla="*/ 397699 h 337"/>
                <a:gd name="T58" fmla="*/ 308015 w 240"/>
                <a:gd name="T59" fmla="*/ 349768 h 337"/>
                <a:gd name="T60" fmla="*/ 315913 w 240"/>
                <a:gd name="T61" fmla="*/ 287587 h 337"/>
                <a:gd name="T62" fmla="*/ 300117 w 240"/>
                <a:gd name="T63" fmla="*/ 264269 h 3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0"/>
                <a:gd name="T97" fmla="*/ 0 h 337"/>
                <a:gd name="T98" fmla="*/ 240 w 240"/>
                <a:gd name="T99" fmla="*/ 337 h 3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0" h="337">
                  <a:moveTo>
                    <a:pt x="228" y="204"/>
                  </a:moveTo>
                  <a:lnTo>
                    <a:pt x="228" y="198"/>
                  </a:lnTo>
                  <a:lnTo>
                    <a:pt x="216" y="198"/>
                  </a:lnTo>
                  <a:lnTo>
                    <a:pt x="210" y="162"/>
                  </a:lnTo>
                  <a:lnTo>
                    <a:pt x="180" y="174"/>
                  </a:lnTo>
                  <a:lnTo>
                    <a:pt x="156" y="156"/>
                  </a:lnTo>
                  <a:lnTo>
                    <a:pt x="156" y="120"/>
                  </a:lnTo>
                  <a:lnTo>
                    <a:pt x="180" y="84"/>
                  </a:lnTo>
                  <a:lnTo>
                    <a:pt x="198" y="72"/>
                  </a:lnTo>
                  <a:lnTo>
                    <a:pt x="204" y="54"/>
                  </a:lnTo>
                  <a:lnTo>
                    <a:pt x="192" y="36"/>
                  </a:lnTo>
                  <a:lnTo>
                    <a:pt x="168" y="36"/>
                  </a:lnTo>
                  <a:lnTo>
                    <a:pt x="150" y="18"/>
                  </a:lnTo>
                  <a:lnTo>
                    <a:pt x="120" y="0"/>
                  </a:lnTo>
                  <a:lnTo>
                    <a:pt x="108" y="24"/>
                  </a:lnTo>
                  <a:lnTo>
                    <a:pt x="84" y="48"/>
                  </a:lnTo>
                  <a:lnTo>
                    <a:pt x="66" y="54"/>
                  </a:lnTo>
                  <a:lnTo>
                    <a:pt x="42" y="78"/>
                  </a:lnTo>
                  <a:lnTo>
                    <a:pt x="24" y="72"/>
                  </a:lnTo>
                  <a:lnTo>
                    <a:pt x="18" y="60"/>
                  </a:lnTo>
                  <a:lnTo>
                    <a:pt x="0" y="72"/>
                  </a:lnTo>
                  <a:lnTo>
                    <a:pt x="18" y="114"/>
                  </a:lnTo>
                  <a:lnTo>
                    <a:pt x="54" y="174"/>
                  </a:lnTo>
                  <a:lnTo>
                    <a:pt x="90" y="252"/>
                  </a:lnTo>
                  <a:lnTo>
                    <a:pt x="90" y="264"/>
                  </a:lnTo>
                  <a:lnTo>
                    <a:pt x="216" y="337"/>
                  </a:lnTo>
                  <a:lnTo>
                    <a:pt x="222" y="337"/>
                  </a:lnTo>
                  <a:lnTo>
                    <a:pt x="228" y="307"/>
                  </a:lnTo>
                  <a:lnTo>
                    <a:pt x="234" y="270"/>
                  </a:lnTo>
                  <a:lnTo>
                    <a:pt x="240" y="222"/>
                  </a:lnTo>
                  <a:lnTo>
                    <a:pt x="228" y="204"/>
                  </a:lnTo>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44" name="Freeform 421"/>
            <p:cNvSpPr>
              <a:spLocks/>
            </p:cNvSpPr>
            <p:nvPr/>
          </p:nvSpPr>
          <p:spPr bwMode="auto">
            <a:xfrm>
              <a:off x="4138779" y="4086135"/>
              <a:ext cx="129766" cy="146468"/>
            </a:xfrm>
            <a:custGeom>
              <a:avLst/>
              <a:gdLst>
                <a:gd name="T0" fmla="*/ 31750 w 102"/>
                <a:gd name="T1" fmla="*/ 149225 h 114"/>
                <a:gd name="T2" fmla="*/ 63500 w 102"/>
                <a:gd name="T3" fmla="*/ 117809 h 114"/>
                <a:gd name="T4" fmla="*/ 87313 w 102"/>
                <a:gd name="T5" fmla="*/ 109955 h 114"/>
                <a:gd name="T6" fmla="*/ 119063 w 102"/>
                <a:gd name="T7" fmla="*/ 78539 h 114"/>
                <a:gd name="T8" fmla="*/ 134938 w 102"/>
                <a:gd name="T9" fmla="*/ 47124 h 114"/>
                <a:gd name="T10" fmla="*/ 103188 w 102"/>
                <a:gd name="T11" fmla="*/ 23562 h 114"/>
                <a:gd name="T12" fmla="*/ 39688 w 102"/>
                <a:gd name="T13" fmla="*/ 0 h 114"/>
                <a:gd name="T14" fmla="*/ 31750 w 102"/>
                <a:gd name="T15" fmla="*/ 15708 h 114"/>
                <a:gd name="T16" fmla="*/ 0 w 102"/>
                <a:gd name="T17" fmla="*/ 86393 h 114"/>
                <a:gd name="T18" fmla="*/ 15875 w 102"/>
                <a:gd name="T19" fmla="*/ 117809 h 114"/>
                <a:gd name="T20" fmla="*/ 0 w 102"/>
                <a:gd name="T21" fmla="*/ 125663 h 114"/>
                <a:gd name="T22" fmla="*/ 7938 w 102"/>
                <a:gd name="T23" fmla="*/ 141371 h 114"/>
                <a:gd name="T24" fmla="*/ 31750 w 102"/>
                <a:gd name="T25" fmla="*/ 149225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2"/>
                <a:gd name="T40" fmla="*/ 0 h 114"/>
                <a:gd name="T41" fmla="*/ 102 w 102"/>
                <a:gd name="T42" fmla="*/ 114 h 11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2" h="114">
                  <a:moveTo>
                    <a:pt x="24" y="114"/>
                  </a:moveTo>
                  <a:lnTo>
                    <a:pt x="48" y="90"/>
                  </a:lnTo>
                  <a:lnTo>
                    <a:pt x="66" y="84"/>
                  </a:lnTo>
                  <a:lnTo>
                    <a:pt x="90" y="60"/>
                  </a:lnTo>
                  <a:lnTo>
                    <a:pt x="102" y="36"/>
                  </a:lnTo>
                  <a:lnTo>
                    <a:pt x="78" y="18"/>
                  </a:lnTo>
                  <a:lnTo>
                    <a:pt x="30" y="0"/>
                  </a:lnTo>
                  <a:lnTo>
                    <a:pt x="24" y="12"/>
                  </a:lnTo>
                  <a:lnTo>
                    <a:pt x="0" y="66"/>
                  </a:lnTo>
                  <a:lnTo>
                    <a:pt x="12" y="90"/>
                  </a:lnTo>
                  <a:lnTo>
                    <a:pt x="0" y="96"/>
                  </a:lnTo>
                  <a:lnTo>
                    <a:pt x="6" y="108"/>
                  </a:lnTo>
                  <a:lnTo>
                    <a:pt x="24" y="114"/>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45" name="Freeform 422"/>
            <p:cNvSpPr>
              <a:spLocks/>
            </p:cNvSpPr>
            <p:nvPr/>
          </p:nvSpPr>
          <p:spPr bwMode="auto">
            <a:xfrm>
              <a:off x="3926575" y="3726197"/>
              <a:ext cx="145032" cy="68560"/>
            </a:xfrm>
            <a:custGeom>
              <a:avLst/>
              <a:gdLst>
                <a:gd name="T0" fmla="*/ 150812 w 19"/>
                <a:gd name="T1" fmla="*/ 23283 h 9"/>
                <a:gd name="T2" fmla="*/ 63500 w 19"/>
                <a:gd name="T3" fmla="*/ 7761 h 9"/>
                <a:gd name="T4" fmla="*/ 39687 w 19"/>
                <a:gd name="T5" fmla="*/ 0 h 9"/>
                <a:gd name="T6" fmla="*/ 7937 w 19"/>
                <a:gd name="T7" fmla="*/ 23283 h 9"/>
                <a:gd name="T8" fmla="*/ 0 w 19"/>
                <a:gd name="T9" fmla="*/ 46567 h 9"/>
                <a:gd name="T10" fmla="*/ 0 w 19"/>
                <a:gd name="T11" fmla="*/ 46567 h 9"/>
                <a:gd name="T12" fmla="*/ 39687 w 19"/>
                <a:gd name="T13" fmla="*/ 69850 h 9"/>
                <a:gd name="T14" fmla="*/ 95250 w 19"/>
                <a:gd name="T15" fmla="*/ 46567 h 9"/>
                <a:gd name="T16" fmla="*/ 150812 w 19"/>
                <a:gd name="T17" fmla="*/ 23283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9"/>
                <a:gd name="T29" fmla="*/ 19 w 19"/>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9">
                  <a:moveTo>
                    <a:pt x="19" y="3"/>
                  </a:moveTo>
                  <a:cubicBezTo>
                    <a:pt x="19" y="3"/>
                    <a:pt x="10" y="1"/>
                    <a:pt x="8" y="1"/>
                  </a:cubicBezTo>
                  <a:cubicBezTo>
                    <a:pt x="7" y="1"/>
                    <a:pt x="6" y="0"/>
                    <a:pt x="5" y="0"/>
                  </a:cubicBezTo>
                  <a:cubicBezTo>
                    <a:pt x="1" y="3"/>
                    <a:pt x="1" y="3"/>
                    <a:pt x="1" y="3"/>
                  </a:cubicBezTo>
                  <a:cubicBezTo>
                    <a:pt x="0" y="6"/>
                    <a:pt x="0" y="6"/>
                    <a:pt x="0" y="6"/>
                  </a:cubicBezTo>
                  <a:cubicBezTo>
                    <a:pt x="0" y="6"/>
                    <a:pt x="0" y="6"/>
                    <a:pt x="0" y="6"/>
                  </a:cubicBezTo>
                  <a:cubicBezTo>
                    <a:pt x="5" y="9"/>
                    <a:pt x="5" y="9"/>
                    <a:pt x="5" y="9"/>
                  </a:cubicBezTo>
                  <a:cubicBezTo>
                    <a:pt x="12" y="6"/>
                    <a:pt x="12" y="6"/>
                    <a:pt x="12" y="6"/>
                  </a:cubicBezTo>
                  <a:lnTo>
                    <a:pt x="19" y="3"/>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46" name="Freeform 423"/>
            <p:cNvSpPr>
              <a:spLocks/>
            </p:cNvSpPr>
            <p:nvPr/>
          </p:nvSpPr>
          <p:spPr bwMode="auto">
            <a:xfrm>
              <a:off x="3850246" y="3685697"/>
              <a:ext cx="114498" cy="96607"/>
            </a:xfrm>
            <a:custGeom>
              <a:avLst/>
              <a:gdLst>
                <a:gd name="T0" fmla="*/ 119062 w 15"/>
                <a:gd name="T1" fmla="*/ 41010 h 12"/>
                <a:gd name="T2" fmla="*/ 87312 w 15"/>
                <a:gd name="T3" fmla="*/ 32808 h 12"/>
                <a:gd name="T4" fmla="*/ 87312 w 15"/>
                <a:gd name="T5" fmla="*/ 0 h 12"/>
                <a:gd name="T6" fmla="*/ 47625 w 15"/>
                <a:gd name="T7" fmla="*/ 0 h 12"/>
                <a:gd name="T8" fmla="*/ 31750 w 15"/>
                <a:gd name="T9" fmla="*/ 8202 h 12"/>
                <a:gd name="T10" fmla="*/ 47625 w 15"/>
                <a:gd name="T11" fmla="*/ 41010 h 12"/>
                <a:gd name="T12" fmla="*/ 23812 w 15"/>
                <a:gd name="T13" fmla="*/ 41010 h 12"/>
                <a:gd name="T14" fmla="*/ 7937 w 15"/>
                <a:gd name="T15" fmla="*/ 65617 h 12"/>
                <a:gd name="T16" fmla="*/ 0 w 15"/>
                <a:gd name="T17" fmla="*/ 82021 h 12"/>
                <a:gd name="T18" fmla="*/ 7937 w 15"/>
                <a:gd name="T19" fmla="*/ 90223 h 12"/>
                <a:gd name="T20" fmla="*/ 55562 w 15"/>
                <a:gd name="T21" fmla="*/ 98425 h 12"/>
                <a:gd name="T22" fmla="*/ 79375 w 15"/>
                <a:gd name="T23" fmla="*/ 90223 h 12"/>
                <a:gd name="T24" fmla="*/ 87312 w 15"/>
                <a:gd name="T25" fmla="*/ 65617 h 12"/>
                <a:gd name="T26" fmla="*/ 119062 w 15"/>
                <a:gd name="T27" fmla="*/ 41010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12"/>
                <a:gd name="T44" fmla="*/ 15 w 15"/>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12">
                  <a:moveTo>
                    <a:pt x="15" y="5"/>
                  </a:moveTo>
                  <a:cubicBezTo>
                    <a:pt x="13" y="5"/>
                    <a:pt x="11" y="4"/>
                    <a:pt x="11" y="4"/>
                  </a:cubicBezTo>
                  <a:cubicBezTo>
                    <a:pt x="11" y="0"/>
                    <a:pt x="11" y="0"/>
                    <a:pt x="11" y="0"/>
                  </a:cubicBezTo>
                  <a:cubicBezTo>
                    <a:pt x="6" y="0"/>
                    <a:pt x="6" y="0"/>
                    <a:pt x="6" y="0"/>
                  </a:cubicBezTo>
                  <a:cubicBezTo>
                    <a:pt x="4" y="1"/>
                    <a:pt x="4" y="1"/>
                    <a:pt x="4" y="1"/>
                  </a:cubicBezTo>
                  <a:cubicBezTo>
                    <a:pt x="6" y="5"/>
                    <a:pt x="6" y="5"/>
                    <a:pt x="6" y="5"/>
                  </a:cubicBezTo>
                  <a:cubicBezTo>
                    <a:pt x="3" y="5"/>
                    <a:pt x="3" y="5"/>
                    <a:pt x="3" y="5"/>
                  </a:cubicBezTo>
                  <a:cubicBezTo>
                    <a:pt x="1" y="8"/>
                    <a:pt x="1" y="8"/>
                    <a:pt x="1" y="8"/>
                  </a:cubicBezTo>
                  <a:cubicBezTo>
                    <a:pt x="0" y="10"/>
                    <a:pt x="0" y="10"/>
                    <a:pt x="0" y="10"/>
                  </a:cubicBezTo>
                  <a:cubicBezTo>
                    <a:pt x="1" y="11"/>
                    <a:pt x="1" y="11"/>
                    <a:pt x="1" y="11"/>
                  </a:cubicBezTo>
                  <a:cubicBezTo>
                    <a:pt x="7" y="12"/>
                    <a:pt x="7" y="12"/>
                    <a:pt x="7" y="12"/>
                  </a:cubicBezTo>
                  <a:cubicBezTo>
                    <a:pt x="10" y="11"/>
                    <a:pt x="10" y="11"/>
                    <a:pt x="10" y="11"/>
                  </a:cubicBezTo>
                  <a:cubicBezTo>
                    <a:pt x="11" y="8"/>
                    <a:pt x="11" y="8"/>
                    <a:pt x="11" y="8"/>
                  </a:cubicBezTo>
                  <a:lnTo>
                    <a:pt x="15" y="5"/>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47" name="Freeform 424"/>
            <p:cNvSpPr>
              <a:spLocks/>
            </p:cNvSpPr>
            <p:nvPr/>
          </p:nvSpPr>
          <p:spPr bwMode="auto">
            <a:xfrm>
              <a:off x="3264011" y="3280560"/>
              <a:ext cx="725160" cy="484592"/>
            </a:xfrm>
            <a:custGeom>
              <a:avLst/>
              <a:gdLst>
                <a:gd name="T0" fmla="*/ 636240 w 576"/>
                <a:gd name="T1" fmla="*/ 453330 h 379"/>
                <a:gd name="T2" fmla="*/ 659804 w 576"/>
                <a:gd name="T3" fmla="*/ 453330 h 379"/>
                <a:gd name="T4" fmla="*/ 644095 w 576"/>
                <a:gd name="T5" fmla="*/ 422066 h 379"/>
                <a:gd name="T6" fmla="*/ 659804 w 576"/>
                <a:gd name="T7" fmla="*/ 414250 h 379"/>
                <a:gd name="T8" fmla="*/ 699078 w 576"/>
                <a:gd name="T9" fmla="*/ 414250 h 379"/>
                <a:gd name="T10" fmla="*/ 691224 w 576"/>
                <a:gd name="T11" fmla="*/ 406434 h 379"/>
                <a:gd name="T12" fmla="*/ 714788 w 576"/>
                <a:gd name="T13" fmla="*/ 390802 h 379"/>
                <a:gd name="T14" fmla="*/ 738352 w 576"/>
                <a:gd name="T15" fmla="*/ 375170 h 379"/>
                <a:gd name="T16" fmla="*/ 754062 w 576"/>
                <a:gd name="T17" fmla="*/ 312641 h 379"/>
                <a:gd name="T18" fmla="*/ 659804 w 576"/>
                <a:gd name="T19" fmla="*/ 328274 h 379"/>
                <a:gd name="T20" fmla="*/ 620530 w 576"/>
                <a:gd name="T21" fmla="*/ 382986 h 379"/>
                <a:gd name="T22" fmla="*/ 557692 w 576"/>
                <a:gd name="T23" fmla="*/ 390802 h 379"/>
                <a:gd name="T24" fmla="*/ 494853 w 576"/>
                <a:gd name="T25" fmla="*/ 312641 h 379"/>
                <a:gd name="T26" fmla="*/ 486998 w 576"/>
                <a:gd name="T27" fmla="*/ 211033 h 379"/>
                <a:gd name="T28" fmla="*/ 502708 w 576"/>
                <a:gd name="T29" fmla="*/ 187585 h 379"/>
                <a:gd name="T30" fmla="*/ 463434 w 576"/>
                <a:gd name="T31" fmla="*/ 179769 h 379"/>
                <a:gd name="T32" fmla="*/ 432015 w 576"/>
                <a:gd name="T33" fmla="*/ 148505 h 379"/>
                <a:gd name="T34" fmla="*/ 408450 w 576"/>
                <a:gd name="T35" fmla="*/ 109425 h 379"/>
                <a:gd name="T36" fmla="*/ 377031 w 576"/>
                <a:gd name="T37" fmla="*/ 85976 h 379"/>
                <a:gd name="T38" fmla="*/ 329902 w 576"/>
                <a:gd name="T39" fmla="*/ 101608 h 379"/>
                <a:gd name="T40" fmla="*/ 267064 w 576"/>
                <a:gd name="T41" fmla="*/ 31264 h 379"/>
                <a:gd name="T42" fmla="*/ 227790 w 576"/>
                <a:gd name="T43" fmla="*/ 23448 h 379"/>
                <a:gd name="T44" fmla="*/ 204225 w 576"/>
                <a:gd name="T45" fmla="*/ 39080 h 379"/>
                <a:gd name="T46" fmla="*/ 141387 w 576"/>
                <a:gd name="T47" fmla="*/ 39080 h 379"/>
                <a:gd name="T48" fmla="*/ 62838 w 576"/>
                <a:gd name="T49" fmla="*/ 0 h 379"/>
                <a:gd name="T50" fmla="*/ 0 w 576"/>
                <a:gd name="T51" fmla="*/ 7816 h 379"/>
                <a:gd name="T52" fmla="*/ 47129 w 576"/>
                <a:gd name="T53" fmla="*/ 93792 h 379"/>
                <a:gd name="T54" fmla="*/ 78548 w 576"/>
                <a:gd name="T55" fmla="*/ 140689 h 379"/>
                <a:gd name="T56" fmla="*/ 70693 w 576"/>
                <a:gd name="T57" fmla="*/ 156321 h 379"/>
                <a:gd name="T58" fmla="*/ 125677 w 576"/>
                <a:gd name="T59" fmla="*/ 195401 h 379"/>
                <a:gd name="T60" fmla="*/ 133532 w 576"/>
                <a:gd name="T61" fmla="*/ 234481 h 379"/>
                <a:gd name="T62" fmla="*/ 157096 w 576"/>
                <a:gd name="T63" fmla="*/ 250113 h 379"/>
                <a:gd name="T64" fmla="*/ 188516 w 576"/>
                <a:gd name="T65" fmla="*/ 281377 h 379"/>
                <a:gd name="T66" fmla="*/ 196370 w 576"/>
                <a:gd name="T67" fmla="*/ 257929 h 379"/>
                <a:gd name="T68" fmla="*/ 164951 w 576"/>
                <a:gd name="T69" fmla="*/ 234481 h 379"/>
                <a:gd name="T70" fmla="*/ 133532 w 576"/>
                <a:gd name="T71" fmla="*/ 164137 h 379"/>
                <a:gd name="T72" fmla="*/ 78548 w 576"/>
                <a:gd name="T73" fmla="*/ 85976 h 379"/>
                <a:gd name="T74" fmla="*/ 62838 w 576"/>
                <a:gd name="T75" fmla="*/ 39080 h 379"/>
                <a:gd name="T76" fmla="*/ 102113 w 576"/>
                <a:gd name="T77" fmla="*/ 54712 h 379"/>
                <a:gd name="T78" fmla="*/ 141387 w 576"/>
                <a:gd name="T79" fmla="*/ 132873 h 379"/>
                <a:gd name="T80" fmla="*/ 157096 w 576"/>
                <a:gd name="T81" fmla="*/ 156321 h 379"/>
                <a:gd name="T82" fmla="*/ 196370 w 576"/>
                <a:gd name="T83" fmla="*/ 179769 h 379"/>
                <a:gd name="T84" fmla="*/ 196370 w 576"/>
                <a:gd name="T85" fmla="*/ 203217 h 379"/>
                <a:gd name="T86" fmla="*/ 227790 w 576"/>
                <a:gd name="T87" fmla="*/ 218849 h 379"/>
                <a:gd name="T88" fmla="*/ 243499 w 576"/>
                <a:gd name="T89" fmla="*/ 242297 h 379"/>
                <a:gd name="T90" fmla="*/ 282773 w 576"/>
                <a:gd name="T91" fmla="*/ 281377 h 379"/>
                <a:gd name="T92" fmla="*/ 290628 w 576"/>
                <a:gd name="T93" fmla="*/ 336090 h 379"/>
                <a:gd name="T94" fmla="*/ 290628 w 576"/>
                <a:gd name="T95" fmla="*/ 359538 h 379"/>
                <a:gd name="T96" fmla="*/ 392741 w 576"/>
                <a:gd name="T97" fmla="*/ 422066 h 379"/>
                <a:gd name="T98" fmla="*/ 439869 w 576"/>
                <a:gd name="T99" fmla="*/ 445514 h 379"/>
                <a:gd name="T100" fmla="*/ 526272 w 576"/>
                <a:gd name="T101" fmla="*/ 468962 h 379"/>
                <a:gd name="T102" fmla="*/ 549837 w 576"/>
                <a:gd name="T103" fmla="*/ 461146 h 379"/>
                <a:gd name="T104" fmla="*/ 573401 w 576"/>
                <a:gd name="T105" fmla="*/ 461146 h 379"/>
                <a:gd name="T106" fmla="*/ 612675 w 576"/>
                <a:gd name="T107" fmla="*/ 493713 h 379"/>
                <a:gd name="T108" fmla="*/ 620530 w 576"/>
                <a:gd name="T109" fmla="*/ 476778 h 379"/>
                <a:gd name="T110" fmla="*/ 636240 w 576"/>
                <a:gd name="T111" fmla="*/ 453330 h 37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76"/>
                <a:gd name="T169" fmla="*/ 0 h 379"/>
                <a:gd name="T170" fmla="*/ 576 w 576"/>
                <a:gd name="T171" fmla="*/ 379 h 37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76" h="379">
                  <a:moveTo>
                    <a:pt x="486" y="348"/>
                  </a:moveTo>
                  <a:lnTo>
                    <a:pt x="504" y="348"/>
                  </a:lnTo>
                  <a:lnTo>
                    <a:pt x="492" y="324"/>
                  </a:lnTo>
                  <a:lnTo>
                    <a:pt x="504" y="318"/>
                  </a:lnTo>
                  <a:lnTo>
                    <a:pt x="534" y="318"/>
                  </a:lnTo>
                  <a:lnTo>
                    <a:pt x="528" y="312"/>
                  </a:lnTo>
                  <a:lnTo>
                    <a:pt x="546" y="300"/>
                  </a:lnTo>
                  <a:lnTo>
                    <a:pt x="564" y="288"/>
                  </a:lnTo>
                  <a:lnTo>
                    <a:pt x="576" y="240"/>
                  </a:lnTo>
                  <a:lnTo>
                    <a:pt x="504" y="252"/>
                  </a:lnTo>
                  <a:lnTo>
                    <a:pt x="474" y="294"/>
                  </a:lnTo>
                  <a:lnTo>
                    <a:pt x="426" y="300"/>
                  </a:lnTo>
                  <a:lnTo>
                    <a:pt x="378" y="240"/>
                  </a:lnTo>
                  <a:lnTo>
                    <a:pt x="372" y="162"/>
                  </a:lnTo>
                  <a:lnTo>
                    <a:pt x="384" y="144"/>
                  </a:lnTo>
                  <a:lnTo>
                    <a:pt x="354" y="138"/>
                  </a:lnTo>
                  <a:lnTo>
                    <a:pt x="330" y="114"/>
                  </a:lnTo>
                  <a:lnTo>
                    <a:pt x="312" y="84"/>
                  </a:lnTo>
                  <a:lnTo>
                    <a:pt x="288" y="66"/>
                  </a:lnTo>
                  <a:lnTo>
                    <a:pt x="252" y="78"/>
                  </a:lnTo>
                  <a:lnTo>
                    <a:pt x="204" y="24"/>
                  </a:lnTo>
                  <a:lnTo>
                    <a:pt x="174" y="18"/>
                  </a:lnTo>
                  <a:lnTo>
                    <a:pt x="156" y="30"/>
                  </a:lnTo>
                  <a:lnTo>
                    <a:pt x="108" y="30"/>
                  </a:lnTo>
                  <a:lnTo>
                    <a:pt x="48" y="0"/>
                  </a:lnTo>
                  <a:lnTo>
                    <a:pt x="0" y="6"/>
                  </a:lnTo>
                  <a:lnTo>
                    <a:pt x="36" y="72"/>
                  </a:lnTo>
                  <a:lnTo>
                    <a:pt x="60" y="108"/>
                  </a:lnTo>
                  <a:lnTo>
                    <a:pt x="54" y="120"/>
                  </a:lnTo>
                  <a:lnTo>
                    <a:pt x="96" y="150"/>
                  </a:lnTo>
                  <a:lnTo>
                    <a:pt x="102" y="180"/>
                  </a:lnTo>
                  <a:lnTo>
                    <a:pt x="120" y="192"/>
                  </a:lnTo>
                  <a:lnTo>
                    <a:pt x="144" y="216"/>
                  </a:lnTo>
                  <a:lnTo>
                    <a:pt x="150" y="198"/>
                  </a:lnTo>
                  <a:lnTo>
                    <a:pt x="126" y="180"/>
                  </a:lnTo>
                  <a:lnTo>
                    <a:pt x="102" y="126"/>
                  </a:lnTo>
                  <a:lnTo>
                    <a:pt x="60" y="66"/>
                  </a:lnTo>
                  <a:lnTo>
                    <a:pt x="48" y="30"/>
                  </a:lnTo>
                  <a:lnTo>
                    <a:pt x="78" y="42"/>
                  </a:lnTo>
                  <a:lnTo>
                    <a:pt x="108" y="102"/>
                  </a:lnTo>
                  <a:lnTo>
                    <a:pt x="120" y="120"/>
                  </a:lnTo>
                  <a:lnTo>
                    <a:pt x="150" y="138"/>
                  </a:lnTo>
                  <a:lnTo>
                    <a:pt x="150" y="156"/>
                  </a:lnTo>
                  <a:lnTo>
                    <a:pt x="174" y="168"/>
                  </a:lnTo>
                  <a:lnTo>
                    <a:pt x="186" y="186"/>
                  </a:lnTo>
                  <a:lnTo>
                    <a:pt x="216" y="216"/>
                  </a:lnTo>
                  <a:lnTo>
                    <a:pt x="222" y="258"/>
                  </a:lnTo>
                  <a:lnTo>
                    <a:pt x="222" y="276"/>
                  </a:lnTo>
                  <a:lnTo>
                    <a:pt x="300" y="324"/>
                  </a:lnTo>
                  <a:lnTo>
                    <a:pt x="336" y="342"/>
                  </a:lnTo>
                  <a:lnTo>
                    <a:pt x="402" y="360"/>
                  </a:lnTo>
                  <a:lnTo>
                    <a:pt x="420" y="354"/>
                  </a:lnTo>
                  <a:lnTo>
                    <a:pt x="438" y="354"/>
                  </a:lnTo>
                  <a:lnTo>
                    <a:pt x="468" y="379"/>
                  </a:lnTo>
                  <a:lnTo>
                    <a:pt x="474" y="366"/>
                  </a:lnTo>
                  <a:lnTo>
                    <a:pt x="486" y="348"/>
                  </a:lnTo>
                  <a:close/>
                </a:path>
              </a:pathLst>
            </a:custGeom>
            <a:solidFill>
              <a:srgbClr val="ED7E13"/>
            </a:solidFill>
            <a:ln w="9525">
              <a:solidFill>
                <a:sysClr val="window" lastClr="FFFFFF">
                  <a:lumMod val="85000"/>
                </a:sys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48" name="Freeform 425"/>
            <p:cNvSpPr>
              <a:spLocks/>
            </p:cNvSpPr>
            <p:nvPr/>
          </p:nvSpPr>
          <p:spPr bwMode="auto">
            <a:xfrm rot="20747712">
              <a:off x="4450256" y="1339080"/>
              <a:ext cx="781647" cy="880369"/>
            </a:xfrm>
            <a:custGeom>
              <a:avLst/>
              <a:gdLst>
                <a:gd name="T0" fmla="*/ 551981 w 1125"/>
                <a:gd name="T1" fmla="*/ 20156 h 2047"/>
                <a:gd name="T2" fmla="*/ 505742 w 1125"/>
                <a:gd name="T3" fmla="*/ 5696 h 2047"/>
                <a:gd name="T4" fmla="*/ 470340 w 1125"/>
                <a:gd name="T5" fmla="*/ 876 h 2047"/>
                <a:gd name="T6" fmla="*/ 358354 w 1125"/>
                <a:gd name="T7" fmla="*/ 22785 h 2047"/>
                <a:gd name="T8" fmla="*/ 326565 w 1125"/>
                <a:gd name="T9" fmla="*/ 48199 h 2047"/>
                <a:gd name="T10" fmla="*/ 241311 w 1125"/>
                <a:gd name="T11" fmla="*/ 49075 h 2047"/>
                <a:gd name="T12" fmla="*/ 174120 w 1125"/>
                <a:gd name="T13" fmla="*/ 79747 h 2047"/>
                <a:gd name="T14" fmla="*/ 115598 w 1125"/>
                <a:gd name="T15" fmla="*/ 126632 h 2047"/>
                <a:gd name="T16" fmla="*/ 31790 w 1125"/>
                <a:gd name="T17" fmla="*/ 139777 h 2047"/>
                <a:gd name="T18" fmla="*/ 12282 w 1125"/>
                <a:gd name="T19" fmla="*/ 176145 h 2047"/>
                <a:gd name="T20" fmla="*/ 1445 w 1125"/>
                <a:gd name="T21" fmla="*/ 211199 h 2047"/>
                <a:gd name="T22" fmla="*/ 42627 w 1125"/>
                <a:gd name="T23" fmla="*/ 248882 h 2047"/>
                <a:gd name="T24" fmla="*/ 122101 w 1125"/>
                <a:gd name="T25" fmla="*/ 272105 h 2047"/>
                <a:gd name="T26" fmla="*/ 146665 w 1125"/>
                <a:gd name="T27" fmla="*/ 343965 h 2047"/>
                <a:gd name="T28" fmla="*/ 130770 w 1125"/>
                <a:gd name="T29" fmla="*/ 432038 h 2047"/>
                <a:gd name="T30" fmla="*/ 157503 w 1125"/>
                <a:gd name="T31" fmla="*/ 456575 h 2047"/>
                <a:gd name="T32" fmla="*/ 132215 w 1125"/>
                <a:gd name="T33" fmla="*/ 471035 h 2047"/>
                <a:gd name="T34" fmla="*/ 148833 w 1125"/>
                <a:gd name="T35" fmla="*/ 486809 h 2047"/>
                <a:gd name="T36" fmla="*/ 111263 w 1125"/>
                <a:gd name="T37" fmla="*/ 497325 h 2047"/>
                <a:gd name="T38" fmla="*/ 158225 w 1125"/>
                <a:gd name="T39" fmla="*/ 526245 h 2047"/>
                <a:gd name="T40" fmla="*/ 186402 w 1125"/>
                <a:gd name="T41" fmla="*/ 507403 h 2047"/>
                <a:gd name="T42" fmla="*/ 182067 w 1125"/>
                <a:gd name="T43" fmla="*/ 552535 h 2047"/>
                <a:gd name="T44" fmla="*/ 132938 w 1125"/>
                <a:gd name="T45" fmla="*/ 570500 h 2047"/>
                <a:gd name="T46" fmla="*/ 102593 w 1125"/>
                <a:gd name="T47" fmla="*/ 649809 h 2047"/>
                <a:gd name="T48" fmla="*/ 130048 w 1125"/>
                <a:gd name="T49" fmla="*/ 703704 h 2047"/>
                <a:gd name="T50" fmla="*/ 144498 w 1125"/>
                <a:gd name="T51" fmla="*/ 768554 h 2047"/>
                <a:gd name="T52" fmla="*/ 195072 w 1125"/>
                <a:gd name="T53" fmla="*/ 831212 h 2047"/>
                <a:gd name="T54" fmla="*/ 267321 w 1125"/>
                <a:gd name="T55" fmla="*/ 858379 h 2047"/>
                <a:gd name="T56" fmla="*/ 289718 w 1125"/>
                <a:gd name="T57" fmla="*/ 885984 h 2047"/>
                <a:gd name="T58" fmla="*/ 332345 w 1125"/>
                <a:gd name="T59" fmla="*/ 896938 h 2047"/>
                <a:gd name="T60" fmla="*/ 369914 w 1125"/>
                <a:gd name="T61" fmla="*/ 875468 h 2047"/>
                <a:gd name="T62" fmla="*/ 389422 w 1125"/>
                <a:gd name="T63" fmla="*/ 828583 h 2047"/>
                <a:gd name="T64" fmla="*/ 411819 w 1125"/>
                <a:gd name="T65" fmla="*/ 779508 h 2047"/>
                <a:gd name="T66" fmla="*/ 449388 w 1125"/>
                <a:gd name="T67" fmla="*/ 713782 h 2047"/>
                <a:gd name="T68" fmla="*/ 518747 w 1125"/>
                <a:gd name="T69" fmla="*/ 667774 h 2047"/>
                <a:gd name="T70" fmla="*/ 600388 w 1125"/>
                <a:gd name="T71" fmla="*/ 629215 h 2047"/>
                <a:gd name="T72" fmla="*/ 645182 w 1125"/>
                <a:gd name="T73" fmla="*/ 576634 h 2047"/>
                <a:gd name="T74" fmla="*/ 703704 w 1125"/>
                <a:gd name="T75" fmla="*/ 554288 h 2047"/>
                <a:gd name="T76" fmla="*/ 788958 w 1125"/>
                <a:gd name="T77" fmla="*/ 507403 h 2047"/>
                <a:gd name="T78" fmla="*/ 786068 w 1125"/>
                <a:gd name="T79" fmla="*/ 473226 h 2047"/>
                <a:gd name="T80" fmla="*/ 710206 w 1125"/>
                <a:gd name="T81" fmla="*/ 482866 h 2047"/>
                <a:gd name="T82" fmla="*/ 692144 w 1125"/>
                <a:gd name="T83" fmla="*/ 454823 h 2047"/>
                <a:gd name="T84" fmla="*/ 764393 w 1125"/>
                <a:gd name="T85" fmla="*/ 450441 h 2047"/>
                <a:gd name="T86" fmla="*/ 811355 w 1125"/>
                <a:gd name="T87" fmla="*/ 446497 h 2047"/>
                <a:gd name="T88" fmla="*/ 783900 w 1125"/>
                <a:gd name="T89" fmla="*/ 410567 h 2047"/>
                <a:gd name="T90" fmla="*/ 724656 w 1125"/>
                <a:gd name="T91" fmla="*/ 397860 h 2047"/>
                <a:gd name="T92" fmla="*/ 752833 w 1125"/>
                <a:gd name="T93" fmla="*/ 392602 h 2047"/>
                <a:gd name="T94" fmla="*/ 737661 w 1125"/>
                <a:gd name="T95" fmla="*/ 367188 h 2047"/>
                <a:gd name="T96" fmla="*/ 753556 w 1125"/>
                <a:gd name="T97" fmla="*/ 350976 h 2047"/>
                <a:gd name="T98" fmla="*/ 767283 w 1125"/>
                <a:gd name="T99" fmla="*/ 317675 h 2047"/>
                <a:gd name="T100" fmla="*/ 768728 w 1125"/>
                <a:gd name="T101" fmla="*/ 290508 h 2047"/>
                <a:gd name="T102" fmla="*/ 760058 w 1125"/>
                <a:gd name="T103" fmla="*/ 267285 h 2047"/>
                <a:gd name="T104" fmla="*/ 703704 w 1125"/>
                <a:gd name="T105" fmla="*/ 234422 h 2047"/>
                <a:gd name="T106" fmla="*/ 726824 w 1125"/>
                <a:gd name="T107" fmla="*/ 205064 h 2047"/>
                <a:gd name="T108" fmla="*/ 692144 w 1125"/>
                <a:gd name="T109" fmla="*/ 191043 h 2047"/>
                <a:gd name="T110" fmla="*/ 658910 w 1125"/>
                <a:gd name="T111" fmla="*/ 143720 h 2047"/>
                <a:gd name="T112" fmla="*/ 667580 w 1125"/>
                <a:gd name="T113" fmla="*/ 63973 h 2047"/>
                <a:gd name="T114" fmla="*/ 662522 w 1125"/>
                <a:gd name="T115" fmla="*/ 26290 h 2047"/>
                <a:gd name="T116" fmla="*/ 623508 w 1125"/>
                <a:gd name="T117" fmla="*/ 36806 h 2047"/>
                <a:gd name="T118" fmla="*/ 593163 w 1125"/>
                <a:gd name="T119" fmla="*/ 62659 h 2047"/>
                <a:gd name="T120" fmla="*/ 574379 w 1125"/>
                <a:gd name="T121" fmla="*/ 48199 h 2047"/>
                <a:gd name="T122" fmla="*/ 541867 w 1125"/>
                <a:gd name="T123" fmla="*/ 66164 h 2047"/>
                <a:gd name="T124" fmla="*/ 518747 w 1125"/>
                <a:gd name="T125" fmla="*/ 46008 h 20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25"/>
                <a:gd name="T190" fmla="*/ 0 h 2047"/>
                <a:gd name="T191" fmla="*/ 1125 w 1125"/>
                <a:gd name="T192" fmla="*/ 2047 h 204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25" h="2047">
                  <a:moveTo>
                    <a:pt x="718" y="105"/>
                  </a:moveTo>
                  <a:lnTo>
                    <a:pt x="722" y="102"/>
                  </a:lnTo>
                  <a:lnTo>
                    <a:pt x="730" y="95"/>
                  </a:lnTo>
                  <a:lnTo>
                    <a:pt x="740" y="83"/>
                  </a:lnTo>
                  <a:lnTo>
                    <a:pt x="751" y="70"/>
                  </a:lnTo>
                  <a:lnTo>
                    <a:pt x="760" y="58"/>
                  </a:lnTo>
                  <a:lnTo>
                    <a:pt x="764" y="46"/>
                  </a:lnTo>
                  <a:lnTo>
                    <a:pt x="761" y="37"/>
                  </a:lnTo>
                  <a:lnTo>
                    <a:pt x="748" y="32"/>
                  </a:lnTo>
                  <a:lnTo>
                    <a:pt x="735" y="30"/>
                  </a:lnTo>
                  <a:lnTo>
                    <a:pt x="725" y="27"/>
                  </a:lnTo>
                  <a:lnTo>
                    <a:pt x="716" y="22"/>
                  </a:lnTo>
                  <a:lnTo>
                    <a:pt x="708" y="17"/>
                  </a:lnTo>
                  <a:lnTo>
                    <a:pt x="700" y="13"/>
                  </a:lnTo>
                  <a:lnTo>
                    <a:pt x="693" y="8"/>
                  </a:lnTo>
                  <a:lnTo>
                    <a:pt x="686" y="4"/>
                  </a:lnTo>
                  <a:lnTo>
                    <a:pt x="678" y="1"/>
                  </a:lnTo>
                  <a:lnTo>
                    <a:pt x="672" y="0"/>
                  </a:lnTo>
                  <a:lnTo>
                    <a:pt x="665" y="0"/>
                  </a:lnTo>
                  <a:lnTo>
                    <a:pt x="658" y="0"/>
                  </a:lnTo>
                  <a:lnTo>
                    <a:pt x="651" y="2"/>
                  </a:lnTo>
                  <a:lnTo>
                    <a:pt x="633" y="7"/>
                  </a:lnTo>
                  <a:lnTo>
                    <a:pt x="610" y="13"/>
                  </a:lnTo>
                  <a:lnTo>
                    <a:pt x="583" y="19"/>
                  </a:lnTo>
                  <a:lnTo>
                    <a:pt x="558" y="25"/>
                  </a:lnTo>
                  <a:lnTo>
                    <a:pt x="534" y="34"/>
                  </a:lnTo>
                  <a:lnTo>
                    <a:pt x="512" y="42"/>
                  </a:lnTo>
                  <a:lnTo>
                    <a:pt x="496" y="52"/>
                  </a:lnTo>
                  <a:lnTo>
                    <a:pt x="487" y="62"/>
                  </a:lnTo>
                  <a:lnTo>
                    <a:pt x="483" y="74"/>
                  </a:lnTo>
                  <a:lnTo>
                    <a:pt x="478" y="84"/>
                  </a:lnTo>
                  <a:lnTo>
                    <a:pt x="474" y="93"/>
                  </a:lnTo>
                  <a:lnTo>
                    <a:pt x="468" y="102"/>
                  </a:lnTo>
                  <a:lnTo>
                    <a:pt x="461" y="107"/>
                  </a:lnTo>
                  <a:lnTo>
                    <a:pt x="452" y="110"/>
                  </a:lnTo>
                  <a:lnTo>
                    <a:pt x="440" y="110"/>
                  </a:lnTo>
                  <a:lnTo>
                    <a:pt x="426" y="105"/>
                  </a:lnTo>
                  <a:lnTo>
                    <a:pt x="409" y="100"/>
                  </a:lnTo>
                  <a:lnTo>
                    <a:pt x="391" y="98"/>
                  </a:lnTo>
                  <a:lnTo>
                    <a:pt x="371" y="100"/>
                  </a:lnTo>
                  <a:lnTo>
                    <a:pt x="351" y="105"/>
                  </a:lnTo>
                  <a:lnTo>
                    <a:pt x="334" y="112"/>
                  </a:lnTo>
                  <a:lnTo>
                    <a:pt x="319" y="120"/>
                  </a:lnTo>
                  <a:lnTo>
                    <a:pt x="306" y="130"/>
                  </a:lnTo>
                  <a:lnTo>
                    <a:pt x="300" y="141"/>
                  </a:lnTo>
                  <a:lnTo>
                    <a:pt x="291" y="151"/>
                  </a:lnTo>
                  <a:lnTo>
                    <a:pt x="278" y="161"/>
                  </a:lnTo>
                  <a:lnTo>
                    <a:pt x="260" y="172"/>
                  </a:lnTo>
                  <a:lnTo>
                    <a:pt x="241" y="182"/>
                  </a:lnTo>
                  <a:lnTo>
                    <a:pt x="221" y="194"/>
                  </a:lnTo>
                  <a:lnTo>
                    <a:pt x="204" y="208"/>
                  </a:lnTo>
                  <a:lnTo>
                    <a:pt x="191" y="224"/>
                  </a:lnTo>
                  <a:lnTo>
                    <a:pt x="184" y="242"/>
                  </a:lnTo>
                  <a:lnTo>
                    <a:pt x="180" y="261"/>
                  </a:lnTo>
                  <a:lnTo>
                    <a:pt x="172" y="277"/>
                  </a:lnTo>
                  <a:lnTo>
                    <a:pt x="160" y="289"/>
                  </a:lnTo>
                  <a:lnTo>
                    <a:pt x="146" y="299"/>
                  </a:lnTo>
                  <a:lnTo>
                    <a:pt x="130" y="305"/>
                  </a:lnTo>
                  <a:lnTo>
                    <a:pt x="113" y="311"/>
                  </a:lnTo>
                  <a:lnTo>
                    <a:pt x="94" y="314"/>
                  </a:lnTo>
                  <a:lnTo>
                    <a:pt x="76" y="315"/>
                  </a:lnTo>
                  <a:lnTo>
                    <a:pt x="59" y="316"/>
                  </a:lnTo>
                  <a:lnTo>
                    <a:pt x="44" y="319"/>
                  </a:lnTo>
                  <a:lnTo>
                    <a:pt x="31" y="325"/>
                  </a:lnTo>
                  <a:lnTo>
                    <a:pt x="22" y="332"/>
                  </a:lnTo>
                  <a:lnTo>
                    <a:pt x="16" y="342"/>
                  </a:lnTo>
                  <a:lnTo>
                    <a:pt x="13" y="355"/>
                  </a:lnTo>
                  <a:lnTo>
                    <a:pt x="11" y="369"/>
                  </a:lnTo>
                  <a:lnTo>
                    <a:pt x="15" y="386"/>
                  </a:lnTo>
                  <a:lnTo>
                    <a:pt x="17" y="402"/>
                  </a:lnTo>
                  <a:lnTo>
                    <a:pt x="16" y="415"/>
                  </a:lnTo>
                  <a:lnTo>
                    <a:pt x="13" y="425"/>
                  </a:lnTo>
                  <a:lnTo>
                    <a:pt x="9" y="434"/>
                  </a:lnTo>
                  <a:lnTo>
                    <a:pt x="4" y="444"/>
                  </a:lnTo>
                  <a:lnTo>
                    <a:pt x="1" y="454"/>
                  </a:lnTo>
                  <a:lnTo>
                    <a:pt x="0" y="466"/>
                  </a:lnTo>
                  <a:lnTo>
                    <a:pt x="2" y="482"/>
                  </a:lnTo>
                  <a:lnTo>
                    <a:pt x="7" y="499"/>
                  </a:lnTo>
                  <a:lnTo>
                    <a:pt x="13" y="515"/>
                  </a:lnTo>
                  <a:lnTo>
                    <a:pt x="18" y="530"/>
                  </a:lnTo>
                  <a:lnTo>
                    <a:pt x="25" y="543"/>
                  </a:lnTo>
                  <a:lnTo>
                    <a:pt x="34" y="553"/>
                  </a:lnTo>
                  <a:lnTo>
                    <a:pt x="45" y="562"/>
                  </a:lnTo>
                  <a:lnTo>
                    <a:pt x="59" y="568"/>
                  </a:lnTo>
                  <a:lnTo>
                    <a:pt x="76" y="572"/>
                  </a:lnTo>
                  <a:lnTo>
                    <a:pt x="94" y="575"/>
                  </a:lnTo>
                  <a:lnTo>
                    <a:pt x="113" y="579"/>
                  </a:lnTo>
                  <a:lnTo>
                    <a:pt x="130" y="584"/>
                  </a:lnTo>
                  <a:lnTo>
                    <a:pt x="145" y="593"/>
                  </a:lnTo>
                  <a:lnTo>
                    <a:pt x="159" y="605"/>
                  </a:lnTo>
                  <a:lnTo>
                    <a:pt x="169" y="621"/>
                  </a:lnTo>
                  <a:lnTo>
                    <a:pt x="176" y="642"/>
                  </a:lnTo>
                  <a:lnTo>
                    <a:pt x="179" y="668"/>
                  </a:lnTo>
                  <a:lnTo>
                    <a:pt x="181" y="695"/>
                  </a:lnTo>
                  <a:lnTo>
                    <a:pt x="185" y="718"/>
                  </a:lnTo>
                  <a:lnTo>
                    <a:pt x="191" y="740"/>
                  </a:lnTo>
                  <a:lnTo>
                    <a:pt x="198" y="762"/>
                  </a:lnTo>
                  <a:lnTo>
                    <a:pt x="203" y="785"/>
                  </a:lnTo>
                  <a:lnTo>
                    <a:pt x="206" y="810"/>
                  </a:lnTo>
                  <a:lnTo>
                    <a:pt x="207" y="841"/>
                  </a:lnTo>
                  <a:lnTo>
                    <a:pt x="203" y="878"/>
                  </a:lnTo>
                  <a:lnTo>
                    <a:pt x="196" y="915"/>
                  </a:lnTo>
                  <a:lnTo>
                    <a:pt x="190" y="945"/>
                  </a:lnTo>
                  <a:lnTo>
                    <a:pt x="184" y="968"/>
                  </a:lnTo>
                  <a:lnTo>
                    <a:pt x="181" y="986"/>
                  </a:lnTo>
                  <a:lnTo>
                    <a:pt x="180" y="999"/>
                  </a:lnTo>
                  <a:lnTo>
                    <a:pt x="180" y="1009"/>
                  </a:lnTo>
                  <a:lnTo>
                    <a:pt x="184" y="1016"/>
                  </a:lnTo>
                  <a:lnTo>
                    <a:pt x="191" y="1022"/>
                  </a:lnTo>
                  <a:lnTo>
                    <a:pt x="200" y="1028"/>
                  </a:lnTo>
                  <a:lnTo>
                    <a:pt x="210" y="1034"/>
                  </a:lnTo>
                  <a:lnTo>
                    <a:pt x="218" y="1042"/>
                  </a:lnTo>
                  <a:lnTo>
                    <a:pt x="225" y="1050"/>
                  </a:lnTo>
                  <a:lnTo>
                    <a:pt x="227" y="1057"/>
                  </a:lnTo>
                  <a:lnTo>
                    <a:pt x="225" y="1062"/>
                  </a:lnTo>
                  <a:lnTo>
                    <a:pt x="217" y="1067"/>
                  </a:lnTo>
                  <a:lnTo>
                    <a:pt x="203" y="1068"/>
                  </a:lnTo>
                  <a:lnTo>
                    <a:pt x="189" y="1070"/>
                  </a:lnTo>
                  <a:lnTo>
                    <a:pt x="183" y="1075"/>
                  </a:lnTo>
                  <a:lnTo>
                    <a:pt x="183" y="1082"/>
                  </a:lnTo>
                  <a:lnTo>
                    <a:pt x="188" y="1089"/>
                  </a:lnTo>
                  <a:lnTo>
                    <a:pt x="194" y="1097"/>
                  </a:lnTo>
                  <a:lnTo>
                    <a:pt x="200" y="1104"/>
                  </a:lnTo>
                  <a:lnTo>
                    <a:pt x="206" y="1108"/>
                  </a:lnTo>
                  <a:lnTo>
                    <a:pt x="208" y="1111"/>
                  </a:lnTo>
                  <a:lnTo>
                    <a:pt x="206" y="1111"/>
                  </a:lnTo>
                  <a:lnTo>
                    <a:pt x="200" y="1110"/>
                  </a:lnTo>
                  <a:lnTo>
                    <a:pt x="191" y="1108"/>
                  </a:lnTo>
                  <a:lnTo>
                    <a:pt x="182" y="1108"/>
                  </a:lnTo>
                  <a:lnTo>
                    <a:pt x="172" y="1111"/>
                  </a:lnTo>
                  <a:lnTo>
                    <a:pt x="162" y="1115"/>
                  </a:lnTo>
                  <a:lnTo>
                    <a:pt x="157" y="1123"/>
                  </a:lnTo>
                  <a:lnTo>
                    <a:pt x="154" y="1135"/>
                  </a:lnTo>
                  <a:lnTo>
                    <a:pt x="157" y="1149"/>
                  </a:lnTo>
                  <a:lnTo>
                    <a:pt x="164" y="1163"/>
                  </a:lnTo>
                  <a:lnTo>
                    <a:pt x="173" y="1176"/>
                  </a:lnTo>
                  <a:lnTo>
                    <a:pt x="184" y="1187"/>
                  </a:lnTo>
                  <a:lnTo>
                    <a:pt x="196" y="1196"/>
                  </a:lnTo>
                  <a:lnTo>
                    <a:pt x="207" y="1201"/>
                  </a:lnTo>
                  <a:lnTo>
                    <a:pt x="219" y="1201"/>
                  </a:lnTo>
                  <a:lnTo>
                    <a:pt x="227" y="1195"/>
                  </a:lnTo>
                  <a:lnTo>
                    <a:pt x="234" y="1186"/>
                  </a:lnTo>
                  <a:lnTo>
                    <a:pt x="238" y="1178"/>
                  </a:lnTo>
                  <a:lnTo>
                    <a:pt x="244" y="1171"/>
                  </a:lnTo>
                  <a:lnTo>
                    <a:pt x="249" y="1165"/>
                  </a:lnTo>
                  <a:lnTo>
                    <a:pt x="252" y="1161"/>
                  </a:lnTo>
                  <a:lnTo>
                    <a:pt x="258" y="1158"/>
                  </a:lnTo>
                  <a:lnTo>
                    <a:pt x="263" y="1158"/>
                  </a:lnTo>
                  <a:lnTo>
                    <a:pt x="270" y="1159"/>
                  </a:lnTo>
                  <a:lnTo>
                    <a:pt x="278" y="1174"/>
                  </a:lnTo>
                  <a:lnTo>
                    <a:pt x="275" y="1202"/>
                  </a:lnTo>
                  <a:lnTo>
                    <a:pt x="267" y="1233"/>
                  </a:lnTo>
                  <a:lnTo>
                    <a:pt x="258" y="1255"/>
                  </a:lnTo>
                  <a:lnTo>
                    <a:pt x="252" y="1261"/>
                  </a:lnTo>
                  <a:lnTo>
                    <a:pt x="244" y="1265"/>
                  </a:lnTo>
                  <a:lnTo>
                    <a:pt x="234" y="1270"/>
                  </a:lnTo>
                  <a:lnTo>
                    <a:pt x="223" y="1273"/>
                  </a:lnTo>
                  <a:lnTo>
                    <a:pt x="212" y="1279"/>
                  </a:lnTo>
                  <a:lnTo>
                    <a:pt x="202" y="1285"/>
                  </a:lnTo>
                  <a:lnTo>
                    <a:pt x="192" y="1292"/>
                  </a:lnTo>
                  <a:lnTo>
                    <a:pt x="184" y="1302"/>
                  </a:lnTo>
                  <a:lnTo>
                    <a:pt x="177" y="1318"/>
                  </a:lnTo>
                  <a:lnTo>
                    <a:pt x="169" y="1340"/>
                  </a:lnTo>
                  <a:lnTo>
                    <a:pt x="161" y="1369"/>
                  </a:lnTo>
                  <a:lnTo>
                    <a:pt x="154" y="1399"/>
                  </a:lnTo>
                  <a:lnTo>
                    <a:pt x="149" y="1430"/>
                  </a:lnTo>
                  <a:lnTo>
                    <a:pt x="144" y="1459"/>
                  </a:lnTo>
                  <a:lnTo>
                    <a:pt x="142" y="1483"/>
                  </a:lnTo>
                  <a:lnTo>
                    <a:pt x="143" y="1500"/>
                  </a:lnTo>
                  <a:lnTo>
                    <a:pt x="146" y="1514"/>
                  </a:lnTo>
                  <a:lnTo>
                    <a:pt x="153" y="1530"/>
                  </a:lnTo>
                  <a:lnTo>
                    <a:pt x="160" y="1547"/>
                  </a:lnTo>
                  <a:lnTo>
                    <a:pt x="168" y="1566"/>
                  </a:lnTo>
                  <a:lnTo>
                    <a:pt x="174" y="1585"/>
                  </a:lnTo>
                  <a:lnTo>
                    <a:pt x="180" y="1606"/>
                  </a:lnTo>
                  <a:lnTo>
                    <a:pt x="181" y="1628"/>
                  </a:lnTo>
                  <a:lnTo>
                    <a:pt x="179" y="1650"/>
                  </a:lnTo>
                  <a:lnTo>
                    <a:pt x="176" y="1672"/>
                  </a:lnTo>
                  <a:lnTo>
                    <a:pt x="179" y="1694"/>
                  </a:lnTo>
                  <a:lnTo>
                    <a:pt x="184" y="1714"/>
                  </a:lnTo>
                  <a:lnTo>
                    <a:pt x="191" y="1735"/>
                  </a:lnTo>
                  <a:lnTo>
                    <a:pt x="200" y="1754"/>
                  </a:lnTo>
                  <a:lnTo>
                    <a:pt x="210" y="1772"/>
                  </a:lnTo>
                  <a:lnTo>
                    <a:pt x="219" y="1791"/>
                  </a:lnTo>
                  <a:lnTo>
                    <a:pt x="227" y="1807"/>
                  </a:lnTo>
                  <a:lnTo>
                    <a:pt x="235" y="1825"/>
                  </a:lnTo>
                  <a:lnTo>
                    <a:pt x="245" y="1847"/>
                  </a:lnTo>
                  <a:lnTo>
                    <a:pt x="257" y="1872"/>
                  </a:lnTo>
                  <a:lnTo>
                    <a:pt x="270" y="1897"/>
                  </a:lnTo>
                  <a:lnTo>
                    <a:pt x="283" y="1918"/>
                  </a:lnTo>
                  <a:lnTo>
                    <a:pt x="300" y="1937"/>
                  </a:lnTo>
                  <a:lnTo>
                    <a:pt x="315" y="1948"/>
                  </a:lnTo>
                  <a:lnTo>
                    <a:pt x="331" y="1951"/>
                  </a:lnTo>
                  <a:lnTo>
                    <a:pt x="346" y="1950"/>
                  </a:lnTo>
                  <a:lnTo>
                    <a:pt x="358" y="1953"/>
                  </a:lnTo>
                  <a:lnTo>
                    <a:pt x="370" y="1959"/>
                  </a:lnTo>
                  <a:lnTo>
                    <a:pt x="379" y="1967"/>
                  </a:lnTo>
                  <a:lnTo>
                    <a:pt x="386" y="1977"/>
                  </a:lnTo>
                  <a:lnTo>
                    <a:pt x="392" y="1988"/>
                  </a:lnTo>
                  <a:lnTo>
                    <a:pt x="395" y="1999"/>
                  </a:lnTo>
                  <a:lnTo>
                    <a:pt x="396" y="2011"/>
                  </a:lnTo>
                  <a:lnTo>
                    <a:pt x="398" y="2016"/>
                  </a:lnTo>
                  <a:lnTo>
                    <a:pt x="401" y="2022"/>
                  </a:lnTo>
                  <a:lnTo>
                    <a:pt x="406" y="2028"/>
                  </a:lnTo>
                  <a:lnTo>
                    <a:pt x="413" y="2032"/>
                  </a:lnTo>
                  <a:lnTo>
                    <a:pt x="421" y="2037"/>
                  </a:lnTo>
                  <a:lnTo>
                    <a:pt x="430" y="2042"/>
                  </a:lnTo>
                  <a:lnTo>
                    <a:pt x="439" y="2044"/>
                  </a:lnTo>
                  <a:lnTo>
                    <a:pt x="449" y="2046"/>
                  </a:lnTo>
                  <a:lnTo>
                    <a:pt x="460" y="2047"/>
                  </a:lnTo>
                  <a:lnTo>
                    <a:pt x="470" y="2046"/>
                  </a:lnTo>
                  <a:lnTo>
                    <a:pt x="479" y="2044"/>
                  </a:lnTo>
                  <a:lnTo>
                    <a:pt x="489" y="2039"/>
                  </a:lnTo>
                  <a:lnTo>
                    <a:pt x="497" y="2034"/>
                  </a:lnTo>
                  <a:lnTo>
                    <a:pt x="504" y="2024"/>
                  </a:lnTo>
                  <a:lnTo>
                    <a:pt x="508" y="2013"/>
                  </a:lnTo>
                  <a:lnTo>
                    <a:pt x="512" y="1998"/>
                  </a:lnTo>
                  <a:lnTo>
                    <a:pt x="515" y="1969"/>
                  </a:lnTo>
                  <a:lnTo>
                    <a:pt x="519" y="1947"/>
                  </a:lnTo>
                  <a:lnTo>
                    <a:pt x="522" y="1930"/>
                  </a:lnTo>
                  <a:lnTo>
                    <a:pt x="524" y="1916"/>
                  </a:lnTo>
                  <a:lnTo>
                    <a:pt x="529" y="1906"/>
                  </a:lnTo>
                  <a:lnTo>
                    <a:pt x="534" y="1898"/>
                  </a:lnTo>
                  <a:lnTo>
                    <a:pt x="539" y="1891"/>
                  </a:lnTo>
                  <a:lnTo>
                    <a:pt x="547" y="1884"/>
                  </a:lnTo>
                  <a:lnTo>
                    <a:pt x="557" y="1865"/>
                  </a:lnTo>
                  <a:lnTo>
                    <a:pt x="555" y="1840"/>
                  </a:lnTo>
                  <a:lnTo>
                    <a:pt x="551" y="1816"/>
                  </a:lnTo>
                  <a:lnTo>
                    <a:pt x="554" y="1800"/>
                  </a:lnTo>
                  <a:lnTo>
                    <a:pt x="561" y="1792"/>
                  </a:lnTo>
                  <a:lnTo>
                    <a:pt x="570" y="1779"/>
                  </a:lnTo>
                  <a:lnTo>
                    <a:pt x="582" y="1762"/>
                  </a:lnTo>
                  <a:lnTo>
                    <a:pt x="595" y="1741"/>
                  </a:lnTo>
                  <a:lnTo>
                    <a:pt x="605" y="1718"/>
                  </a:lnTo>
                  <a:lnTo>
                    <a:pt x="614" y="1695"/>
                  </a:lnTo>
                  <a:lnTo>
                    <a:pt x="620" y="1672"/>
                  </a:lnTo>
                  <a:lnTo>
                    <a:pt x="621" y="1650"/>
                  </a:lnTo>
                  <a:lnTo>
                    <a:pt x="622" y="1629"/>
                  </a:lnTo>
                  <a:lnTo>
                    <a:pt x="630" y="1607"/>
                  </a:lnTo>
                  <a:lnTo>
                    <a:pt x="642" y="1587"/>
                  </a:lnTo>
                  <a:lnTo>
                    <a:pt x="658" y="1567"/>
                  </a:lnTo>
                  <a:lnTo>
                    <a:pt x="675" y="1550"/>
                  </a:lnTo>
                  <a:lnTo>
                    <a:pt x="692" y="1536"/>
                  </a:lnTo>
                  <a:lnTo>
                    <a:pt x="707" y="1528"/>
                  </a:lnTo>
                  <a:lnTo>
                    <a:pt x="718" y="1524"/>
                  </a:lnTo>
                  <a:lnTo>
                    <a:pt x="728" y="1523"/>
                  </a:lnTo>
                  <a:lnTo>
                    <a:pt x="743" y="1519"/>
                  </a:lnTo>
                  <a:lnTo>
                    <a:pt x="760" y="1511"/>
                  </a:lnTo>
                  <a:lnTo>
                    <a:pt x="777" y="1498"/>
                  </a:lnTo>
                  <a:lnTo>
                    <a:pt x="795" y="1482"/>
                  </a:lnTo>
                  <a:lnTo>
                    <a:pt x="814" y="1461"/>
                  </a:lnTo>
                  <a:lnTo>
                    <a:pt x="831" y="1436"/>
                  </a:lnTo>
                  <a:lnTo>
                    <a:pt x="846" y="1405"/>
                  </a:lnTo>
                  <a:lnTo>
                    <a:pt x="858" y="1375"/>
                  </a:lnTo>
                  <a:lnTo>
                    <a:pt x="867" y="1354"/>
                  </a:lnTo>
                  <a:lnTo>
                    <a:pt x="875" y="1338"/>
                  </a:lnTo>
                  <a:lnTo>
                    <a:pt x="881" y="1327"/>
                  </a:lnTo>
                  <a:lnTo>
                    <a:pt x="888" y="1320"/>
                  </a:lnTo>
                  <a:lnTo>
                    <a:pt x="893" y="1316"/>
                  </a:lnTo>
                  <a:lnTo>
                    <a:pt x="901" y="1312"/>
                  </a:lnTo>
                  <a:lnTo>
                    <a:pt x="912" y="1309"/>
                  </a:lnTo>
                  <a:lnTo>
                    <a:pt x="919" y="1305"/>
                  </a:lnTo>
                  <a:lnTo>
                    <a:pt x="929" y="1299"/>
                  </a:lnTo>
                  <a:lnTo>
                    <a:pt x="943" y="1289"/>
                  </a:lnTo>
                  <a:lnTo>
                    <a:pt x="958" y="1279"/>
                  </a:lnTo>
                  <a:lnTo>
                    <a:pt x="974" y="1265"/>
                  </a:lnTo>
                  <a:lnTo>
                    <a:pt x="991" y="1251"/>
                  </a:lnTo>
                  <a:lnTo>
                    <a:pt x="1009" y="1236"/>
                  </a:lnTo>
                  <a:lnTo>
                    <a:pt x="1027" y="1220"/>
                  </a:lnTo>
                  <a:lnTo>
                    <a:pt x="1045" y="1204"/>
                  </a:lnTo>
                  <a:lnTo>
                    <a:pt x="1062" y="1188"/>
                  </a:lnTo>
                  <a:lnTo>
                    <a:pt x="1078" y="1173"/>
                  </a:lnTo>
                  <a:lnTo>
                    <a:pt x="1092" y="1158"/>
                  </a:lnTo>
                  <a:lnTo>
                    <a:pt x="1103" y="1143"/>
                  </a:lnTo>
                  <a:lnTo>
                    <a:pt x="1111" y="1130"/>
                  </a:lnTo>
                  <a:lnTo>
                    <a:pt x="1117" y="1120"/>
                  </a:lnTo>
                  <a:lnTo>
                    <a:pt x="1119" y="1111"/>
                  </a:lnTo>
                  <a:lnTo>
                    <a:pt x="1116" y="1097"/>
                  </a:lnTo>
                  <a:lnTo>
                    <a:pt x="1104" y="1087"/>
                  </a:lnTo>
                  <a:lnTo>
                    <a:pt x="1088" y="1080"/>
                  </a:lnTo>
                  <a:lnTo>
                    <a:pt x="1070" y="1077"/>
                  </a:lnTo>
                  <a:lnTo>
                    <a:pt x="1048" y="1077"/>
                  </a:lnTo>
                  <a:lnTo>
                    <a:pt x="1027" y="1082"/>
                  </a:lnTo>
                  <a:lnTo>
                    <a:pt x="1007" y="1088"/>
                  </a:lnTo>
                  <a:lnTo>
                    <a:pt x="991" y="1098"/>
                  </a:lnTo>
                  <a:lnTo>
                    <a:pt x="983" y="1105"/>
                  </a:lnTo>
                  <a:lnTo>
                    <a:pt x="983" y="1102"/>
                  </a:lnTo>
                  <a:lnTo>
                    <a:pt x="988" y="1093"/>
                  </a:lnTo>
                  <a:lnTo>
                    <a:pt x="995" y="1081"/>
                  </a:lnTo>
                  <a:lnTo>
                    <a:pt x="999" y="1066"/>
                  </a:lnTo>
                  <a:lnTo>
                    <a:pt x="998" y="1053"/>
                  </a:lnTo>
                  <a:lnTo>
                    <a:pt x="989" y="1043"/>
                  </a:lnTo>
                  <a:lnTo>
                    <a:pt x="967" y="1039"/>
                  </a:lnTo>
                  <a:lnTo>
                    <a:pt x="958" y="1038"/>
                  </a:lnTo>
                  <a:lnTo>
                    <a:pt x="961" y="1034"/>
                  </a:lnTo>
                  <a:lnTo>
                    <a:pt x="975" y="1028"/>
                  </a:lnTo>
                  <a:lnTo>
                    <a:pt x="994" y="1022"/>
                  </a:lnTo>
                  <a:lnTo>
                    <a:pt x="1015" y="1019"/>
                  </a:lnTo>
                  <a:lnTo>
                    <a:pt x="1035" y="1017"/>
                  </a:lnTo>
                  <a:lnTo>
                    <a:pt x="1051" y="1020"/>
                  </a:lnTo>
                  <a:lnTo>
                    <a:pt x="1058" y="1028"/>
                  </a:lnTo>
                  <a:lnTo>
                    <a:pt x="1063" y="1037"/>
                  </a:lnTo>
                  <a:lnTo>
                    <a:pt x="1071" y="1043"/>
                  </a:lnTo>
                  <a:lnTo>
                    <a:pt x="1082" y="1045"/>
                  </a:lnTo>
                  <a:lnTo>
                    <a:pt x="1094" y="1043"/>
                  </a:lnTo>
                  <a:lnTo>
                    <a:pt x="1105" y="1038"/>
                  </a:lnTo>
                  <a:lnTo>
                    <a:pt x="1116" y="1030"/>
                  </a:lnTo>
                  <a:lnTo>
                    <a:pt x="1123" y="1019"/>
                  </a:lnTo>
                  <a:lnTo>
                    <a:pt x="1125" y="1004"/>
                  </a:lnTo>
                  <a:lnTo>
                    <a:pt x="1124" y="989"/>
                  </a:lnTo>
                  <a:lnTo>
                    <a:pt x="1120" y="976"/>
                  </a:lnTo>
                  <a:lnTo>
                    <a:pt x="1115" y="966"/>
                  </a:lnTo>
                  <a:lnTo>
                    <a:pt x="1107" y="955"/>
                  </a:lnTo>
                  <a:lnTo>
                    <a:pt x="1096" y="946"/>
                  </a:lnTo>
                  <a:lnTo>
                    <a:pt x="1085" y="937"/>
                  </a:lnTo>
                  <a:lnTo>
                    <a:pt x="1070" y="929"/>
                  </a:lnTo>
                  <a:lnTo>
                    <a:pt x="1052" y="920"/>
                  </a:lnTo>
                  <a:lnTo>
                    <a:pt x="1036" y="913"/>
                  </a:lnTo>
                  <a:lnTo>
                    <a:pt x="1022" y="909"/>
                  </a:lnTo>
                  <a:lnTo>
                    <a:pt x="1013" y="908"/>
                  </a:lnTo>
                  <a:lnTo>
                    <a:pt x="1007" y="908"/>
                  </a:lnTo>
                  <a:lnTo>
                    <a:pt x="1003" y="908"/>
                  </a:lnTo>
                  <a:lnTo>
                    <a:pt x="1002" y="907"/>
                  </a:lnTo>
                  <a:lnTo>
                    <a:pt x="1002" y="903"/>
                  </a:lnTo>
                  <a:lnTo>
                    <a:pt x="1003" y="896"/>
                  </a:lnTo>
                  <a:lnTo>
                    <a:pt x="1009" y="891"/>
                  </a:lnTo>
                  <a:lnTo>
                    <a:pt x="1018" y="891"/>
                  </a:lnTo>
                  <a:lnTo>
                    <a:pt x="1029" y="893"/>
                  </a:lnTo>
                  <a:lnTo>
                    <a:pt x="1042" y="896"/>
                  </a:lnTo>
                  <a:lnTo>
                    <a:pt x="1051" y="899"/>
                  </a:lnTo>
                  <a:lnTo>
                    <a:pt x="1058" y="898"/>
                  </a:lnTo>
                  <a:lnTo>
                    <a:pt x="1059" y="892"/>
                  </a:lnTo>
                  <a:lnTo>
                    <a:pt x="1052" y="878"/>
                  </a:lnTo>
                  <a:lnTo>
                    <a:pt x="1041" y="862"/>
                  </a:lnTo>
                  <a:lnTo>
                    <a:pt x="1030" y="848"/>
                  </a:lnTo>
                  <a:lnTo>
                    <a:pt x="1021" y="838"/>
                  </a:lnTo>
                  <a:lnTo>
                    <a:pt x="1014" y="830"/>
                  </a:lnTo>
                  <a:lnTo>
                    <a:pt x="1010" y="823"/>
                  </a:lnTo>
                  <a:lnTo>
                    <a:pt x="1009" y="818"/>
                  </a:lnTo>
                  <a:lnTo>
                    <a:pt x="1013" y="815"/>
                  </a:lnTo>
                  <a:lnTo>
                    <a:pt x="1021" y="812"/>
                  </a:lnTo>
                  <a:lnTo>
                    <a:pt x="1033" y="808"/>
                  </a:lnTo>
                  <a:lnTo>
                    <a:pt x="1043" y="801"/>
                  </a:lnTo>
                  <a:lnTo>
                    <a:pt x="1051" y="790"/>
                  </a:lnTo>
                  <a:lnTo>
                    <a:pt x="1059" y="780"/>
                  </a:lnTo>
                  <a:lnTo>
                    <a:pt x="1064" y="767"/>
                  </a:lnTo>
                  <a:lnTo>
                    <a:pt x="1067" y="756"/>
                  </a:lnTo>
                  <a:lnTo>
                    <a:pt x="1067" y="744"/>
                  </a:lnTo>
                  <a:lnTo>
                    <a:pt x="1064" y="734"/>
                  </a:lnTo>
                  <a:lnTo>
                    <a:pt x="1062" y="725"/>
                  </a:lnTo>
                  <a:lnTo>
                    <a:pt x="1063" y="716"/>
                  </a:lnTo>
                  <a:lnTo>
                    <a:pt x="1066" y="706"/>
                  </a:lnTo>
                  <a:lnTo>
                    <a:pt x="1071" y="698"/>
                  </a:lnTo>
                  <a:lnTo>
                    <a:pt x="1074" y="689"/>
                  </a:lnTo>
                  <a:lnTo>
                    <a:pt x="1075" y="680"/>
                  </a:lnTo>
                  <a:lnTo>
                    <a:pt x="1072" y="672"/>
                  </a:lnTo>
                  <a:lnTo>
                    <a:pt x="1064" y="663"/>
                  </a:lnTo>
                  <a:lnTo>
                    <a:pt x="1056" y="655"/>
                  </a:lnTo>
                  <a:lnTo>
                    <a:pt x="1051" y="646"/>
                  </a:lnTo>
                  <a:lnTo>
                    <a:pt x="1051" y="640"/>
                  </a:lnTo>
                  <a:lnTo>
                    <a:pt x="1052" y="632"/>
                  </a:lnTo>
                  <a:lnTo>
                    <a:pt x="1054" y="625"/>
                  </a:lnTo>
                  <a:lnTo>
                    <a:pt x="1055" y="618"/>
                  </a:lnTo>
                  <a:lnTo>
                    <a:pt x="1052" y="610"/>
                  </a:lnTo>
                  <a:lnTo>
                    <a:pt x="1045" y="602"/>
                  </a:lnTo>
                  <a:lnTo>
                    <a:pt x="1034" y="592"/>
                  </a:lnTo>
                  <a:lnTo>
                    <a:pt x="1020" y="582"/>
                  </a:lnTo>
                  <a:lnTo>
                    <a:pt x="1005" y="570"/>
                  </a:lnTo>
                  <a:lnTo>
                    <a:pt x="990" y="559"/>
                  </a:lnTo>
                  <a:lnTo>
                    <a:pt x="980" y="547"/>
                  </a:lnTo>
                  <a:lnTo>
                    <a:pt x="974" y="535"/>
                  </a:lnTo>
                  <a:lnTo>
                    <a:pt x="975" y="523"/>
                  </a:lnTo>
                  <a:lnTo>
                    <a:pt x="986" y="512"/>
                  </a:lnTo>
                  <a:lnTo>
                    <a:pt x="998" y="501"/>
                  </a:lnTo>
                  <a:lnTo>
                    <a:pt x="1006" y="491"/>
                  </a:lnTo>
                  <a:lnTo>
                    <a:pt x="1010" y="482"/>
                  </a:lnTo>
                  <a:lnTo>
                    <a:pt x="1010" y="474"/>
                  </a:lnTo>
                  <a:lnTo>
                    <a:pt x="1006" y="468"/>
                  </a:lnTo>
                  <a:lnTo>
                    <a:pt x="999" y="463"/>
                  </a:lnTo>
                  <a:lnTo>
                    <a:pt x="990" y="460"/>
                  </a:lnTo>
                  <a:lnTo>
                    <a:pt x="979" y="459"/>
                  </a:lnTo>
                  <a:lnTo>
                    <a:pt x="969" y="456"/>
                  </a:lnTo>
                  <a:lnTo>
                    <a:pt x="964" y="452"/>
                  </a:lnTo>
                  <a:lnTo>
                    <a:pt x="960" y="444"/>
                  </a:lnTo>
                  <a:lnTo>
                    <a:pt x="958" y="436"/>
                  </a:lnTo>
                  <a:lnTo>
                    <a:pt x="956" y="428"/>
                  </a:lnTo>
                  <a:lnTo>
                    <a:pt x="952" y="421"/>
                  </a:lnTo>
                  <a:lnTo>
                    <a:pt x="946" y="416"/>
                  </a:lnTo>
                  <a:lnTo>
                    <a:pt x="937" y="416"/>
                  </a:lnTo>
                  <a:lnTo>
                    <a:pt x="920" y="405"/>
                  </a:lnTo>
                  <a:lnTo>
                    <a:pt x="913" y="371"/>
                  </a:lnTo>
                  <a:lnTo>
                    <a:pt x="912" y="328"/>
                  </a:lnTo>
                  <a:lnTo>
                    <a:pt x="912" y="290"/>
                  </a:lnTo>
                  <a:lnTo>
                    <a:pt x="914" y="263"/>
                  </a:lnTo>
                  <a:lnTo>
                    <a:pt x="920" y="240"/>
                  </a:lnTo>
                  <a:lnTo>
                    <a:pt x="922" y="219"/>
                  </a:lnTo>
                  <a:lnTo>
                    <a:pt x="919" y="195"/>
                  </a:lnTo>
                  <a:lnTo>
                    <a:pt x="917" y="173"/>
                  </a:lnTo>
                  <a:lnTo>
                    <a:pt x="924" y="146"/>
                  </a:lnTo>
                  <a:lnTo>
                    <a:pt x="934" y="120"/>
                  </a:lnTo>
                  <a:lnTo>
                    <a:pt x="939" y="95"/>
                  </a:lnTo>
                  <a:lnTo>
                    <a:pt x="939" y="84"/>
                  </a:lnTo>
                  <a:lnTo>
                    <a:pt x="937" y="75"/>
                  </a:lnTo>
                  <a:lnTo>
                    <a:pt x="932" y="68"/>
                  </a:lnTo>
                  <a:lnTo>
                    <a:pt x="924" y="62"/>
                  </a:lnTo>
                  <a:lnTo>
                    <a:pt x="917" y="60"/>
                  </a:lnTo>
                  <a:lnTo>
                    <a:pt x="911" y="59"/>
                  </a:lnTo>
                  <a:lnTo>
                    <a:pt x="904" y="59"/>
                  </a:lnTo>
                  <a:lnTo>
                    <a:pt x="898" y="59"/>
                  </a:lnTo>
                  <a:lnTo>
                    <a:pt x="889" y="62"/>
                  </a:lnTo>
                  <a:lnTo>
                    <a:pt x="879" y="68"/>
                  </a:lnTo>
                  <a:lnTo>
                    <a:pt x="871" y="76"/>
                  </a:lnTo>
                  <a:lnTo>
                    <a:pt x="863" y="84"/>
                  </a:lnTo>
                  <a:lnTo>
                    <a:pt x="856" y="93"/>
                  </a:lnTo>
                  <a:lnTo>
                    <a:pt x="851" y="104"/>
                  </a:lnTo>
                  <a:lnTo>
                    <a:pt x="845" y="113"/>
                  </a:lnTo>
                  <a:lnTo>
                    <a:pt x="839" y="122"/>
                  </a:lnTo>
                  <a:lnTo>
                    <a:pt x="832" y="133"/>
                  </a:lnTo>
                  <a:lnTo>
                    <a:pt x="826" y="140"/>
                  </a:lnTo>
                  <a:lnTo>
                    <a:pt x="821" y="143"/>
                  </a:lnTo>
                  <a:lnTo>
                    <a:pt x="816" y="144"/>
                  </a:lnTo>
                  <a:lnTo>
                    <a:pt x="813" y="143"/>
                  </a:lnTo>
                  <a:lnTo>
                    <a:pt x="809" y="140"/>
                  </a:lnTo>
                  <a:lnTo>
                    <a:pt x="806" y="133"/>
                  </a:lnTo>
                  <a:lnTo>
                    <a:pt x="803" y="122"/>
                  </a:lnTo>
                  <a:lnTo>
                    <a:pt x="800" y="114"/>
                  </a:lnTo>
                  <a:lnTo>
                    <a:pt x="795" y="110"/>
                  </a:lnTo>
                  <a:lnTo>
                    <a:pt x="790" y="111"/>
                  </a:lnTo>
                  <a:lnTo>
                    <a:pt x="783" y="114"/>
                  </a:lnTo>
                  <a:lnTo>
                    <a:pt x="776" y="120"/>
                  </a:lnTo>
                  <a:lnTo>
                    <a:pt x="769" y="128"/>
                  </a:lnTo>
                  <a:lnTo>
                    <a:pt x="761" y="137"/>
                  </a:lnTo>
                  <a:lnTo>
                    <a:pt x="754" y="146"/>
                  </a:lnTo>
                  <a:lnTo>
                    <a:pt x="750" y="151"/>
                  </a:lnTo>
                  <a:lnTo>
                    <a:pt x="750" y="149"/>
                  </a:lnTo>
                  <a:lnTo>
                    <a:pt x="753" y="142"/>
                  </a:lnTo>
                  <a:lnTo>
                    <a:pt x="755" y="133"/>
                  </a:lnTo>
                  <a:lnTo>
                    <a:pt x="754" y="121"/>
                  </a:lnTo>
                  <a:lnTo>
                    <a:pt x="749" y="112"/>
                  </a:lnTo>
                  <a:lnTo>
                    <a:pt x="738" y="106"/>
                  </a:lnTo>
                  <a:lnTo>
                    <a:pt x="718" y="105"/>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49" name="Freeform 426"/>
            <p:cNvSpPr>
              <a:spLocks/>
            </p:cNvSpPr>
            <p:nvPr/>
          </p:nvSpPr>
          <p:spPr bwMode="auto">
            <a:xfrm>
              <a:off x="3520501" y="1575969"/>
              <a:ext cx="39693" cy="35839"/>
            </a:xfrm>
            <a:custGeom>
              <a:avLst/>
              <a:gdLst>
                <a:gd name="T0" fmla="*/ 40243 w 40"/>
                <a:gd name="T1" fmla="*/ 19271 h 36"/>
                <a:gd name="T2" fmla="*/ 39211 w 40"/>
                <a:gd name="T3" fmla="*/ 21299 h 36"/>
                <a:gd name="T4" fmla="*/ 36116 w 40"/>
                <a:gd name="T5" fmla="*/ 25356 h 36"/>
                <a:gd name="T6" fmla="*/ 31988 w 40"/>
                <a:gd name="T7" fmla="*/ 29413 h 36"/>
                <a:gd name="T8" fmla="*/ 27861 w 40"/>
                <a:gd name="T9" fmla="*/ 33470 h 36"/>
                <a:gd name="T10" fmla="*/ 23733 w 40"/>
                <a:gd name="T11" fmla="*/ 35499 h 36"/>
                <a:gd name="T12" fmla="*/ 18574 w 40"/>
                <a:gd name="T13" fmla="*/ 36513 h 36"/>
                <a:gd name="T14" fmla="*/ 13414 w 40"/>
                <a:gd name="T15" fmla="*/ 36513 h 36"/>
                <a:gd name="T16" fmla="*/ 12382 w 40"/>
                <a:gd name="T17" fmla="*/ 36513 h 36"/>
                <a:gd name="T18" fmla="*/ 11351 w 40"/>
                <a:gd name="T19" fmla="*/ 35499 h 36"/>
                <a:gd name="T20" fmla="*/ 10319 w 40"/>
                <a:gd name="T21" fmla="*/ 33470 h 36"/>
                <a:gd name="T22" fmla="*/ 8255 w 40"/>
                <a:gd name="T23" fmla="*/ 31442 h 36"/>
                <a:gd name="T24" fmla="*/ 4128 w 40"/>
                <a:gd name="T25" fmla="*/ 27385 h 36"/>
                <a:gd name="T26" fmla="*/ 1032 w 40"/>
                <a:gd name="T27" fmla="*/ 24342 h 36"/>
                <a:gd name="T28" fmla="*/ 0 w 40"/>
                <a:gd name="T29" fmla="*/ 19271 h 36"/>
                <a:gd name="T30" fmla="*/ 1032 w 40"/>
                <a:gd name="T31" fmla="*/ 16228 h 36"/>
                <a:gd name="T32" fmla="*/ 7223 w 40"/>
                <a:gd name="T33" fmla="*/ 11157 h 36"/>
                <a:gd name="T34" fmla="*/ 12382 w 40"/>
                <a:gd name="T35" fmla="*/ 6085 h 36"/>
                <a:gd name="T36" fmla="*/ 16510 w 40"/>
                <a:gd name="T37" fmla="*/ 2029 h 36"/>
                <a:gd name="T38" fmla="*/ 19606 w 40"/>
                <a:gd name="T39" fmla="*/ 0 h 36"/>
                <a:gd name="T40" fmla="*/ 24765 w 40"/>
                <a:gd name="T41" fmla="*/ 1014 h 36"/>
                <a:gd name="T42" fmla="*/ 31988 w 40"/>
                <a:gd name="T43" fmla="*/ 3043 h 36"/>
                <a:gd name="T44" fmla="*/ 38179 w 40"/>
                <a:gd name="T45" fmla="*/ 6085 h 36"/>
                <a:gd name="T46" fmla="*/ 41275 w 40"/>
                <a:gd name="T47" fmla="*/ 11157 h 36"/>
                <a:gd name="T48" fmla="*/ 40243 w 40"/>
                <a:gd name="T49" fmla="*/ 19271 h 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36"/>
                <a:gd name="T77" fmla="*/ 40 w 40"/>
                <a:gd name="T78" fmla="*/ 36 h 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36">
                  <a:moveTo>
                    <a:pt x="39" y="19"/>
                  </a:moveTo>
                  <a:lnTo>
                    <a:pt x="38" y="21"/>
                  </a:lnTo>
                  <a:lnTo>
                    <a:pt x="35" y="25"/>
                  </a:lnTo>
                  <a:lnTo>
                    <a:pt x="31" y="29"/>
                  </a:lnTo>
                  <a:lnTo>
                    <a:pt x="27" y="33"/>
                  </a:lnTo>
                  <a:lnTo>
                    <a:pt x="23" y="35"/>
                  </a:lnTo>
                  <a:lnTo>
                    <a:pt x="18" y="36"/>
                  </a:lnTo>
                  <a:lnTo>
                    <a:pt x="13" y="36"/>
                  </a:lnTo>
                  <a:lnTo>
                    <a:pt x="12" y="36"/>
                  </a:lnTo>
                  <a:lnTo>
                    <a:pt x="11" y="35"/>
                  </a:lnTo>
                  <a:lnTo>
                    <a:pt x="10" y="33"/>
                  </a:lnTo>
                  <a:lnTo>
                    <a:pt x="8" y="31"/>
                  </a:lnTo>
                  <a:lnTo>
                    <a:pt x="4" y="27"/>
                  </a:lnTo>
                  <a:lnTo>
                    <a:pt x="1" y="24"/>
                  </a:lnTo>
                  <a:lnTo>
                    <a:pt x="0" y="19"/>
                  </a:lnTo>
                  <a:lnTo>
                    <a:pt x="1" y="16"/>
                  </a:lnTo>
                  <a:lnTo>
                    <a:pt x="7" y="11"/>
                  </a:lnTo>
                  <a:lnTo>
                    <a:pt x="12" y="6"/>
                  </a:lnTo>
                  <a:lnTo>
                    <a:pt x="16" y="2"/>
                  </a:lnTo>
                  <a:lnTo>
                    <a:pt x="19" y="0"/>
                  </a:lnTo>
                  <a:lnTo>
                    <a:pt x="24" y="1"/>
                  </a:lnTo>
                  <a:lnTo>
                    <a:pt x="31" y="3"/>
                  </a:lnTo>
                  <a:lnTo>
                    <a:pt x="37" y="6"/>
                  </a:lnTo>
                  <a:lnTo>
                    <a:pt x="40" y="11"/>
                  </a:lnTo>
                  <a:lnTo>
                    <a:pt x="39" y="19"/>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50" name="Freeform 427"/>
            <p:cNvSpPr>
              <a:spLocks/>
            </p:cNvSpPr>
            <p:nvPr/>
          </p:nvSpPr>
          <p:spPr bwMode="auto">
            <a:xfrm>
              <a:off x="3859404" y="1865742"/>
              <a:ext cx="0" cy="4675"/>
            </a:xfrm>
            <a:custGeom>
              <a:avLst/>
              <a:gdLst>
                <a:gd name="T0" fmla="*/ 0 w 1"/>
                <a:gd name="T1" fmla="*/ 2382 h 4"/>
                <a:gd name="T2" fmla="*/ 0 w 1"/>
                <a:gd name="T3" fmla="*/ 1191 h 4"/>
                <a:gd name="T4" fmla="*/ 0 w 1"/>
                <a:gd name="T5" fmla="*/ 1191 h 4"/>
                <a:gd name="T6" fmla="*/ 0 w 1"/>
                <a:gd name="T7" fmla="*/ 0 h 4"/>
                <a:gd name="T8" fmla="*/ 0 w 1"/>
                <a:gd name="T9" fmla="*/ 0 h 4"/>
                <a:gd name="T10" fmla="*/ 0 w 1"/>
                <a:gd name="T11" fmla="*/ 2382 h 4"/>
                <a:gd name="T12" fmla="*/ 0 w 1"/>
                <a:gd name="T13" fmla="*/ 4763 h 4"/>
                <a:gd name="T14" fmla="*/ 0 w 1"/>
                <a:gd name="T15" fmla="*/ 4763 h 4"/>
                <a:gd name="T16" fmla="*/ 0 w 1"/>
                <a:gd name="T17" fmla="*/ 238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
                <a:gd name="T28" fmla="*/ 0 h 4"/>
                <a:gd name="T29" fmla="*/ 0 w 1"/>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 h="4">
                  <a:moveTo>
                    <a:pt x="1" y="2"/>
                  </a:moveTo>
                  <a:lnTo>
                    <a:pt x="1" y="1"/>
                  </a:lnTo>
                  <a:lnTo>
                    <a:pt x="0" y="0"/>
                  </a:lnTo>
                  <a:lnTo>
                    <a:pt x="1" y="2"/>
                  </a:lnTo>
                  <a:lnTo>
                    <a:pt x="1" y="4"/>
                  </a:lnTo>
                  <a:lnTo>
                    <a:pt x="1" y="2"/>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51" name="Freeform 428"/>
            <p:cNvSpPr>
              <a:spLocks/>
            </p:cNvSpPr>
            <p:nvPr/>
          </p:nvSpPr>
          <p:spPr bwMode="auto">
            <a:xfrm>
              <a:off x="4202901" y="1898476"/>
              <a:ext cx="3054" cy="6233"/>
            </a:xfrm>
            <a:custGeom>
              <a:avLst/>
              <a:gdLst>
                <a:gd name="T0" fmla="*/ 3175 w 5"/>
                <a:gd name="T1" fmla="*/ 6350 h 8"/>
                <a:gd name="T2" fmla="*/ 3175 w 5"/>
                <a:gd name="T3" fmla="*/ 4762 h 8"/>
                <a:gd name="T4" fmla="*/ 3175 w 5"/>
                <a:gd name="T5" fmla="*/ 3969 h 8"/>
                <a:gd name="T6" fmla="*/ 3175 w 5"/>
                <a:gd name="T7" fmla="*/ 1588 h 8"/>
                <a:gd name="T8" fmla="*/ 1905 w 5"/>
                <a:gd name="T9" fmla="*/ 0 h 8"/>
                <a:gd name="T10" fmla="*/ 0 w 5"/>
                <a:gd name="T11" fmla="*/ 0 h 8"/>
                <a:gd name="T12" fmla="*/ 0 w 5"/>
                <a:gd name="T13" fmla="*/ 794 h 8"/>
                <a:gd name="T14" fmla="*/ 1270 w 5"/>
                <a:gd name="T15" fmla="*/ 3969 h 8"/>
                <a:gd name="T16" fmla="*/ 3175 w 5"/>
                <a:gd name="T17" fmla="*/ 635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8"/>
                <a:gd name="T29" fmla="*/ 5 w 5"/>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8">
                  <a:moveTo>
                    <a:pt x="5" y="8"/>
                  </a:moveTo>
                  <a:lnTo>
                    <a:pt x="5" y="6"/>
                  </a:lnTo>
                  <a:lnTo>
                    <a:pt x="5" y="5"/>
                  </a:lnTo>
                  <a:lnTo>
                    <a:pt x="5" y="2"/>
                  </a:lnTo>
                  <a:lnTo>
                    <a:pt x="3" y="0"/>
                  </a:lnTo>
                  <a:lnTo>
                    <a:pt x="0" y="0"/>
                  </a:lnTo>
                  <a:lnTo>
                    <a:pt x="0" y="1"/>
                  </a:lnTo>
                  <a:lnTo>
                    <a:pt x="2" y="5"/>
                  </a:lnTo>
                  <a:lnTo>
                    <a:pt x="5" y="8"/>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52" name="Freeform 429"/>
            <p:cNvSpPr>
              <a:spLocks/>
            </p:cNvSpPr>
            <p:nvPr/>
          </p:nvSpPr>
          <p:spPr bwMode="auto">
            <a:xfrm>
              <a:off x="3865520" y="1488659"/>
              <a:ext cx="13739" cy="14024"/>
            </a:xfrm>
            <a:custGeom>
              <a:avLst/>
              <a:gdLst>
                <a:gd name="T0" fmla="*/ 2041 w 14"/>
                <a:gd name="T1" fmla="*/ 6668 h 15"/>
                <a:gd name="T2" fmla="*/ 9185 w 14"/>
                <a:gd name="T3" fmla="*/ 12383 h 15"/>
                <a:gd name="T4" fmla="*/ 14287 w 14"/>
                <a:gd name="T5" fmla="*/ 14288 h 15"/>
                <a:gd name="T6" fmla="*/ 14287 w 14"/>
                <a:gd name="T7" fmla="*/ 13335 h 15"/>
                <a:gd name="T8" fmla="*/ 10205 w 14"/>
                <a:gd name="T9" fmla="*/ 6668 h 15"/>
                <a:gd name="T10" fmla="*/ 9185 w 14"/>
                <a:gd name="T11" fmla="*/ 4763 h 15"/>
                <a:gd name="T12" fmla="*/ 9185 w 14"/>
                <a:gd name="T13" fmla="*/ 2858 h 15"/>
                <a:gd name="T14" fmla="*/ 8164 w 14"/>
                <a:gd name="T15" fmla="*/ 953 h 15"/>
                <a:gd name="T16" fmla="*/ 7144 w 14"/>
                <a:gd name="T17" fmla="*/ 0 h 15"/>
                <a:gd name="T18" fmla="*/ 6123 w 14"/>
                <a:gd name="T19" fmla="*/ 953 h 15"/>
                <a:gd name="T20" fmla="*/ 3062 w 14"/>
                <a:gd name="T21" fmla="*/ 1905 h 15"/>
                <a:gd name="T22" fmla="*/ 2041 w 14"/>
                <a:gd name="T23" fmla="*/ 2858 h 15"/>
                <a:gd name="T24" fmla="*/ 0 w 14"/>
                <a:gd name="T25" fmla="*/ 4763 h 15"/>
                <a:gd name="T26" fmla="*/ 1021 w 14"/>
                <a:gd name="T27" fmla="*/ 5715 h 15"/>
                <a:gd name="T28" fmla="*/ 1021 w 14"/>
                <a:gd name="T29" fmla="*/ 5715 h 15"/>
                <a:gd name="T30" fmla="*/ 1021 w 14"/>
                <a:gd name="T31" fmla="*/ 5715 h 15"/>
                <a:gd name="T32" fmla="*/ 2041 w 14"/>
                <a:gd name="T33" fmla="*/ 6668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5"/>
                <a:gd name="T53" fmla="*/ 14 w 14"/>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5">
                  <a:moveTo>
                    <a:pt x="2" y="7"/>
                  </a:moveTo>
                  <a:lnTo>
                    <a:pt x="9" y="13"/>
                  </a:lnTo>
                  <a:lnTo>
                    <a:pt x="14" y="15"/>
                  </a:lnTo>
                  <a:lnTo>
                    <a:pt x="14" y="14"/>
                  </a:lnTo>
                  <a:lnTo>
                    <a:pt x="10" y="7"/>
                  </a:lnTo>
                  <a:lnTo>
                    <a:pt x="9" y="5"/>
                  </a:lnTo>
                  <a:lnTo>
                    <a:pt x="9" y="3"/>
                  </a:lnTo>
                  <a:lnTo>
                    <a:pt x="8" y="1"/>
                  </a:lnTo>
                  <a:lnTo>
                    <a:pt x="7" y="0"/>
                  </a:lnTo>
                  <a:lnTo>
                    <a:pt x="6" y="1"/>
                  </a:lnTo>
                  <a:lnTo>
                    <a:pt x="3" y="2"/>
                  </a:lnTo>
                  <a:lnTo>
                    <a:pt x="2" y="3"/>
                  </a:lnTo>
                  <a:lnTo>
                    <a:pt x="0" y="5"/>
                  </a:lnTo>
                  <a:lnTo>
                    <a:pt x="1" y="6"/>
                  </a:lnTo>
                  <a:lnTo>
                    <a:pt x="2" y="7"/>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53" name="Freeform 430"/>
            <p:cNvSpPr>
              <a:spLocks/>
            </p:cNvSpPr>
            <p:nvPr/>
          </p:nvSpPr>
          <p:spPr bwMode="auto">
            <a:xfrm>
              <a:off x="4045655" y="1948328"/>
              <a:ext cx="138926" cy="118421"/>
            </a:xfrm>
            <a:custGeom>
              <a:avLst/>
              <a:gdLst>
                <a:gd name="T0" fmla="*/ 132691 w 135"/>
                <a:gd name="T1" fmla="*/ 60832 h 119"/>
                <a:gd name="T2" fmla="*/ 144462 w 135"/>
                <a:gd name="T3" fmla="*/ 67929 h 119"/>
                <a:gd name="T4" fmla="*/ 138041 w 135"/>
                <a:gd name="T5" fmla="*/ 77054 h 119"/>
                <a:gd name="T6" fmla="*/ 132691 w 135"/>
                <a:gd name="T7" fmla="*/ 82123 h 119"/>
                <a:gd name="T8" fmla="*/ 126270 w 135"/>
                <a:gd name="T9" fmla="*/ 84151 h 119"/>
                <a:gd name="T10" fmla="*/ 121990 w 135"/>
                <a:gd name="T11" fmla="*/ 83137 h 119"/>
                <a:gd name="T12" fmla="*/ 108079 w 135"/>
                <a:gd name="T13" fmla="*/ 78068 h 119"/>
                <a:gd name="T14" fmla="*/ 97378 w 135"/>
                <a:gd name="T15" fmla="*/ 75026 h 119"/>
                <a:gd name="T16" fmla="*/ 87747 w 135"/>
                <a:gd name="T17" fmla="*/ 68943 h 119"/>
                <a:gd name="T18" fmla="*/ 77046 w 135"/>
                <a:gd name="T19" fmla="*/ 66915 h 119"/>
                <a:gd name="T20" fmla="*/ 75976 w 135"/>
                <a:gd name="T21" fmla="*/ 79082 h 119"/>
                <a:gd name="T22" fmla="*/ 77046 w 135"/>
                <a:gd name="T23" fmla="*/ 93276 h 119"/>
                <a:gd name="T24" fmla="*/ 65275 w 135"/>
                <a:gd name="T25" fmla="*/ 100373 h 119"/>
                <a:gd name="T26" fmla="*/ 60995 w 135"/>
                <a:gd name="T27" fmla="*/ 108484 h 119"/>
                <a:gd name="T28" fmla="*/ 56715 w 135"/>
                <a:gd name="T29" fmla="*/ 115581 h 119"/>
                <a:gd name="T30" fmla="*/ 47084 w 135"/>
                <a:gd name="T31" fmla="*/ 120650 h 119"/>
                <a:gd name="T32" fmla="*/ 41733 w 135"/>
                <a:gd name="T33" fmla="*/ 112539 h 119"/>
                <a:gd name="T34" fmla="*/ 36383 w 135"/>
                <a:gd name="T35" fmla="*/ 101387 h 119"/>
                <a:gd name="T36" fmla="*/ 24612 w 135"/>
                <a:gd name="T37" fmla="*/ 100373 h 119"/>
                <a:gd name="T38" fmla="*/ 18192 w 135"/>
                <a:gd name="T39" fmla="*/ 102400 h 119"/>
                <a:gd name="T40" fmla="*/ 3210 w 135"/>
                <a:gd name="T41" fmla="*/ 106456 h 119"/>
                <a:gd name="T42" fmla="*/ 1070 w 135"/>
                <a:gd name="T43" fmla="*/ 98345 h 119"/>
                <a:gd name="T44" fmla="*/ 9631 w 135"/>
                <a:gd name="T45" fmla="*/ 85165 h 119"/>
                <a:gd name="T46" fmla="*/ 17121 w 135"/>
                <a:gd name="T47" fmla="*/ 80095 h 119"/>
                <a:gd name="T48" fmla="*/ 14981 w 135"/>
                <a:gd name="T49" fmla="*/ 68943 h 119"/>
                <a:gd name="T50" fmla="*/ 11771 w 135"/>
                <a:gd name="T51" fmla="*/ 55763 h 119"/>
                <a:gd name="T52" fmla="*/ 12841 w 135"/>
                <a:gd name="T53" fmla="*/ 44610 h 119"/>
                <a:gd name="T54" fmla="*/ 8561 w 135"/>
                <a:gd name="T55" fmla="*/ 35485 h 119"/>
                <a:gd name="T56" fmla="*/ 8561 w 135"/>
                <a:gd name="T57" fmla="*/ 16222 h 119"/>
                <a:gd name="T58" fmla="*/ 9631 w 135"/>
                <a:gd name="T59" fmla="*/ 2028 h 119"/>
                <a:gd name="T60" fmla="*/ 19262 w 135"/>
                <a:gd name="T61" fmla="*/ 1014 h 119"/>
                <a:gd name="T62" fmla="*/ 28892 w 135"/>
                <a:gd name="T63" fmla="*/ 9125 h 119"/>
                <a:gd name="T64" fmla="*/ 34243 w 135"/>
                <a:gd name="T65" fmla="*/ 26361 h 119"/>
                <a:gd name="T66" fmla="*/ 39593 w 135"/>
                <a:gd name="T67" fmla="*/ 30416 h 119"/>
                <a:gd name="T68" fmla="*/ 47084 w 135"/>
                <a:gd name="T69" fmla="*/ 25347 h 119"/>
                <a:gd name="T70" fmla="*/ 57785 w 135"/>
                <a:gd name="T71" fmla="*/ 23319 h 119"/>
                <a:gd name="T72" fmla="*/ 74906 w 135"/>
                <a:gd name="T73" fmla="*/ 26361 h 119"/>
                <a:gd name="T74" fmla="*/ 90958 w 135"/>
                <a:gd name="T75" fmla="*/ 33458 h 119"/>
                <a:gd name="T76" fmla="*/ 99518 w 135"/>
                <a:gd name="T77" fmla="*/ 48666 h 119"/>
                <a:gd name="T78" fmla="*/ 107009 w 135"/>
                <a:gd name="T79" fmla="*/ 58804 h 119"/>
                <a:gd name="T80" fmla="*/ 130551 w 135"/>
                <a:gd name="T81" fmla="*/ 59818 h 11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119"/>
                <a:gd name="T125" fmla="*/ 135 w 135"/>
                <a:gd name="T126" fmla="*/ 119 h 11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119">
                  <a:moveTo>
                    <a:pt x="122" y="59"/>
                  </a:moveTo>
                  <a:lnTo>
                    <a:pt x="124" y="60"/>
                  </a:lnTo>
                  <a:lnTo>
                    <a:pt x="130" y="62"/>
                  </a:lnTo>
                  <a:lnTo>
                    <a:pt x="135" y="67"/>
                  </a:lnTo>
                  <a:lnTo>
                    <a:pt x="133" y="71"/>
                  </a:lnTo>
                  <a:lnTo>
                    <a:pt x="129" y="76"/>
                  </a:lnTo>
                  <a:lnTo>
                    <a:pt x="126" y="78"/>
                  </a:lnTo>
                  <a:lnTo>
                    <a:pt x="124" y="81"/>
                  </a:lnTo>
                  <a:lnTo>
                    <a:pt x="121" y="83"/>
                  </a:lnTo>
                  <a:lnTo>
                    <a:pt x="118" y="83"/>
                  </a:lnTo>
                  <a:lnTo>
                    <a:pt x="116" y="83"/>
                  </a:lnTo>
                  <a:lnTo>
                    <a:pt x="114" y="82"/>
                  </a:lnTo>
                  <a:lnTo>
                    <a:pt x="108" y="79"/>
                  </a:lnTo>
                  <a:lnTo>
                    <a:pt x="101" y="77"/>
                  </a:lnTo>
                  <a:lnTo>
                    <a:pt x="95" y="75"/>
                  </a:lnTo>
                  <a:lnTo>
                    <a:pt x="91" y="74"/>
                  </a:lnTo>
                  <a:lnTo>
                    <a:pt x="86" y="71"/>
                  </a:lnTo>
                  <a:lnTo>
                    <a:pt x="82" y="68"/>
                  </a:lnTo>
                  <a:lnTo>
                    <a:pt x="77" y="66"/>
                  </a:lnTo>
                  <a:lnTo>
                    <a:pt x="72" y="66"/>
                  </a:lnTo>
                  <a:lnTo>
                    <a:pt x="70" y="70"/>
                  </a:lnTo>
                  <a:lnTo>
                    <a:pt x="71" y="78"/>
                  </a:lnTo>
                  <a:lnTo>
                    <a:pt x="72" y="85"/>
                  </a:lnTo>
                  <a:lnTo>
                    <a:pt x="72" y="92"/>
                  </a:lnTo>
                  <a:lnTo>
                    <a:pt x="68" y="96"/>
                  </a:lnTo>
                  <a:lnTo>
                    <a:pt x="61" y="99"/>
                  </a:lnTo>
                  <a:lnTo>
                    <a:pt x="58" y="102"/>
                  </a:lnTo>
                  <a:lnTo>
                    <a:pt x="57" y="107"/>
                  </a:lnTo>
                  <a:lnTo>
                    <a:pt x="56" y="111"/>
                  </a:lnTo>
                  <a:lnTo>
                    <a:pt x="53" y="114"/>
                  </a:lnTo>
                  <a:lnTo>
                    <a:pt x="48" y="117"/>
                  </a:lnTo>
                  <a:lnTo>
                    <a:pt x="44" y="119"/>
                  </a:lnTo>
                  <a:lnTo>
                    <a:pt x="40" y="116"/>
                  </a:lnTo>
                  <a:lnTo>
                    <a:pt x="39" y="111"/>
                  </a:lnTo>
                  <a:lnTo>
                    <a:pt x="38" y="105"/>
                  </a:lnTo>
                  <a:lnTo>
                    <a:pt x="34" y="100"/>
                  </a:lnTo>
                  <a:lnTo>
                    <a:pt x="29" y="99"/>
                  </a:lnTo>
                  <a:lnTo>
                    <a:pt x="23" y="99"/>
                  </a:lnTo>
                  <a:lnTo>
                    <a:pt x="20" y="100"/>
                  </a:lnTo>
                  <a:lnTo>
                    <a:pt x="17" y="101"/>
                  </a:lnTo>
                  <a:lnTo>
                    <a:pt x="10" y="104"/>
                  </a:lnTo>
                  <a:lnTo>
                    <a:pt x="3" y="105"/>
                  </a:lnTo>
                  <a:lnTo>
                    <a:pt x="0" y="101"/>
                  </a:lnTo>
                  <a:lnTo>
                    <a:pt x="1" y="97"/>
                  </a:lnTo>
                  <a:lnTo>
                    <a:pt x="4" y="90"/>
                  </a:lnTo>
                  <a:lnTo>
                    <a:pt x="9" y="84"/>
                  </a:lnTo>
                  <a:lnTo>
                    <a:pt x="12" y="82"/>
                  </a:lnTo>
                  <a:lnTo>
                    <a:pt x="16" y="79"/>
                  </a:lnTo>
                  <a:lnTo>
                    <a:pt x="16" y="75"/>
                  </a:lnTo>
                  <a:lnTo>
                    <a:pt x="14" y="68"/>
                  </a:lnTo>
                  <a:lnTo>
                    <a:pt x="12" y="61"/>
                  </a:lnTo>
                  <a:lnTo>
                    <a:pt x="11" y="55"/>
                  </a:lnTo>
                  <a:lnTo>
                    <a:pt x="12" y="48"/>
                  </a:lnTo>
                  <a:lnTo>
                    <a:pt x="12" y="44"/>
                  </a:lnTo>
                  <a:lnTo>
                    <a:pt x="10" y="39"/>
                  </a:lnTo>
                  <a:lnTo>
                    <a:pt x="8" y="35"/>
                  </a:lnTo>
                  <a:lnTo>
                    <a:pt x="8" y="26"/>
                  </a:lnTo>
                  <a:lnTo>
                    <a:pt x="8" y="16"/>
                  </a:lnTo>
                  <a:lnTo>
                    <a:pt x="8" y="8"/>
                  </a:lnTo>
                  <a:lnTo>
                    <a:pt x="9" y="2"/>
                  </a:lnTo>
                  <a:lnTo>
                    <a:pt x="12" y="0"/>
                  </a:lnTo>
                  <a:lnTo>
                    <a:pt x="18" y="1"/>
                  </a:lnTo>
                  <a:lnTo>
                    <a:pt x="24" y="3"/>
                  </a:lnTo>
                  <a:lnTo>
                    <a:pt x="27" y="9"/>
                  </a:lnTo>
                  <a:lnTo>
                    <a:pt x="30" y="18"/>
                  </a:lnTo>
                  <a:lnTo>
                    <a:pt x="32" y="26"/>
                  </a:lnTo>
                  <a:lnTo>
                    <a:pt x="33" y="30"/>
                  </a:lnTo>
                  <a:lnTo>
                    <a:pt x="37" y="30"/>
                  </a:lnTo>
                  <a:lnTo>
                    <a:pt x="40" y="28"/>
                  </a:lnTo>
                  <a:lnTo>
                    <a:pt x="44" y="25"/>
                  </a:lnTo>
                  <a:lnTo>
                    <a:pt x="48" y="23"/>
                  </a:lnTo>
                  <a:lnTo>
                    <a:pt x="54" y="23"/>
                  </a:lnTo>
                  <a:lnTo>
                    <a:pt x="61" y="24"/>
                  </a:lnTo>
                  <a:lnTo>
                    <a:pt x="70" y="26"/>
                  </a:lnTo>
                  <a:lnTo>
                    <a:pt x="78" y="30"/>
                  </a:lnTo>
                  <a:lnTo>
                    <a:pt x="85" y="33"/>
                  </a:lnTo>
                  <a:lnTo>
                    <a:pt x="90" y="40"/>
                  </a:lnTo>
                  <a:lnTo>
                    <a:pt x="93" y="48"/>
                  </a:lnTo>
                  <a:lnTo>
                    <a:pt x="98" y="54"/>
                  </a:lnTo>
                  <a:lnTo>
                    <a:pt x="100" y="58"/>
                  </a:lnTo>
                  <a:lnTo>
                    <a:pt x="101" y="59"/>
                  </a:lnTo>
                  <a:lnTo>
                    <a:pt x="122" y="59"/>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54" name="Freeform 431"/>
            <p:cNvSpPr>
              <a:spLocks/>
            </p:cNvSpPr>
            <p:nvPr/>
          </p:nvSpPr>
          <p:spPr bwMode="auto">
            <a:xfrm>
              <a:off x="3934216" y="1593059"/>
              <a:ext cx="575550" cy="392660"/>
            </a:xfrm>
            <a:custGeom>
              <a:avLst/>
              <a:gdLst>
                <a:gd name="T0" fmla="*/ 567272 w 556"/>
                <a:gd name="T1" fmla="*/ 392961 h 395"/>
                <a:gd name="T2" fmla="*/ 539285 w 556"/>
                <a:gd name="T3" fmla="*/ 394986 h 395"/>
                <a:gd name="T4" fmla="*/ 503763 w 556"/>
                <a:gd name="T5" fmla="*/ 400050 h 395"/>
                <a:gd name="T6" fmla="*/ 473624 w 556"/>
                <a:gd name="T7" fmla="*/ 399037 h 395"/>
                <a:gd name="T8" fmla="*/ 445637 w 556"/>
                <a:gd name="T9" fmla="*/ 390935 h 395"/>
                <a:gd name="T10" fmla="*/ 404733 w 556"/>
                <a:gd name="T11" fmla="*/ 370679 h 395"/>
                <a:gd name="T12" fmla="*/ 381052 w 556"/>
                <a:gd name="T13" fmla="*/ 356500 h 395"/>
                <a:gd name="T14" fmla="*/ 332613 w 556"/>
                <a:gd name="T15" fmla="*/ 369666 h 395"/>
                <a:gd name="T16" fmla="*/ 291709 w 556"/>
                <a:gd name="T17" fmla="*/ 377769 h 395"/>
                <a:gd name="T18" fmla="*/ 279868 w 556"/>
                <a:gd name="T19" fmla="*/ 354475 h 395"/>
                <a:gd name="T20" fmla="*/ 315390 w 556"/>
                <a:gd name="T21" fmla="*/ 341308 h 395"/>
                <a:gd name="T22" fmla="*/ 355218 w 556"/>
                <a:gd name="T23" fmla="*/ 310925 h 395"/>
                <a:gd name="T24" fmla="*/ 344454 w 556"/>
                <a:gd name="T25" fmla="*/ 261299 h 395"/>
                <a:gd name="T26" fmla="*/ 311085 w 556"/>
                <a:gd name="T27" fmla="*/ 195467 h 395"/>
                <a:gd name="T28" fmla="*/ 262646 w 556"/>
                <a:gd name="T29" fmla="*/ 171161 h 395"/>
                <a:gd name="T30" fmla="*/ 217436 w 556"/>
                <a:gd name="T31" fmla="*/ 146854 h 395"/>
                <a:gd name="T32" fmla="*/ 199137 w 556"/>
                <a:gd name="T33" fmla="*/ 147867 h 395"/>
                <a:gd name="T34" fmla="*/ 165768 w 556"/>
                <a:gd name="T35" fmla="*/ 157994 h 395"/>
                <a:gd name="T36" fmla="*/ 133476 w 556"/>
                <a:gd name="T37" fmla="*/ 168122 h 395"/>
                <a:gd name="T38" fmla="*/ 102260 w 556"/>
                <a:gd name="T39" fmla="*/ 172173 h 395"/>
                <a:gd name="T40" fmla="*/ 54897 w 556"/>
                <a:gd name="T41" fmla="*/ 168122 h 395"/>
                <a:gd name="T42" fmla="*/ 19376 w 556"/>
                <a:gd name="T43" fmla="*/ 154956 h 395"/>
                <a:gd name="T44" fmla="*/ 24758 w 556"/>
                <a:gd name="T45" fmla="*/ 139764 h 395"/>
                <a:gd name="T46" fmla="*/ 45210 w 556"/>
                <a:gd name="T47" fmla="*/ 131662 h 395"/>
                <a:gd name="T48" fmla="*/ 4306 w 556"/>
                <a:gd name="T49" fmla="*/ 119509 h 395"/>
                <a:gd name="T50" fmla="*/ 0 w 556"/>
                <a:gd name="T51" fmla="*/ 76972 h 395"/>
                <a:gd name="T52" fmla="*/ 41980 w 556"/>
                <a:gd name="T53" fmla="*/ 3038 h 395"/>
                <a:gd name="T54" fmla="*/ 48439 w 556"/>
                <a:gd name="T55" fmla="*/ 70895 h 395"/>
                <a:gd name="T56" fmla="*/ 75349 w 556"/>
                <a:gd name="T57" fmla="*/ 108368 h 395"/>
                <a:gd name="T58" fmla="*/ 74273 w 556"/>
                <a:gd name="T59" fmla="*/ 3038 h 395"/>
                <a:gd name="T60" fmla="*/ 119482 w 556"/>
                <a:gd name="T61" fmla="*/ 26332 h 395"/>
                <a:gd name="T62" fmla="*/ 142087 w 556"/>
                <a:gd name="T63" fmla="*/ 52665 h 395"/>
                <a:gd name="T64" fmla="*/ 176532 w 556"/>
                <a:gd name="T65" fmla="*/ 23294 h 395"/>
                <a:gd name="T66" fmla="*/ 221742 w 556"/>
                <a:gd name="T67" fmla="*/ 44563 h 395"/>
                <a:gd name="T68" fmla="*/ 255111 w 556"/>
                <a:gd name="T69" fmla="*/ 49626 h 395"/>
                <a:gd name="T70" fmla="*/ 291709 w 556"/>
                <a:gd name="T71" fmla="*/ 59754 h 395"/>
                <a:gd name="T72" fmla="*/ 342301 w 556"/>
                <a:gd name="T73" fmla="*/ 63805 h 395"/>
                <a:gd name="T74" fmla="*/ 354141 w 556"/>
                <a:gd name="T75" fmla="*/ 72921 h 395"/>
                <a:gd name="T76" fmla="*/ 376746 w 556"/>
                <a:gd name="T77" fmla="*/ 88112 h 395"/>
                <a:gd name="T78" fmla="*/ 388587 w 556"/>
                <a:gd name="T79" fmla="*/ 103304 h 395"/>
                <a:gd name="T80" fmla="*/ 376746 w 556"/>
                <a:gd name="T81" fmla="*/ 119509 h 395"/>
                <a:gd name="T82" fmla="*/ 405809 w 556"/>
                <a:gd name="T83" fmla="*/ 134700 h 395"/>
                <a:gd name="T84" fmla="*/ 437025 w 556"/>
                <a:gd name="T85" fmla="*/ 145841 h 395"/>
                <a:gd name="T86" fmla="*/ 461783 w 556"/>
                <a:gd name="T87" fmla="*/ 144828 h 395"/>
                <a:gd name="T88" fmla="*/ 484388 w 556"/>
                <a:gd name="T89" fmla="*/ 153943 h 395"/>
                <a:gd name="T90" fmla="*/ 508069 w 556"/>
                <a:gd name="T91" fmla="*/ 153943 h 395"/>
                <a:gd name="T92" fmla="*/ 546820 w 556"/>
                <a:gd name="T93" fmla="*/ 171161 h 395"/>
                <a:gd name="T94" fmla="*/ 548973 w 556"/>
                <a:gd name="T95" fmla="*/ 193442 h 395"/>
                <a:gd name="T96" fmla="*/ 534979 w 556"/>
                <a:gd name="T97" fmla="*/ 214710 h 395"/>
                <a:gd name="T98" fmla="*/ 553278 w 556"/>
                <a:gd name="T99" fmla="*/ 242056 h 395"/>
                <a:gd name="T100" fmla="*/ 524215 w 556"/>
                <a:gd name="T101" fmla="*/ 245094 h 395"/>
                <a:gd name="T102" fmla="*/ 490846 w 556"/>
                <a:gd name="T103" fmla="*/ 228889 h 395"/>
                <a:gd name="T104" fmla="*/ 453172 w 556"/>
                <a:gd name="T105" fmla="*/ 232940 h 395"/>
                <a:gd name="T106" fmla="*/ 483311 w 556"/>
                <a:gd name="T107" fmla="*/ 265350 h 395"/>
                <a:gd name="T108" fmla="*/ 524215 w 556"/>
                <a:gd name="T109" fmla="*/ 278516 h 395"/>
                <a:gd name="T110" fmla="*/ 568348 w 556"/>
                <a:gd name="T111" fmla="*/ 297759 h 395"/>
                <a:gd name="T112" fmla="*/ 582342 w 556"/>
                <a:gd name="T113" fmla="*/ 336245 h 395"/>
                <a:gd name="T114" fmla="*/ 597412 w 556"/>
                <a:gd name="T115" fmla="*/ 361564 h 395"/>
                <a:gd name="T116" fmla="*/ 552202 w 556"/>
                <a:gd name="T117" fmla="*/ 352449 h 395"/>
                <a:gd name="T118" fmla="*/ 514527 w 556"/>
                <a:gd name="T119" fmla="*/ 344347 h 395"/>
                <a:gd name="T120" fmla="*/ 485464 w 556"/>
                <a:gd name="T121" fmla="*/ 344347 h 395"/>
                <a:gd name="T122" fmla="*/ 533903 w 556"/>
                <a:gd name="T123" fmla="*/ 362577 h 395"/>
                <a:gd name="T124" fmla="*/ 556508 w 556"/>
                <a:gd name="T125" fmla="*/ 371692 h 39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56"/>
                <a:gd name="T190" fmla="*/ 0 h 395"/>
                <a:gd name="T191" fmla="*/ 556 w 556"/>
                <a:gd name="T192" fmla="*/ 395 h 39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56" h="395">
                  <a:moveTo>
                    <a:pt x="539" y="379"/>
                  </a:moveTo>
                  <a:lnTo>
                    <a:pt x="540" y="380"/>
                  </a:lnTo>
                  <a:lnTo>
                    <a:pt x="542" y="383"/>
                  </a:lnTo>
                  <a:lnTo>
                    <a:pt x="541" y="387"/>
                  </a:lnTo>
                  <a:lnTo>
                    <a:pt x="533" y="388"/>
                  </a:lnTo>
                  <a:lnTo>
                    <a:pt x="527" y="388"/>
                  </a:lnTo>
                  <a:lnTo>
                    <a:pt x="523" y="387"/>
                  </a:lnTo>
                  <a:lnTo>
                    <a:pt x="518" y="387"/>
                  </a:lnTo>
                  <a:lnTo>
                    <a:pt x="514" y="388"/>
                  </a:lnTo>
                  <a:lnTo>
                    <a:pt x="510" y="388"/>
                  </a:lnTo>
                  <a:lnTo>
                    <a:pt x="506" y="389"/>
                  </a:lnTo>
                  <a:lnTo>
                    <a:pt x="501" y="390"/>
                  </a:lnTo>
                  <a:lnTo>
                    <a:pt x="495" y="392"/>
                  </a:lnTo>
                  <a:lnTo>
                    <a:pt x="488" y="393"/>
                  </a:lnTo>
                  <a:lnTo>
                    <a:pt x="482" y="394"/>
                  </a:lnTo>
                  <a:lnTo>
                    <a:pt x="478" y="395"/>
                  </a:lnTo>
                  <a:lnTo>
                    <a:pt x="473" y="395"/>
                  </a:lnTo>
                  <a:lnTo>
                    <a:pt x="468" y="395"/>
                  </a:lnTo>
                  <a:lnTo>
                    <a:pt x="464" y="394"/>
                  </a:lnTo>
                  <a:lnTo>
                    <a:pt x="459" y="394"/>
                  </a:lnTo>
                  <a:lnTo>
                    <a:pt x="453" y="393"/>
                  </a:lnTo>
                  <a:lnTo>
                    <a:pt x="449" y="393"/>
                  </a:lnTo>
                  <a:lnTo>
                    <a:pt x="444" y="393"/>
                  </a:lnTo>
                  <a:lnTo>
                    <a:pt x="440" y="394"/>
                  </a:lnTo>
                  <a:lnTo>
                    <a:pt x="435" y="395"/>
                  </a:lnTo>
                  <a:lnTo>
                    <a:pt x="430" y="395"/>
                  </a:lnTo>
                  <a:lnTo>
                    <a:pt x="427" y="395"/>
                  </a:lnTo>
                  <a:lnTo>
                    <a:pt x="422" y="394"/>
                  </a:lnTo>
                  <a:lnTo>
                    <a:pt x="419" y="392"/>
                  </a:lnTo>
                  <a:lnTo>
                    <a:pt x="414" y="386"/>
                  </a:lnTo>
                  <a:lnTo>
                    <a:pt x="413" y="380"/>
                  </a:lnTo>
                  <a:lnTo>
                    <a:pt x="409" y="375"/>
                  </a:lnTo>
                  <a:lnTo>
                    <a:pt x="397" y="372"/>
                  </a:lnTo>
                  <a:lnTo>
                    <a:pt x="389" y="371"/>
                  </a:lnTo>
                  <a:lnTo>
                    <a:pt x="382" y="368"/>
                  </a:lnTo>
                  <a:lnTo>
                    <a:pt x="376" y="366"/>
                  </a:lnTo>
                  <a:lnTo>
                    <a:pt x="372" y="364"/>
                  </a:lnTo>
                  <a:lnTo>
                    <a:pt x="368" y="362"/>
                  </a:lnTo>
                  <a:lnTo>
                    <a:pt x="365" y="359"/>
                  </a:lnTo>
                  <a:lnTo>
                    <a:pt x="362" y="358"/>
                  </a:lnTo>
                  <a:lnTo>
                    <a:pt x="359" y="356"/>
                  </a:lnTo>
                  <a:lnTo>
                    <a:pt x="354" y="352"/>
                  </a:lnTo>
                  <a:lnTo>
                    <a:pt x="350" y="351"/>
                  </a:lnTo>
                  <a:lnTo>
                    <a:pt x="344" y="352"/>
                  </a:lnTo>
                  <a:lnTo>
                    <a:pt x="335" y="357"/>
                  </a:lnTo>
                  <a:lnTo>
                    <a:pt x="324" y="362"/>
                  </a:lnTo>
                  <a:lnTo>
                    <a:pt x="316" y="363"/>
                  </a:lnTo>
                  <a:lnTo>
                    <a:pt x="309" y="365"/>
                  </a:lnTo>
                  <a:lnTo>
                    <a:pt x="304" y="370"/>
                  </a:lnTo>
                  <a:lnTo>
                    <a:pt x="297" y="377"/>
                  </a:lnTo>
                  <a:lnTo>
                    <a:pt x="290" y="381"/>
                  </a:lnTo>
                  <a:lnTo>
                    <a:pt x="283" y="381"/>
                  </a:lnTo>
                  <a:lnTo>
                    <a:pt x="276" y="377"/>
                  </a:lnTo>
                  <a:lnTo>
                    <a:pt x="271" y="373"/>
                  </a:lnTo>
                  <a:lnTo>
                    <a:pt x="267" y="370"/>
                  </a:lnTo>
                  <a:lnTo>
                    <a:pt x="262" y="366"/>
                  </a:lnTo>
                  <a:lnTo>
                    <a:pt x="259" y="363"/>
                  </a:lnTo>
                  <a:lnTo>
                    <a:pt x="256" y="358"/>
                  </a:lnTo>
                  <a:lnTo>
                    <a:pt x="256" y="355"/>
                  </a:lnTo>
                  <a:lnTo>
                    <a:pt x="260" y="350"/>
                  </a:lnTo>
                  <a:lnTo>
                    <a:pt x="268" y="344"/>
                  </a:lnTo>
                  <a:lnTo>
                    <a:pt x="277" y="340"/>
                  </a:lnTo>
                  <a:lnTo>
                    <a:pt x="283" y="337"/>
                  </a:lnTo>
                  <a:lnTo>
                    <a:pt x="288" y="337"/>
                  </a:lnTo>
                  <a:lnTo>
                    <a:pt x="291" y="337"/>
                  </a:lnTo>
                  <a:lnTo>
                    <a:pt x="293" y="337"/>
                  </a:lnTo>
                  <a:lnTo>
                    <a:pt x="296" y="336"/>
                  </a:lnTo>
                  <a:lnTo>
                    <a:pt x="300" y="334"/>
                  </a:lnTo>
                  <a:lnTo>
                    <a:pt x="305" y="329"/>
                  </a:lnTo>
                  <a:lnTo>
                    <a:pt x="316" y="320"/>
                  </a:lnTo>
                  <a:lnTo>
                    <a:pt x="326" y="313"/>
                  </a:lnTo>
                  <a:lnTo>
                    <a:pt x="330" y="307"/>
                  </a:lnTo>
                  <a:lnTo>
                    <a:pt x="327" y="301"/>
                  </a:lnTo>
                  <a:lnTo>
                    <a:pt x="318" y="295"/>
                  </a:lnTo>
                  <a:lnTo>
                    <a:pt x="308" y="292"/>
                  </a:lnTo>
                  <a:lnTo>
                    <a:pt x="305" y="287"/>
                  </a:lnTo>
                  <a:lnTo>
                    <a:pt x="309" y="273"/>
                  </a:lnTo>
                  <a:lnTo>
                    <a:pt x="320" y="258"/>
                  </a:lnTo>
                  <a:lnTo>
                    <a:pt x="328" y="246"/>
                  </a:lnTo>
                  <a:lnTo>
                    <a:pt x="327" y="235"/>
                  </a:lnTo>
                  <a:lnTo>
                    <a:pt x="315" y="218"/>
                  </a:lnTo>
                  <a:lnTo>
                    <a:pt x="306" y="208"/>
                  </a:lnTo>
                  <a:lnTo>
                    <a:pt x="297" y="200"/>
                  </a:lnTo>
                  <a:lnTo>
                    <a:pt x="289" y="193"/>
                  </a:lnTo>
                  <a:lnTo>
                    <a:pt x="282" y="188"/>
                  </a:lnTo>
                  <a:lnTo>
                    <a:pt x="274" y="183"/>
                  </a:lnTo>
                  <a:lnTo>
                    <a:pt x="267" y="180"/>
                  </a:lnTo>
                  <a:lnTo>
                    <a:pt x="260" y="176"/>
                  </a:lnTo>
                  <a:lnTo>
                    <a:pt x="252" y="173"/>
                  </a:lnTo>
                  <a:lnTo>
                    <a:pt x="244" y="169"/>
                  </a:lnTo>
                  <a:lnTo>
                    <a:pt x="236" y="166"/>
                  </a:lnTo>
                  <a:lnTo>
                    <a:pt x="228" y="161"/>
                  </a:lnTo>
                  <a:lnTo>
                    <a:pt x="221" y="156"/>
                  </a:lnTo>
                  <a:lnTo>
                    <a:pt x="214" y="152"/>
                  </a:lnTo>
                  <a:lnTo>
                    <a:pt x="208" y="148"/>
                  </a:lnTo>
                  <a:lnTo>
                    <a:pt x="202" y="145"/>
                  </a:lnTo>
                  <a:lnTo>
                    <a:pt x="199" y="142"/>
                  </a:lnTo>
                  <a:lnTo>
                    <a:pt x="191" y="137"/>
                  </a:lnTo>
                  <a:lnTo>
                    <a:pt x="183" y="132"/>
                  </a:lnTo>
                  <a:lnTo>
                    <a:pt x="178" y="131"/>
                  </a:lnTo>
                  <a:lnTo>
                    <a:pt x="179" y="137"/>
                  </a:lnTo>
                  <a:lnTo>
                    <a:pt x="185" y="146"/>
                  </a:lnTo>
                  <a:lnTo>
                    <a:pt x="186" y="152"/>
                  </a:lnTo>
                  <a:lnTo>
                    <a:pt x="183" y="155"/>
                  </a:lnTo>
                  <a:lnTo>
                    <a:pt x="171" y="155"/>
                  </a:lnTo>
                  <a:lnTo>
                    <a:pt x="163" y="155"/>
                  </a:lnTo>
                  <a:lnTo>
                    <a:pt x="159" y="155"/>
                  </a:lnTo>
                  <a:lnTo>
                    <a:pt x="154" y="156"/>
                  </a:lnTo>
                  <a:lnTo>
                    <a:pt x="151" y="159"/>
                  </a:lnTo>
                  <a:lnTo>
                    <a:pt x="147" y="161"/>
                  </a:lnTo>
                  <a:lnTo>
                    <a:pt x="142" y="162"/>
                  </a:lnTo>
                  <a:lnTo>
                    <a:pt x="138" y="163"/>
                  </a:lnTo>
                  <a:lnTo>
                    <a:pt x="131" y="165"/>
                  </a:lnTo>
                  <a:lnTo>
                    <a:pt x="124" y="166"/>
                  </a:lnTo>
                  <a:lnTo>
                    <a:pt x="118" y="167"/>
                  </a:lnTo>
                  <a:lnTo>
                    <a:pt x="114" y="168"/>
                  </a:lnTo>
                  <a:lnTo>
                    <a:pt x="110" y="169"/>
                  </a:lnTo>
                  <a:lnTo>
                    <a:pt x="106" y="170"/>
                  </a:lnTo>
                  <a:lnTo>
                    <a:pt x="101" y="170"/>
                  </a:lnTo>
                  <a:lnTo>
                    <a:pt x="95" y="170"/>
                  </a:lnTo>
                  <a:lnTo>
                    <a:pt x="87" y="169"/>
                  </a:lnTo>
                  <a:lnTo>
                    <a:pt x="74" y="166"/>
                  </a:lnTo>
                  <a:lnTo>
                    <a:pt x="70" y="162"/>
                  </a:lnTo>
                  <a:lnTo>
                    <a:pt x="66" y="160"/>
                  </a:lnTo>
                  <a:lnTo>
                    <a:pt x="60" y="161"/>
                  </a:lnTo>
                  <a:lnTo>
                    <a:pt x="51" y="166"/>
                  </a:lnTo>
                  <a:lnTo>
                    <a:pt x="47" y="168"/>
                  </a:lnTo>
                  <a:lnTo>
                    <a:pt x="43" y="168"/>
                  </a:lnTo>
                  <a:lnTo>
                    <a:pt x="35" y="163"/>
                  </a:lnTo>
                  <a:lnTo>
                    <a:pt x="30" y="160"/>
                  </a:lnTo>
                  <a:lnTo>
                    <a:pt x="24" y="156"/>
                  </a:lnTo>
                  <a:lnTo>
                    <a:pt x="18" y="153"/>
                  </a:lnTo>
                  <a:lnTo>
                    <a:pt x="13" y="151"/>
                  </a:lnTo>
                  <a:lnTo>
                    <a:pt x="10" y="148"/>
                  </a:lnTo>
                  <a:lnTo>
                    <a:pt x="9" y="145"/>
                  </a:lnTo>
                  <a:lnTo>
                    <a:pt x="11" y="143"/>
                  </a:lnTo>
                  <a:lnTo>
                    <a:pt x="16" y="140"/>
                  </a:lnTo>
                  <a:lnTo>
                    <a:pt x="23" y="138"/>
                  </a:lnTo>
                  <a:lnTo>
                    <a:pt x="30" y="137"/>
                  </a:lnTo>
                  <a:lnTo>
                    <a:pt x="36" y="136"/>
                  </a:lnTo>
                  <a:lnTo>
                    <a:pt x="41" y="135"/>
                  </a:lnTo>
                  <a:lnTo>
                    <a:pt x="45" y="133"/>
                  </a:lnTo>
                  <a:lnTo>
                    <a:pt x="45" y="132"/>
                  </a:lnTo>
                  <a:lnTo>
                    <a:pt x="42" y="130"/>
                  </a:lnTo>
                  <a:lnTo>
                    <a:pt x="35" y="128"/>
                  </a:lnTo>
                  <a:lnTo>
                    <a:pt x="27" y="125"/>
                  </a:lnTo>
                  <a:lnTo>
                    <a:pt x="19" y="123"/>
                  </a:lnTo>
                  <a:lnTo>
                    <a:pt x="13" y="122"/>
                  </a:lnTo>
                  <a:lnTo>
                    <a:pt x="9" y="121"/>
                  </a:lnTo>
                  <a:lnTo>
                    <a:pt x="4" y="118"/>
                  </a:lnTo>
                  <a:lnTo>
                    <a:pt x="2" y="116"/>
                  </a:lnTo>
                  <a:lnTo>
                    <a:pt x="0" y="112"/>
                  </a:lnTo>
                  <a:lnTo>
                    <a:pt x="0" y="105"/>
                  </a:lnTo>
                  <a:lnTo>
                    <a:pt x="0" y="93"/>
                  </a:lnTo>
                  <a:lnTo>
                    <a:pt x="0" y="85"/>
                  </a:lnTo>
                  <a:lnTo>
                    <a:pt x="0" y="76"/>
                  </a:lnTo>
                  <a:lnTo>
                    <a:pt x="1" y="60"/>
                  </a:lnTo>
                  <a:lnTo>
                    <a:pt x="5" y="39"/>
                  </a:lnTo>
                  <a:lnTo>
                    <a:pt x="12" y="21"/>
                  </a:lnTo>
                  <a:lnTo>
                    <a:pt x="22" y="9"/>
                  </a:lnTo>
                  <a:lnTo>
                    <a:pt x="31" y="3"/>
                  </a:lnTo>
                  <a:lnTo>
                    <a:pt x="39" y="3"/>
                  </a:lnTo>
                  <a:lnTo>
                    <a:pt x="46" y="6"/>
                  </a:lnTo>
                  <a:lnTo>
                    <a:pt x="50" y="10"/>
                  </a:lnTo>
                  <a:lnTo>
                    <a:pt x="49" y="19"/>
                  </a:lnTo>
                  <a:lnTo>
                    <a:pt x="43" y="40"/>
                  </a:lnTo>
                  <a:lnTo>
                    <a:pt x="42" y="56"/>
                  </a:lnTo>
                  <a:lnTo>
                    <a:pt x="45" y="70"/>
                  </a:lnTo>
                  <a:lnTo>
                    <a:pt x="50" y="80"/>
                  </a:lnTo>
                  <a:lnTo>
                    <a:pt x="56" y="90"/>
                  </a:lnTo>
                  <a:lnTo>
                    <a:pt x="62" y="97"/>
                  </a:lnTo>
                  <a:lnTo>
                    <a:pt x="68" y="102"/>
                  </a:lnTo>
                  <a:lnTo>
                    <a:pt x="71" y="108"/>
                  </a:lnTo>
                  <a:lnTo>
                    <a:pt x="70" y="107"/>
                  </a:lnTo>
                  <a:lnTo>
                    <a:pt x="63" y="87"/>
                  </a:lnTo>
                  <a:lnTo>
                    <a:pt x="56" y="62"/>
                  </a:lnTo>
                  <a:lnTo>
                    <a:pt x="55" y="41"/>
                  </a:lnTo>
                  <a:lnTo>
                    <a:pt x="58" y="26"/>
                  </a:lnTo>
                  <a:lnTo>
                    <a:pt x="62" y="12"/>
                  </a:lnTo>
                  <a:lnTo>
                    <a:pt x="69" y="3"/>
                  </a:lnTo>
                  <a:lnTo>
                    <a:pt x="79" y="0"/>
                  </a:lnTo>
                  <a:lnTo>
                    <a:pt x="91" y="2"/>
                  </a:lnTo>
                  <a:lnTo>
                    <a:pt x="100" y="7"/>
                  </a:lnTo>
                  <a:lnTo>
                    <a:pt x="106" y="14"/>
                  </a:lnTo>
                  <a:lnTo>
                    <a:pt x="109" y="21"/>
                  </a:lnTo>
                  <a:lnTo>
                    <a:pt x="111" y="26"/>
                  </a:lnTo>
                  <a:lnTo>
                    <a:pt x="114" y="32"/>
                  </a:lnTo>
                  <a:lnTo>
                    <a:pt x="115" y="39"/>
                  </a:lnTo>
                  <a:lnTo>
                    <a:pt x="116" y="47"/>
                  </a:lnTo>
                  <a:lnTo>
                    <a:pt x="118" y="53"/>
                  </a:lnTo>
                  <a:lnTo>
                    <a:pt x="124" y="54"/>
                  </a:lnTo>
                  <a:lnTo>
                    <a:pt x="132" y="52"/>
                  </a:lnTo>
                  <a:lnTo>
                    <a:pt x="140" y="47"/>
                  </a:lnTo>
                  <a:lnTo>
                    <a:pt x="146" y="41"/>
                  </a:lnTo>
                  <a:lnTo>
                    <a:pt x="147" y="36"/>
                  </a:lnTo>
                  <a:lnTo>
                    <a:pt x="149" y="31"/>
                  </a:lnTo>
                  <a:lnTo>
                    <a:pt x="156" y="27"/>
                  </a:lnTo>
                  <a:lnTo>
                    <a:pt x="164" y="23"/>
                  </a:lnTo>
                  <a:lnTo>
                    <a:pt x="169" y="19"/>
                  </a:lnTo>
                  <a:lnTo>
                    <a:pt x="175" y="19"/>
                  </a:lnTo>
                  <a:lnTo>
                    <a:pt x="185" y="24"/>
                  </a:lnTo>
                  <a:lnTo>
                    <a:pt x="197" y="32"/>
                  </a:lnTo>
                  <a:lnTo>
                    <a:pt x="202" y="38"/>
                  </a:lnTo>
                  <a:lnTo>
                    <a:pt x="206" y="44"/>
                  </a:lnTo>
                  <a:lnTo>
                    <a:pt x="209" y="49"/>
                  </a:lnTo>
                  <a:lnTo>
                    <a:pt x="214" y="55"/>
                  </a:lnTo>
                  <a:lnTo>
                    <a:pt x="221" y="60"/>
                  </a:lnTo>
                  <a:lnTo>
                    <a:pt x="227" y="61"/>
                  </a:lnTo>
                  <a:lnTo>
                    <a:pt x="231" y="56"/>
                  </a:lnTo>
                  <a:lnTo>
                    <a:pt x="237" y="49"/>
                  </a:lnTo>
                  <a:lnTo>
                    <a:pt x="246" y="46"/>
                  </a:lnTo>
                  <a:lnTo>
                    <a:pt x="256" y="46"/>
                  </a:lnTo>
                  <a:lnTo>
                    <a:pt x="263" y="49"/>
                  </a:lnTo>
                  <a:lnTo>
                    <a:pt x="266" y="54"/>
                  </a:lnTo>
                  <a:lnTo>
                    <a:pt x="268" y="56"/>
                  </a:lnTo>
                  <a:lnTo>
                    <a:pt x="271" y="59"/>
                  </a:lnTo>
                  <a:lnTo>
                    <a:pt x="281" y="61"/>
                  </a:lnTo>
                  <a:lnTo>
                    <a:pt x="288" y="62"/>
                  </a:lnTo>
                  <a:lnTo>
                    <a:pt x="296" y="62"/>
                  </a:lnTo>
                  <a:lnTo>
                    <a:pt x="304" y="63"/>
                  </a:lnTo>
                  <a:lnTo>
                    <a:pt x="311" y="63"/>
                  </a:lnTo>
                  <a:lnTo>
                    <a:pt x="318" y="63"/>
                  </a:lnTo>
                  <a:lnTo>
                    <a:pt x="321" y="64"/>
                  </a:lnTo>
                  <a:lnTo>
                    <a:pt x="323" y="67"/>
                  </a:lnTo>
                  <a:lnTo>
                    <a:pt x="321" y="69"/>
                  </a:lnTo>
                  <a:lnTo>
                    <a:pt x="319" y="72"/>
                  </a:lnTo>
                  <a:lnTo>
                    <a:pt x="322" y="72"/>
                  </a:lnTo>
                  <a:lnTo>
                    <a:pt x="329" y="72"/>
                  </a:lnTo>
                  <a:lnTo>
                    <a:pt x="335" y="74"/>
                  </a:lnTo>
                  <a:lnTo>
                    <a:pt x="339" y="78"/>
                  </a:lnTo>
                  <a:lnTo>
                    <a:pt x="345" y="83"/>
                  </a:lnTo>
                  <a:lnTo>
                    <a:pt x="349" y="86"/>
                  </a:lnTo>
                  <a:lnTo>
                    <a:pt x="351" y="87"/>
                  </a:lnTo>
                  <a:lnTo>
                    <a:pt x="350" y="87"/>
                  </a:lnTo>
                  <a:lnTo>
                    <a:pt x="345" y="89"/>
                  </a:lnTo>
                  <a:lnTo>
                    <a:pt x="342" y="91"/>
                  </a:lnTo>
                  <a:lnTo>
                    <a:pt x="339" y="93"/>
                  </a:lnTo>
                  <a:lnTo>
                    <a:pt x="343" y="97"/>
                  </a:lnTo>
                  <a:lnTo>
                    <a:pt x="352" y="100"/>
                  </a:lnTo>
                  <a:lnTo>
                    <a:pt x="361" y="102"/>
                  </a:lnTo>
                  <a:lnTo>
                    <a:pt x="361" y="105"/>
                  </a:lnTo>
                  <a:lnTo>
                    <a:pt x="357" y="107"/>
                  </a:lnTo>
                  <a:lnTo>
                    <a:pt x="353" y="108"/>
                  </a:lnTo>
                  <a:lnTo>
                    <a:pt x="351" y="110"/>
                  </a:lnTo>
                  <a:lnTo>
                    <a:pt x="351" y="115"/>
                  </a:lnTo>
                  <a:lnTo>
                    <a:pt x="350" y="118"/>
                  </a:lnTo>
                  <a:lnTo>
                    <a:pt x="349" y="123"/>
                  </a:lnTo>
                  <a:lnTo>
                    <a:pt x="349" y="127"/>
                  </a:lnTo>
                  <a:lnTo>
                    <a:pt x="353" y="132"/>
                  </a:lnTo>
                  <a:lnTo>
                    <a:pt x="361" y="135"/>
                  </a:lnTo>
                  <a:lnTo>
                    <a:pt x="371" y="133"/>
                  </a:lnTo>
                  <a:lnTo>
                    <a:pt x="377" y="133"/>
                  </a:lnTo>
                  <a:lnTo>
                    <a:pt x="384" y="136"/>
                  </a:lnTo>
                  <a:lnTo>
                    <a:pt x="392" y="143"/>
                  </a:lnTo>
                  <a:lnTo>
                    <a:pt x="400" y="150"/>
                  </a:lnTo>
                  <a:lnTo>
                    <a:pt x="407" y="152"/>
                  </a:lnTo>
                  <a:lnTo>
                    <a:pt x="409" y="150"/>
                  </a:lnTo>
                  <a:lnTo>
                    <a:pt x="406" y="144"/>
                  </a:lnTo>
                  <a:lnTo>
                    <a:pt x="403" y="139"/>
                  </a:lnTo>
                  <a:lnTo>
                    <a:pt x="403" y="137"/>
                  </a:lnTo>
                  <a:lnTo>
                    <a:pt x="409" y="139"/>
                  </a:lnTo>
                  <a:lnTo>
                    <a:pt x="414" y="140"/>
                  </a:lnTo>
                  <a:lnTo>
                    <a:pt x="421" y="142"/>
                  </a:lnTo>
                  <a:lnTo>
                    <a:pt x="429" y="143"/>
                  </a:lnTo>
                  <a:lnTo>
                    <a:pt x="436" y="143"/>
                  </a:lnTo>
                  <a:lnTo>
                    <a:pt x="442" y="144"/>
                  </a:lnTo>
                  <a:lnTo>
                    <a:pt x="447" y="145"/>
                  </a:lnTo>
                  <a:lnTo>
                    <a:pt x="450" y="146"/>
                  </a:lnTo>
                  <a:lnTo>
                    <a:pt x="451" y="148"/>
                  </a:lnTo>
                  <a:lnTo>
                    <a:pt x="450" y="152"/>
                  </a:lnTo>
                  <a:lnTo>
                    <a:pt x="451" y="154"/>
                  </a:lnTo>
                  <a:lnTo>
                    <a:pt x="453" y="155"/>
                  </a:lnTo>
                  <a:lnTo>
                    <a:pt x="457" y="155"/>
                  </a:lnTo>
                  <a:lnTo>
                    <a:pt x="461" y="155"/>
                  </a:lnTo>
                  <a:lnTo>
                    <a:pt x="466" y="153"/>
                  </a:lnTo>
                  <a:lnTo>
                    <a:pt x="472" y="152"/>
                  </a:lnTo>
                  <a:lnTo>
                    <a:pt x="480" y="152"/>
                  </a:lnTo>
                  <a:lnTo>
                    <a:pt x="490" y="153"/>
                  </a:lnTo>
                  <a:lnTo>
                    <a:pt x="501" y="154"/>
                  </a:lnTo>
                  <a:lnTo>
                    <a:pt x="509" y="158"/>
                  </a:lnTo>
                  <a:lnTo>
                    <a:pt x="511" y="163"/>
                  </a:lnTo>
                  <a:lnTo>
                    <a:pt x="508" y="169"/>
                  </a:lnTo>
                  <a:lnTo>
                    <a:pt x="501" y="173"/>
                  </a:lnTo>
                  <a:lnTo>
                    <a:pt x="496" y="176"/>
                  </a:lnTo>
                  <a:lnTo>
                    <a:pt x="496" y="180"/>
                  </a:lnTo>
                  <a:lnTo>
                    <a:pt x="501" y="183"/>
                  </a:lnTo>
                  <a:lnTo>
                    <a:pt x="505" y="186"/>
                  </a:lnTo>
                  <a:lnTo>
                    <a:pt x="510" y="191"/>
                  </a:lnTo>
                  <a:lnTo>
                    <a:pt x="511" y="196"/>
                  </a:lnTo>
                  <a:lnTo>
                    <a:pt x="511" y="200"/>
                  </a:lnTo>
                  <a:lnTo>
                    <a:pt x="509" y="204"/>
                  </a:lnTo>
                  <a:lnTo>
                    <a:pt x="505" y="207"/>
                  </a:lnTo>
                  <a:lnTo>
                    <a:pt x="501" y="209"/>
                  </a:lnTo>
                  <a:lnTo>
                    <a:pt x="497" y="212"/>
                  </a:lnTo>
                  <a:lnTo>
                    <a:pt x="497" y="214"/>
                  </a:lnTo>
                  <a:lnTo>
                    <a:pt x="499" y="219"/>
                  </a:lnTo>
                  <a:lnTo>
                    <a:pt x="505" y="223"/>
                  </a:lnTo>
                  <a:lnTo>
                    <a:pt x="511" y="228"/>
                  </a:lnTo>
                  <a:lnTo>
                    <a:pt x="514" y="234"/>
                  </a:lnTo>
                  <a:lnTo>
                    <a:pt x="514" y="239"/>
                  </a:lnTo>
                  <a:lnTo>
                    <a:pt x="511" y="244"/>
                  </a:lnTo>
                  <a:lnTo>
                    <a:pt x="506" y="248"/>
                  </a:lnTo>
                  <a:lnTo>
                    <a:pt x="503" y="249"/>
                  </a:lnTo>
                  <a:lnTo>
                    <a:pt x="501" y="249"/>
                  </a:lnTo>
                  <a:lnTo>
                    <a:pt x="495" y="245"/>
                  </a:lnTo>
                  <a:lnTo>
                    <a:pt x="487" y="242"/>
                  </a:lnTo>
                  <a:lnTo>
                    <a:pt x="480" y="238"/>
                  </a:lnTo>
                  <a:lnTo>
                    <a:pt x="474" y="235"/>
                  </a:lnTo>
                  <a:lnTo>
                    <a:pt x="468" y="231"/>
                  </a:lnTo>
                  <a:lnTo>
                    <a:pt x="465" y="229"/>
                  </a:lnTo>
                  <a:lnTo>
                    <a:pt x="460" y="228"/>
                  </a:lnTo>
                  <a:lnTo>
                    <a:pt x="456" y="226"/>
                  </a:lnTo>
                  <a:lnTo>
                    <a:pt x="449" y="223"/>
                  </a:lnTo>
                  <a:lnTo>
                    <a:pt x="440" y="220"/>
                  </a:lnTo>
                  <a:lnTo>
                    <a:pt x="432" y="219"/>
                  </a:lnTo>
                  <a:lnTo>
                    <a:pt x="425" y="220"/>
                  </a:lnTo>
                  <a:lnTo>
                    <a:pt x="421" y="224"/>
                  </a:lnTo>
                  <a:lnTo>
                    <a:pt x="421" y="230"/>
                  </a:lnTo>
                  <a:lnTo>
                    <a:pt x="423" y="236"/>
                  </a:lnTo>
                  <a:lnTo>
                    <a:pt x="428" y="243"/>
                  </a:lnTo>
                  <a:lnTo>
                    <a:pt x="435" y="251"/>
                  </a:lnTo>
                  <a:lnTo>
                    <a:pt x="440" y="254"/>
                  </a:lnTo>
                  <a:lnTo>
                    <a:pt x="443" y="259"/>
                  </a:lnTo>
                  <a:lnTo>
                    <a:pt x="449" y="262"/>
                  </a:lnTo>
                  <a:lnTo>
                    <a:pt x="453" y="265"/>
                  </a:lnTo>
                  <a:lnTo>
                    <a:pt x="459" y="268"/>
                  </a:lnTo>
                  <a:lnTo>
                    <a:pt x="465" y="271"/>
                  </a:lnTo>
                  <a:lnTo>
                    <a:pt x="471" y="272"/>
                  </a:lnTo>
                  <a:lnTo>
                    <a:pt x="476" y="273"/>
                  </a:lnTo>
                  <a:lnTo>
                    <a:pt x="487" y="275"/>
                  </a:lnTo>
                  <a:lnTo>
                    <a:pt x="495" y="277"/>
                  </a:lnTo>
                  <a:lnTo>
                    <a:pt x="501" y="281"/>
                  </a:lnTo>
                  <a:lnTo>
                    <a:pt x="505" y="286"/>
                  </a:lnTo>
                  <a:lnTo>
                    <a:pt x="512" y="289"/>
                  </a:lnTo>
                  <a:lnTo>
                    <a:pt x="520" y="291"/>
                  </a:lnTo>
                  <a:lnTo>
                    <a:pt x="528" y="294"/>
                  </a:lnTo>
                  <a:lnTo>
                    <a:pt x="533" y="301"/>
                  </a:lnTo>
                  <a:lnTo>
                    <a:pt x="534" y="307"/>
                  </a:lnTo>
                  <a:lnTo>
                    <a:pt x="533" y="311"/>
                  </a:lnTo>
                  <a:lnTo>
                    <a:pt x="533" y="315"/>
                  </a:lnTo>
                  <a:lnTo>
                    <a:pt x="536" y="324"/>
                  </a:lnTo>
                  <a:lnTo>
                    <a:pt x="541" y="332"/>
                  </a:lnTo>
                  <a:lnTo>
                    <a:pt x="543" y="337"/>
                  </a:lnTo>
                  <a:lnTo>
                    <a:pt x="544" y="342"/>
                  </a:lnTo>
                  <a:lnTo>
                    <a:pt x="548" y="345"/>
                  </a:lnTo>
                  <a:lnTo>
                    <a:pt x="552" y="350"/>
                  </a:lnTo>
                  <a:lnTo>
                    <a:pt x="556" y="354"/>
                  </a:lnTo>
                  <a:lnTo>
                    <a:pt x="555" y="357"/>
                  </a:lnTo>
                  <a:lnTo>
                    <a:pt x="549" y="356"/>
                  </a:lnTo>
                  <a:lnTo>
                    <a:pt x="544" y="352"/>
                  </a:lnTo>
                  <a:lnTo>
                    <a:pt x="541" y="349"/>
                  </a:lnTo>
                  <a:lnTo>
                    <a:pt x="535" y="345"/>
                  </a:lnTo>
                  <a:lnTo>
                    <a:pt x="525" y="345"/>
                  </a:lnTo>
                  <a:lnTo>
                    <a:pt x="513" y="348"/>
                  </a:lnTo>
                  <a:lnTo>
                    <a:pt x="505" y="349"/>
                  </a:lnTo>
                  <a:lnTo>
                    <a:pt x="499" y="349"/>
                  </a:lnTo>
                  <a:lnTo>
                    <a:pt x="493" y="345"/>
                  </a:lnTo>
                  <a:lnTo>
                    <a:pt x="488" y="343"/>
                  </a:lnTo>
                  <a:lnTo>
                    <a:pt x="483" y="342"/>
                  </a:lnTo>
                  <a:lnTo>
                    <a:pt x="478" y="340"/>
                  </a:lnTo>
                  <a:lnTo>
                    <a:pt x="472" y="339"/>
                  </a:lnTo>
                  <a:lnTo>
                    <a:pt x="466" y="337"/>
                  </a:lnTo>
                  <a:lnTo>
                    <a:pt x="461" y="337"/>
                  </a:lnTo>
                  <a:lnTo>
                    <a:pt x="457" y="337"/>
                  </a:lnTo>
                  <a:lnTo>
                    <a:pt x="453" y="337"/>
                  </a:lnTo>
                  <a:lnTo>
                    <a:pt x="451" y="340"/>
                  </a:lnTo>
                  <a:lnTo>
                    <a:pt x="455" y="343"/>
                  </a:lnTo>
                  <a:lnTo>
                    <a:pt x="463" y="347"/>
                  </a:lnTo>
                  <a:lnTo>
                    <a:pt x="476" y="352"/>
                  </a:lnTo>
                  <a:lnTo>
                    <a:pt x="485" y="355"/>
                  </a:lnTo>
                  <a:lnTo>
                    <a:pt x="490" y="357"/>
                  </a:lnTo>
                  <a:lnTo>
                    <a:pt x="496" y="358"/>
                  </a:lnTo>
                  <a:lnTo>
                    <a:pt x="499" y="358"/>
                  </a:lnTo>
                  <a:lnTo>
                    <a:pt x="503" y="359"/>
                  </a:lnTo>
                  <a:lnTo>
                    <a:pt x="506" y="360"/>
                  </a:lnTo>
                  <a:lnTo>
                    <a:pt x="509" y="362"/>
                  </a:lnTo>
                  <a:lnTo>
                    <a:pt x="511" y="364"/>
                  </a:lnTo>
                  <a:lnTo>
                    <a:pt x="517" y="367"/>
                  </a:lnTo>
                  <a:lnTo>
                    <a:pt x="525" y="371"/>
                  </a:lnTo>
                  <a:lnTo>
                    <a:pt x="533" y="374"/>
                  </a:lnTo>
                  <a:lnTo>
                    <a:pt x="539" y="379"/>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55" name="Freeform 432"/>
            <p:cNvSpPr>
              <a:spLocks/>
            </p:cNvSpPr>
            <p:nvPr/>
          </p:nvSpPr>
          <p:spPr bwMode="auto">
            <a:xfrm>
              <a:off x="3436530" y="1527615"/>
              <a:ext cx="152666" cy="143352"/>
            </a:xfrm>
            <a:custGeom>
              <a:avLst/>
              <a:gdLst>
                <a:gd name="T0" fmla="*/ 156605 w 148"/>
                <a:gd name="T1" fmla="*/ 67023 h 146"/>
                <a:gd name="T2" fmla="*/ 151242 w 148"/>
                <a:gd name="T3" fmla="*/ 44015 h 146"/>
                <a:gd name="T4" fmla="*/ 138370 w 148"/>
                <a:gd name="T5" fmla="*/ 33011 h 146"/>
                <a:gd name="T6" fmla="*/ 128716 w 148"/>
                <a:gd name="T7" fmla="*/ 35012 h 146"/>
                <a:gd name="T8" fmla="*/ 119062 w 148"/>
                <a:gd name="T9" fmla="*/ 26009 h 146"/>
                <a:gd name="T10" fmla="*/ 111554 w 148"/>
                <a:gd name="T11" fmla="*/ 14005 h 146"/>
                <a:gd name="T12" fmla="*/ 94392 w 148"/>
                <a:gd name="T13" fmla="*/ 10003 h 146"/>
                <a:gd name="T14" fmla="*/ 82593 w 148"/>
                <a:gd name="T15" fmla="*/ 7002 h 146"/>
                <a:gd name="T16" fmla="*/ 72939 w 148"/>
                <a:gd name="T17" fmla="*/ 1000 h 146"/>
                <a:gd name="T18" fmla="*/ 66503 w 148"/>
                <a:gd name="T19" fmla="*/ 0 h 146"/>
                <a:gd name="T20" fmla="*/ 62213 w 148"/>
                <a:gd name="T21" fmla="*/ 8003 h 146"/>
                <a:gd name="T22" fmla="*/ 61140 w 148"/>
                <a:gd name="T23" fmla="*/ 20007 h 146"/>
                <a:gd name="T24" fmla="*/ 53632 w 148"/>
                <a:gd name="T25" fmla="*/ 31011 h 146"/>
                <a:gd name="T26" fmla="*/ 34324 w 148"/>
                <a:gd name="T27" fmla="*/ 50017 h 146"/>
                <a:gd name="T28" fmla="*/ 21453 w 148"/>
                <a:gd name="T29" fmla="*/ 62021 h 146"/>
                <a:gd name="T30" fmla="*/ 3218 w 148"/>
                <a:gd name="T31" fmla="*/ 82028 h 146"/>
                <a:gd name="T32" fmla="*/ 3218 w 148"/>
                <a:gd name="T33" fmla="*/ 91031 h 146"/>
                <a:gd name="T34" fmla="*/ 6436 w 148"/>
                <a:gd name="T35" fmla="*/ 94032 h 146"/>
                <a:gd name="T36" fmla="*/ 15017 w 148"/>
                <a:gd name="T37" fmla="*/ 123042 h 146"/>
                <a:gd name="T38" fmla="*/ 16090 w 148"/>
                <a:gd name="T39" fmla="*/ 144049 h 146"/>
                <a:gd name="T40" fmla="*/ 28961 w 148"/>
                <a:gd name="T41" fmla="*/ 143049 h 146"/>
                <a:gd name="T42" fmla="*/ 38615 w 148"/>
                <a:gd name="T43" fmla="*/ 137047 h 146"/>
                <a:gd name="T44" fmla="*/ 47196 w 148"/>
                <a:gd name="T45" fmla="*/ 143049 h 146"/>
                <a:gd name="T46" fmla="*/ 58995 w 148"/>
                <a:gd name="T47" fmla="*/ 145050 h 146"/>
                <a:gd name="T48" fmla="*/ 70794 w 148"/>
                <a:gd name="T49" fmla="*/ 124042 h 146"/>
                <a:gd name="T50" fmla="*/ 89029 w 148"/>
                <a:gd name="T51" fmla="*/ 116040 h 146"/>
                <a:gd name="T52" fmla="*/ 93319 w 148"/>
                <a:gd name="T53" fmla="*/ 104036 h 146"/>
                <a:gd name="T54" fmla="*/ 97610 w 148"/>
                <a:gd name="T55" fmla="*/ 96033 h 146"/>
                <a:gd name="T56" fmla="*/ 120135 w 148"/>
                <a:gd name="T57" fmla="*/ 90031 h 146"/>
                <a:gd name="T58" fmla="*/ 137297 w 148"/>
                <a:gd name="T59" fmla="*/ 86029 h 146"/>
                <a:gd name="T60" fmla="*/ 150169 w 148"/>
                <a:gd name="T61" fmla="*/ 82028 h 146"/>
                <a:gd name="T62" fmla="*/ 156605 w 148"/>
                <a:gd name="T63" fmla="*/ 75026 h 14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8"/>
                <a:gd name="T97" fmla="*/ 0 h 146"/>
                <a:gd name="T98" fmla="*/ 148 w 148"/>
                <a:gd name="T99" fmla="*/ 146 h 14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8" h="146">
                  <a:moveTo>
                    <a:pt x="148" y="71"/>
                  </a:moveTo>
                  <a:lnTo>
                    <a:pt x="146" y="67"/>
                  </a:lnTo>
                  <a:lnTo>
                    <a:pt x="145" y="56"/>
                  </a:lnTo>
                  <a:lnTo>
                    <a:pt x="141" y="44"/>
                  </a:lnTo>
                  <a:lnTo>
                    <a:pt x="135" y="36"/>
                  </a:lnTo>
                  <a:lnTo>
                    <a:pt x="129" y="33"/>
                  </a:lnTo>
                  <a:lnTo>
                    <a:pt x="125" y="33"/>
                  </a:lnTo>
                  <a:lnTo>
                    <a:pt x="120" y="35"/>
                  </a:lnTo>
                  <a:lnTo>
                    <a:pt x="115" y="32"/>
                  </a:lnTo>
                  <a:lnTo>
                    <a:pt x="111" y="26"/>
                  </a:lnTo>
                  <a:lnTo>
                    <a:pt x="108" y="20"/>
                  </a:lnTo>
                  <a:lnTo>
                    <a:pt x="104" y="14"/>
                  </a:lnTo>
                  <a:lnTo>
                    <a:pt x="95" y="12"/>
                  </a:lnTo>
                  <a:lnTo>
                    <a:pt x="88" y="10"/>
                  </a:lnTo>
                  <a:lnTo>
                    <a:pt x="82" y="9"/>
                  </a:lnTo>
                  <a:lnTo>
                    <a:pt x="77" y="7"/>
                  </a:lnTo>
                  <a:lnTo>
                    <a:pt x="73" y="3"/>
                  </a:lnTo>
                  <a:lnTo>
                    <a:pt x="68" y="1"/>
                  </a:lnTo>
                  <a:lnTo>
                    <a:pt x="65" y="0"/>
                  </a:lnTo>
                  <a:lnTo>
                    <a:pt x="62" y="0"/>
                  </a:lnTo>
                  <a:lnTo>
                    <a:pt x="60" y="2"/>
                  </a:lnTo>
                  <a:lnTo>
                    <a:pt x="58" y="8"/>
                  </a:lnTo>
                  <a:lnTo>
                    <a:pt x="58" y="15"/>
                  </a:lnTo>
                  <a:lnTo>
                    <a:pt x="57" y="20"/>
                  </a:lnTo>
                  <a:lnTo>
                    <a:pt x="55" y="24"/>
                  </a:lnTo>
                  <a:lnTo>
                    <a:pt x="50" y="31"/>
                  </a:lnTo>
                  <a:lnTo>
                    <a:pt x="42" y="40"/>
                  </a:lnTo>
                  <a:lnTo>
                    <a:pt x="32" y="50"/>
                  </a:lnTo>
                  <a:lnTo>
                    <a:pt x="27" y="55"/>
                  </a:lnTo>
                  <a:lnTo>
                    <a:pt x="20" y="62"/>
                  </a:lnTo>
                  <a:lnTo>
                    <a:pt x="11" y="71"/>
                  </a:lnTo>
                  <a:lnTo>
                    <a:pt x="3" y="82"/>
                  </a:lnTo>
                  <a:lnTo>
                    <a:pt x="0" y="90"/>
                  </a:lnTo>
                  <a:lnTo>
                    <a:pt x="3" y="91"/>
                  </a:lnTo>
                  <a:lnTo>
                    <a:pt x="4" y="91"/>
                  </a:lnTo>
                  <a:lnTo>
                    <a:pt x="6" y="94"/>
                  </a:lnTo>
                  <a:lnTo>
                    <a:pt x="11" y="107"/>
                  </a:lnTo>
                  <a:lnTo>
                    <a:pt x="14" y="123"/>
                  </a:lnTo>
                  <a:lnTo>
                    <a:pt x="14" y="136"/>
                  </a:lnTo>
                  <a:lnTo>
                    <a:pt x="15" y="144"/>
                  </a:lnTo>
                  <a:lnTo>
                    <a:pt x="20" y="146"/>
                  </a:lnTo>
                  <a:lnTo>
                    <a:pt x="27" y="143"/>
                  </a:lnTo>
                  <a:lnTo>
                    <a:pt x="32" y="139"/>
                  </a:lnTo>
                  <a:lnTo>
                    <a:pt x="36" y="137"/>
                  </a:lnTo>
                  <a:lnTo>
                    <a:pt x="39" y="138"/>
                  </a:lnTo>
                  <a:lnTo>
                    <a:pt x="44" y="143"/>
                  </a:lnTo>
                  <a:lnTo>
                    <a:pt x="50" y="146"/>
                  </a:lnTo>
                  <a:lnTo>
                    <a:pt x="55" y="145"/>
                  </a:lnTo>
                  <a:lnTo>
                    <a:pt x="60" y="135"/>
                  </a:lnTo>
                  <a:lnTo>
                    <a:pt x="66" y="124"/>
                  </a:lnTo>
                  <a:lnTo>
                    <a:pt x="75" y="119"/>
                  </a:lnTo>
                  <a:lnTo>
                    <a:pt x="83" y="116"/>
                  </a:lnTo>
                  <a:lnTo>
                    <a:pt x="87" y="111"/>
                  </a:lnTo>
                  <a:lnTo>
                    <a:pt x="87" y="104"/>
                  </a:lnTo>
                  <a:lnTo>
                    <a:pt x="87" y="99"/>
                  </a:lnTo>
                  <a:lnTo>
                    <a:pt x="91" y="96"/>
                  </a:lnTo>
                  <a:lnTo>
                    <a:pt x="104" y="92"/>
                  </a:lnTo>
                  <a:lnTo>
                    <a:pt x="112" y="90"/>
                  </a:lnTo>
                  <a:lnTo>
                    <a:pt x="120" y="89"/>
                  </a:lnTo>
                  <a:lnTo>
                    <a:pt x="128" y="86"/>
                  </a:lnTo>
                  <a:lnTo>
                    <a:pt x="135" y="84"/>
                  </a:lnTo>
                  <a:lnTo>
                    <a:pt x="140" y="82"/>
                  </a:lnTo>
                  <a:lnTo>
                    <a:pt x="144" y="78"/>
                  </a:lnTo>
                  <a:lnTo>
                    <a:pt x="146" y="75"/>
                  </a:lnTo>
                  <a:lnTo>
                    <a:pt x="148" y="71"/>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56" name="Freeform 433"/>
            <p:cNvSpPr>
              <a:spLocks/>
            </p:cNvSpPr>
            <p:nvPr/>
          </p:nvSpPr>
          <p:spPr bwMode="auto">
            <a:xfrm>
              <a:off x="3598350" y="1474635"/>
              <a:ext cx="138926" cy="91932"/>
            </a:xfrm>
            <a:custGeom>
              <a:avLst/>
              <a:gdLst>
                <a:gd name="T0" fmla="*/ 112964 w 133"/>
                <a:gd name="T1" fmla="*/ 4117 h 91"/>
                <a:gd name="T2" fmla="*/ 111877 w 133"/>
                <a:gd name="T3" fmla="*/ 23673 h 91"/>
                <a:gd name="T4" fmla="*/ 109705 w 133"/>
                <a:gd name="T5" fmla="*/ 36024 h 91"/>
                <a:gd name="T6" fmla="*/ 110791 w 133"/>
                <a:gd name="T7" fmla="*/ 45287 h 91"/>
                <a:gd name="T8" fmla="*/ 120567 w 133"/>
                <a:gd name="T9" fmla="*/ 44258 h 91"/>
                <a:gd name="T10" fmla="*/ 124912 w 133"/>
                <a:gd name="T11" fmla="*/ 34995 h 91"/>
                <a:gd name="T12" fmla="*/ 139032 w 133"/>
                <a:gd name="T13" fmla="*/ 43229 h 91"/>
                <a:gd name="T14" fmla="*/ 144463 w 133"/>
                <a:gd name="T15" fmla="*/ 50433 h 91"/>
                <a:gd name="T16" fmla="*/ 143377 w 133"/>
                <a:gd name="T17" fmla="*/ 61755 h 91"/>
                <a:gd name="T18" fmla="*/ 142291 w 133"/>
                <a:gd name="T19" fmla="*/ 67931 h 91"/>
                <a:gd name="T20" fmla="*/ 133601 w 133"/>
                <a:gd name="T21" fmla="*/ 80282 h 91"/>
                <a:gd name="T22" fmla="*/ 125998 w 133"/>
                <a:gd name="T23" fmla="*/ 86457 h 91"/>
                <a:gd name="T24" fmla="*/ 104274 w 133"/>
                <a:gd name="T25" fmla="*/ 83369 h 91"/>
                <a:gd name="T26" fmla="*/ 90154 w 133"/>
                <a:gd name="T27" fmla="*/ 79252 h 91"/>
                <a:gd name="T28" fmla="*/ 82550 w 133"/>
                <a:gd name="T29" fmla="*/ 85428 h 91"/>
                <a:gd name="T30" fmla="*/ 73861 w 133"/>
                <a:gd name="T31" fmla="*/ 90574 h 91"/>
                <a:gd name="T32" fmla="*/ 58654 w 133"/>
                <a:gd name="T33" fmla="*/ 93662 h 91"/>
                <a:gd name="T34" fmla="*/ 48878 w 133"/>
                <a:gd name="T35" fmla="*/ 93662 h 91"/>
                <a:gd name="T36" fmla="*/ 34758 w 133"/>
                <a:gd name="T37" fmla="*/ 91603 h 91"/>
                <a:gd name="T38" fmla="*/ 19551 w 133"/>
                <a:gd name="T39" fmla="*/ 84399 h 91"/>
                <a:gd name="T40" fmla="*/ 27155 w 133"/>
                <a:gd name="T41" fmla="*/ 79252 h 91"/>
                <a:gd name="T42" fmla="*/ 41275 w 133"/>
                <a:gd name="T43" fmla="*/ 79252 h 91"/>
                <a:gd name="T44" fmla="*/ 52137 w 133"/>
                <a:gd name="T45" fmla="*/ 72048 h 91"/>
                <a:gd name="T46" fmla="*/ 52137 w 133"/>
                <a:gd name="T47" fmla="*/ 61755 h 91"/>
                <a:gd name="T48" fmla="*/ 38017 w 133"/>
                <a:gd name="T49" fmla="*/ 66901 h 91"/>
                <a:gd name="T50" fmla="*/ 29327 w 133"/>
                <a:gd name="T51" fmla="*/ 68960 h 91"/>
                <a:gd name="T52" fmla="*/ 15207 w 133"/>
                <a:gd name="T53" fmla="*/ 58667 h 91"/>
                <a:gd name="T54" fmla="*/ 4345 w 133"/>
                <a:gd name="T55" fmla="*/ 52492 h 91"/>
                <a:gd name="T56" fmla="*/ 0 w 133"/>
                <a:gd name="T57" fmla="*/ 43229 h 91"/>
                <a:gd name="T58" fmla="*/ 2172 w 133"/>
                <a:gd name="T59" fmla="*/ 36024 h 91"/>
                <a:gd name="T60" fmla="*/ 13034 w 133"/>
                <a:gd name="T61" fmla="*/ 25731 h 91"/>
                <a:gd name="T62" fmla="*/ 16293 w 133"/>
                <a:gd name="T63" fmla="*/ 20585 h 91"/>
                <a:gd name="T64" fmla="*/ 24982 w 133"/>
                <a:gd name="T65" fmla="*/ 7205 h 91"/>
                <a:gd name="T66" fmla="*/ 30413 w 133"/>
                <a:gd name="T67" fmla="*/ 1029 h 91"/>
                <a:gd name="T68" fmla="*/ 44534 w 133"/>
                <a:gd name="T69" fmla="*/ 0 h 91"/>
                <a:gd name="T70" fmla="*/ 49965 w 133"/>
                <a:gd name="T71" fmla="*/ 5146 h 91"/>
                <a:gd name="T72" fmla="*/ 49965 w 133"/>
                <a:gd name="T73" fmla="*/ 13380 h 91"/>
                <a:gd name="T74" fmla="*/ 59740 w 133"/>
                <a:gd name="T75" fmla="*/ 19556 h 91"/>
                <a:gd name="T76" fmla="*/ 60827 w 133"/>
                <a:gd name="T77" fmla="*/ 28819 h 91"/>
                <a:gd name="T78" fmla="*/ 70602 w 133"/>
                <a:gd name="T79" fmla="*/ 36024 h 91"/>
                <a:gd name="T80" fmla="*/ 73861 w 133"/>
                <a:gd name="T81" fmla="*/ 45287 h 91"/>
                <a:gd name="T82" fmla="*/ 76033 w 133"/>
                <a:gd name="T83" fmla="*/ 51463 h 91"/>
                <a:gd name="T84" fmla="*/ 86895 w 133"/>
                <a:gd name="T85" fmla="*/ 56609 h 91"/>
                <a:gd name="T86" fmla="*/ 97757 w 133"/>
                <a:gd name="T87" fmla="*/ 60726 h 91"/>
                <a:gd name="T88" fmla="*/ 98843 w 133"/>
                <a:gd name="T89" fmla="*/ 48375 h 91"/>
                <a:gd name="T90" fmla="*/ 98843 w 133"/>
                <a:gd name="T91" fmla="*/ 38082 h 91"/>
                <a:gd name="T92" fmla="*/ 95585 w 133"/>
                <a:gd name="T93" fmla="*/ 30878 h 91"/>
                <a:gd name="T94" fmla="*/ 92326 w 133"/>
                <a:gd name="T95" fmla="*/ 29848 h 91"/>
                <a:gd name="T96" fmla="*/ 91240 w 133"/>
                <a:gd name="T97" fmla="*/ 19556 h 91"/>
                <a:gd name="T98" fmla="*/ 92326 w 133"/>
                <a:gd name="T99" fmla="*/ 11322 h 91"/>
                <a:gd name="T100" fmla="*/ 102102 w 133"/>
                <a:gd name="T101" fmla="*/ 6176 h 91"/>
                <a:gd name="T102" fmla="*/ 111877 w 133"/>
                <a:gd name="T103" fmla="*/ 1029 h 9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3"/>
                <a:gd name="T157" fmla="*/ 0 h 91"/>
                <a:gd name="T158" fmla="*/ 133 w 133"/>
                <a:gd name="T159" fmla="*/ 91 h 9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3" h="91">
                  <a:moveTo>
                    <a:pt x="104" y="0"/>
                  </a:moveTo>
                  <a:lnTo>
                    <a:pt x="104" y="4"/>
                  </a:lnTo>
                  <a:lnTo>
                    <a:pt x="103" y="13"/>
                  </a:lnTo>
                  <a:lnTo>
                    <a:pt x="103" y="23"/>
                  </a:lnTo>
                  <a:lnTo>
                    <a:pt x="102" y="30"/>
                  </a:lnTo>
                  <a:lnTo>
                    <a:pt x="101" y="35"/>
                  </a:lnTo>
                  <a:lnTo>
                    <a:pt x="101" y="39"/>
                  </a:lnTo>
                  <a:lnTo>
                    <a:pt x="102" y="44"/>
                  </a:lnTo>
                  <a:lnTo>
                    <a:pt x="107" y="46"/>
                  </a:lnTo>
                  <a:lnTo>
                    <a:pt x="111" y="43"/>
                  </a:lnTo>
                  <a:lnTo>
                    <a:pt x="113" y="37"/>
                  </a:lnTo>
                  <a:lnTo>
                    <a:pt x="115" y="34"/>
                  </a:lnTo>
                  <a:lnTo>
                    <a:pt x="121" y="36"/>
                  </a:lnTo>
                  <a:lnTo>
                    <a:pt x="128" y="42"/>
                  </a:lnTo>
                  <a:lnTo>
                    <a:pt x="132" y="45"/>
                  </a:lnTo>
                  <a:lnTo>
                    <a:pt x="133" y="49"/>
                  </a:lnTo>
                  <a:lnTo>
                    <a:pt x="132" y="54"/>
                  </a:lnTo>
                  <a:lnTo>
                    <a:pt x="132" y="60"/>
                  </a:lnTo>
                  <a:lnTo>
                    <a:pt x="132" y="62"/>
                  </a:lnTo>
                  <a:lnTo>
                    <a:pt x="131" y="66"/>
                  </a:lnTo>
                  <a:lnTo>
                    <a:pt x="128" y="72"/>
                  </a:lnTo>
                  <a:lnTo>
                    <a:pt x="123" y="78"/>
                  </a:lnTo>
                  <a:lnTo>
                    <a:pt x="121" y="82"/>
                  </a:lnTo>
                  <a:lnTo>
                    <a:pt x="116" y="84"/>
                  </a:lnTo>
                  <a:lnTo>
                    <a:pt x="107" y="83"/>
                  </a:lnTo>
                  <a:lnTo>
                    <a:pt x="96" y="81"/>
                  </a:lnTo>
                  <a:lnTo>
                    <a:pt x="88" y="78"/>
                  </a:lnTo>
                  <a:lnTo>
                    <a:pt x="83" y="77"/>
                  </a:lnTo>
                  <a:lnTo>
                    <a:pt x="79" y="80"/>
                  </a:lnTo>
                  <a:lnTo>
                    <a:pt x="76" y="83"/>
                  </a:lnTo>
                  <a:lnTo>
                    <a:pt x="72" y="85"/>
                  </a:lnTo>
                  <a:lnTo>
                    <a:pt x="68" y="88"/>
                  </a:lnTo>
                  <a:lnTo>
                    <a:pt x="61" y="90"/>
                  </a:lnTo>
                  <a:lnTo>
                    <a:pt x="54" y="91"/>
                  </a:lnTo>
                  <a:lnTo>
                    <a:pt x="49" y="91"/>
                  </a:lnTo>
                  <a:lnTo>
                    <a:pt x="45" y="91"/>
                  </a:lnTo>
                  <a:lnTo>
                    <a:pt x="39" y="91"/>
                  </a:lnTo>
                  <a:lnTo>
                    <a:pt x="32" y="89"/>
                  </a:lnTo>
                  <a:lnTo>
                    <a:pt x="24" y="85"/>
                  </a:lnTo>
                  <a:lnTo>
                    <a:pt x="18" y="82"/>
                  </a:lnTo>
                  <a:lnTo>
                    <a:pt x="19" y="78"/>
                  </a:lnTo>
                  <a:lnTo>
                    <a:pt x="25" y="77"/>
                  </a:lnTo>
                  <a:lnTo>
                    <a:pt x="32" y="77"/>
                  </a:lnTo>
                  <a:lnTo>
                    <a:pt x="38" y="77"/>
                  </a:lnTo>
                  <a:lnTo>
                    <a:pt x="43" y="75"/>
                  </a:lnTo>
                  <a:lnTo>
                    <a:pt x="48" y="70"/>
                  </a:lnTo>
                  <a:lnTo>
                    <a:pt x="49" y="64"/>
                  </a:lnTo>
                  <a:lnTo>
                    <a:pt x="48" y="60"/>
                  </a:lnTo>
                  <a:lnTo>
                    <a:pt x="42" y="60"/>
                  </a:lnTo>
                  <a:lnTo>
                    <a:pt x="35" y="65"/>
                  </a:lnTo>
                  <a:lnTo>
                    <a:pt x="32" y="67"/>
                  </a:lnTo>
                  <a:lnTo>
                    <a:pt x="27" y="67"/>
                  </a:lnTo>
                  <a:lnTo>
                    <a:pt x="20" y="62"/>
                  </a:lnTo>
                  <a:lnTo>
                    <a:pt x="14" y="57"/>
                  </a:lnTo>
                  <a:lnTo>
                    <a:pt x="8" y="53"/>
                  </a:lnTo>
                  <a:lnTo>
                    <a:pt x="4" y="51"/>
                  </a:lnTo>
                  <a:lnTo>
                    <a:pt x="2" y="46"/>
                  </a:lnTo>
                  <a:lnTo>
                    <a:pt x="0" y="42"/>
                  </a:lnTo>
                  <a:lnTo>
                    <a:pt x="0" y="38"/>
                  </a:lnTo>
                  <a:lnTo>
                    <a:pt x="2" y="35"/>
                  </a:lnTo>
                  <a:lnTo>
                    <a:pt x="8" y="30"/>
                  </a:lnTo>
                  <a:lnTo>
                    <a:pt x="12" y="25"/>
                  </a:lnTo>
                  <a:lnTo>
                    <a:pt x="14" y="22"/>
                  </a:lnTo>
                  <a:lnTo>
                    <a:pt x="15" y="20"/>
                  </a:lnTo>
                  <a:lnTo>
                    <a:pt x="18" y="14"/>
                  </a:lnTo>
                  <a:lnTo>
                    <a:pt x="23" y="7"/>
                  </a:lnTo>
                  <a:lnTo>
                    <a:pt x="25" y="4"/>
                  </a:lnTo>
                  <a:lnTo>
                    <a:pt x="28" y="1"/>
                  </a:lnTo>
                  <a:lnTo>
                    <a:pt x="34" y="0"/>
                  </a:lnTo>
                  <a:lnTo>
                    <a:pt x="41" y="0"/>
                  </a:lnTo>
                  <a:lnTo>
                    <a:pt x="45" y="2"/>
                  </a:lnTo>
                  <a:lnTo>
                    <a:pt x="46" y="5"/>
                  </a:lnTo>
                  <a:lnTo>
                    <a:pt x="45" y="8"/>
                  </a:lnTo>
                  <a:lnTo>
                    <a:pt x="46" y="13"/>
                  </a:lnTo>
                  <a:lnTo>
                    <a:pt x="50" y="15"/>
                  </a:lnTo>
                  <a:lnTo>
                    <a:pt x="55" y="19"/>
                  </a:lnTo>
                  <a:lnTo>
                    <a:pt x="56" y="23"/>
                  </a:lnTo>
                  <a:lnTo>
                    <a:pt x="56" y="28"/>
                  </a:lnTo>
                  <a:lnTo>
                    <a:pt x="61" y="31"/>
                  </a:lnTo>
                  <a:lnTo>
                    <a:pt x="65" y="35"/>
                  </a:lnTo>
                  <a:lnTo>
                    <a:pt x="68" y="39"/>
                  </a:lnTo>
                  <a:lnTo>
                    <a:pt x="68" y="44"/>
                  </a:lnTo>
                  <a:lnTo>
                    <a:pt x="68" y="47"/>
                  </a:lnTo>
                  <a:lnTo>
                    <a:pt x="70" y="50"/>
                  </a:lnTo>
                  <a:lnTo>
                    <a:pt x="75" y="52"/>
                  </a:lnTo>
                  <a:lnTo>
                    <a:pt x="80" y="55"/>
                  </a:lnTo>
                  <a:lnTo>
                    <a:pt x="86" y="59"/>
                  </a:lnTo>
                  <a:lnTo>
                    <a:pt x="90" y="59"/>
                  </a:lnTo>
                  <a:lnTo>
                    <a:pt x="91" y="54"/>
                  </a:lnTo>
                  <a:lnTo>
                    <a:pt x="91" y="47"/>
                  </a:lnTo>
                  <a:lnTo>
                    <a:pt x="91" y="42"/>
                  </a:lnTo>
                  <a:lnTo>
                    <a:pt x="91" y="37"/>
                  </a:lnTo>
                  <a:lnTo>
                    <a:pt x="91" y="32"/>
                  </a:lnTo>
                  <a:lnTo>
                    <a:pt x="88" y="30"/>
                  </a:lnTo>
                  <a:lnTo>
                    <a:pt x="86" y="30"/>
                  </a:lnTo>
                  <a:lnTo>
                    <a:pt x="85" y="29"/>
                  </a:lnTo>
                  <a:lnTo>
                    <a:pt x="84" y="24"/>
                  </a:lnTo>
                  <a:lnTo>
                    <a:pt x="84" y="19"/>
                  </a:lnTo>
                  <a:lnTo>
                    <a:pt x="84" y="14"/>
                  </a:lnTo>
                  <a:lnTo>
                    <a:pt x="85" y="11"/>
                  </a:lnTo>
                  <a:lnTo>
                    <a:pt x="88" y="8"/>
                  </a:lnTo>
                  <a:lnTo>
                    <a:pt x="94" y="6"/>
                  </a:lnTo>
                  <a:lnTo>
                    <a:pt x="99" y="4"/>
                  </a:lnTo>
                  <a:lnTo>
                    <a:pt x="103" y="1"/>
                  </a:lnTo>
                  <a:lnTo>
                    <a:pt x="104" y="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57" name="Freeform 434"/>
            <p:cNvSpPr>
              <a:spLocks/>
            </p:cNvSpPr>
            <p:nvPr/>
          </p:nvSpPr>
          <p:spPr bwMode="auto">
            <a:xfrm>
              <a:off x="3540331" y="1426411"/>
              <a:ext cx="105340" cy="60769"/>
            </a:xfrm>
            <a:custGeom>
              <a:avLst/>
              <a:gdLst>
                <a:gd name="T0" fmla="*/ 81617 w 102"/>
                <a:gd name="T1" fmla="*/ 41275 h 60"/>
                <a:gd name="T2" fmla="*/ 80543 w 102"/>
                <a:gd name="T3" fmla="*/ 42307 h 60"/>
                <a:gd name="T4" fmla="*/ 77321 w 102"/>
                <a:gd name="T5" fmla="*/ 46435 h 60"/>
                <a:gd name="T6" fmla="*/ 73025 w 102"/>
                <a:gd name="T7" fmla="*/ 47467 h 60"/>
                <a:gd name="T8" fmla="*/ 70878 w 102"/>
                <a:gd name="T9" fmla="*/ 43339 h 60"/>
                <a:gd name="T10" fmla="*/ 68730 w 102"/>
                <a:gd name="T11" fmla="*/ 36116 h 60"/>
                <a:gd name="T12" fmla="*/ 65508 w 102"/>
                <a:gd name="T13" fmla="*/ 30957 h 60"/>
                <a:gd name="T14" fmla="*/ 62286 w 102"/>
                <a:gd name="T15" fmla="*/ 27861 h 60"/>
                <a:gd name="T16" fmla="*/ 60139 w 102"/>
                <a:gd name="T17" fmla="*/ 31988 h 60"/>
                <a:gd name="T18" fmla="*/ 59065 w 102"/>
                <a:gd name="T19" fmla="*/ 39212 h 60"/>
                <a:gd name="T20" fmla="*/ 59065 w 102"/>
                <a:gd name="T21" fmla="*/ 45403 h 60"/>
                <a:gd name="T22" fmla="*/ 56917 w 102"/>
                <a:gd name="T23" fmla="*/ 48499 h 60"/>
                <a:gd name="T24" fmla="*/ 51547 w 102"/>
                <a:gd name="T25" fmla="*/ 48499 h 60"/>
                <a:gd name="T26" fmla="*/ 45104 w 102"/>
                <a:gd name="T27" fmla="*/ 48499 h 60"/>
                <a:gd name="T28" fmla="*/ 40808 w 102"/>
                <a:gd name="T29" fmla="*/ 53658 h 60"/>
                <a:gd name="T30" fmla="*/ 40808 w 102"/>
                <a:gd name="T31" fmla="*/ 58817 h 60"/>
                <a:gd name="T32" fmla="*/ 40808 w 102"/>
                <a:gd name="T33" fmla="*/ 61913 h 60"/>
                <a:gd name="T34" fmla="*/ 39734 w 102"/>
                <a:gd name="T35" fmla="*/ 58817 h 60"/>
                <a:gd name="T36" fmla="*/ 35439 w 102"/>
                <a:gd name="T37" fmla="*/ 55722 h 60"/>
                <a:gd name="T38" fmla="*/ 28995 w 102"/>
                <a:gd name="T39" fmla="*/ 51594 h 60"/>
                <a:gd name="T40" fmla="*/ 23626 w 102"/>
                <a:gd name="T41" fmla="*/ 49530 h 60"/>
                <a:gd name="T42" fmla="*/ 16109 w 102"/>
                <a:gd name="T43" fmla="*/ 49530 h 60"/>
                <a:gd name="T44" fmla="*/ 6443 w 102"/>
                <a:gd name="T45" fmla="*/ 49530 h 60"/>
                <a:gd name="T46" fmla="*/ 0 w 102"/>
                <a:gd name="T47" fmla="*/ 47467 h 60"/>
                <a:gd name="T48" fmla="*/ 4296 w 102"/>
                <a:gd name="T49" fmla="*/ 41275 h 60"/>
                <a:gd name="T50" fmla="*/ 11813 w 102"/>
                <a:gd name="T51" fmla="*/ 35084 h 60"/>
                <a:gd name="T52" fmla="*/ 18256 w 102"/>
                <a:gd name="T53" fmla="*/ 30957 h 60"/>
                <a:gd name="T54" fmla="*/ 24700 w 102"/>
                <a:gd name="T55" fmla="*/ 25797 h 60"/>
                <a:gd name="T56" fmla="*/ 37587 w 102"/>
                <a:gd name="T57" fmla="*/ 19606 h 60"/>
                <a:gd name="T58" fmla="*/ 49399 w 102"/>
                <a:gd name="T59" fmla="*/ 12383 h 60"/>
                <a:gd name="T60" fmla="*/ 59065 w 102"/>
                <a:gd name="T61" fmla="*/ 7223 h 60"/>
                <a:gd name="T62" fmla="*/ 64434 w 102"/>
                <a:gd name="T63" fmla="*/ 2064 h 60"/>
                <a:gd name="T64" fmla="*/ 73025 w 102"/>
                <a:gd name="T65" fmla="*/ 0 h 60"/>
                <a:gd name="T66" fmla="*/ 81617 w 102"/>
                <a:gd name="T67" fmla="*/ 0 h 60"/>
                <a:gd name="T68" fmla="*/ 85912 w 102"/>
                <a:gd name="T69" fmla="*/ 0 h 60"/>
                <a:gd name="T70" fmla="*/ 89134 w 102"/>
                <a:gd name="T71" fmla="*/ 0 h 60"/>
                <a:gd name="T72" fmla="*/ 93429 w 102"/>
                <a:gd name="T73" fmla="*/ 0 h 60"/>
                <a:gd name="T74" fmla="*/ 99873 w 102"/>
                <a:gd name="T75" fmla="*/ 0 h 60"/>
                <a:gd name="T76" fmla="*/ 105242 w 102"/>
                <a:gd name="T77" fmla="*/ 2064 h 60"/>
                <a:gd name="T78" fmla="*/ 109538 w 102"/>
                <a:gd name="T79" fmla="*/ 6191 h 60"/>
                <a:gd name="T80" fmla="*/ 106316 w 102"/>
                <a:gd name="T81" fmla="*/ 10319 h 60"/>
                <a:gd name="T82" fmla="*/ 102021 w 102"/>
                <a:gd name="T83" fmla="*/ 15478 h 60"/>
                <a:gd name="T84" fmla="*/ 99873 w 102"/>
                <a:gd name="T85" fmla="*/ 17542 h 60"/>
                <a:gd name="T86" fmla="*/ 99873 w 102"/>
                <a:gd name="T87" fmla="*/ 19606 h 60"/>
                <a:gd name="T88" fmla="*/ 97725 w 102"/>
                <a:gd name="T89" fmla="*/ 24765 h 60"/>
                <a:gd name="T90" fmla="*/ 95577 w 102"/>
                <a:gd name="T91" fmla="*/ 31988 h 60"/>
                <a:gd name="T92" fmla="*/ 92356 w 102"/>
                <a:gd name="T93" fmla="*/ 36116 h 60"/>
                <a:gd name="T94" fmla="*/ 86986 w 102"/>
                <a:gd name="T95" fmla="*/ 40243 h 60"/>
                <a:gd name="T96" fmla="*/ 81617 w 102"/>
                <a:gd name="T97" fmla="*/ 41275 h 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2"/>
                <a:gd name="T148" fmla="*/ 0 h 60"/>
                <a:gd name="T149" fmla="*/ 102 w 102"/>
                <a:gd name="T150" fmla="*/ 60 h 6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2" h="60">
                  <a:moveTo>
                    <a:pt x="76" y="40"/>
                  </a:moveTo>
                  <a:lnTo>
                    <a:pt x="75" y="41"/>
                  </a:lnTo>
                  <a:lnTo>
                    <a:pt x="72" y="45"/>
                  </a:lnTo>
                  <a:lnTo>
                    <a:pt x="68" y="46"/>
                  </a:lnTo>
                  <a:lnTo>
                    <a:pt x="66" y="42"/>
                  </a:lnTo>
                  <a:lnTo>
                    <a:pt x="64" y="35"/>
                  </a:lnTo>
                  <a:lnTo>
                    <a:pt x="61" y="30"/>
                  </a:lnTo>
                  <a:lnTo>
                    <a:pt x="58" y="27"/>
                  </a:lnTo>
                  <a:lnTo>
                    <a:pt x="56" y="31"/>
                  </a:lnTo>
                  <a:lnTo>
                    <a:pt x="55" y="38"/>
                  </a:lnTo>
                  <a:lnTo>
                    <a:pt x="55" y="44"/>
                  </a:lnTo>
                  <a:lnTo>
                    <a:pt x="53" y="47"/>
                  </a:lnTo>
                  <a:lnTo>
                    <a:pt x="48" y="47"/>
                  </a:lnTo>
                  <a:lnTo>
                    <a:pt x="42" y="47"/>
                  </a:lnTo>
                  <a:lnTo>
                    <a:pt x="38" y="52"/>
                  </a:lnTo>
                  <a:lnTo>
                    <a:pt x="38" y="57"/>
                  </a:lnTo>
                  <a:lnTo>
                    <a:pt x="38" y="60"/>
                  </a:lnTo>
                  <a:lnTo>
                    <a:pt x="37" y="57"/>
                  </a:lnTo>
                  <a:lnTo>
                    <a:pt x="33" y="54"/>
                  </a:lnTo>
                  <a:lnTo>
                    <a:pt x="27" y="50"/>
                  </a:lnTo>
                  <a:lnTo>
                    <a:pt x="22" y="48"/>
                  </a:lnTo>
                  <a:lnTo>
                    <a:pt x="15" y="48"/>
                  </a:lnTo>
                  <a:lnTo>
                    <a:pt x="6" y="48"/>
                  </a:lnTo>
                  <a:lnTo>
                    <a:pt x="0" y="46"/>
                  </a:lnTo>
                  <a:lnTo>
                    <a:pt x="4" y="40"/>
                  </a:lnTo>
                  <a:lnTo>
                    <a:pt x="11" y="34"/>
                  </a:lnTo>
                  <a:lnTo>
                    <a:pt x="17" y="30"/>
                  </a:lnTo>
                  <a:lnTo>
                    <a:pt x="23" y="25"/>
                  </a:lnTo>
                  <a:lnTo>
                    <a:pt x="35" y="19"/>
                  </a:lnTo>
                  <a:lnTo>
                    <a:pt x="46" y="12"/>
                  </a:lnTo>
                  <a:lnTo>
                    <a:pt x="55" y="7"/>
                  </a:lnTo>
                  <a:lnTo>
                    <a:pt x="60" y="2"/>
                  </a:lnTo>
                  <a:lnTo>
                    <a:pt x="68" y="0"/>
                  </a:lnTo>
                  <a:lnTo>
                    <a:pt x="76" y="0"/>
                  </a:lnTo>
                  <a:lnTo>
                    <a:pt x="80" y="0"/>
                  </a:lnTo>
                  <a:lnTo>
                    <a:pt x="83" y="0"/>
                  </a:lnTo>
                  <a:lnTo>
                    <a:pt x="87" y="0"/>
                  </a:lnTo>
                  <a:lnTo>
                    <a:pt x="93" y="0"/>
                  </a:lnTo>
                  <a:lnTo>
                    <a:pt x="98" y="2"/>
                  </a:lnTo>
                  <a:lnTo>
                    <a:pt x="102" y="6"/>
                  </a:lnTo>
                  <a:lnTo>
                    <a:pt x="99" y="10"/>
                  </a:lnTo>
                  <a:lnTo>
                    <a:pt x="95" y="15"/>
                  </a:lnTo>
                  <a:lnTo>
                    <a:pt x="93" y="17"/>
                  </a:lnTo>
                  <a:lnTo>
                    <a:pt x="93" y="19"/>
                  </a:lnTo>
                  <a:lnTo>
                    <a:pt x="91" y="24"/>
                  </a:lnTo>
                  <a:lnTo>
                    <a:pt x="89" y="31"/>
                  </a:lnTo>
                  <a:lnTo>
                    <a:pt x="86" y="35"/>
                  </a:lnTo>
                  <a:lnTo>
                    <a:pt x="81" y="39"/>
                  </a:lnTo>
                  <a:lnTo>
                    <a:pt x="76" y="4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58" name="Freeform 435"/>
            <p:cNvSpPr>
              <a:spLocks/>
            </p:cNvSpPr>
            <p:nvPr/>
          </p:nvSpPr>
          <p:spPr bwMode="auto">
            <a:xfrm>
              <a:off x="3747962" y="1487148"/>
              <a:ext cx="88546" cy="79467"/>
            </a:xfrm>
            <a:custGeom>
              <a:avLst/>
              <a:gdLst>
                <a:gd name="T0" fmla="*/ 18201 w 86"/>
                <a:gd name="T1" fmla="*/ 12144 h 80"/>
                <a:gd name="T2" fmla="*/ 3212 w 86"/>
                <a:gd name="T3" fmla="*/ 0 h 80"/>
                <a:gd name="T4" fmla="*/ 1071 w 86"/>
                <a:gd name="T5" fmla="*/ 9108 h 80"/>
                <a:gd name="T6" fmla="*/ 3212 w 86"/>
                <a:gd name="T7" fmla="*/ 22265 h 80"/>
                <a:gd name="T8" fmla="*/ 5353 w 86"/>
                <a:gd name="T9" fmla="*/ 33397 h 80"/>
                <a:gd name="T10" fmla="*/ 11777 w 86"/>
                <a:gd name="T11" fmla="*/ 41493 h 80"/>
                <a:gd name="T12" fmla="*/ 19272 w 86"/>
                <a:gd name="T13" fmla="*/ 42505 h 80"/>
                <a:gd name="T14" fmla="*/ 25695 w 86"/>
                <a:gd name="T15" fmla="*/ 43517 h 80"/>
                <a:gd name="T16" fmla="*/ 21413 w 86"/>
                <a:gd name="T17" fmla="*/ 52625 h 80"/>
                <a:gd name="T18" fmla="*/ 25695 w 86"/>
                <a:gd name="T19" fmla="*/ 54649 h 80"/>
                <a:gd name="T20" fmla="*/ 40684 w 86"/>
                <a:gd name="T21" fmla="*/ 53637 h 80"/>
                <a:gd name="T22" fmla="*/ 44967 w 86"/>
                <a:gd name="T23" fmla="*/ 54649 h 80"/>
                <a:gd name="T24" fmla="*/ 42826 w 86"/>
                <a:gd name="T25" fmla="*/ 65782 h 80"/>
                <a:gd name="T26" fmla="*/ 40684 w 86"/>
                <a:gd name="T27" fmla="*/ 79950 h 80"/>
                <a:gd name="T28" fmla="*/ 57815 w 86"/>
                <a:gd name="T29" fmla="*/ 77926 h 80"/>
                <a:gd name="T30" fmla="*/ 77086 w 86"/>
                <a:gd name="T31" fmla="*/ 66794 h 80"/>
                <a:gd name="T32" fmla="*/ 80298 w 86"/>
                <a:gd name="T33" fmla="*/ 62746 h 80"/>
                <a:gd name="T34" fmla="*/ 77086 w 86"/>
                <a:gd name="T35" fmla="*/ 54649 h 80"/>
                <a:gd name="T36" fmla="*/ 84581 w 86"/>
                <a:gd name="T37" fmla="*/ 56673 h 80"/>
                <a:gd name="T38" fmla="*/ 92075 w 86"/>
                <a:gd name="T39" fmla="*/ 57685 h 80"/>
                <a:gd name="T40" fmla="*/ 82439 w 86"/>
                <a:gd name="T41" fmla="*/ 42505 h 80"/>
                <a:gd name="T42" fmla="*/ 76015 w 86"/>
                <a:gd name="T43" fmla="*/ 37445 h 80"/>
                <a:gd name="T44" fmla="*/ 81369 w 86"/>
                <a:gd name="T45" fmla="*/ 22265 h 80"/>
                <a:gd name="T46" fmla="*/ 81369 w 86"/>
                <a:gd name="T47" fmla="*/ 9108 h 80"/>
                <a:gd name="T48" fmla="*/ 69592 w 86"/>
                <a:gd name="T49" fmla="*/ 8096 h 80"/>
                <a:gd name="T50" fmla="*/ 67450 w 86"/>
                <a:gd name="T51" fmla="*/ 12144 h 80"/>
                <a:gd name="T52" fmla="*/ 58885 w 86"/>
                <a:gd name="T53" fmla="*/ 8096 h 80"/>
                <a:gd name="T54" fmla="*/ 50320 w 86"/>
                <a:gd name="T55" fmla="*/ 2024 h 80"/>
                <a:gd name="T56" fmla="*/ 48179 w 86"/>
                <a:gd name="T57" fmla="*/ 7084 h 80"/>
                <a:gd name="T58" fmla="*/ 51391 w 86"/>
                <a:gd name="T59" fmla="*/ 13156 h 80"/>
                <a:gd name="T60" fmla="*/ 46038 w 86"/>
                <a:gd name="T61" fmla="*/ 15180 h 80"/>
                <a:gd name="T62" fmla="*/ 37472 w 86"/>
                <a:gd name="T63" fmla="*/ 9108 h 80"/>
                <a:gd name="T64" fmla="*/ 29978 w 86"/>
                <a:gd name="T65" fmla="*/ 15180 h 80"/>
                <a:gd name="T66" fmla="*/ 23554 w 86"/>
                <a:gd name="T67" fmla="*/ 16192 h 8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6"/>
                <a:gd name="T103" fmla="*/ 0 h 80"/>
                <a:gd name="T104" fmla="*/ 86 w 86"/>
                <a:gd name="T105" fmla="*/ 80 h 8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6" h="80">
                  <a:moveTo>
                    <a:pt x="20" y="16"/>
                  </a:moveTo>
                  <a:lnTo>
                    <a:pt x="17" y="12"/>
                  </a:lnTo>
                  <a:lnTo>
                    <a:pt x="10" y="5"/>
                  </a:lnTo>
                  <a:lnTo>
                    <a:pt x="3" y="0"/>
                  </a:lnTo>
                  <a:lnTo>
                    <a:pt x="0" y="2"/>
                  </a:lnTo>
                  <a:lnTo>
                    <a:pt x="1" y="9"/>
                  </a:lnTo>
                  <a:lnTo>
                    <a:pt x="2" y="15"/>
                  </a:lnTo>
                  <a:lnTo>
                    <a:pt x="3" y="22"/>
                  </a:lnTo>
                  <a:lnTo>
                    <a:pt x="4" y="27"/>
                  </a:lnTo>
                  <a:lnTo>
                    <a:pt x="5" y="33"/>
                  </a:lnTo>
                  <a:lnTo>
                    <a:pt x="8" y="38"/>
                  </a:lnTo>
                  <a:lnTo>
                    <a:pt x="11" y="41"/>
                  </a:lnTo>
                  <a:lnTo>
                    <a:pt x="15" y="42"/>
                  </a:lnTo>
                  <a:lnTo>
                    <a:pt x="18" y="42"/>
                  </a:lnTo>
                  <a:lnTo>
                    <a:pt x="22" y="42"/>
                  </a:lnTo>
                  <a:lnTo>
                    <a:pt x="24" y="43"/>
                  </a:lnTo>
                  <a:lnTo>
                    <a:pt x="23" y="47"/>
                  </a:lnTo>
                  <a:lnTo>
                    <a:pt x="20" y="52"/>
                  </a:lnTo>
                  <a:lnTo>
                    <a:pt x="22" y="54"/>
                  </a:lnTo>
                  <a:lnTo>
                    <a:pt x="24" y="54"/>
                  </a:lnTo>
                  <a:lnTo>
                    <a:pt x="31" y="54"/>
                  </a:lnTo>
                  <a:lnTo>
                    <a:pt x="38" y="53"/>
                  </a:lnTo>
                  <a:lnTo>
                    <a:pt x="41" y="53"/>
                  </a:lnTo>
                  <a:lnTo>
                    <a:pt x="42" y="54"/>
                  </a:lnTo>
                  <a:lnTo>
                    <a:pt x="42" y="58"/>
                  </a:lnTo>
                  <a:lnTo>
                    <a:pt x="40" y="65"/>
                  </a:lnTo>
                  <a:lnTo>
                    <a:pt x="38" y="73"/>
                  </a:lnTo>
                  <a:lnTo>
                    <a:pt x="38" y="79"/>
                  </a:lnTo>
                  <a:lnTo>
                    <a:pt x="43" y="80"/>
                  </a:lnTo>
                  <a:lnTo>
                    <a:pt x="54" y="77"/>
                  </a:lnTo>
                  <a:lnTo>
                    <a:pt x="64" y="72"/>
                  </a:lnTo>
                  <a:lnTo>
                    <a:pt x="72" y="66"/>
                  </a:lnTo>
                  <a:lnTo>
                    <a:pt x="76" y="64"/>
                  </a:lnTo>
                  <a:lnTo>
                    <a:pt x="75" y="62"/>
                  </a:lnTo>
                  <a:lnTo>
                    <a:pt x="72" y="57"/>
                  </a:lnTo>
                  <a:lnTo>
                    <a:pt x="72" y="54"/>
                  </a:lnTo>
                  <a:lnTo>
                    <a:pt x="75" y="54"/>
                  </a:lnTo>
                  <a:lnTo>
                    <a:pt x="79" y="56"/>
                  </a:lnTo>
                  <a:lnTo>
                    <a:pt x="84" y="58"/>
                  </a:lnTo>
                  <a:lnTo>
                    <a:pt x="86" y="57"/>
                  </a:lnTo>
                  <a:lnTo>
                    <a:pt x="83" y="50"/>
                  </a:lnTo>
                  <a:lnTo>
                    <a:pt x="77" y="42"/>
                  </a:lnTo>
                  <a:lnTo>
                    <a:pt x="72" y="39"/>
                  </a:lnTo>
                  <a:lnTo>
                    <a:pt x="71" y="37"/>
                  </a:lnTo>
                  <a:lnTo>
                    <a:pt x="72" y="31"/>
                  </a:lnTo>
                  <a:lnTo>
                    <a:pt x="76" y="22"/>
                  </a:lnTo>
                  <a:lnTo>
                    <a:pt x="77" y="15"/>
                  </a:lnTo>
                  <a:lnTo>
                    <a:pt x="76" y="9"/>
                  </a:lnTo>
                  <a:lnTo>
                    <a:pt x="71" y="7"/>
                  </a:lnTo>
                  <a:lnTo>
                    <a:pt x="65" y="8"/>
                  </a:lnTo>
                  <a:lnTo>
                    <a:pt x="64" y="10"/>
                  </a:lnTo>
                  <a:lnTo>
                    <a:pt x="63" y="12"/>
                  </a:lnTo>
                  <a:lnTo>
                    <a:pt x="60" y="11"/>
                  </a:lnTo>
                  <a:lnTo>
                    <a:pt x="55" y="8"/>
                  </a:lnTo>
                  <a:lnTo>
                    <a:pt x="50" y="3"/>
                  </a:lnTo>
                  <a:lnTo>
                    <a:pt x="47" y="2"/>
                  </a:lnTo>
                  <a:lnTo>
                    <a:pt x="45" y="3"/>
                  </a:lnTo>
                  <a:lnTo>
                    <a:pt x="45" y="7"/>
                  </a:lnTo>
                  <a:lnTo>
                    <a:pt x="47" y="11"/>
                  </a:lnTo>
                  <a:lnTo>
                    <a:pt x="48" y="13"/>
                  </a:lnTo>
                  <a:lnTo>
                    <a:pt x="47" y="16"/>
                  </a:lnTo>
                  <a:lnTo>
                    <a:pt x="43" y="15"/>
                  </a:lnTo>
                  <a:lnTo>
                    <a:pt x="39" y="11"/>
                  </a:lnTo>
                  <a:lnTo>
                    <a:pt x="35" y="9"/>
                  </a:lnTo>
                  <a:lnTo>
                    <a:pt x="32" y="11"/>
                  </a:lnTo>
                  <a:lnTo>
                    <a:pt x="28" y="15"/>
                  </a:lnTo>
                  <a:lnTo>
                    <a:pt x="25" y="16"/>
                  </a:lnTo>
                  <a:lnTo>
                    <a:pt x="22" y="16"/>
                  </a:lnTo>
                  <a:lnTo>
                    <a:pt x="20" y="16"/>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59" name="Freeform 436"/>
            <p:cNvSpPr>
              <a:spLocks/>
            </p:cNvSpPr>
            <p:nvPr/>
          </p:nvSpPr>
          <p:spPr bwMode="auto">
            <a:xfrm>
              <a:off x="3838031" y="1535407"/>
              <a:ext cx="35112" cy="45188"/>
            </a:xfrm>
            <a:custGeom>
              <a:avLst/>
              <a:gdLst>
                <a:gd name="T0" fmla="*/ 15034 w 34"/>
                <a:gd name="T1" fmla="*/ 4003 h 46"/>
                <a:gd name="T2" fmla="*/ 15034 w 34"/>
                <a:gd name="T3" fmla="*/ 5004 h 46"/>
                <a:gd name="T4" fmla="*/ 13960 w 34"/>
                <a:gd name="T5" fmla="*/ 7006 h 46"/>
                <a:gd name="T6" fmla="*/ 11813 w 34"/>
                <a:gd name="T7" fmla="*/ 12010 h 46"/>
                <a:gd name="T8" fmla="*/ 7517 w 34"/>
                <a:gd name="T9" fmla="*/ 15012 h 46"/>
                <a:gd name="T10" fmla="*/ 4296 w 34"/>
                <a:gd name="T11" fmla="*/ 18015 h 46"/>
                <a:gd name="T12" fmla="*/ 1074 w 34"/>
                <a:gd name="T13" fmla="*/ 23019 h 46"/>
                <a:gd name="T14" fmla="*/ 0 w 34"/>
                <a:gd name="T15" fmla="*/ 28023 h 46"/>
                <a:gd name="T16" fmla="*/ 3222 w 34"/>
                <a:gd name="T17" fmla="*/ 31026 h 46"/>
                <a:gd name="T18" fmla="*/ 7517 w 34"/>
                <a:gd name="T19" fmla="*/ 35029 h 46"/>
                <a:gd name="T20" fmla="*/ 12887 w 34"/>
                <a:gd name="T21" fmla="*/ 37031 h 46"/>
                <a:gd name="T22" fmla="*/ 17182 w 34"/>
                <a:gd name="T23" fmla="*/ 40033 h 46"/>
                <a:gd name="T24" fmla="*/ 20404 w 34"/>
                <a:gd name="T25" fmla="*/ 44036 h 46"/>
                <a:gd name="T26" fmla="*/ 23625 w 34"/>
                <a:gd name="T27" fmla="*/ 46038 h 46"/>
                <a:gd name="T28" fmla="*/ 28995 w 34"/>
                <a:gd name="T29" fmla="*/ 44036 h 46"/>
                <a:gd name="T30" fmla="*/ 33290 w 34"/>
                <a:gd name="T31" fmla="*/ 40033 h 46"/>
                <a:gd name="T32" fmla="*/ 36512 w 34"/>
                <a:gd name="T33" fmla="*/ 35029 h 46"/>
                <a:gd name="T34" fmla="*/ 36512 w 34"/>
                <a:gd name="T35" fmla="*/ 29024 h 46"/>
                <a:gd name="T36" fmla="*/ 35438 w 34"/>
                <a:gd name="T37" fmla="*/ 24020 h 46"/>
                <a:gd name="T38" fmla="*/ 32216 w 34"/>
                <a:gd name="T39" fmla="*/ 20017 h 46"/>
                <a:gd name="T40" fmla="*/ 32216 w 34"/>
                <a:gd name="T41" fmla="*/ 15012 h 46"/>
                <a:gd name="T42" fmla="*/ 31143 w 34"/>
                <a:gd name="T43" fmla="*/ 9007 h 46"/>
                <a:gd name="T44" fmla="*/ 28995 w 34"/>
                <a:gd name="T45" fmla="*/ 5004 h 46"/>
                <a:gd name="T46" fmla="*/ 24699 w 34"/>
                <a:gd name="T47" fmla="*/ 1001 h 46"/>
                <a:gd name="T48" fmla="*/ 23625 w 34"/>
                <a:gd name="T49" fmla="*/ 0 h 46"/>
                <a:gd name="T50" fmla="*/ 22552 w 34"/>
                <a:gd name="T51" fmla="*/ 0 h 46"/>
                <a:gd name="T52" fmla="*/ 20404 w 34"/>
                <a:gd name="T53" fmla="*/ 0 h 46"/>
                <a:gd name="T54" fmla="*/ 17182 w 34"/>
                <a:gd name="T55" fmla="*/ 1001 h 46"/>
                <a:gd name="T56" fmla="*/ 15034 w 34"/>
                <a:gd name="T57" fmla="*/ 4003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4"/>
                <a:gd name="T88" fmla="*/ 0 h 46"/>
                <a:gd name="T89" fmla="*/ 34 w 34"/>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4" h="46">
                  <a:moveTo>
                    <a:pt x="14" y="4"/>
                  </a:moveTo>
                  <a:lnTo>
                    <a:pt x="14" y="5"/>
                  </a:lnTo>
                  <a:lnTo>
                    <a:pt x="13" y="7"/>
                  </a:lnTo>
                  <a:lnTo>
                    <a:pt x="11" y="12"/>
                  </a:lnTo>
                  <a:lnTo>
                    <a:pt x="7" y="15"/>
                  </a:lnTo>
                  <a:lnTo>
                    <a:pt x="4" y="18"/>
                  </a:lnTo>
                  <a:lnTo>
                    <a:pt x="1" y="23"/>
                  </a:lnTo>
                  <a:lnTo>
                    <a:pt x="0" y="28"/>
                  </a:lnTo>
                  <a:lnTo>
                    <a:pt x="3" y="31"/>
                  </a:lnTo>
                  <a:lnTo>
                    <a:pt x="7" y="35"/>
                  </a:lnTo>
                  <a:lnTo>
                    <a:pt x="12" y="37"/>
                  </a:lnTo>
                  <a:lnTo>
                    <a:pt x="16" y="40"/>
                  </a:lnTo>
                  <a:lnTo>
                    <a:pt x="19" y="44"/>
                  </a:lnTo>
                  <a:lnTo>
                    <a:pt x="22" y="46"/>
                  </a:lnTo>
                  <a:lnTo>
                    <a:pt x="27" y="44"/>
                  </a:lnTo>
                  <a:lnTo>
                    <a:pt x="31" y="40"/>
                  </a:lnTo>
                  <a:lnTo>
                    <a:pt x="34" y="35"/>
                  </a:lnTo>
                  <a:lnTo>
                    <a:pt x="34" y="29"/>
                  </a:lnTo>
                  <a:lnTo>
                    <a:pt x="33" y="24"/>
                  </a:lnTo>
                  <a:lnTo>
                    <a:pt x="30" y="20"/>
                  </a:lnTo>
                  <a:lnTo>
                    <a:pt x="30" y="15"/>
                  </a:lnTo>
                  <a:lnTo>
                    <a:pt x="29" y="9"/>
                  </a:lnTo>
                  <a:lnTo>
                    <a:pt x="27" y="5"/>
                  </a:lnTo>
                  <a:lnTo>
                    <a:pt x="23" y="1"/>
                  </a:lnTo>
                  <a:lnTo>
                    <a:pt x="22" y="0"/>
                  </a:lnTo>
                  <a:lnTo>
                    <a:pt x="21" y="0"/>
                  </a:lnTo>
                  <a:lnTo>
                    <a:pt x="19" y="0"/>
                  </a:lnTo>
                  <a:lnTo>
                    <a:pt x="16" y="1"/>
                  </a:lnTo>
                  <a:lnTo>
                    <a:pt x="14" y="4"/>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60" name="Freeform 437"/>
            <p:cNvSpPr>
              <a:spLocks/>
            </p:cNvSpPr>
            <p:nvPr/>
          </p:nvSpPr>
          <p:spPr bwMode="auto">
            <a:xfrm>
              <a:off x="3828871" y="1473155"/>
              <a:ext cx="207625" cy="101281"/>
            </a:xfrm>
            <a:custGeom>
              <a:avLst/>
              <a:gdLst>
                <a:gd name="T0" fmla="*/ 180629 w 202"/>
                <a:gd name="T1" fmla="*/ 29925 h 100"/>
                <a:gd name="T2" fmla="*/ 196661 w 202"/>
                <a:gd name="T3" fmla="*/ 34052 h 100"/>
                <a:gd name="T4" fmla="*/ 209487 w 202"/>
                <a:gd name="T5" fmla="*/ 42307 h 100"/>
                <a:gd name="T6" fmla="*/ 214831 w 202"/>
                <a:gd name="T7" fmla="*/ 53658 h 100"/>
                <a:gd name="T8" fmla="*/ 214831 w 202"/>
                <a:gd name="T9" fmla="*/ 69136 h 100"/>
                <a:gd name="T10" fmla="*/ 214831 w 202"/>
                <a:gd name="T11" fmla="*/ 75327 h 100"/>
                <a:gd name="T12" fmla="*/ 203074 w 202"/>
                <a:gd name="T13" fmla="*/ 83582 h 100"/>
                <a:gd name="T14" fmla="*/ 192386 w 202"/>
                <a:gd name="T15" fmla="*/ 87710 h 100"/>
                <a:gd name="T16" fmla="*/ 177423 w 202"/>
                <a:gd name="T17" fmla="*/ 86678 h 100"/>
                <a:gd name="T18" fmla="*/ 171010 w 202"/>
                <a:gd name="T19" fmla="*/ 86678 h 100"/>
                <a:gd name="T20" fmla="*/ 162459 w 202"/>
                <a:gd name="T21" fmla="*/ 92869 h 100"/>
                <a:gd name="T22" fmla="*/ 151771 w 202"/>
                <a:gd name="T23" fmla="*/ 94933 h 100"/>
                <a:gd name="T24" fmla="*/ 138946 w 202"/>
                <a:gd name="T25" fmla="*/ 95965 h 100"/>
                <a:gd name="T26" fmla="*/ 128257 w 202"/>
                <a:gd name="T27" fmla="*/ 96997 h 100"/>
                <a:gd name="T28" fmla="*/ 118638 w 202"/>
                <a:gd name="T29" fmla="*/ 101124 h 100"/>
                <a:gd name="T30" fmla="*/ 106881 w 202"/>
                <a:gd name="T31" fmla="*/ 103188 h 100"/>
                <a:gd name="T32" fmla="*/ 89780 w 202"/>
                <a:gd name="T33" fmla="*/ 102156 h 100"/>
                <a:gd name="T34" fmla="*/ 78023 w 202"/>
                <a:gd name="T35" fmla="*/ 100092 h 100"/>
                <a:gd name="T36" fmla="*/ 67335 w 202"/>
                <a:gd name="T37" fmla="*/ 92869 h 100"/>
                <a:gd name="T38" fmla="*/ 56647 w 202"/>
                <a:gd name="T39" fmla="*/ 81519 h 100"/>
                <a:gd name="T40" fmla="*/ 56647 w 202"/>
                <a:gd name="T41" fmla="*/ 62945 h 100"/>
                <a:gd name="T42" fmla="*/ 56647 w 202"/>
                <a:gd name="T43" fmla="*/ 49530 h 100"/>
                <a:gd name="T44" fmla="*/ 52372 w 202"/>
                <a:gd name="T45" fmla="*/ 40243 h 100"/>
                <a:gd name="T46" fmla="*/ 44890 w 202"/>
                <a:gd name="T47" fmla="*/ 33020 h 100"/>
                <a:gd name="T48" fmla="*/ 32064 w 202"/>
                <a:gd name="T49" fmla="*/ 34052 h 100"/>
                <a:gd name="T50" fmla="*/ 25651 w 202"/>
                <a:gd name="T51" fmla="*/ 36116 h 100"/>
                <a:gd name="T52" fmla="*/ 12826 w 202"/>
                <a:gd name="T53" fmla="*/ 25797 h 100"/>
                <a:gd name="T54" fmla="*/ 0 w 202"/>
                <a:gd name="T55" fmla="*/ 16510 h 100"/>
                <a:gd name="T56" fmla="*/ 7482 w 202"/>
                <a:gd name="T57" fmla="*/ 3096 h 100"/>
                <a:gd name="T58" fmla="*/ 20307 w 202"/>
                <a:gd name="T59" fmla="*/ 0 h 100"/>
                <a:gd name="T60" fmla="*/ 32064 w 202"/>
                <a:gd name="T61" fmla="*/ 6191 h 100"/>
                <a:gd name="T62" fmla="*/ 39546 w 202"/>
                <a:gd name="T63" fmla="*/ 17542 h 100"/>
                <a:gd name="T64" fmla="*/ 52372 w 202"/>
                <a:gd name="T65" fmla="*/ 20638 h 100"/>
                <a:gd name="T66" fmla="*/ 57716 w 202"/>
                <a:gd name="T67" fmla="*/ 13414 h 100"/>
                <a:gd name="T68" fmla="*/ 67335 w 202"/>
                <a:gd name="T69" fmla="*/ 13414 h 100"/>
                <a:gd name="T70" fmla="*/ 73748 w 202"/>
                <a:gd name="T71" fmla="*/ 16510 h 100"/>
                <a:gd name="T72" fmla="*/ 78023 w 202"/>
                <a:gd name="T73" fmla="*/ 29925 h 100"/>
                <a:gd name="T74" fmla="*/ 90849 w 202"/>
                <a:gd name="T75" fmla="*/ 44371 h 100"/>
                <a:gd name="T76" fmla="*/ 97262 w 202"/>
                <a:gd name="T77" fmla="*/ 54690 h 100"/>
                <a:gd name="T78" fmla="*/ 118638 w 202"/>
                <a:gd name="T79" fmla="*/ 52626 h 100"/>
                <a:gd name="T80" fmla="*/ 131464 w 202"/>
                <a:gd name="T81" fmla="*/ 54690 h 100"/>
                <a:gd name="T82" fmla="*/ 142152 w 202"/>
                <a:gd name="T83" fmla="*/ 47466 h 100"/>
                <a:gd name="T84" fmla="*/ 152840 w 202"/>
                <a:gd name="T85" fmla="*/ 38180 h 100"/>
                <a:gd name="T86" fmla="*/ 164597 w 202"/>
                <a:gd name="T87" fmla="*/ 29925 h 1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2"/>
                <a:gd name="T133" fmla="*/ 0 h 100"/>
                <a:gd name="T134" fmla="*/ 202 w 202"/>
                <a:gd name="T135" fmla="*/ 100 h 10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2" h="100">
                  <a:moveTo>
                    <a:pt x="166" y="28"/>
                  </a:moveTo>
                  <a:lnTo>
                    <a:pt x="169" y="29"/>
                  </a:lnTo>
                  <a:lnTo>
                    <a:pt x="176" y="30"/>
                  </a:lnTo>
                  <a:lnTo>
                    <a:pt x="184" y="33"/>
                  </a:lnTo>
                  <a:lnTo>
                    <a:pt x="191" y="37"/>
                  </a:lnTo>
                  <a:lnTo>
                    <a:pt x="196" y="41"/>
                  </a:lnTo>
                  <a:lnTo>
                    <a:pt x="198" y="46"/>
                  </a:lnTo>
                  <a:lnTo>
                    <a:pt x="201" y="52"/>
                  </a:lnTo>
                  <a:lnTo>
                    <a:pt x="201" y="60"/>
                  </a:lnTo>
                  <a:lnTo>
                    <a:pt x="201" y="67"/>
                  </a:lnTo>
                  <a:lnTo>
                    <a:pt x="202" y="69"/>
                  </a:lnTo>
                  <a:lnTo>
                    <a:pt x="201" y="73"/>
                  </a:lnTo>
                  <a:lnTo>
                    <a:pt x="196" y="76"/>
                  </a:lnTo>
                  <a:lnTo>
                    <a:pt x="190" y="81"/>
                  </a:lnTo>
                  <a:lnTo>
                    <a:pt x="186" y="84"/>
                  </a:lnTo>
                  <a:lnTo>
                    <a:pt x="180" y="85"/>
                  </a:lnTo>
                  <a:lnTo>
                    <a:pt x="172" y="85"/>
                  </a:lnTo>
                  <a:lnTo>
                    <a:pt x="166" y="84"/>
                  </a:lnTo>
                  <a:lnTo>
                    <a:pt x="163" y="83"/>
                  </a:lnTo>
                  <a:lnTo>
                    <a:pt x="160" y="84"/>
                  </a:lnTo>
                  <a:lnTo>
                    <a:pt x="156" y="88"/>
                  </a:lnTo>
                  <a:lnTo>
                    <a:pt x="152" y="90"/>
                  </a:lnTo>
                  <a:lnTo>
                    <a:pt x="148" y="91"/>
                  </a:lnTo>
                  <a:lnTo>
                    <a:pt x="142" y="92"/>
                  </a:lnTo>
                  <a:lnTo>
                    <a:pt x="136" y="92"/>
                  </a:lnTo>
                  <a:lnTo>
                    <a:pt x="130" y="93"/>
                  </a:lnTo>
                  <a:lnTo>
                    <a:pt x="125" y="93"/>
                  </a:lnTo>
                  <a:lnTo>
                    <a:pt x="120" y="94"/>
                  </a:lnTo>
                  <a:lnTo>
                    <a:pt x="116" y="96"/>
                  </a:lnTo>
                  <a:lnTo>
                    <a:pt x="111" y="98"/>
                  </a:lnTo>
                  <a:lnTo>
                    <a:pt x="106" y="99"/>
                  </a:lnTo>
                  <a:lnTo>
                    <a:pt x="100" y="100"/>
                  </a:lnTo>
                  <a:lnTo>
                    <a:pt x="92" y="100"/>
                  </a:lnTo>
                  <a:lnTo>
                    <a:pt x="84" y="99"/>
                  </a:lnTo>
                  <a:lnTo>
                    <a:pt x="77" y="99"/>
                  </a:lnTo>
                  <a:lnTo>
                    <a:pt x="73" y="97"/>
                  </a:lnTo>
                  <a:lnTo>
                    <a:pt x="68" y="93"/>
                  </a:lnTo>
                  <a:lnTo>
                    <a:pt x="63" y="90"/>
                  </a:lnTo>
                  <a:lnTo>
                    <a:pt x="58" y="85"/>
                  </a:lnTo>
                  <a:lnTo>
                    <a:pt x="53" y="79"/>
                  </a:lnTo>
                  <a:lnTo>
                    <a:pt x="52" y="71"/>
                  </a:lnTo>
                  <a:lnTo>
                    <a:pt x="53" y="61"/>
                  </a:lnTo>
                  <a:lnTo>
                    <a:pt x="53" y="54"/>
                  </a:lnTo>
                  <a:lnTo>
                    <a:pt x="53" y="48"/>
                  </a:lnTo>
                  <a:lnTo>
                    <a:pt x="51" y="44"/>
                  </a:lnTo>
                  <a:lnTo>
                    <a:pt x="49" y="39"/>
                  </a:lnTo>
                  <a:lnTo>
                    <a:pt x="46" y="35"/>
                  </a:lnTo>
                  <a:lnTo>
                    <a:pt x="42" y="32"/>
                  </a:lnTo>
                  <a:lnTo>
                    <a:pt x="36" y="32"/>
                  </a:lnTo>
                  <a:lnTo>
                    <a:pt x="30" y="33"/>
                  </a:lnTo>
                  <a:lnTo>
                    <a:pt x="28" y="35"/>
                  </a:lnTo>
                  <a:lnTo>
                    <a:pt x="24" y="35"/>
                  </a:lnTo>
                  <a:lnTo>
                    <a:pt x="20" y="31"/>
                  </a:lnTo>
                  <a:lnTo>
                    <a:pt x="12" y="25"/>
                  </a:lnTo>
                  <a:lnTo>
                    <a:pt x="5" y="22"/>
                  </a:lnTo>
                  <a:lnTo>
                    <a:pt x="0" y="16"/>
                  </a:lnTo>
                  <a:lnTo>
                    <a:pt x="1" y="9"/>
                  </a:lnTo>
                  <a:lnTo>
                    <a:pt x="7" y="3"/>
                  </a:lnTo>
                  <a:lnTo>
                    <a:pt x="13" y="0"/>
                  </a:lnTo>
                  <a:lnTo>
                    <a:pt x="19" y="0"/>
                  </a:lnTo>
                  <a:lnTo>
                    <a:pt x="24" y="1"/>
                  </a:lnTo>
                  <a:lnTo>
                    <a:pt x="30" y="6"/>
                  </a:lnTo>
                  <a:lnTo>
                    <a:pt x="34" y="12"/>
                  </a:lnTo>
                  <a:lnTo>
                    <a:pt x="37" y="17"/>
                  </a:lnTo>
                  <a:lnTo>
                    <a:pt x="43" y="21"/>
                  </a:lnTo>
                  <a:lnTo>
                    <a:pt x="49" y="20"/>
                  </a:lnTo>
                  <a:lnTo>
                    <a:pt x="52" y="16"/>
                  </a:lnTo>
                  <a:lnTo>
                    <a:pt x="54" y="13"/>
                  </a:lnTo>
                  <a:lnTo>
                    <a:pt x="59" y="12"/>
                  </a:lnTo>
                  <a:lnTo>
                    <a:pt x="63" y="13"/>
                  </a:lnTo>
                  <a:lnTo>
                    <a:pt x="67" y="13"/>
                  </a:lnTo>
                  <a:lnTo>
                    <a:pt x="69" y="16"/>
                  </a:lnTo>
                  <a:lnTo>
                    <a:pt x="70" y="21"/>
                  </a:lnTo>
                  <a:lnTo>
                    <a:pt x="73" y="29"/>
                  </a:lnTo>
                  <a:lnTo>
                    <a:pt x="80" y="36"/>
                  </a:lnTo>
                  <a:lnTo>
                    <a:pt x="85" y="43"/>
                  </a:lnTo>
                  <a:lnTo>
                    <a:pt x="88" y="50"/>
                  </a:lnTo>
                  <a:lnTo>
                    <a:pt x="91" y="53"/>
                  </a:lnTo>
                  <a:lnTo>
                    <a:pt x="100" y="52"/>
                  </a:lnTo>
                  <a:lnTo>
                    <a:pt x="111" y="51"/>
                  </a:lnTo>
                  <a:lnTo>
                    <a:pt x="119" y="52"/>
                  </a:lnTo>
                  <a:lnTo>
                    <a:pt x="123" y="53"/>
                  </a:lnTo>
                  <a:lnTo>
                    <a:pt x="128" y="51"/>
                  </a:lnTo>
                  <a:lnTo>
                    <a:pt x="133" y="46"/>
                  </a:lnTo>
                  <a:lnTo>
                    <a:pt x="138" y="41"/>
                  </a:lnTo>
                  <a:lnTo>
                    <a:pt x="143" y="37"/>
                  </a:lnTo>
                  <a:lnTo>
                    <a:pt x="149" y="32"/>
                  </a:lnTo>
                  <a:lnTo>
                    <a:pt x="154" y="29"/>
                  </a:lnTo>
                  <a:lnTo>
                    <a:pt x="166" y="28"/>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61" name="Freeform 438"/>
            <p:cNvSpPr>
              <a:spLocks/>
            </p:cNvSpPr>
            <p:nvPr/>
          </p:nvSpPr>
          <p:spPr bwMode="auto">
            <a:xfrm>
              <a:off x="3665528" y="1409195"/>
              <a:ext cx="42747" cy="37396"/>
            </a:xfrm>
            <a:custGeom>
              <a:avLst/>
              <a:gdLst>
                <a:gd name="T0" fmla="*/ 42228 w 40"/>
                <a:gd name="T1" fmla="*/ 20595 h 37"/>
                <a:gd name="T2" fmla="*/ 41116 w 40"/>
                <a:gd name="T3" fmla="*/ 21624 h 37"/>
                <a:gd name="T4" fmla="*/ 38894 w 40"/>
                <a:gd name="T5" fmla="*/ 26773 h 37"/>
                <a:gd name="T6" fmla="*/ 35560 w 40"/>
                <a:gd name="T7" fmla="*/ 30892 h 37"/>
                <a:gd name="T8" fmla="*/ 31115 w 40"/>
                <a:gd name="T9" fmla="*/ 35011 h 37"/>
                <a:gd name="T10" fmla="*/ 26670 w 40"/>
                <a:gd name="T11" fmla="*/ 37070 h 37"/>
                <a:gd name="T12" fmla="*/ 21114 w 40"/>
                <a:gd name="T13" fmla="*/ 38100 h 37"/>
                <a:gd name="T14" fmla="*/ 15557 w 40"/>
                <a:gd name="T15" fmla="*/ 38100 h 37"/>
                <a:gd name="T16" fmla="*/ 14446 w 40"/>
                <a:gd name="T17" fmla="*/ 38100 h 37"/>
                <a:gd name="T18" fmla="*/ 13335 w 40"/>
                <a:gd name="T19" fmla="*/ 37070 h 37"/>
                <a:gd name="T20" fmla="*/ 12224 w 40"/>
                <a:gd name="T21" fmla="*/ 35011 h 37"/>
                <a:gd name="T22" fmla="*/ 10001 w 40"/>
                <a:gd name="T23" fmla="*/ 32951 h 37"/>
                <a:gd name="T24" fmla="*/ 5556 w 40"/>
                <a:gd name="T25" fmla="*/ 28832 h 37"/>
                <a:gd name="T26" fmla="*/ 2223 w 40"/>
                <a:gd name="T27" fmla="*/ 24714 h 37"/>
                <a:gd name="T28" fmla="*/ 0 w 40"/>
                <a:gd name="T29" fmla="*/ 20595 h 37"/>
                <a:gd name="T30" fmla="*/ 2223 w 40"/>
                <a:gd name="T31" fmla="*/ 17505 h 37"/>
                <a:gd name="T32" fmla="*/ 6667 w 40"/>
                <a:gd name="T33" fmla="*/ 12357 h 37"/>
                <a:gd name="T34" fmla="*/ 13335 w 40"/>
                <a:gd name="T35" fmla="*/ 7208 h 37"/>
                <a:gd name="T36" fmla="*/ 18891 w 40"/>
                <a:gd name="T37" fmla="*/ 3089 h 37"/>
                <a:gd name="T38" fmla="*/ 22225 w 40"/>
                <a:gd name="T39" fmla="*/ 0 h 37"/>
                <a:gd name="T40" fmla="*/ 27781 w 40"/>
                <a:gd name="T41" fmla="*/ 2059 h 37"/>
                <a:gd name="T42" fmla="*/ 35560 w 40"/>
                <a:gd name="T43" fmla="*/ 4119 h 37"/>
                <a:gd name="T44" fmla="*/ 41116 w 40"/>
                <a:gd name="T45" fmla="*/ 7208 h 37"/>
                <a:gd name="T46" fmla="*/ 44450 w 40"/>
                <a:gd name="T47" fmla="*/ 12357 h 37"/>
                <a:gd name="T48" fmla="*/ 42228 w 40"/>
                <a:gd name="T49" fmla="*/ 20595 h 3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37"/>
                <a:gd name="T77" fmla="*/ 40 w 40"/>
                <a:gd name="T78" fmla="*/ 37 h 3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37">
                  <a:moveTo>
                    <a:pt x="38" y="20"/>
                  </a:moveTo>
                  <a:lnTo>
                    <a:pt x="37" y="21"/>
                  </a:lnTo>
                  <a:lnTo>
                    <a:pt x="35" y="26"/>
                  </a:lnTo>
                  <a:lnTo>
                    <a:pt x="32" y="30"/>
                  </a:lnTo>
                  <a:lnTo>
                    <a:pt x="28" y="34"/>
                  </a:lnTo>
                  <a:lnTo>
                    <a:pt x="24" y="36"/>
                  </a:lnTo>
                  <a:lnTo>
                    <a:pt x="19" y="37"/>
                  </a:lnTo>
                  <a:lnTo>
                    <a:pt x="14" y="37"/>
                  </a:lnTo>
                  <a:lnTo>
                    <a:pt x="13" y="37"/>
                  </a:lnTo>
                  <a:lnTo>
                    <a:pt x="12" y="36"/>
                  </a:lnTo>
                  <a:lnTo>
                    <a:pt x="11" y="34"/>
                  </a:lnTo>
                  <a:lnTo>
                    <a:pt x="9" y="32"/>
                  </a:lnTo>
                  <a:lnTo>
                    <a:pt x="5" y="28"/>
                  </a:lnTo>
                  <a:lnTo>
                    <a:pt x="2" y="24"/>
                  </a:lnTo>
                  <a:lnTo>
                    <a:pt x="0" y="20"/>
                  </a:lnTo>
                  <a:lnTo>
                    <a:pt x="2" y="17"/>
                  </a:lnTo>
                  <a:lnTo>
                    <a:pt x="6" y="12"/>
                  </a:lnTo>
                  <a:lnTo>
                    <a:pt x="12" y="7"/>
                  </a:lnTo>
                  <a:lnTo>
                    <a:pt x="17" y="3"/>
                  </a:lnTo>
                  <a:lnTo>
                    <a:pt x="20" y="0"/>
                  </a:lnTo>
                  <a:lnTo>
                    <a:pt x="25" y="2"/>
                  </a:lnTo>
                  <a:lnTo>
                    <a:pt x="32" y="4"/>
                  </a:lnTo>
                  <a:lnTo>
                    <a:pt x="37" y="7"/>
                  </a:lnTo>
                  <a:lnTo>
                    <a:pt x="40" y="12"/>
                  </a:lnTo>
                  <a:lnTo>
                    <a:pt x="38" y="2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62" name="Freeform 439"/>
            <p:cNvSpPr>
              <a:spLocks/>
            </p:cNvSpPr>
            <p:nvPr/>
          </p:nvSpPr>
          <p:spPr bwMode="auto">
            <a:xfrm flipV="1">
              <a:off x="3828871" y="1172420"/>
              <a:ext cx="207625" cy="317867"/>
            </a:xfrm>
            <a:custGeom>
              <a:avLst/>
              <a:gdLst>
                <a:gd name="T0" fmla="*/ 99894 w 201"/>
                <a:gd name="T1" fmla="*/ 281211 h 319"/>
                <a:gd name="T2" fmla="*/ 94523 w 201"/>
                <a:gd name="T3" fmla="*/ 298470 h 319"/>
                <a:gd name="T4" fmla="*/ 85930 w 201"/>
                <a:gd name="T5" fmla="*/ 312683 h 319"/>
                <a:gd name="T6" fmla="*/ 98820 w 201"/>
                <a:gd name="T7" fmla="*/ 323850 h 319"/>
                <a:gd name="T8" fmla="*/ 132118 w 201"/>
                <a:gd name="T9" fmla="*/ 322835 h 319"/>
                <a:gd name="T10" fmla="*/ 154675 w 201"/>
                <a:gd name="T11" fmla="*/ 313698 h 319"/>
                <a:gd name="T12" fmla="*/ 176157 w 201"/>
                <a:gd name="T13" fmla="*/ 308622 h 319"/>
                <a:gd name="T14" fmla="*/ 195492 w 201"/>
                <a:gd name="T15" fmla="*/ 309637 h 319"/>
                <a:gd name="T16" fmla="*/ 211603 w 201"/>
                <a:gd name="T17" fmla="*/ 293394 h 319"/>
                <a:gd name="T18" fmla="*/ 193343 w 201"/>
                <a:gd name="T19" fmla="*/ 277151 h 319"/>
                <a:gd name="T20" fmla="*/ 184750 w 201"/>
                <a:gd name="T21" fmla="*/ 266999 h 319"/>
                <a:gd name="T22" fmla="*/ 195492 w 201"/>
                <a:gd name="T23" fmla="*/ 254816 h 319"/>
                <a:gd name="T24" fmla="*/ 192269 w 201"/>
                <a:gd name="T25" fmla="*/ 238573 h 319"/>
                <a:gd name="T26" fmla="*/ 201936 w 201"/>
                <a:gd name="T27" fmla="*/ 222330 h 319"/>
                <a:gd name="T28" fmla="*/ 204085 w 201"/>
                <a:gd name="T29" fmla="*/ 189843 h 319"/>
                <a:gd name="T30" fmla="*/ 177231 w 201"/>
                <a:gd name="T31" fmla="*/ 170554 h 319"/>
                <a:gd name="T32" fmla="*/ 201936 w 201"/>
                <a:gd name="T33" fmla="*/ 151265 h 319"/>
                <a:gd name="T34" fmla="*/ 206233 w 201"/>
                <a:gd name="T35" fmla="*/ 121824 h 319"/>
                <a:gd name="T36" fmla="*/ 210529 w 201"/>
                <a:gd name="T37" fmla="*/ 91368 h 319"/>
                <a:gd name="T38" fmla="*/ 215900 w 201"/>
                <a:gd name="T39" fmla="*/ 55836 h 319"/>
                <a:gd name="T40" fmla="*/ 196566 w 201"/>
                <a:gd name="T41" fmla="*/ 54821 h 319"/>
                <a:gd name="T42" fmla="*/ 211603 w 201"/>
                <a:gd name="T43" fmla="*/ 29441 h 319"/>
                <a:gd name="T44" fmla="*/ 208381 w 201"/>
                <a:gd name="T45" fmla="*/ 6091 h 319"/>
                <a:gd name="T46" fmla="*/ 203010 w 201"/>
                <a:gd name="T47" fmla="*/ 5076 h 319"/>
                <a:gd name="T48" fmla="*/ 185824 w 201"/>
                <a:gd name="T49" fmla="*/ 3046 h 319"/>
                <a:gd name="T50" fmla="*/ 175083 w 201"/>
                <a:gd name="T51" fmla="*/ 0 h 319"/>
                <a:gd name="T52" fmla="*/ 170787 w 201"/>
                <a:gd name="T53" fmla="*/ 2030 h 319"/>
                <a:gd name="T54" fmla="*/ 155749 w 201"/>
                <a:gd name="T55" fmla="*/ 6091 h 319"/>
                <a:gd name="T56" fmla="*/ 138563 w 201"/>
                <a:gd name="T57" fmla="*/ 9137 h 319"/>
                <a:gd name="T58" fmla="*/ 129970 w 201"/>
                <a:gd name="T59" fmla="*/ 17258 h 319"/>
                <a:gd name="T60" fmla="*/ 116006 w 201"/>
                <a:gd name="T61" fmla="*/ 20304 h 319"/>
                <a:gd name="T62" fmla="*/ 93449 w 201"/>
                <a:gd name="T63" fmla="*/ 31471 h 319"/>
                <a:gd name="T64" fmla="*/ 87004 w 201"/>
                <a:gd name="T65" fmla="*/ 54821 h 319"/>
                <a:gd name="T66" fmla="*/ 79486 w 201"/>
                <a:gd name="T67" fmla="*/ 61927 h 319"/>
                <a:gd name="T68" fmla="*/ 63374 w 201"/>
                <a:gd name="T69" fmla="*/ 71064 h 319"/>
                <a:gd name="T70" fmla="*/ 49410 w 201"/>
                <a:gd name="T71" fmla="*/ 82232 h 319"/>
                <a:gd name="T72" fmla="*/ 39743 w 201"/>
                <a:gd name="T73" fmla="*/ 94414 h 319"/>
                <a:gd name="T74" fmla="*/ 47262 w 201"/>
                <a:gd name="T75" fmla="*/ 116748 h 319"/>
                <a:gd name="T76" fmla="*/ 50484 w 201"/>
                <a:gd name="T77" fmla="*/ 134007 h 319"/>
                <a:gd name="T78" fmla="*/ 46188 w 201"/>
                <a:gd name="T79" fmla="*/ 145174 h 319"/>
                <a:gd name="T80" fmla="*/ 33298 w 201"/>
                <a:gd name="T81" fmla="*/ 119794 h 319"/>
                <a:gd name="T82" fmla="*/ 22557 w 201"/>
                <a:gd name="T83" fmla="*/ 119794 h 319"/>
                <a:gd name="T84" fmla="*/ 9667 w 201"/>
                <a:gd name="T85" fmla="*/ 134007 h 319"/>
                <a:gd name="T86" fmla="*/ 0 w 201"/>
                <a:gd name="T87" fmla="*/ 168524 h 319"/>
                <a:gd name="T88" fmla="*/ 2148 w 201"/>
                <a:gd name="T89" fmla="*/ 192889 h 319"/>
                <a:gd name="T90" fmla="*/ 20408 w 201"/>
                <a:gd name="T91" fmla="*/ 202026 h 319"/>
                <a:gd name="T92" fmla="*/ 32224 w 201"/>
                <a:gd name="T93" fmla="*/ 202026 h 319"/>
                <a:gd name="T94" fmla="*/ 30076 w 201"/>
                <a:gd name="T95" fmla="*/ 214208 h 319"/>
                <a:gd name="T96" fmla="*/ 25779 w 201"/>
                <a:gd name="T97" fmla="*/ 227406 h 319"/>
                <a:gd name="T98" fmla="*/ 38669 w 201"/>
                <a:gd name="T99" fmla="*/ 241618 h 319"/>
                <a:gd name="T100" fmla="*/ 67670 w 201"/>
                <a:gd name="T101" fmla="*/ 247710 h 319"/>
                <a:gd name="T102" fmla="*/ 82708 w 201"/>
                <a:gd name="T103" fmla="*/ 232482 h 319"/>
                <a:gd name="T104" fmla="*/ 103116 w 201"/>
                <a:gd name="T105" fmla="*/ 243649 h 319"/>
                <a:gd name="T106" fmla="*/ 121377 w 201"/>
                <a:gd name="T107" fmla="*/ 266999 h 319"/>
                <a:gd name="T108" fmla="*/ 110635 w 201"/>
                <a:gd name="T109" fmla="*/ 259892 h 319"/>
                <a:gd name="T110" fmla="*/ 88079 w 201"/>
                <a:gd name="T111" fmla="*/ 261923 h 31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01"/>
                <a:gd name="T169" fmla="*/ 0 h 319"/>
                <a:gd name="T170" fmla="*/ 201 w 201"/>
                <a:gd name="T171" fmla="*/ 319 h 31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01" h="319">
                  <a:moveTo>
                    <a:pt x="84" y="267"/>
                  </a:moveTo>
                  <a:lnTo>
                    <a:pt x="88" y="270"/>
                  </a:lnTo>
                  <a:lnTo>
                    <a:pt x="93" y="277"/>
                  </a:lnTo>
                  <a:lnTo>
                    <a:pt x="97" y="283"/>
                  </a:lnTo>
                  <a:lnTo>
                    <a:pt x="95" y="290"/>
                  </a:lnTo>
                  <a:lnTo>
                    <a:pt x="88" y="294"/>
                  </a:lnTo>
                  <a:lnTo>
                    <a:pt x="82" y="296"/>
                  </a:lnTo>
                  <a:lnTo>
                    <a:pt x="78" y="301"/>
                  </a:lnTo>
                  <a:lnTo>
                    <a:pt x="80" y="308"/>
                  </a:lnTo>
                  <a:lnTo>
                    <a:pt x="82" y="315"/>
                  </a:lnTo>
                  <a:lnTo>
                    <a:pt x="85" y="318"/>
                  </a:lnTo>
                  <a:lnTo>
                    <a:pt x="92" y="319"/>
                  </a:lnTo>
                  <a:lnTo>
                    <a:pt x="104" y="319"/>
                  </a:lnTo>
                  <a:lnTo>
                    <a:pt x="116" y="319"/>
                  </a:lnTo>
                  <a:lnTo>
                    <a:pt x="123" y="318"/>
                  </a:lnTo>
                  <a:lnTo>
                    <a:pt x="129" y="316"/>
                  </a:lnTo>
                  <a:lnTo>
                    <a:pt x="136" y="312"/>
                  </a:lnTo>
                  <a:lnTo>
                    <a:pt x="144" y="309"/>
                  </a:lnTo>
                  <a:lnTo>
                    <a:pt x="151" y="305"/>
                  </a:lnTo>
                  <a:lnTo>
                    <a:pt x="158" y="304"/>
                  </a:lnTo>
                  <a:lnTo>
                    <a:pt x="164" y="304"/>
                  </a:lnTo>
                  <a:lnTo>
                    <a:pt x="171" y="306"/>
                  </a:lnTo>
                  <a:lnTo>
                    <a:pt x="176" y="306"/>
                  </a:lnTo>
                  <a:lnTo>
                    <a:pt x="182" y="305"/>
                  </a:lnTo>
                  <a:lnTo>
                    <a:pt x="187" y="300"/>
                  </a:lnTo>
                  <a:lnTo>
                    <a:pt x="191" y="294"/>
                  </a:lnTo>
                  <a:lnTo>
                    <a:pt x="197" y="289"/>
                  </a:lnTo>
                  <a:lnTo>
                    <a:pt x="198" y="285"/>
                  </a:lnTo>
                  <a:lnTo>
                    <a:pt x="191" y="279"/>
                  </a:lnTo>
                  <a:lnTo>
                    <a:pt x="180" y="273"/>
                  </a:lnTo>
                  <a:lnTo>
                    <a:pt x="173" y="270"/>
                  </a:lnTo>
                  <a:lnTo>
                    <a:pt x="169" y="266"/>
                  </a:lnTo>
                  <a:lnTo>
                    <a:pt x="172" y="263"/>
                  </a:lnTo>
                  <a:lnTo>
                    <a:pt x="177" y="259"/>
                  </a:lnTo>
                  <a:lnTo>
                    <a:pt x="181" y="256"/>
                  </a:lnTo>
                  <a:lnTo>
                    <a:pt x="182" y="251"/>
                  </a:lnTo>
                  <a:lnTo>
                    <a:pt x="182" y="244"/>
                  </a:lnTo>
                  <a:lnTo>
                    <a:pt x="180" y="238"/>
                  </a:lnTo>
                  <a:lnTo>
                    <a:pt x="179" y="235"/>
                  </a:lnTo>
                  <a:lnTo>
                    <a:pt x="179" y="232"/>
                  </a:lnTo>
                  <a:lnTo>
                    <a:pt x="182" y="227"/>
                  </a:lnTo>
                  <a:lnTo>
                    <a:pt x="188" y="219"/>
                  </a:lnTo>
                  <a:lnTo>
                    <a:pt x="195" y="209"/>
                  </a:lnTo>
                  <a:lnTo>
                    <a:pt x="197" y="197"/>
                  </a:lnTo>
                  <a:lnTo>
                    <a:pt x="190" y="187"/>
                  </a:lnTo>
                  <a:lnTo>
                    <a:pt x="177" y="179"/>
                  </a:lnTo>
                  <a:lnTo>
                    <a:pt x="168" y="173"/>
                  </a:lnTo>
                  <a:lnTo>
                    <a:pt x="165" y="168"/>
                  </a:lnTo>
                  <a:lnTo>
                    <a:pt x="168" y="162"/>
                  </a:lnTo>
                  <a:lnTo>
                    <a:pt x="177" y="156"/>
                  </a:lnTo>
                  <a:lnTo>
                    <a:pt x="188" y="149"/>
                  </a:lnTo>
                  <a:lnTo>
                    <a:pt x="195" y="139"/>
                  </a:lnTo>
                  <a:lnTo>
                    <a:pt x="195" y="130"/>
                  </a:lnTo>
                  <a:lnTo>
                    <a:pt x="192" y="120"/>
                  </a:lnTo>
                  <a:lnTo>
                    <a:pt x="194" y="109"/>
                  </a:lnTo>
                  <a:lnTo>
                    <a:pt x="195" y="100"/>
                  </a:lnTo>
                  <a:lnTo>
                    <a:pt x="196" y="90"/>
                  </a:lnTo>
                  <a:lnTo>
                    <a:pt x="197" y="77"/>
                  </a:lnTo>
                  <a:lnTo>
                    <a:pt x="199" y="65"/>
                  </a:lnTo>
                  <a:lnTo>
                    <a:pt x="201" y="55"/>
                  </a:lnTo>
                  <a:lnTo>
                    <a:pt x="196" y="52"/>
                  </a:lnTo>
                  <a:lnTo>
                    <a:pt x="189" y="54"/>
                  </a:lnTo>
                  <a:lnTo>
                    <a:pt x="183" y="54"/>
                  </a:lnTo>
                  <a:lnTo>
                    <a:pt x="183" y="51"/>
                  </a:lnTo>
                  <a:lnTo>
                    <a:pt x="190" y="40"/>
                  </a:lnTo>
                  <a:lnTo>
                    <a:pt x="197" y="29"/>
                  </a:lnTo>
                  <a:lnTo>
                    <a:pt x="199" y="18"/>
                  </a:lnTo>
                  <a:lnTo>
                    <a:pt x="198" y="10"/>
                  </a:lnTo>
                  <a:lnTo>
                    <a:pt x="194" y="6"/>
                  </a:lnTo>
                  <a:lnTo>
                    <a:pt x="192" y="5"/>
                  </a:lnTo>
                  <a:lnTo>
                    <a:pt x="190" y="5"/>
                  </a:lnTo>
                  <a:lnTo>
                    <a:pt x="189" y="5"/>
                  </a:lnTo>
                  <a:lnTo>
                    <a:pt x="187" y="5"/>
                  </a:lnTo>
                  <a:lnTo>
                    <a:pt x="179" y="6"/>
                  </a:lnTo>
                  <a:lnTo>
                    <a:pt x="173" y="3"/>
                  </a:lnTo>
                  <a:lnTo>
                    <a:pt x="168" y="1"/>
                  </a:lnTo>
                  <a:lnTo>
                    <a:pt x="164" y="0"/>
                  </a:lnTo>
                  <a:lnTo>
                    <a:pt x="163" y="0"/>
                  </a:lnTo>
                  <a:lnTo>
                    <a:pt x="161" y="0"/>
                  </a:lnTo>
                  <a:lnTo>
                    <a:pt x="160" y="1"/>
                  </a:lnTo>
                  <a:lnTo>
                    <a:pt x="159" y="2"/>
                  </a:lnTo>
                  <a:lnTo>
                    <a:pt x="156" y="5"/>
                  </a:lnTo>
                  <a:lnTo>
                    <a:pt x="151" y="6"/>
                  </a:lnTo>
                  <a:lnTo>
                    <a:pt x="145" y="6"/>
                  </a:lnTo>
                  <a:lnTo>
                    <a:pt x="139" y="7"/>
                  </a:lnTo>
                  <a:lnTo>
                    <a:pt x="135" y="8"/>
                  </a:lnTo>
                  <a:lnTo>
                    <a:pt x="129" y="9"/>
                  </a:lnTo>
                  <a:lnTo>
                    <a:pt x="126" y="10"/>
                  </a:lnTo>
                  <a:lnTo>
                    <a:pt x="123" y="14"/>
                  </a:lnTo>
                  <a:lnTo>
                    <a:pt x="121" y="17"/>
                  </a:lnTo>
                  <a:lnTo>
                    <a:pt x="119" y="18"/>
                  </a:lnTo>
                  <a:lnTo>
                    <a:pt x="115" y="18"/>
                  </a:lnTo>
                  <a:lnTo>
                    <a:pt x="108" y="20"/>
                  </a:lnTo>
                  <a:lnTo>
                    <a:pt x="100" y="23"/>
                  </a:lnTo>
                  <a:lnTo>
                    <a:pt x="93" y="26"/>
                  </a:lnTo>
                  <a:lnTo>
                    <a:pt x="87" y="31"/>
                  </a:lnTo>
                  <a:lnTo>
                    <a:pt x="82" y="39"/>
                  </a:lnTo>
                  <a:lnTo>
                    <a:pt x="80" y="47"/>
                  </a:lnTo>
                  <a:lnTo>
                    <a:pt x="81" y="54"/>
                  </a:lnTo>
                  <a:lnTo>
                    <a:pt x="81" y="59"/>
                  </a:lnTo>
                  <a:lnTo>
                    <a:pt x="80" y="60"/>
                  </a:lnTo>
                  <a:lnTo>
                    <a:pt x="74" y="61"/>
                  </a:lnTo>
                  <a:lnTo>
                    <a:pt x="67" y="62"/>
                  </a:lnTo>
                  <a:lnTo>
                    <a:pt x="60" y="66"/>
                  </a:lnTo>
                  <a:lnTo>
                    <a:pt x="59" y="70"/>
                  </a:lnTo>
                  <a:lnTo>
                    <a:pt x="57" y="74"/>
                  </a:lnTo>
                  <a:lnTo>
                    <a:pt x="52" y="77"/>
                  </a:lnTo>
                  <a:lnTo>
                    <a:pt x="46" y="81"/>
                  </a:lnTo>
                  <a:lnTo>
                    <a:pt x="43" y="84"/>
                  </a:lnTo>
                  <a:lnTo>
                    <a:pt x="40" y="89"/>
                  </a:lnTo>
                  <a:lnTo>
                    <a:pt x="37" y="93"/>
                  </a:lnTo>
                  <a:lnTo>
                    <a:pt x="35" y="99"/>
                  </a:lnTo>
                  <a:lnTo>
                    <a:pt x="38" y="107"/>
                  </a:lnTo>
                  <a:lnTo>
                    <a:pt x="44" y="115"/>
                  </a:lnTo>
                  <a:lnTo>
                    <a:pt x="47" y="122"/>
                  </a:lnTo>
                  <a:lnTo>
                    <a:pt x="49" y="128"/>
                  </a:lnTo>
                  <a:lnTo>
                    <a:pt x="47" y="132"/>
                  </a:lnTo>
                  <a:lnTo>
                    <a:pt x="45" y="138"/>
                  </a:lnTo>
                  <a:lnTo>
                    <a:pt x="44" y="143"/>
                  </a:lnTo>
                  <a:lnTo>
                    <a:pt x="43" y="143"/>
                  </a:lnTo>
                  <a:lnTo>
                    <a:pt x="38" y="136"/>
                  </a:lnTo>
                  <a:lnTo>
                    <a:pt x="34" y="126"/>
                  </a:lnTo>
                  <a:lnTo>
                    <a:pt x="31" y="118"/>
                  </a:lnTo>
                  <a:lnTo>
                    <a:pt x="28" y="113"/>
                  </a:lnTo>
                  <a:lnTo>
                    <a:pt x="24" y="114"/>
                  </a:lnTo>
                  <a:lnTo>
                    <a:pt x="21" y="118"/>
                  </a:lnTo>
                  <a:lnTo>
                    <a:pt x="16" y="123"/>
                  </a:lnTo>
                  <a:lnTo>
                    <a:pt x="12" y="128"/>
                  </a:lnTo>
                  <a:lnTo>
                    <a:pt x="9" y="132"/>
                  </a:lnTo>
                  <a:lnTo>
                    <a:pt x="7" y="141"/>
                  </a:lnTo>
                  <a:lnTo>
                    <a:pt x="4" y="153"/>
                  </a:lnTo>
                  <a:lnTo>
                    <a:pt x="0" y="166"/>
                  </a:lnTo>
                  <a:lnTo>
                    <a:pt x="0" y="176"/>
                  </a:lnTo>
                  <a:lnTo>
                    <a:pt x="1" y="184"/>
                  </a:lnTo>
                  <a:lnTo>
                    <a:pt x="2" y="190"/>
                  </a:lnTo>
                  <a:lnTo>
                    <a:pt x="6" y="195"/>
                  </a:lnTo>
                  <a:lnTo>
                    <a:pt x="12" y="198"/>
                  </a:lnTo>
                  <a:lnTo>
                    <a:pt x="19" y="199"/>
                  </a:lnTo>
                  <a:lnTo>
                    <a:pt x="23" y="200"/>
                  </a:lnTo>
                  <a:lnTo>
                    <a:pt x="27" y="200"/>
                  </a:lnTo>
                  <a:lnTo>
                    <a:pt x="30" y="199"/>
                  </a:lnTo>
                  <a:lnTo>
                    <a:pt x="31" y="200"/>
                  </a:lnTo>
                  <a:lnTo>
                    <a:pt x="30" y="205"/>
                  </a:lnTo>
                  <a:lnTo>
                    <a:pt x="28" y="211"/>
                  </a:lnTo>
                  <a:lnTo>
                    <a:pt x="24" y="215"/>
                  </a:lnTo>
                  <a:lnTo>
                    <a:pt x="23" y="219"/>
                  </a:lnTo>
                  <a:lnTo>
                    <a:pt x="24" y="224"/>
                  </a:lnTo>
                  <a:lnTo>
                    <a:pt x="28" y="229"/>
                  </a:lnTo>
                  <a:lnTo>
                    <a:pt x="31" y="234"/>
                  </a:lnTo>
                  <a:lnTo>
                    <a:pt x="36" y="238"/>
                  </a:lnTo>
                  <a:lnTo>
                    <a:pt x="44" y="245"/>
                  </a:lnTo>
                  <a:lnTo>
                    <a:pt x="54" y="248"/>
                  </a:lnTo>
                  <a:lnTo>
                    <a:pt x="63" y="244"/>
                  </a:lnTo>
                  <a:lnTo>
                    <a:pt x="70" y="237"/>
                  </a:lnTo>
                  <a:lnTo>
                    <a:pt x="75" y="232"/>
                  </a:lnTo>
                  <a:lnTo>
                    <a:pt x="77" y="229"/>
                  </a:lnTo>
                  <a:lnTo>
                    <a:pt x="82" y="230"/>
                  </a:lnTo>
                  <a:lnTo>
                    <a:pt x="88" y="234"/>
                  </a:lnTo>
                  <a:lnTo>
                    <a:pt x="96" y="240"/>
                  </a:lnTo>
                  <a:lnTo>
                    <a:pt x="104" y="247"/>
                  </a:lnTo>
                  <a:lnTo>
                    <a:pt x="111" y="256"/>
                  </a:lnTo>
                  <a:lnTo>
                    <a:pt x="113" y="263"/>
                  </a:lnTo>
                  <a:lnTo>
                    <a:pt x="113" y="264"/>
                  </a:lnTo>
                  <a:lnTo>
                    <a:pt x="110" y="262"/>
                  </a:lnTo>
                  <a:lnTo>
                    <a:pt x="103" y="256"/>
                  </a:lnTo>
                  <a:lnTo>
                    <a:pt x="93" y="252"/>
                  </a:lnTo>
                  <a:lnTo>
                    <a:pt x="85" y="252"/>
                  </a:lnTo>
                  <a:lnTo>
                    <a:pt x="82" y="258"/>
                  </a:lnTo>
                  <a:lnTo>
                    <a:pt x="84" y="267"/>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63" name="Freeform 440"/>
            <p:cNvSpPr>
              <a:spLocks/>
            </p:cNvSpPr>
            <p:nvPr/>
          </p:nvSpPr>
          <p:spPr bwMode="auto">
            <a:xfrm>
              <a:off x="3833461" y="1435751"/>
              <a:ext cx="35113" cy="17141"/>
            </a:xfrm>
            <a:custGeom>
              <a:avLst/>
              <a:gdLst>
                <a:gd name="T0" fmla="*/ 33291 w 34"/>
                <a:gd name="T1" fmla="*/ 0 h 18"/>
                <a:gd name="T2" fmla="*/ 34365 w 34"/>
                <a:gd name="T3" fmla="*/ 970 h 18"/>
                <a:gd name="T4" fmla="*/ 36513 w 34"/>
                <a:gd name="T5" fmla="*/ 2910 h 18"/>
                <a:gd name="T6" fmla="*/ 36513 w 34"/>
                <a:gd name="T7" fmla="*/ 5821 h 18"/>
                <a:gd name="T8" fmla="*/ 32217 w 34"/>
                <a:gd name="T9" fmla="*/ 9702 h 18"/>
                <a:gd name="T10" fmla="*/ 25774 w 34"/>
                <a:gd name="T11" fmla="*/ 13582 h 18"/>
                <a:gd name="T12" fmla="*/ 23626 w 34"/>
                <a:gd name="T13" fmla="*/ 15523 h 18"/>
                <a:gd name="T14" fmla="*/ 20404 w 34"/>
                <a:gd name="T15" fmla="*/ 17463 h 18"/>
                <a:gd name="T16" fmla="*/ 12887 w 34"/>
                <a:gd name="T17" fmla="*/ 17463 h 18"/>
                <a:gd name="T18" fmla="*/ 4296 w 34"/>
                <a:gd name="T19" fmla="*/ 15523 h 18"/>
                <a:gd name="T20" fmla="*/ 0 w 34"/>
                <a:gd name="T21" fmla="*/ 12612 h 18"/>
                <a:gd name="T22" fmla="*/ 0 w 34"/>
                <a:gd name="T23" fmla="*/ 8732 h 18"/>
                <a:gd name="T24" fmla="*/ 4296 w 34"/>
                <a:gd name="T25" fmla="*/ 6791 h 18"/>
                <a:gd name="T26" fmla="*/ 15035 w 34"/>
                <a:gd name="T27" fmla="*/ 3881 h 18"/>
                <a:gd name="T28" fmla="*/ 23626 w 34"/>
                <a:gd name="T29" fmla="*/ 1940 h 18"/>
                <a:gd name="T30" fmla="*/ 31143 w 34"/>
                <a:gd name="T31" fmla="*/ 970 h 18"/>
                <a:gd name="T32" fmla="*/ 33291 w 34"/>
                <a:gd name="T33" fmla="*/ 0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18"/>
                <a:gd name="T53" fmla="*/ 34 w 34"/>
                <a:gd name="T54" fmla="*/ 18 h 1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18">
                  <a:moveTo>
                    <a:pt x="31" y="0"/>
                  </a:moveTo>
                  <a:lnTo>
                    <a:pt x="32" y="1"/>
                  </a:lnTo>
                  <a:lnTo>
                    <a:pt x="34" y="3"/>
                  </a:lnTo>
                  <a:lnTo>
                    <a:pt x="34" y="6"/>
                  </a:lnTo>
                  <a:lnTo>
                    <a:pt x="30" y="10"/>
                  </a:lnTo>
                  <a:lnTo>
                    <a:pt x="24" y="14"/>
                  </a:lnTo>
                  <a:lnTo>
                    <a:pt x="22" y="16"/>
                  </a:lnTo>
                  <a:lnTo>
                    <a:pt x="19" y="18"/>
                  </a:lnTo>
                  <a:lnTo>
                    <a:pt x="12" y="18"/>
                  </a:lnTo>
                  <a:lnTo>
                    <a:pt x="4" y="16"/>
                  </a:lnTo>
                  <a:lnTo>
                    <a:pt x="0" y="13"/>
                  </a:lnTo>
                  <a:lnTo>
                    <a:pt x="0" y="9"/>
                  </a:lnTo>
                  <a:lnTo>
                    <a:pt x="4" y="7"/>
                  </a:lnTo>
                  <a:lnTo>
                    <a:pt x="14" y="4"/>
                  </a:lnTo>
                  <a:lnTo>
                    <a:pt x="22" y="2"/>
                  </a:lnTo>
                  <a:lnTo>
                    <a:pt x="29" y="1"/>
                  </a:lnTo>
                  <a:lnTo>
                    <a:pt x="31" y="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64" name="Freeform 441"/>
            <p:cNvSpPr>
              <a:spLocks/>
            </p:cNvSpPr>
            <p:nvPr/>
          </p:nvSpPr>
          <p:spPr bwMode="auto">
            <a:xfrm>
              <a:off x="3815140" y="1390544"/>
              <a:ext cx="32061" cy="46747"/>
            </a:xfrm>
            <a:custGeom>
              <a:avLst/>
              <a:gdLst>
                <a:gd name="T0" fmla="*/ 21572 w 34"/>
                <a:gd name="T1" fmla="*/ 14495 h 46"/>
                <a:gd name="T2" fmla="*/ 19611 w 34"/>
                <a:gd name="T3" fmla="*/ 10353 h 46"/>
                <a:gd name="T4" fmla="*/ 13727 w 34"/>
                <a:gd name="T5" fmla="*/ 5177 h 46"/>
                <a:gd name="T6" fmla="*/ 6864 w 34"/>
                <a:gd name="T7" fmla="*/ 0 h 46"/>
                <a:gd name="T8" fmla="*/ 2942 w 34"/>
                <a:gd name="T9" fmla="*/ 0 h 46"/>
                <a:gd name="T10" fmla="*/ 981 w 34"/>
                <a:gd name="T11" fmla="*/ 5177 h 46"/>
                <a:gd name="T12" fmla="*/ 0 w 34"/>
                <a:gd name="T13" fmla="*/ 10353 h 46"/>
                <a:gd name="T14" fmla="*/ 981 w 34"/>
                <a:gd name="T15" fmla="*/ 15530 h 46"/>
                <a:gd name="T16" fmla="*/ 981 w 34"/>
                <a:gd name="T17" fmla="*/ 20707 h 46"/>
                <a:gd name="T18" fmla="*/ 2942 w 34"/>
                <a:gd name="T19" fmla="*/ 27954 h 46"/>
                <a:gd name="T20" fmla="*/ 3922 w 34"/>
                <a:gd name="T21" fmla="*/ 37272 h 46"/>
                <a:gd name="T22" fmla="*/ 6864 w 34"/>
                <a:gd name="T23" fmla="*/ 44519 h 46"/>
                <a:gd name="T24" fmla="*/ 10786 w 34"/>
                <a:gd name="T25" fmla="*/ 47625 h 46"/>
                <a:gd name="T26" fmla="*/ 15688 w 34"/>
                <a:gd name="T27" fmla="*/ 47625 h 46"/>
                <a:gd name="T28" fmla="*/ 20591 w 34"/>
                <a:gd name="T29" fmla="*/ 45554 h 46"/>
                <a:gd name="T30" fmla="*/ 25494 w 34"/>
                <a:gd name="T31" fmla="*/ 43484 h 46"/>
                <a:gd name="T32" fmla="*/ 28435 w 34"/>
                <a:gd name="T33" fmla="*/ 39342 h 46"/>
                <a:gd name="T34" fmla="*/ 30396 w 34"/>
                <a:gd name="T35" fmla="*/ 34166 h 46"/>
                <a:gd name="T36" fmla="*/ 33338 w 34"/>
                <a:gd name="T37" fmla="*/ 31060 h 46"/>
                <a:gd name="T38" fmla="*/ 33338 w 34"/>
                <a:gd name="T39" fmla="*/ 27954 h 46"/>
                <a:gd name="T40" fmla="*/ 29416 w 34"/>
                <a:gd name="T41" fmla="*/ 22777 h 46"/>
                <a:gd name="T42" fmla="*/ 25494 w 34"/>
                <a:gd name="T43" fmla="*/ 17601 h 46"/>
                <a:gd name="T44" fmla="*/ 22552 w 34"/>
                <a:gd name="T45" fmla="*/ 15530 h 46"/>
                <a:gd name="T46" fmla="*/ 21572 w 34"/>
                <a:gd name="T47" fmla="*/ 14495 h 46"/>
                <a:gd name="T48" fmla="*/ 21572 w 34"/>
                <a:gd name="T49" fmla="*/ 14495 h 4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4"/>
                <a:gd name="T76" fmla="*/ 0 h 46"/>
                <a:gd name="T77" fmla="*/ 34 w 34"/>
                <a:gd name="T78" fmla="*/ 46 h 4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4" h="46">
                  <a:moveTo>
                    <a:pt x="22" y="14"/>
                  </a:moveTo>
                  <a:lnTo>
                    <a:pt x="20" y="10"/>
                  </a:lnTo>
                  <a:lnTo>
                    <a:pt x="14" y="5"/>
                  </a:lnTo>
                  <a:lnTo>
                    <a:pt x="7" y="0"/>
                  </a:lnTo>
                  <a:lnTo>
                    <a:pt x="3" y="0"/>
                  </a:lnTo>
                  <a:lnTo>
                    <a:pt x="1" y="5"/>
                  </a:lnTo>
                  <a:lnTo>
                    <a:pt x="0" y="10"/>
                  </a:lnTo>
                  <a:lnTo>
                    <a:pt x="1" y="15"/>
                  </a:lnTo>
                  <a:lnTo>
                    <a:pt x="1" y="20"/>
                  </a:lnTo>
                  <a:lnTo>
                    <a:pt x="3" y="27"/>
                  </a:lnTo>
                  <a:lnTo>
                    <a:pt x="4" y="36"/>
                  </a:lnTo>
                  <a:lnTo>
                    <a:pt x="7" y="43"/>
                  </a:lnTo>
                  <a:lnTo>
                    <a:pt x="11" y="46"/>
                  </a:lnTo>
                  <a:lnTo>
                    <a:pt x="16" y="46"/>
                  </a:lnTo>
                  <a:lnTo>
                    <a:pt x="21" y="44"/>
                  </a:lnTo>
                  <a:lnTo>
                    <a:pt x="26" y="42"/>
                  </a:lnTo>
                  <a:lnTo>
                    <a:pt x="29" y="38"/>
                  </a:lnTo>
                  <a:lnTo>
                    <a:pt x="31" y="33"/>
                  </a:lnTo>
                  <a:lnTo>
                    <a:pt x="34" y="30"/>
                  </a:lnTo>
                  <a:lnTo>
                    <a:pt x="34" y="27"/>
                  </a:lnTo>
                  <a:lnTo>
                    <a:pt x="30" y="22"/>
                  </a:lnTo>
                  <a:lnTo>
                    <a:pt x="26" y="17"/>
                  </a:lnTo>
                  <a:lnTo>
                    <a:pt x="23" y="15"/>
                  </a:lnTo>
                  <a:lnTo>
                    <a:pt x="22" y="14"/>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65" name="Freeform 442"/>
            <p:cNvSpPr>
              <a:spLocks/>
            </p:cNvSpPr>
            <p:nvPr/>
          </p:nvSpPr>
          <p:spPr bwMode="auto">
            <a:xfrm>
              <a:off x="3751051" y="1368759"/>
              <a:ext cx="58013" cy="67001"/>
            </a:xfrm>
            <a:custGeom>
              <a:avLst/>
              <a:gdLst>
                <a:gd name="T0" fmla="*/ 55125 w 58"/>
                <a:gd name="T1" fmla="*/ 34640 h 67"/>
                <a:gd name="T2" fmla="*/ 56165 w 58"/>
                <a:gd name="T3" fmla="*/ 37697 h 67"/>
                <a:gd name="T4" fmla="*/ 59285 w 58"/>
                <a:gd name="T5" fmla="*/ 44829 h 67"/>
                <a:gd name="T6" fmla="*/ 60325 w 58"/>
                <a:gd name="T7" fmla="*/ 53998 h 67"/>
                <a:gd name="T8" fmla="*/ 59285 w 58"/>
                <a:gd name="T9" fmla="*/ 61130 h 67"/>
                <a:gd name="T10" fmla="*/ 56165 w 58"/>
                <a:gd name="T11" fmla="*/ 65205 h 67"/>
                <a:gd name="T12" fmla="*/ 54084 w 58"/>
                <a:gd name="T13" fmla="*/ 67243 h 67"/>
                <a:gd name="T14" fmla="*/ 49924 w 58"/>
                <a:gd name="T15" fmla="*/ 68262 h 67"/>
                <a:gd name="T16" fmla="*/ 45764 w 58"/>
                <a:gd name="T17" fmla="*/ 66224 h 67"/>
                <a:gd name="T18" fmla="*/ 40563 w 58"/>
                <a:gd name="T19" fmla="*/ 63168 h 67"/>
                <a:gd name="T20" fmla="*/ 36403 w 58"/>
                <a:gd name="T21" fmla="*/ 61130 h 67"/>
                <a:gd name="T22" fmla="*/ 33283 w 58"/>
                <a:gd name="T23" fmla="*/ 59092 h 67"/>
                <a:gd name="T24" fmla="*/ 30163 w 58"/>
                <a:gd name="T25" fmla="*/ 53998 h 67"/>
                <a:gd name="T26" fmla="*/ 24962 w 58"/>
                <a:gd name="T27" fmla="*/ 50942 h 67"/>
                <a:gd name="T28" fmla="*/ 17681 w 58"/>
                <a:gd name="T29" fmla="*/ 49923 h 67"/>
                <a:gd name="T30" fmla="*/ 12481 w 58"/>
                <a:gd name="T31" fmla="*/ 47885 h 67"/>
                <a:gd name="T32" fmla="*/ 8321 w 58"/>
                <a:gd name="T33" fmla="*/ 42791 h 67"/>
                <a:gd name="T34" fmla="*/ 9361 w 58"/>
                <a:gd name="T35" fmla="*/ 37697 h 67"/>
                <a:gd name="T36" fmla="*/ 13521 w 58"/>
                <a:gd name="T37" fmla="*/ 37697 h 67"/>
                <a:gd name="T38" fmla="*/ 15601 w 58"/>
                <a:gd name="T39" fmla="*/ 36678 h 67"/>
                <a:gd name="T40" fmla="*/ 13521 w 58"/>
                <a:gd name="T41" fmla="*/ 30565 h 67"/>
                <a:gd name="T42" fmla="*/ 7281 w 58"/>
                <a:gd name="T43" fmla="*/ 20377 h 67"/>
                <a:gd name="T44" fmla="*/ 2080 w 58"/>
                <a:gd name="T45" fmla="*/ 11207 h 67"/>
                <a:gd name="T46" fmla="*/ 0 w 58"/>
                <a:gd name="T47" fmla="*/ 4075 h 67"/>
                <a:gd name="T48" fmla="*/ 4160 w 58"/>
                <a:gd name="T49" fmla="*/ 0 h 67"/>
                <a:gd name="T50" fmla="*/ 9361 w 58"/>
                <a:gd name="T51" fmla="*/ 0 h 67"/>
                <a:gd name="T52" fmla="*/ 14561 w 58"/>
                <a:gd name="T53" fmla="*/ 0 h 67"/>
                <a:gd name="T54" fmla="*/ 19762 w 58"/>
                <a:gd name="T55" fmla="*/ 2038 h 67"/>
                <a:gd name="T56" fmla="*/ 23922 w 58"/>
                <a:gd name="T57" fmla="*/ 8151 h 67"/>
                <a:gd name="T58" fmla="*/ 29122 w 58"/>
                <a:gd name="T59" fmla="*/ 13245 h 67"/>
                <a:gd name="T60" fmla="*/ 35363 w 58"/>
                <a:gd name="T61" fmla="*/ 15283 h 67"/>
                <a:gd name="T62" fmla="*/ 39523 w 58"/>
                <a:gd name="T63" fmla="*/ 16301 h 67"/>
                <a:gd name="T64" fmla="*/ 41603 w 58"/>
                <a:gd name="T65" fmla="*/ 19358 h 67"/>
                <a:gd name="T66" fmla="*/ 44724 w 58"/>
                <a:gd name="T67" fmla="*/ 24452 h 67"/>
                <a:gd name="T68" fmla="*/ 48884 w 58"/>
                <a:gd name="T69" fmla="*/ 29546 h 67"/>
                <a:gd name="T70" fmla="*/ 53044 w 58"/>
                <a:gd name="T71" fmla="*/ 32603 h 67"/>
                <a:gd name="T72" fmla="*/ 55125 w 58"/>
                <a:gd name="T73" fmla="*/ 34640 h 6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8"/>
                <a:gd name="T112" fmla="*/ 0 h 67"/>
                <a:gd name="T113" fmla="*/ 58 w 58"/>
                <a:gd name="T114" fmla="*/ 67 h 6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8" h="67">
                  <a:moveTo>
                    <a:pt x="53" y="34"/>
                  </a:moveTo>
                  <a:lnTo>
                    <a:pt x="54" y="37"/>
                  </a:lnTo>
                  <a:lnTo>
                    <a:pt x="57" y="44"/>
                  </a:lnTo>
                  <a:lnTo>
                    <a:pt x="58" y="53"/>
                  </a:lnTo>
                  <a:lnTo>
                    <a:pt x="57" y="60"/>
                  </a:lnTo>
                  <a:lnTo>
                    <a:pt x="54" y="64"/>
                  </a:lnTo>
                  <a:lnTo>
                    <a:pt x="52" y="66"/>
                  </a:lnTo>
                  <a:lnTo>
                    <a:pt x="48" y="67"/>
                  </a:lnTo>
                  <a:lnTo>
                    <a:pt x="44" y="65"/>
                  </a:lnTo>
                  <a:lnTo>
                    <a:pt x="39" y="62"/>
                  </a:lnTo>
                  <a:lnTo>
                    <a:pt x="35" y="60"/>
                  </a:lnTo>
                  <a:lnTo>
                    <a:pt x="32" y="58"/>
                  </a:lnTo>
                  <a:lnTo>
                    <a:pt x="29" y="53"/>
                  </a:lnTo>
                  <a:lnTo>
                    <a:pt x="24" y="50"/>
                  </a:lnTo>
                  <a:lnTo>
                    <a:pt x="17" y="49"/>
                  </a:lnTo>
                  <a:lnTo>
                    <a:pt x="12" y="47"/>
                  </a:lnTo>
                  <a:lnTo>
                    <a:pt x="8" y="42"/>
                  </a:lnTo>
                  <a:lnTo>
                    <a:pt x="9" y="37"/>
                  </a:lnTo>
                  <a:lnTo>
                    <a:pt x="13" y="37"/>
                  </a:lnTo>
                  <a:lnTo>
                    <a:pt x="15" y="36"/>
                  </a:lnTo>
                  <a:lnTo>
                    <a:pt x="13" y="30"/>
                  </a:lnTo>
                  <a:lnTo>
                    <a:pt x="7" y="20"/>
                  </a:lnTo>
                  <a:lnTo>
                    <a:pt x="2" y="11"/>
                  </a:lnTo>
                  <a:lnTo>
                    <a:pt x="0" y="4"/>
                  </a:lnTo>
                  <a:lnTo>
                    <a:pt x="4" y="0"/>
                  </a:lnTo>
                  <a:lnTo>
                    <a:pt x="9" y="0"/>
                  </a:lnTo>
                  <a:lnTo>
                    <a:pt x="14" y="0"/>
                  </a:lnTo>
                  <a:lnTo>
                    <a:pt x="19" y="2"/>
                  </a:lnTo>
                  <a:lnTo>
                    <a:pt x="23" y="8"/>
                  </a:lnTo>
                  <a:lnTo>
                    <a:pt x="28" y="13"/>
                  </a:lnTo>
                  <a:lnTo>
                    <a:pt x="34" y="15"/>
                  </a:lnTo>
                  <a:lnTo>
                    <a:pt x="38" y="16"/>
                  </a:lnTo>
                  <a:lnTo>
                    <a:pt x="40" y="19"/>
                  </a:lnTo>
                  <a:lnTo>
                    <a:pt x="43" y="24"/>
                  </a:lnTo>
                  <a:lnTo>
                    <a:pt x="47" y="29"/>
                  </a:lnTo>
                  <a:lnTo>
                    <a:pt x="51" y="32"/>
                  </a:lnTo>
                  <a:lnTo>
                    <a:pt x="53" y="34"/>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66" name="Freeform 443"/>
            <p:cNvSpPr>
              <a:spLocks/>
            </p:cNvSpPr>
            <p:nvPr/>
          </p:nvSpPr>
          <p:spPr bwMode="auto">
            <a:xfrm>
              <a:off x="3517475" y="1611765"/>
              <a:ext cx="259531" cy="230611"/>
            </a:xfrm>
            <a:custGeom>
              <a:avLst/>
              <a:gdLst>
                <a:gd name="T0" fmla="*/ 269875 w 249"/>
                <a:gd name="T1" fmla="*/ 177992 h 231"/>
                <a:gd name="T2" fmla="*/ 255785 w 249"/>
                <a:gd name="T3" fmla="*/ 190198 h 231"/>
                <a:gd name="T4" fmla="*/ 244947 w 249"/>
                <a:gd name="T5" fmla="*/ 192232 h 231"/>
                <a:gd name="T6" fmla="*/ 250366 w 249"/>
                <a:gd name="T7" fmla="*/ 223762 h 231"/>
                <a:gd name="T8" fmla="*/ 222186 w 249"/>
                <a:gd name="T9" fmla="*/ 234950 h 231"/>
                <a:gd name="T10" fmla="*/ 192923 w 249"/>
                <a:gd name="T11" fmla="*/ 213591 h 231"/>
                <a:gd name="T12" fmla="*/ 176665 w 249"/>
                <a:gd name="T13" fmla="*/ 199352 h 231"/>
                <a:gd name="T14" fmla="*/ 166911 w 249"/>
                <a:gd name="T15" fmla="*/ 199352 h 231"/>
                <a:gd name="T16" fmla="*/ 133312 w 249"/>
                <a:gd name="T17" fmla="*/ 216642 h 231"/>
                <a:gd name="T18" fmla="*/ 96461 w 249"/>
                <a:gd name="T19" fmla="*/ 224779 h 231"/>
                <a:gd name="T20" fmla="*/ 79120 w 249"/>
                <a:gd name="T21" fmla="*/ 224779 h 231"/>
                <a:gd name="T22" fmla="*/ 56359 w 249"/>
                <a:gd name="T23" fmla="*/ 218676 h 231"/>
                <a:gd name="T24" fmla="*/ 47689 w 249"/>
                <a:gd name="T25" fmla="*/ 207488 h 231"/>
                <a:gd name="T26" fmla="*/ 27096 w 249"/>
                <a:gd name="T27" fmla="*/ 175958 h 231"/>
                <a:gd name="T28" fmla="*/ 1084 w 249"/>
                <a:gd name="T29" fmla="*/ 159685 h 231"/>
                <a:gd name="T30" fmla="*/ 1084 w 249"/>
                <a:gd name="T31" fmla="*/ 132223 h 231"/>
                <a:gd name="T32" fmla="*/ 29264 w 249"/>
                <a:gd name="T33" fmla="*/ 131206 h 231"/>
                <a:gd name="T34" fmla="*/ 61779 w 249"/>
                <a:gd name="T35" fmla="*/ 144428 h 231"/>
                <a:gd name="T36" fmla="*/ 88875 w 249"/>
                <a:gd name="T37" fmla="*/ 153582 h 231"/>
                <a:gd name="T38" fmla="*/ 87791 w 249"/>
                <a:gd name="T39" fmla="*/ 128155 h 231"/>
                <a:gd name="T40" fmla="*/ 47689 w 249"/>
                <a:gd name="T41" fmla="*/ 119001 h 231"/>
                <a:gd name="T42" fmla="*/ 13006 w 249"/>
                <a:gd name="T43" fmla="*/ 115949 h 231"/>
                <a:gd name="T44" fmla="*/ 2168 w 249"/>
                <a:gd name="T45" fmla="*/ 91539 h 231"/>
                <a:gd name="T46" fmla="*/ 30347 w 249"/>
                <a:gd name="T47" fmla="*/ 85436 h 231"/>
                <a:gd name="T48" fmla="*/ 20593 w 249"/>
                <a:gd name="T49" fmla="*/ 69163 h 231"/>
                <a:gd name="T50" fmla="*/ 3252 w 249"/>
                <a:gd name="T51" fmla="*/ 44752 h 231"/>
                <a:gd name="T52" fmla="*/ 22761 w 249"/>
                <a:gd name="T53" fmla="*/ 33564 h 231"/>
                <a:gd name="T54" fmla="*/ 30347 w 249"/>
                <a:gd name="T55" fmla="*/ 15256 h 231"/>
                <a:gd name="T56" fmla="*/ 55276 w 249"/>
                <a:gd name="T57" fmla="*/ 7120 h 231"/>
                <a:gd name="T58" fmla="*/ 95378 w 249"/>
                <a:gd name="T59" fmla="*/ 3051 h 231"/>
                <a:gd name="T60" fmla="*/ 88875 w 249"/>
                <a:gd name="T61" fmla="*/ 27462 h 231"/>
                <a:gd name="T62" fmla="*/ 110551 w 249"/>
                <a:gd name="T63" fmla="*/ 27462 h 231"/>
                <a:gd name="T64" fmla="*/ 134396 w 249"/>
                <a:gd name="T65" fmla="*/ 47804 h 231"/>
                <a:gd name="T66" fmla="*/ 135479 w 249"/>
                <a:gd name="T67" fmla="*/ 27462 h 231"/>
                <a:gd name="T68" fmla="*/ 157156 w 249"/>
                <a:gd name="T69" fmla="*/ 47804 h 231"/>
                <a:gd name="T70" fmla="*/ 164743 w 249"/>
                <a:gd name="T71" fmla="*/ 84419 h 231"/>
                <a:gd name="T72" fmla="*/ 175581 w 249"/>
                <a:gd name="T73" fmla="*/ 51872 h 231"/>
                <a:gd name="T74" fmla="*/ 170162 w 249"/>
                <a:gd name="T75" fmla="*/ 27462 h 231"/>
                <a:gd name="T76" fmla="*/ 187504 w 249"/>
                <a:gd name="T77" fmla="*/ 23393 h 231"/>
                <a:gd name="T78" fmla="*/ 196174 w 249"/>
                <a:gd name="T79" fmla="*/ 19325 h 231"/>
                <a:gd name="T80" fmla="*/ 186420 w 249"/>
                <a:gd name="T81" fmla="*/ 7120 h 231"/>
                <a:gd name="T82" fmla="*/ 214599 w 249"/>
                <a:gd name="T83" fmla="*/ 5085 h 231"/>
                <a:gd name="T84" fmla="*/ 230857 w 249"/>
                <a:gd name="T85" fmla="*/ 15256 h 231"/>
                <a:gd name="T86" fmla="*/ 215683 w 249"/>
                <a:gd name="T87" fmla="*/ 39667 h 231"/>
                <a:gd name="T88" fmla="*/ 211348 w 249"/>
                <a:gd name="T89" fmla="*/ 61026 h 231"/>
                <a:gd name="T90" fmla="*/ 217851 w 249"/>
                <a:gd name="T91" fmla="*/ 99676 h 231"/>
                <a:gd name="T92" fmla="*/ 214599 w 249"/>
                <a:gd name="T93" fmla="*/ 116966 h 231"/>
                <a:gd name="T94" fmla="*/ 226522 w 249"/>
                <a:gd name="T95" fmla="*/ 143411 h 231"/>
                <a:gd name="T96" fmla="*/ 256869 w 249"/>
                <a:gd name="T97" fmla="*/ 162736 h 2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49"/>
                <a:gd name="T148" fmla="*/ 0 h 231"/>
                <a:gd name="T149" fmla="*/ 249 w 249"/>
                <a:gd name="T150" fmla="*/ 231 h 23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49" h="231">
                  <a:moveTo>
                    <a:pt x="239" y="162"/>
                  </a:moveTo>
                  <a:lnTo>
                    <a:pt x="241" y="164"/>
                  </a:lnTo>
                  <a:lnTo>
                    <a:pt x="246" y="168"/>
                  </a:lnTo>
                  <a:lnTo>
                    <a:pt x="249" y="175"/>
                  </a:lnTo>
                  <a:lnTo>
                    <a:pt x="248" y="182"/>
                  </a:lnTo>
                  <a:lnTo>
                    <a:pt x="244" y="187"/>
                  </a:lnTo>
                  <a:lnTo>
                    <a:pt x="239" y="188"/>
                  </a:lnTo>
                  <a:lnTo>
                    <a:pt x="236" y="187"/>
                  </a:lnTo>
                  <a:lnTo>
                    <a:pt x="232" y="187"/>
                  </a:lnTo>
                  <a:lnTo>
                    <a:pt x="229" y="187"/>
                  </a:lnTo>
                  <a:lnTo>
                    <a:pt x="226" y="187"/>
                  </a:lnTo>
                  <a:lnTo>
                    <a:pt x="226" y="189"/>
                  </a:lnTo>
                  <a:lnTo>
                    <a:pt x="228" y="195"/>
                  </a:lnTo>
                  <a:lnTo>
                    <a:pt x="230" y="204"/>
                  </a:lnTo>
                  <a:lnTo>
                    <a:pt x="232" y="213"/>
                  </a:lnTo>
                  <a:lnTo>
                    <a:pt x="231" y="220"/>
                  </a:lnTo>
                  <a:lnTo>
                    <a:pt x="224" y="225"/>
                  </a:lnTo>
                  <a:lnTo>
                    <a:pt x="216" y="227"/>
                  </a:lnTo>
                  <a:lnTo>
                    <a:pt x="211" y="230"/>
                  </a:lnTo>
                  <a:lnTo>
                    <a:pt x="205" y="231"/>
                  </a:lnTo>
                  <a:lnTo>
                    <a:pt x="195" y="225"/>
                  </a:lnTo>
                  <a:lnTo>
                    <a:pt x="190" y="220"/>
                  </a:lnTo>
                  <a:lnTo>
                    <a:pt x="184" y="215"/>
                  </a:lnTo>
                  <a:lnTo>
                    <a:pt x="178" y="210"/>
                  </a:lnTo>
                  <a:lnTo>
                    <a:pt x="173" y="205"/>
                  </a:lnTo>
                  <a:lnTo>
                    <a:pt x="170" y="202"/>
                  </a:lnTo>
                  <a:lnTo>
                    <a:pt x="165" y="198"/>
                  </a:lnTo>
                  <a:lnTo>
                    <a:pt x="163" y="196"/>
                  </a:lnTo>
                  <a:lnTo>
                    <a:pt x="161" y="195"/>
                  </a:lnTo>
                  <a:lnTo>
                    <a:pt x="158" y="194"/>
                  </a:lnTo>
                  <a:lnTo>
                    <a:pt x="157" y="194"/>
                  </a:lnTo>
                  <a:lnTo>
                    <a:pt x="154" y="196"/>
                  </a:lnTo>
                  <a:lnTo>
                    <a:pt x="146" y="202"/>
                  </a:lnTo>
                  <a:lnTo>
                    <a:pt x="140" y="206"/>
                  </a:lnTo>
                  <a:lnTo>
                    <a:pt x="132" y="210"/>
                  </a:lnTo>
                  <a:lnTo>
                    <a:pt x="123" y="213"/>
                  </a:lnTo>
                  <a:lnTo>
                    <a:pt x="114" y="216"/>
                  </a:lnTo>
                  <a:lnTo>
                    <a:pt x="104" y="219"/>
                  </a:lnTo>
                  <a:lnTo>
                    <a:pt x="95" y="220"/>
                  </a:lnTo>
                  <a:lnTo>
                    <a:pt x="89" y="221"/>
                  </a:lnTo>
                  <a:lnTo>
                    <a:pt x="85" y="223"/>
                  </a:lnTo>
                  <a:lnTo>
                    <a:pt x="81" y="223"/>
                  </a:lnTo>
                  <a:lnTo>
                    <a:pt x="78" y="223"/>
                  </a:lnTo>
                  <a:lnTo>
                    <a:pt x="73" y="221"/>
                  </a:lnTo>
                  <a:lnTo>
                    <a:pt x="67" y="219"/>
                  </a:lnTo>
                  <a:lnTo>
                    <a:pt x="62" y="218"/>
                  </a:lnTo>
                  <a:lnTo>
                    <a:pt x="57" y="216"/>
                  </a:lnTo>
                  <a:lnTo>
                    <a:pt x="52" y="215"/>
                  </a:lnTo>
                  <a:lnTo>
                    <a:pt x="49" y="215"/>
                  </a:lnTo>
                  <a:lnTo>
                    <a:pt x="46" y="213"/>
                  </a:lnTo>
                  <a:lnTo>
                    <a:pt x="44" y="210"/>
                  </a:lnTo>
                  <a:lnTo>
                    <a:pt x="44" y="204"/>
                  </a:lnTo>
                  <a:lnTo>
                    <a:pt x="43" y="197"/>
                  </a:lnTo>
                  <a:lnTo>
                    <a:pt x="40" y="188"/>
                  </a:lnTo>
                  <a:lnTo>
                    <a:pt x="33" y="180"/>
                  </a:lnTo>
                  <a:lnTo>
                    <a:pt x="25" y="173"/>
                  </a:lnTo>
                  <a:lnTo>
                    <a:pt x="16" y="167"/>
                  </a:lnTo>
                  <a:lnTo>
                    <a:pt x="9" y="164"/>
                  </a:lnTo>
                  <a:lnTo>
                    <a:pt x="3" y="162"/>
                  </a:lnTo>
                  <a:lnTo>
                    <a:pt x="1" y="157"/>
                  </a:lnTo>
                  <a:lnTo>
                    <a:pt x="0" y="151"/>
                  </a:lnTo>
                  <a:lnTo>
                    <a:pt x="0" y="143"/>
                  </a:lnTo>
                  <a:lnTo>
                    <a:pt x="0" y="136"/>
                  </a:lnTo>
                  <a:lnTo>
                    <a:pt x="1" y="130"/>
                  </a:lnTo>
                  <a:lnTo>
                    <a:pt x="5" y="129"/>
                  </a:lnTo>
                  <a:lnTo>
                    <a:pt x="12" y="129"/>
                  </a:lnTo>
                  <a:lnTo>
                    <a:pt x="20" y="128"/>
                  </a:lnTo>
                  <a:lnTo>
                    <a:pt x="27" y="129"/>
                  </a:lnTo>
                  <a:lnTo>
                    <a:pt x="36" y="132"/>
                  </a:lnTo>
                  <a:lnTo>
                    <a:pt x="42" y="135"/>
                  </a:lnTo>
                  <a:lnTo>
                    <a:pt x="49" y="138"/>
                  </a:lnTo>
                  <a:lnTo>
                    <a:pt x="57" y="142"/>
                  </a:lnTo>
                  <a:lnTo>
                    <a:pt x="65" y="147"/>
                  </a:lnTo>
                  <a:lnTo>
                    <a:pt x="72" y="149"/>
                  </a:lnTo>
                  <a:lnTo>
                    <a:pt x="79" y="151"/>
                  </a:lnTo>
                  <a:lnTo>
                    <a:pt x="82" y="151"/>
                  </a:lnTo>
                  <a:lnTo>
                    <a:pt x="85" y="149"/>
                  </a:lnTo>
                  <a:lnTo>
                    <a:pt x="86" y="141"/>
                  </a:lnTo>
                  <a:lnTo>
                    <a:pt x="86" y="133"/>
                  </a:lnTo>
                  <a:lnTo>
                    <a:pt x="81" y="126"/>
                  </a:lnTo>
                  <a:lnTo>
                    <a:pt x="69" y="121"/>
                  </a:lnTo>
                  <a:lnTo>
                    <a:pt x="56" y="118"/>
                  </a:lnTo>
                  <a:lnTo>
                    <a:pt x="50" y="117"/>
                  </a:lnTo>
                  <a:lnTo>
                    <a:pt x="44" y="117"/>
                  </a:lnTo>
                  <a:lnTo>
                    <a:pt x="35" y="115"/>
                  </a:lnTo>
                  <a:lnTo>
                    <a:pt x="24" y="115"/>
                  </a:lnTo>
                  <a:lnTo>
                    <a:pt x="17" y="115"/>
                  </a:lnTo>
                  <a:lnTo>
                    <a:pt x="12" y="114"/>
                  </a:lnTo>
                  <a:lnTo>
                    <a:pt x="8" y="111"/>
                  </a:lnTo>
                  <a:lnTo>
                    <a:pt x="3" y="104"/>
                  </a:lnTo>
                  <a:lnTo>
                    <a:pt x="2" y="96"/>
                  </a:lnTo>
                  <a:lnTo>
                    <a:pt x="2" y="90"/>
                  </a:lnTo>
                  <a:lnTo>
                    <a:pt x="4" y="86"/>
                  </a:lnTo>
                  <a:lnTo>
                    <a:pt x="11" y="84"/>
                  </a:lnTo>
                  <a:lnTo>
                    <a:pt x="20" y="86"/>
                  </a:lnTo>
                  <a:lnTo>
                    <a:pt x="28" y="84"/>
                  </a:lnTo>
                  <a:lnTo>
                    <a:pt x="29" y="79"/>
                  </a:lnTo>
                  <a:lnTo>
                    <a:pt x="26" y="73"/>
                  </a:lnTo>
                  <a:lnTo>
                    <a:pt x="23" y="71"/>
                  </a:lnTo>
                  <a:lnTo>
                    <a:pt x="19" y="68"/>
                  </a:lnTo>
                  <a:lnTo>
                    <a:pt x="13" y="62"/>
                  </a:lnTo>
                  <a:lnTo>
                    <a:pt x="8" y="54"/>
                  </a:lnTo>
                  <a:lnTo>
                    <a:pt x="3" y="49"/>
                  </a:lnTo>
                  <a:lnTo>
                    <a:pt x="3" y="44"/>
                  </a:lnTo>
                  <a:lnTo>
                    <a:pt x="8" y="39"/>
                  </a:lnTo>
                  <a:lnTo>
                    <a:pt x="14" y="37"/>
                  </a:lnTo>
                  <a:lnTo>
                    <a:pt x="19" y="35"/>
                  </a:lnTo>
                  <a:lnTo>
                    <a:pt x="21" y="33"/>
                  </a:lnTo>
                  <a:lnTo>
                    <a:pt x="24" y="27"/>
                  </a:lnTo>
                  <a:lnTo>
                    <a:pt x="25" y="21"/>
                  </a:lnTo>
                  <a:lnTo>
                    <a:pt x="25" y="18"/>
                  </a:lnTo>
                  <a:lnTo>
                    <a:pt x="28" y="15"/>
                  </a:lnTo>
                  <a:lnTo>
                    <a:pt x="33" y="14"/>
                  </a:lnTo>
                  <a:lnTo>
                    <a:pt x="40" y="13"/>
                  </a:lnTo>
                  <a:lnTo>
                    <a:pt x="46" y="9"/>
                  </a:lnTo>
                  <a:lnTo>
                    <a:pt x="51" y="7"/>
                  </a:lnTo>
                  <a:lnTo>
                    <a:pt x="61" y="5"/>
                  </a:lnTo>
                  <a:lnTo>
                    <a:pt x="72" y="3"/>
                  </a:lnTo>
                  <a:lnTo>
                    <a:pt x="81" y="0"/>
                  </a:lnTo>
                  <a:lnTo>
                    <a:pt x="88" y="3"/>
                  </a:lnTo>
                  <a:lnTo>
                    <a:pt x="88" y="9"/>
                  </a:lnTo>
                  <a:lnTo>
                    <a:pt x="85" y="18"/>
                  </a:lnTo>
                  <a:lnTo>
                    <a:pt x="81" y="23"/>
                  </a:lnTo>
                  <a:lnTo>
                    <a:pt x="82" y="27"/>
                  </a:lnTo>
                  <a:lnTo>
                    <a:pt x="88" y="26"/>
                  </a:lnTo>
                  <a:lnTo>
                    <a:pt x="95" y="23"/>
                  </a:lnTo>
                  <a:lnTo>
                    <a:pt x="100" y="24"/>
                  </a:lnTo>
                  <a:lnTo>
                    <a:pt x="102" y="27"/>
                  </a:lnTo>
                  <a:lnTo>
                    <a:pt x="104" y="34"/>
                  </a:lnTo>
                  <a:lnTo>
                    <a:pt x="110" y="41"/>
                  </a:lnTo>
                  <a:lnTo>
                    <a:pt x="117" y="46"/>
                  </a:lnTo>
                  <a:lnTo>
                    <a:pt x="124" y="47"/>
                  </a:lnTo>
                  <a:lnTo>
                    <a:pt x="127" y="45"/>
                  </a:lnTo>
                  <a:lnTo>
                    <a:pt x="127" y="38"/>
                  </a:lnTo>
                  <a:lnTo>
                    <a:pt x="126" y="31"/>
                  </a:lnTo>
                  <a:lnTo>
                    <a:pt x="125" y="27"/>
                  </a:lnTo>
                  <a:lnTo>
                    <a:pt x="129" y="27"/>
                  </a:lnTo>
                  <a:lnTo>
                    <a:pt x="134" y="33"/>
                  </a:lnTo>
                  <a:lnTo>
                    <a:pt x="140" y="39"/>
                  </a:lnTo>
                  <a:lnTo>
                    <a:pt x="145" y="47"/>
                  </a:lnTo>
                  <a:lnTo>
                    <a:pt x="146" y="58"/>
                  </a:lnTo>
                  <a:lnTo>
                    <a:pt x="147" y="69"/>
                  </a:lnTo>
                  <a:lnTo>
                    <a:pt x="148" y="80"/>
                  </a:lnTo>
                  <a:lnTo>
                    <a:pt x="152" y="83"/>
                  </a:lnTo>
                  <a:lnTo>
                    <a:pt x="155" y="75"/>
                  </a:lnTo>
                  <a:lnTo>
                    <a:pt x="158" y="64"/>
                  </a:lnTo>
                  <a:lnTo>
                    <a:pt x="161" y="57"/>
                  </a:lnTo>
                  <a:lnTo>
                    <a:pt x="162" y="51"/>
                  </a:lnTo>
                  <a:lnTo>
                    <a:pt x="160" y="46"/>
                  </a:lnTo>
                  <a:lnTo>
                    <a:pt x="157" y="39"/>
                  </a:lnTo>
                  <a:lnTo>
                    <a:pt x="156" y="33"/>
                  </a:lnTo>
                  <a:lnTo>
                    <a:pt x="157" y="27"/>
                  </a:lnTo>
                  <a:lnTo>
                    <a:pt x="160" y="22"/>
                  </a:lnTo>
                  <a:lnTo>
                    <a:pt x="164" y="20"/>
                  </a:lnTo>
                  <a:lnTo>
                    <a:pt x="169" y="21"/>
                  </a:lnTo>
                  <a:lnTo>
                    <a:pt x="173" y="23"/>
                  </a:lnTo>
                  <a:lnTo>
                    <a:pt x="179" y="26"/>
                  </a:lnTo>
                  <a:lnTo>
                    <a:pt x="181" y="24"/>
                  </a:lnTo>
                  <a:lnTo>
                    <a:pt x="183" y="22"/>
                  </a:lnTo>
                  <a:lnTo>
                    <a:pt x="181" y="19"/>
                  </a:lnTo>
                  <a:lnTo>
                    <a:pt x="181" y="18"/>
                  </a:lnTo>
                  <a:lnTo>
                    <a:pt x="179" y="15"/>
                  </a:lnTo>
                  <a:lnTo>
                    <a:pt x="175" y="11"/>
                  </a:lnTo>
                  <a:lnTo>
                    <a:pt x="172" y="7"/>
                  </a:lnTo>
                  <a:lnTo>
                    <a:pt x="179" y="5"/>
                  </a:lnTo>
                  <a:lnTo>
                    <a:pt x="185" y="5"/>
                  </a:lnTo>
                  <a:lnTo>
                    <a:pt x="192" y="5"/>
                  </a:lnTo>
                  <a:lnTo>
                    <a:pt x="198" y="5"/>
                  </a:lnTo>
                  <a:lnTo>
                    <a:pt x="203" y="6"/>
                  </a:lnTo>
                  <a:lnTo>
                    <a:pt x="208" y="8"/>
                  </a:lnTo>
                  <a:lnTo>
                    <a:pt x="211" y="11"/>
                  </a:lnTo>
                  <a:lnTo>
                    <a:pt x="213" y="15"/>
                  </a:lnTo>
                  <a:lnTo>
                    <a:pt x="211" y="21"/>
                  </a:lnTo>
                  <a:lnTo>
                    <a:pt x="207" y="31"/>
                  </a:lnTo>
                  <a:lnTo>
                    <a:pt x="203" y="37"/>
                  </a:lnTo>
                  <a:lnTo>
                    <a:pt x="199" y="39"/>
                  </a:lnTo>
                  <a:lnTo>
                    <a:pt x="195" y="42"/>
                  </a:lnTo>
                  <a:lnTo>
                    <a:pt x="192" y="45"/>
                  </a:lnTo>
                  <a:lnTo>
                    <a:pt x="193" y="52"/>
                  </a:lnTo>
                  <a:lnTo>
                    <a:pt x="195" y="60"/>
                  </a:lnTo>
                  <a:lnTo>
                    <a:pt x="196" y="69"/>
                  </a:lnTo>
                  <a:lnTo>
                    <a:pt x="198" y="79"/>
                  </a:lnTo>
                  <a:lnTo>
                    <a:pt x="199" y="89"/>
                  </a:lnTo>
                  <a:lnTo>
                    <a:pt x="201" y="98"/>
                  </a:lnTo>
                  <a:lnTo>
                    <a:pt x="201" y="105"/>
                  </a:lnTo>
                  <a:lnTo>
                    <a:pt x="200" y="110"/>
                  </a:lnTo>
                  <a:lnTo>
                    <a:pt x="199" y="112"/>
                  </a:lnTo>
                  <a:lnTo>
                    <a:pt x="198" y="115"/>
                  </a:lnTo>
                  <a:lnTo>
                    <a:pt x="198" y="122"/>
                  </a:lnTo>
                  <a:lnTo>
                    <a:pt x="201" y="130"/>
                  </a:lnTo>
                  <a:lnTo>
                    <a:pt x="205" y="136"/>
                  </a:lnTo>
                  <a:lnTo>
                    <a:pt x="209" y="141"/>
                  </a:lnTo>
                  <a:lnTo>
                    <a:pt x="216" y="147"/>
                  </a:lnTo>
                  <a:lnTo>
                    <a:pt x="224" y="153"/>
                  </a:lnTo>
                  <a:lnTo>
                    <a:pt x="231" y="158"/>
                  </a:lnTo>
                  <a:lnTo>
                    <a:pt x="237" y="160"/>
                  </a:lnTo>
                  <a:lnTo>
                    <a:pt x="239" y="162"/>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67" name="Freeform 444"/>
            <p:cNvSpPr>
              <a:spLocks/>
            </p:cNvSpPr>
            <p:nvPr/>
          </p:nvSpPr>
          <p:spPr bwMode="auto">
            <a:xfrm>
              <a:off x="4389187" y="4653311"/>
              <a:ext cx="387771" cy="995672"/>
            </a:xfrm>
            <a:custGeom>
              <a:avLst/>
              <a:gdLst>
                <a:gd name="T0" fmla="*/ 149138 w 146"/>
                <a:gd name="T1" fmla="*/ 19348 h 367"/>
                <a:gd name="T2" fmla="*/ 187803 w 146"/>
                <a:gd name="T3" fmla="*/ 0 h 367"/>
                <a:gd name="T4" fmla="*/ 212660 w 146"/>
                <a:gd name="T5" fmla="*/ 44225 h 367"/>
                <a:gd name="T6" fmla="*/ 295514 w 146"/>
                <a:gd name="T7" fmla="*/ 85686 h 367"/>
                <a:gd name="T8" fmla="*/ 303800 w 146"/>
                <a:gd name="T9" fmla="*/ 132675 h 367"/>
                <a:gd name="T10" fmla="*/ 320370 w 146"/>
                <a:gd name="T11" fmla="*/ 157552 h 367"/>
                <a:gd name="T12" fmla="*/ 403225 w 146"/>
                <a:gd name="T13" fmla="*/ 118855 h 367"/>
                <a:gd name="T14" fmla="*/ 386654 w 146"/>
                <a:gd name="T15" fmla="*/ 176900 h 367"/>
                <a:gd name="T16" fmla="*/ 314847 w 146"/>
                <a:gd name="T17" fmla="*/ 234946 h 367"/>
                <a:gd name="T18" fmla="*/ 295514 w 146"/>
                <a:gd name="T19" fmla="*/ 273642 h 367"/>
                <a:gd name="T20" fmla="*/ 303800 w 146"/>
                <a:gd name="T21" fmla="*/ 334452 h 367"/>
                <a:gd name="T22" fmla="*/ 323132 w 146"/>
                <a:gd name="T23" fmla="*/ 356564 h 367"/>
                <a:gd name="T24" fmla="*/ 289991 w 146"/>
                <a:gd name="T25" fmla="*/ 356564 h 367"/>
                <a:gd name="T26" fmla="*/ 345227 w 146"/>
                <a:gd name="T27" fmla="*/ 389733 h 367"/>
                <a:gd name="T28" fmla="*/ 336941 w 146"/>
                <a:gd name="T29" fmla="*/ 447779 h 367"/>
                <a:gd name="T30" fmla="*/ 306561 w 146"/>
                <a:gd name="T31" fmla="*/ 467127 h 367"/>
                <a:gd name="T32" fmla="*/ 231992 w 146"/>
                <a:gd name="T33" fmla="*/ 492004 h 367"/>
                <a:gd name="T34" fmla="*/ 190565 w 146"/>
                <a:gd name="T35" fmla="*/ 558341 h 367"/>
                <a:gd name="T36" fmla="*/ 154662 w 146"/>
                <a:gd name="T37" fmla="*/ 572162 h 367"/>
                <a:gd name="T38" fmla="*/ 171233 w 146"/>
                <a:gd name="T39" fmla="*/ 597038 h 367"/>
                <a:gd name="T40" fmla="*/ 146376 w 146"/>
                <a:gd name="T41" fmla="*/ 657848 h 367"/>
                <a:gd name="T42" fmla="*/ 91140 w 146"/>
                <a:gd name="T43" fmla="*/ 721421 h 367"/>
                <a:gd name="T44" fmla="*/ 96664 w 146"/>
                <a:gd name="T45" fmla="*/ 757354 h 367"/>
                <a:gd name="T46" fmla="*/ 115996 w 146"/>
                <a:gd name="T47" fmla="*/ 779467 h 367"/>
                <a:gd name="T48" fmla="*/ 104949 w 146"/>
                <a:gd name="T49" fmla="*/ 829220 h 367"/>
                <a:gd name="T50" fmla="*/ 71807 w 146"/>
                <a:gd name="T51" fmla="*/ 878973 h 367"/>
                <a:gd name="T52" fmla="*/ 38665 w 146"/>
                <a:gd name="T53" fmla="*/ 928726 h 367"/>
                <a:gd name="T54" fmla="*/ 80093 w 146"/>
                <a:gd name="T55" fmla="*/ 1014412 h 367"/>
                <a:gd name="T56" fmla="*/ 19333 w 146"/>
                <a:gd name="T57" fmla="*/ 953603 h 367"/>
                <a:gd name="T58" fmla="*/ 2762 w 146"/>
                <a:gd name="T59" fmla="*/ 934254 h 367"/>
                <a:gd name="T60" fmla="*/ 0 w 146"/>
                <a:gd name="T61" fmla="*/ 845804 h 367"/>
                <a:gd name="T62" fmla="*/ 66284 w 146"/>
                <a:gd name="T63" fmla="*/ 425666 h 367"/>
                <a:gd name="T64" fmla="*/ 33142 w 146"/>
                <a:gd name="T65" fmla="*/ 619151 h 367"/>
                <a:gd name="T66" fmla="*/ 96664 w 146"/>
                <a:gd name="T67" fmla="*/ 240474 h 367"/>
                <a:gd name="T68" fmla="*/ 129805 w 146"/>
                <a:gd name="T69" fmla="*/ 143731 h 367"/>
                <a:gd name="T70" fmla="*/ 157423 w 146"/>
                <a:gd name="T71" fmla="*/ 91214 h 367"/>
                <a:gd name="T72" fmla="*/ 149138 w 146"/>
                <a:gd name="T73" fmla="*/ 19348 h 36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46"/>
                <a:gd name="T112" fmla="*/ 0 h 367"/>
                <a:gd name="T113" fmla="*/ 146 w 146"/>
                <a:gd name="T114" fmla="*/ 367 h 36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46" h="367">
                  <a:moveTo>
                    <a:pt x="54" y="7"/>
                  </a:moveTo>
                  <a:lnTo>
                    <a:pt x="68" y="0"/>
                  </a:lnTo>
                  <a:lnTo>
                    <a:pt x="77" y="16"/>
                  </a:lnTo>
                  <a:lnTo>
                    <a:pt x="107" y="31"/>
                  </a:lnTo>
                  <a:lnTo>
                    <a:pt x="110" y="48"/>
                  </a:lnTo>
                  <a:lnTo>
                    <a:pt x="116" y="57"/>
                  </a:lnTo>
                  <a:lnTo>
                    <a:pt x="146" y="43"/>
                  </a:lnTo>
                  <a:lnTo>
                    <a:pt x="140" y="64"/>
                  </a:lnTo>
                  <a:lnTo>
                    <a:pt x="114" y="85"/>
                  </a:lnTo>
                  <a:lnTo>
                    <a:pt x="107" y="99"/>
                  </a:lnTo>
                  <a:lnTo>
                    <a:pt x="110" y="121"/>
                  </a:lnTo>
                  <a:lnTo>
                    <a:pt x="117" y="129"/>
                  </a:lnTo>
                  <a:lnTo>
                    <a:pt x="105" y="129"/>
                  </a:lnTo>
                  <a:lnTo>
                    <a:pt x="125" y="141"/>
                  </a:lnTo>
                  <a:lnTo>
                    <a:pt x="122" y="162"/>
                  </a:lnTo>
                  <a:lnTo>
                    <a:pt x="111" y="169"/>
                  </a:lnTo>
                  <a:lnTo>
                    <a:pt x="84" y="178"/>
                  </a:lnTo>
                  <a:lnTo>
                    <a:pt x="69" y="202"/>
                  </a:lnTo>
                  <a:lnTo>
                    <a:pt x="56" y="207"/>
                  </a:lnTo>
                  <a:lnTo>
                    <a:pt x="62" y="216"/>
                  </a:lnTo>
                  <a:lnTo>
                    <a:pt x="53" y="238"/>
                  </a:lnTo>
                  <a:lnTo>
                    <a:pt x="33" y="261"/>
                  </a:lnTo>
                  <a:lnTo>
                    <a:pt x="35" y="274"/>
                  </a:lnTo>
                  <a:lnTo>
                    <a:pt x="42" y="282"/>
                  </a:lnTo>
                  <a:lnTo>
                    <a:pt x="38" y="300"/>
                  </a:lnTo>
                  <a:lnTo>
                    <a:pt x="26" y="318"/>
                  </a:lnTo>
                  <a:lnTo>
                    <a:pt x="14" y="336"/>
                  </a:lnTo>
                  <a:lnTo>
                    <a:pt x="29" y="367"/>
                  </a:lnTo>
                  <a:lnTo>
                    <a:pt x="7" y="345"/>
                  </a:lnTo>
                  <a:lnTo>
                    <a:pt x="1" y="338"/>
                  </a:lnTo>
                  <a:lnTo>
                    <a:pt x="0" y="306"/>
                  </a:lnTo>
                  <a:lnTo>
                    <a:pt x="24" y="154"/>
                  </a:lnTo>
                  <a:lnTo>
                    <a:pt x="12" y="224"/>
                  </a:lnTo>
                  <a:lnTo>
                    <a:pt x="35" y="87"/>
                  </a:lnTo>
                  <a:lnTo>
                    <a:pt x="47" y="52"/>
                  </a:lnTo>
                  <a:lnTo>
                    <a:pt x="57" y="33"/>
                  </a:lnTo>
                  <a:lnTo>
                    <a:pt x="54" y="7"/>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68" name="Freeform 445"/>
            <p:cNvSpPr>
              <a:spLocks/>
            </p:cNvSpPr>
            <p:nvPr/>
          </p:nvSpPr>
          <p:spPr bwMode="auto">
            <a:xfrm>
              <a:off x="4506711" y="3707510"/>
              <a:ext cx="35112" cy="18699"/>
            </a:xfrm>
            <a:custGeom>
              <a:avLst/>
              <a:gdLst>
                <a:gd name="T0" fmla="*/ 3175 w 23"/>
                <a:gd name="T1" fmla="*/ 0 h 18"/>
                <a:gd name="T2" fmla="*/ 36512 w 23"/>
                <a:gd name="T3" fmla="*/ 1058 h 18"/>
                <a:gd name="T4" fmla="*/ 33337 w 23"/>
                <a:gd name="T5" fmla="*/ 19050 h 18"/>
                <a:gd name="T6" fmla="*/ 0 w 23"/>
                <a:gd name="T7" fmla="*/ 13758 h 18"/>
                <a:gd name="T8" fmla="*/ 3175 w 23"/>
                <a:gd name="T9" fmla="*/ 0 h 18"/>
                <a:gd name="T10" fmla="*/ 0 60000 65536"/>
                <a:gd name="T11" fmla="*/ 0 60000 65536"/>
                <a:gd name="T12" fmla="*/ 0 60000 65536"/>
                <a:gd name="T13" fmla="*/ 0 60000 65536"/>
                <a:gd name="T14" fmla="*/ 0 60000 65536"/>
                <a:gd name="T15" fmla="*/ 0 w 23"/>
                <a:gd name="T16" fmla="*/ 0 h 18"/>
                <a:gd name="T17" fmla="*/ 23 w 23"/>
                <a:gd name="T18" fmla="*/ 18 h 18"/>
              </a:gdLst>
              <a:ahLst/>
              <a:cxnLst>
                <a:cxn ang="T10">
                  <a:pos x="T0" y="T1"/>
                </a:cxn>
                <a:cxn ang="T11">
                  <a:pos x="T2" y="T3"/>
                </a:cxn>
                <a:cxn ang="T12">
                  <a:pos x="T4" y="T5"/>
                </a:cxn>
                <a:cxn ang="T13">
                  <a:pos x="T6" y="T7"/>
                </a:cxn>
                <a:cxn ang="T14">
                  <a:pos x="T8" y="T9"/>
                </a:cxn>
              </a:cxnLst>
              <a:rect l="T15" t="T16" r="T17" b="T18"/>
              <a:pathLst>
                <a:path w="23" h="18">
                  <a:moveTo>
                    <a:pt x="2" y="0"/>
                  </a:moveTo>
                  <a:lnTo>
                    <a:pt x="23" y="1"/>
                  </a:lnTo>
                  <a:lnTo>
                    <a:pt x="21" y="18"/>
                  </a:lnTo>
                  <a:lnTo>
                    <a:pt x="0" y="13"/>
                  </a:lnTo>
                  <a:lnTo>
                    <a:pt x="2" y="0"/>
                  </a:lnTo>
                  <a:close/>
                </a:path>
              </a:pathLst>
            </a:custGeom>
            <a:solidFill>
              <a:schemeClr val="bg1">
                <a:lumMod val="85000"/>
              </a:schemeClr>
            </a:solidFill>
            <a:ln w="6350">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69" name="Freeform 448"/>
            <p:cNvSpPr>
              <a:spLocks/>
            </p:cNvSpPr>
            <p:nvPr/>
          </p:nvSpPr>
          <p:spPr bwMode="auto">
            <a:xfrm>
              <a:off x="8587458" y="3942791"/>
              <a:ext cx="111447" cy="130887"/>
            </a:xfrm>
            <a:custGeom>
              <a:avLst/>
              <a:gdLst>
                <a:gd name="T0" fmla="*/ 0 w 675"/>
                <a:gd name="T1" fmla="*/ 7073 h 773"/>
                <a:gd name="T2" fmla="*/ 12876 w 675"/>
                <a:gd name="T3" fmla="*/ 58481 h 773"/>
                <a:gd name="T4" fmla="*/ 46870 w 675"/>
                <a:gd name="T5" fmla="*/ 99883 h 773"/>
                <a:gd name="T6" fmla="*/ 103870 w 675"/>
                <a:gd name="T7" fmla="*/ 132660 h 773"/>
                <a:gd name="T8" fmla="*/ 115888 w 675"/>
                <a:gd name="T9" fmla="*/ 133350 h 773"/>
                <a:gd name="T10" fmla="*/ 96659 w 675"/>
                <a:gd name="T11" fmla="*/ 100573 h 773"/>
                <a:gd name="T12" fmla="*/ 84641 w 675"/>
                <a:gd name="T13" fmla="*/ 89878 h 773"/>
                <a:gd name="T14" fmla="*/ 84641 w 675"/>
                <a:gd name="T15" fmla="*/ 46405 h 773"/>
                <a:gd name="T16" fmla="*/ 55455 w 675"/>
                <a:gd name="T17" fmla="*/ 13456 h 773"/>
                <a:gd name="T18" fmla="*/ 49102 w 675"/>
                <a:gd name="T19" fmla="*/ 10006 h 773"/>
                <a:gd name="T20" fmla="*/ 43437 w 675"/>
                <a:gd name="T21" fmla="*/ 19149 h 773"/>
                <a:gd name="T22" fmla="*/ 24208 w 675"/>
                <a:gd name="T23" fmla="*/ 22081 h 773"/>
                <a:gd name="T24" fmla="*/ 24894 w 675"/>
                <a:gd name="T25" fmla="*/ 12076 h 773"/>
                <a:gd name="T26" fmla="*/ 2919 w 675"/>
                <a:gd name="T27" fmla="*/ 0 h 773"/>
                <a:gd name="T28" fmla="*/ 0 w 675"/>
                <a:gd name="T29" fmla="*/ 7073 h 7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75"/>
                <a:gd name="T46" fmla="*/ 0 h 773"/>
                <a:gd name="T47" fmla="*/ 675 w 675"/>
                <a:gd name="T48" fmla="*/ 773 h 7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75" h="773">
                  <a:moveTo>
                    <a:pt x="0" y="41"/>
                  </a:moveTo>
                  <a:lnTo>
                    <a:pt x="75" y="339"/>
                  </a:lnTo>
                  <a:lnTo>
                    <a:pt x="273" y="579"/>
                  </a:lnTo>
                  <a:lnTo>
                    <a:pt x="605" y="769"/>
                  </a:lnTo>
                  <a:lnTo>
                    <a:pt x="675" y="773"/>
                  </a:lnTo>
                  <a:lnTo>
                    <a:pt x="563" y="583"/>
                  </a:lnTo>
                  <a:lnTo>
                    <a:pt x="493" y="521"/>
                  </a:lnTo>
                  <a:lnTo>
                    <a:pt x="493" y="269"/>
                  </a:lnTo>
                  <a:lnTo>
                    <a:pt x="323" y="78"/>
                  </a:lnTo>
                  <a:lnTo>
                    <a:pt x="286" y="58"/>
                  </a:lnTo>
                  <a:lnTo>
                    <a:pt x="253" y="111"/>
                  </a:lnTo>
                  <a:lnTo>
                    <a:pt x="141" y="128"/>
                  </a:lnTo>
                  <a:lnTo>
                    <a:pt x="145" y="70"/>
                  </a:lnTo>
                  <a:lnTo>
                    <a:pt x="17" y="0"/>
                  </a:lnTo>
                  <a:lnTo>
                    <a:pt x="0" y="41"/>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70" name="Freeform 450"/>
            <p:cNvSpPr>
              <a:spLocks/>
            </p:cNvSpPr>
            <p:nvPr/>
          </p:nvSpPr>
          <p:spPr bwMode="auto">
            <a:xfrm>
              <a:off x="5509725" y="1967028"/>
              <a:ext cx="126712" cy="49861"/>
            </a:xfrm>
            <a:custGeom>
              <a:avLst/>
              <a:gdLst>
                <a:gd name="T0" fmla="*/ 16181 w 114"/>
                <a:gd name="T1" fmla="*/ 0 h 54"/>
                <a:gd name="T2" fmla="*/ 30051 w 114"/>
                <a:gd name="T3" fmla="*/ 13170 h 54"/>
                <a:gd name="T4" fmla="*/ 62414 w 114"/>
                <a:gd name="T5" fmla="*/ 3763 h 54"/>
                <a:gd name="T6" fmla="*/ 101712 w 114"/>
                <a:gd name="T7" fmla="*/ 0 h 54"/>
                <a:gd name="T8" fmla="*/ 131763 w 114"/>
                <a:gd name="T9" fmla="*/ 16933 h 54"/>
                <a:gd name="T10" fmla="*/ 110958 w 114"/>
                <a:gd name="T11" fmla="*/ 35748 h 54"/>
                <a:gd name="T12" fmla="*/ 78595 w 114"/>
                <a:gd name="T13" fmla="*/ 50800 h 54"/>
                <a:gd name="T14" fmla="*/ 34674 w 114"/>
                <a:gd name="T15" fmla="*/ 39511 h 54"/>
                <a:gd name="T16" fmla="*/ 11558 w 114"/>
                <a:gd name="T17" fmla="*/ 41393 h 54"/>
                <a:gd name="T18" fmla="*/ 30051 w 114"/>
                <a:gd name="T19" fmla="*/ 33867 h 54"/>
                <a:gd name="T20" fmla="*/ 18493 w 114"/>
                <a:gd name="T21" fmla="*/ 20696 h 54"/>
                <a:gd name="T22" fmla="*/ 0 w 114"/>
                <a:gd name="T23" fmla="*/ 15052 h 54"/>
                <a:gd name="T24" fmla="*/ 16181 w 114"/>
                <a:gd name="T25" fmla="*/ 0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4"/>
                <a:gd name="T40" fmla="*/ 0 h 54"/>
                <a:gd name="T41" fmla="*/ 114 w 114"/>
                <a:gd name="T42" fmla="*/ 54 h 5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4" h="54">
                  <a:moveTo>
                    <a:pt x="14" y="0"/>
                  </a:moveTo>
                  <a:lnTo>
                    <a:pt x="26" y="14"/>
                  </a:lnTo>
                  <a:lnTo>
                    <a:pt x="54" y="4"/>
                  </a:lnTo>
                  <a:lnTo>
                    <a:pt x="88" y="0"/>
                  </a:lnTo>
                  <a:lnTo>
                    <a:pt x="114" y="18"/>
                  </a:lnTo>
                  <a:lnTo>
                    <a:pt x="96" y="38"/>
                  </a:lnTo>
                  <a:lnTo>
                    <a:pt x="68" y="54"/>
                  </a:lnTo>
                  <a:lnTo>
                    <a:pt x="30" y="42"/>
                  </a:lnTo>
                  <a:lnTo>
                    <a:pt x="10" y="44"/>
                  </a:lnTo>
                  <a:lnTo>
                    <a:pt x="26" y="36"/>
                  </a:lnTo>
                  <a:lnTo>
                    <a:pt x="16" y="22"/>
                  </a:lnTo>
                  <a:lnTo>
                    <a:pt x="0" y="16"/>
                  </a:lnTo>
                  <a:lnTo>
                    <a:pt x="14" y="0"/>
                  </a:lnTo>
                  <a:close/>
                </a:path>
              </a:pathLst>
            </a:custGeom>
            <a:solidFill>
              <a:schemeClr val="bg1">
                <a:lumMod val="85000"/>
              </a:schemeClr>
            </a:solidFill>
            <a:ln w="9525">
              <a:solidFill>
                <a:sysClr val="window" lastClr="FFFFFF">
                  <a:lumMod val="85000"/>
                </a:sysClr>
              </a:solidFill>
              <a:round/>
              <a:headEnd/>
              <a:tailEnd/>
            </a:ln>
          </p:spPr>
          <p:txBody>
            <a:bodyPr lIns="91372" tIns="45686" rIns="91372" bIns="45686" anchor="ctr"/>
            <a:lstStyle/>
            <a:p>
              <a:pPr defTabSz="843107">
                <a:defRPr/>
              </a:pPr>
              <a:endParaRPr lang="en-US" sz="1600" kern="0" dirty="0">
                <a:solidFill>
                  <a:srgbClr val="263147"/>
                </a:solidFill>
              </a:endParaRPr>
            </a:p>
          </p:txBody>
        </p:sp>
        <p:sp>
          <p:nvSpPr>
            <p:cNvPr id="271" name="Freeform 451"/>
            <p:cNvSpPr>
              <a:spLocks/>
            </p:cNvSpPr>
            <p:nvPr/>
          </p:nvSpPr>
          <p:spPr bwMode="auto">
            <a:xfrm>
              <a:off x="9352311" y="4061209"/>
              <a:ext cx="207625" cy="182307"/>
            </a:xfrm>
            <a:custGeom>
              <a:avLst/>
              <a:gdLst>
                <a:gd name="T0" fmla="*/ 153946 w 575"/>
                <a:gd name="T1" fmla="*/ 27023 h 488"/>
                <a:gd name="T2" fmla="*/ 120529 w 575"/>
                <a:gd name="T3" fmla="*/ 54046 h 488"/>
                <a:gd name="T4" fmla="*/ 87486 w 575"/>
                <a:gd name="T5" fmla="*/ 54046 h 488"/>
                <a:gd name="T6" fmla="*/ 66835 w 575"/>
                <a:gd name="T7" fmla="*/ 27023 h 488"/>
                <a:gd name="T8" fmla="*/ 40176 w 575"/>
                <a:gd name="T9" fmla="*/ 0 h 488"/>
                <a:gd name="T10" fmla="*/ 13517 w 575"/>
                <a:gd name="T11" fmla="*/ 7232 h 488"/>
                <a:gd name="T12" fmla="*/ 0 w 575"/>
                <a:gd name="T13" fmla="*/ 34255 h 488"/>
                <a:gd name="T14" fmla="*/ 27034 w 575"/>
                <a:gd name="T15" fmla="*/ 47195 h 488"/>
                <a:gd name="T16" fmla="*/ 33418 w 575"/>
                <a:gd name="T17" fmla="*/ 60517 h 488"/>
                <a:gd name="T18" fmla="*/ 40176 w 575"/>
                <a:gd name="T19" fmla="*/ 81070 h 488"/>
                <a:gd name="T20" fmla="*/ 60077 w 575"/>
                <a:gd name="T21" fmla="*/ 81070 h 488"/>
                <a:gd name="T22" fmla="*/ 73969 w 575"/>
                <a:gd name="T23" fmla="*/ 87540 h 488"/>
                <a:gd name="T24" fmla="*/ 120529 w 575"/>
                <a:gd name="T25" fmla="*/ 107712 h 488"/>
                <a:gd name="T26" fmla="*/ 167463 w 575"/>
                <a:gd name="T27" fmla="*/ 134355 h 488"/>
                <a:gd name="T28" fmla="*/ 174597 w 575"/>
                <a:gd name="T29" fmla="*/ 148057 h 488"/>
                <a:gd name="T30" fmla="*/ 147563 w 575"/>
                <a:gd name="T31" fmla="*/ 161378 h 488"/>
                <a:gd name="T32" fmla="*/ 174597 w 575"/>
                <a:gd name="T33" fmla="*/ 168229 h 488"/>
                <a:gd name="T34" fmla="*/ 194498 w 575"/>
                <a:gd name="T35" fmla="*/ 174699 h 488"/>
                <a:gd name="T36" fmla="*/ 215900 w 575"/>
                <a:gd name="T37" fmla="*/ 185737 h 488"/>
                <a:gd name="T38" fmla="*/ 215900 w 575"/>
                <a:gd name="T39" fmla="*/ 46434 h 488"/>
                <a:gd name="T40" fmla="*/ 153946 w 575"/>
                <a:gd name="T41" fmla="*/ 27023 h 4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5"/>
                <a:gd name="T64" fmla="*/ 0 h 488"/>
                <a:gd name="T65" fmla="*/ 575 w 575"/>
                <a:gd name="T66" fmla="*/ 488 h 4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5" h="488">
                  <a:moveTo>
                    <a:pt x="410" y="71"/>
                  </a:moveTo>
                  <a:lnTo>
                    <a:pt x="321" y="142"/>
                  </a:lnTo>
                  <a:lnTo>
                    <a:pt x="233" y="142"/>
                  </a:lnTo>
                  <a:lnTo>
                    <a:pt x="178" y="71"/>
                  </a:lnTo>
                  <a:lnTo>
                    <a:pt x="107" y="0"/>
                  </a:lnTo>
                  <a:lnTo>
                    <a:pt x="36" y="19"/>
                  </a:lnTo>
                  <a:lnTo>
                    <a:pt x="0" y="90"/>
                  </a:lnTo>
                  <a:lnTo>
                    <a:pt x="72" y="124"/>
                  </a:lnTo>
                  <a:lnTo>
                    <a:pt x="89" y="159"/>
                  </a:lnTo>
                  <a:lnTo>
                    <a:pt x="107" y="213"/>
                  </a:lnTo>
                  <a:lnTo>
                    <a:pt x="160" y="213"/>
                  </a:lnTo>
                  <a:lnTo>
                    <a:pt x="197" y="230"/>
                  </a:lnTo>
                  <a:lnTo>
                    <a:pt x="321" y="283"/>
                  </a:lnTo>
                  <a:lnTo>
                    <a:pt x="446" y="353"/>
                  </a:lnTo>
                  <a:lnTo>
                    <a:pt x="465" y="389"/>
                  </a:lnTo>
                  <a:lnTo>
                    <a:pt x="393" y="424"/>
                  </a:lnTo>
                  <a:lnTo>
                    <a:pt x="465" y="442"/>
                  </a:lnTo>
                  <a:lnTo>
                    <a:pt x="518" y="459"/>
                  </a:lnTo>
                  <a:lnTo>
                    <a:pt x="575" y="488"/>
                  </a:lnTo>
                  <a:lnTo>
                    <a:pt x="575" y="122"/>
                  </a:lnTo>
                  <a:lnTo>
                    <a:pt x="410" y="71"/>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72" name="Freeform 452"/>
            <p:cNvSpPr>
              <a:spLocks/>
            </p:cNvSpPr>
            <p:nvPr/>
          </p:nvSpPr>
          <p:spPr bwMode="auto">
            <a:xfrm>
              <a:off x="9559933" y="4104835"/>
              <a:ext cx="167932" cy="166724"/>
            </a:xfrm>
            <a:custGeom>
              <a:avLst/>
              <a:gdLst>
                <a:gd name="T0" fmla="*/ 134006 w 460"/>
                <a:gd name="T1" fmla="*/ 115798 h 443"/>
                <a:gd name="T2" fmla="*/ 127552 w 460"/>
                <a:gd name="T3" fmla="*/ 95475 h 443"/>
                <a:gd name="T4" fmla="*/ 141218 w 460"/>
                <a:gd name="T5" fmla="*/ 82055 h 443"/>
                <a:gd name="T6" fmla="*/ 107432 w 460"/>
                <a:gd name="T7" fmla="*/ 61733 h 443"/>
                <a:gd name="T8" fmla="*/ 93766 w 460"/>
                <a:gd name="T9" fmla="*/ 41411 h 443"/>
                <a:gd name="T10" fmla="*/ 46314 w 460"/>
                <a:gd name="T11" fmla="*/ 14187 h 443"/>
                <a:gd name="T12" fmla="*/ 0 w 460"/>
                <a:gd name="T13" fmla="*/ 0 h 443"/>
                <a:gd name="T14" fmla="*/ 0 w 460"/>
                <a:gd name="T15" fmla="*/ 140337 h 443"/>
                <a:gd name="T16" fmla="*/ 5315 w 460"/>
                <a:gd name="T17" fmla="*/ 143022 h 443"/>
                <a:gd name="T18" fmla="*/ 25435 w 460"/>
                <a:gd name="T19" fmla="*/ 143022 h 443"/>
                <a:gd name="T20" fmla="*/ 46314 w 460"/>
                <a:gd name="T21" fmla="*/ 122699 h 443"/>
                <a:gd name="T22" fmla="*/ 80100 w 460"/>
                <a:gd name="T23" fmla="*/ 108896 h 443"/>
                <a:gd name="T24" fmla="*/ 100220 w 460"/>
                <a:gd name="T25" fmla="*/ 122699 h 443"/>
                <a:gd name="T26" fmla="*/ 147672 w 460"/>
                <a:gd name="T27" fmla="*/ 156442 h 443"/>
                <a:gd name="T28" fmla="*/ 174625 w 460"/>
                <a:gd name="T29" fmla="*/ 169862 h 443"/>
                <a:gd name="T30" fmla="*/ 174625 w 460"/>
                <a:gd name="T31" fmla="*/ 129218 h 443"/>
                <a:gd name="T32" fmla="*/ 134006 w 460"/>
                <a:gd name="T33" fmla="*/ 115798 h 4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0"/>
                <a:gd name="T52" fmla="*/ 0 h 443"/>
                <a:gd name="T53" fmla="*/ 460 w 460"/>
                <a:gd name="T54" fmla="*/ 443 h 44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0" h="443">
                  <a:moveTo>
                    <a:pt x="353" y="302"/>
                  </a:moveTo>
                  <a:lnTo>
                    <a:pt x="336" y="249"/>
                  </a:lnTo>
                  <a:lnTo>
                    <a:pt x="372" y="214"/>
                  </a:lnTo>
                  <a:lnTo>
                    <a:pt x="283" y="161"/>
                  </a:lnTo>
                  <a:lnTo>
                    <a:pt x="247" y="108"/>
                  </a:lnTo>
                  <a:lnTo>
                    <a:pt x="122" y="37"/>
                  </a:lnTo>
                  <a:lnTo>
                    <a:pt x="0" y="0"/>
                  </a:lnTo>
                  <a:lnTo>
                    <a:pt x="0" y="366"/>
                  </a:lnTo>
                  <a:lnTo>
                    <a:pt x="14" y="373"/>
                  </a:lnTo>
                  <a:lnTo>
                    <a:pt x="67" y="373"/>
                  </a:lnTo>
                  <a:lnTo>
                    <a:pt x="122" y="320"/>
                  </a:lnTo>
                  <a:lnTo>
                    <a:pt x="211" y="284"/>
                  </a:lnTo>
                  <a:lnTo>
                    <a:pt x="264" y="320"/>
                  </a:lnTo>
                  <a:lnTo>
                    <a:pt x="389" y="408"/>
                  </a:lnTo>
                  <a:lnTo>
                    <a:pt x="460" y="443"/>
                  </a:lnTo>
                  <a:lnTo>
                    <a:pt x="460" y="337"/>
                  </a:lnTo>
                  <a:lnTo>
                    <a:pt x="353" y="302"/>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grpSp>
          <p:nvGrpSpPr>
            <p:cNvPr id="273" name="Group 453"/>
            <p:cNvGrpSpPr>
              <a:grpSpLocks/>
            </p:cNvGrpSpPr>
            <p:nvPr/>
          </p:nvGrpSpPr>
          <p:grpSpPr bwMode="auto">
            <a:xfrm>
              <a:off x="5964661" y="2348850"/>
              <a:ext cx="241212" cy="361495"/>
              <a:chOff x="2201" y="1250"/>
              <a:chExt cx="133" cy="193"/>
            </a:xfrm>
            <a:solidFill>
              <a:srgbClr val="598E27"/>
            </a:solidFill>
          </p:grpSpPr>
          <p:sp>
            <p:nvSpPr>
              <p:cNvPr id="274" name="Freeform 454"/>
              <p:cNvSpPr>
                <a:spLocks/>
              </p:cNvSpPr>
              <p:nvPr/>
            </p:nvSpPr>
            <p:spPr bwMode="auto">
              <a:xfrm>
                <a:off x="2234" y="1250"/>
                <a:ext cx="100" cy="193"/>
              </a:xfrm>
              <a:custGeom>
                <a:avLst/>
                <a:gdLst>
                  <a:gd name="T0" fmla="*/ 25 w 24"/>
                  <a:gd name="T1" fmla="*/ 144 h 47"/>
                  <a:gd name="T2" fmla="*/ 17 w 24"/>
                  <a:gd name="T3" fmla="*/ 136 h 47"/>
                  <a:gd name="T4" fmla="*/ 42 w 24"/>
                  <a:gd name="T5" fmla="*/ 119 h 47"/>
                  <a:gd name="T6" fmla="*/ 38 w 24"/>
                  <a:gd name="T7" fmla="*/ 103 h 47"/>
                  <a:gd name="T8" fmla="*/ 33 w 24"/>
                  <a:gd name="T9" fmla="*/ 90 h 47"/>
                  <a:gd name="T10" fmla="*/ 13 w 24"/>
                  <a:gd name="T11" fmla="*/ 90 h 47"/>
                  <a:gd name="T12" fmla="*/ 17 w 24"/>
                  <a:gd name="T13" fmla="*/ 66 h 47"/>
                  <a:gd name="T14" fmla="*/ 4 w 24"/>
                  <a:gd name="T15" fmla="*/ 74 h 47"/>
                  <a:gd name="T16" fmla="*/ 0 w 24"/>
                  <a:gd name="T17" fmla="*/ 53 h 47"/>
                  <a:gd name="T18" fmla="*/ 0 w 24"/>
                  <a:gd name="T19" fmla="*/ 33 h 47"/>
                  <a:gd name="T20" fmla="*/ 4 w 24"/>
                  <a:gd name="T21" fmla="*/ 16 h 47"/>
                  <a:gd name="T22" fmla="*/ 21 w 24"/>
                  <a:gd name="T23" fmla="*/ 0 h 47"/>
                  <a:gd name="T24" fmla="*/ 33 w 24"/>
                  <a:gd name="T25" fmla="*/ 4 h 47"/>
                  <a:gd name="T26" fmla="*/ 29 w 24"/>
                  <a:gd name="T27" fmla="*/ 25 h 47"/>
                  <a:gd name="T28" fmla="*/ 54 w 24"/>
                  <a:gd name="T29" fmla="*/ 25 h 47"/>
                  <a:gd name="T30" fmla="*/ 46 w 24"/>
                  <a:gd name="T31" fmla="*/ 45 h 47"/>
                  <a:gd name="T32" fmla="*/ 38 w 24"/>
                  <a:gd name="T33" fmla="*/ 62 h 47"/>
                  <a:gd name="T34" fmla="*/ 54 w 24"/>
                  <a:gd name="T35" fmla="*/ 70 h 47"/>
                  <a:gd name="T36" fmla="*/ 71 w 24"/>
                  <a:gd name="T37" fmla="*/ 99 h 47"/>
                  <a:gd name="T38" fmla="*/ 79 w 24"/>
                  <a:gd name="T39" fmla="*/ 119 h 47"/>
                  <a:gd name="T40" fmla="*/ 79 w 24"/>
                  <a:gd name="T41" fmla="*/ 131 h 47"/>
                  <a:gd name="T42" fmla="*/ 96 w 24"/>
                  <a:gd name="T43" fmla="*/ 131 h 47"/>
                  <a:gd name="T44" fmla="*/ 92 w 24"/>
                  <a:gd name="T45" fmla="*/ 160 h 47"/>
                  <a:gd name="T46" fmla="*/ 100 w 24"/>
                  <a:gd name="T47" fmla="*/ 164 h 47"/>
                  <a:gd name="T48" fmla="*/ 71 w 24"/>
                  <a:gd name="T49" fmla="*/ 177 h 47"/>
                  <a:gd name="T50" fmla="*/ 46 w 24"/>
                  <a:gd name="T51" fmla="*/ 181 h 47"/>
                  <a:gd name="T52" fmla="*/ 33 w 24"/>
                  <a:gd name="T53" fmla="*/ 185 h 47"/>
                  <a:gd name="T54" fmla="*/ 17 w 24"/>
                  <a:gd name="T55" fmla="*/ 185 h 47"/>
                  <a:gd name="T56" fmla="*/ 4 w 24"/>
                  <a:gd name="T57" fmla="*/ 189 h 47"/>
                  <a:gd name="T58" fmla="*/ 21 w 24"/>
                  <a:gd name="T59" fmla="*/ 172 h 47"/>
                  <a:gd name="T60" fmla="*/ 25 w 24"/>
                  <a:gd name="T61" fmla="*/ 156 h 47"/>
                  <a:gd name="T62" fmla="*/ 13 w 24"/>
                  <a:gd name="T63" fmla="*/ 152 h 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
                  <a:gd name="T97" fmla="*/ 0 h 47"/>
                  <a:gd name="T98" fmla="*/ 24 w 24"/>
                  <a:gd name="T99" fmla="*/ 47 h 4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 h="47">
                    <a:moveTo>
                      <a:pt x="3" y="37"/>
                    </a:moveTo>
                    <a:cubicBezTo>
                      <a:pt x="6" y="35"/>
                      <a:pt x="6" y="35"/>
                      <a:pt x="6" y="35"/>
                    </a:cubicBezTo>
                    <a:cubicBezTo>
                      <a:pt x="6" y="33"/>
                      <a:pt x="6" y="33"/>
                      <a:pt x="6" y="33"/>
                    </a:cubicBezTo>
                    <a:cubicBezTo>
                      <a:pt x="4" y="33"/>
                      <a:pt x="4" y="33"/>
                      <a:pt x="4" y="33"/>
                    </a:cubicBezTo>
                    <a:cubicBezTo>
                      <a:pt x="6" y="30"/>
                      <a:pt x="6" y="30"/>
                      <a:pt x="6" y="30"/>
                    </a:cubicBezTo>
                    <a:cubicBezTo>
                      <a:pt x="10" y="29"/>
                      <a:pt x="10" y="29"/>
                      <a:pt x="10" y="29"/>
                    </a:cubicBezTo>
                    <a:cubicBezTo>
                      <a:pt x="9" y="26"/>
                      <a:pt x="9" y="26"/>
                      <a:pt x="9" y="26"/>
                    </a:cubicBezTo>
                    <a:cubicBezTo>
                      <a:pt x="9" y="25"/>
                      <a:pt x="9" y="25"/>
                      <a:pt x="9" y="25"/>
                    </a:cubicBezTo>
                    <a:cubicBezTo>
                      <a:pt x="8" y="23"/>
                      <a:pt x="8" y="23"/>
                      <a:pt x="8" y="23"/>
                    </a:cubicBezTo>
                    <a:cubicBezTo>
                      <a:pt x="8" y="22"/>
                      <a:pt x="8" y="22"/>
                      <a:pt x="8" y="22"/>
                    </a:cubicBezTo>
                    <a:cubicBezTo>
                      <a:pt x="5" y="22"/>
                      <a:pt x="5" y="22"/>
                      <a:pt x="5" y="22"/>
                    </a:cubicBezTo>
                    <a:cubicBezTo>
                      <a:pt x="3" y="22"/>
                      <a:pt x="3" y="22"/>
                      <a:pt x="3" y="22"/>
                    </a:cubicBezTo>
                    <a:cubicBezTo>
                      <a:pt x="3" y="20"/>
                      <a:pt x="3" y="20"/>
                      <a:pt x="3" y="20"/>
                    </a:cubicBezTo>
                    <a:cubicBezTo>
                      <a:pt x="4" y="16"/>
                      <a:pt x="4" y="16"/>
                      <a:pt x="4" y="16"/>
                    </a:cubicBezTo>
                    <a:cubicBezTo>
                      <a:pt x="2" y="16"/>
                      <a:pt x="2" y="16"/>
                      <a:pt x="2" y="16"/>
                    </a:cubicBezTo>
                    <a:cubicBezTo>
                      <a:pt x="1" y="18"/>
                      <a:pt x="1" y="18"/>
                      <a:pt x="1" y="18"/>
                    </a:cubicBezTo>
                    <a:cubicBezTo>
                      <a:pt x="1" y="18"/>
                      <a:pt x="0" y="17"/>
                      <a:pt x="0" y="16"/>
                    </a:cubicBezTo>
                    <a:cubicBezTo>
                      <a:pt x="0" y="15"/>
                      <a:pt x="0" y="13"/>
                      <a:pt x="0" y="13"/>
                    </a:cubicBezTo>
                    <a:cubicBezTo>
                      <a:pt x="0" y="11"/>
                      <a:pt x="0" y="11"/>
                      <a:pt x="0" y="11"/>
                    </a:cubicBezTo>
                    <a:cubicBezTo>
                      <a:pt x="0" y="8"/>
                      <a:pt x="0" y="8"/>
                      <a:pt x="0" y="8"/>
                    </a:cubicBezTo>
                    <a:cubicBezTo>
                      <a:pt x="0" y="6"/>
                      <a:pt x="0" y="6"/>
                      <a:pt x="0" y="6"/>
                    </a:cubicBezTo>
                    <a:cubicBezTo>
                      <a:pt x="1" y="4"/>
                      <a:pt x="1" y="4"/>
                      <a:pt x="1" y="4"/>
                    </a:cubicBezTo>
                    <a:cubicBezTo>
                      <a:pt x="3" y="0"/>
                      <a:pt x="3" y="0"/>
                      <a:pt x="3" y="0"/>
                    </a:cubicBezTo>
                    <a:cubicBezTo>
                      <a:pt x="5" y="0"/>
                      <a:pt x="5" y="0"/>
                      <a:pt x="5" y="0"/>
                    </a:cubicBezTo>
                    <a:cubicBezTo>
                      <a:pt x="8" y="0"/>
                      <a:pt x="8" y="0"/>
                      <a:pt x="8" y="0"/>
                    </a:cubicBezTo>
                    <a:cubicBezTo>
                      <a:pt x="8" y="1"/>
                      <a:pt x="8" y="1"/>
                      <a:pt x="8" y="1"/>
                    </a:cubicBezTo>
                    <a:cubicBezTo>
                      <a:pt x="6" y="5"/>
                      <a:pt x="6" y="5"/>
                      <a:pt x="6" y="5"/>
                    </a:cubicBezTo>
                    <a:cubicBezTo>
                      <a:pt x="7" y="6"/>
                      <a:pt x="7" y="6"/>
                      <a:pt x="7" y="6"/>
                    </a:cubicBezTo>
                    <a:cubicBezTo>
                      <a:pt x="10" y="5"/>
                      <a:pt x="10" y="5"/>
                      <a:pt x="10" y="5"/>
                    </a:cubicBezTo>
                    <a:cubicBezTo>
                      <a:pt x="13" y="6"/>
                      <a:pt x="13" y="6"/>
                      <a:pt x="13" y="6"/>
                    </a:cubicBezTo>
                    <a:cubicBezTo>
                      <a:pt x="12" y="8"/>
                      <a:pt x="12" y="8"/>
                      <a:pt x="12" y="8"/>
                    </a:cubicBezTo>
                    <a:cubicBezTo>
                      <a:pt x="11" y="11"/>
                      <a:pt x="11" y="11"/>
                      <a:pt x="11" y="11"/>
                    </a:cubicBezTo>
                    <a:cubicBezTo>
                      <a:pt x="9" y="14"/>
                      <a:pt x="9" y="14"/>
                      <a:pt x="9" y="14"/>
                    </a:cubicBezTo>
                    <a:cubicBezTo>
                      <a:pt x="9" y="15"/>
                      <a:pt x="9" y="15"/>
                      <a:pt x="9" y="15"/>
                    </a:cubicBezTo>
                    <a:cubicBezTo>
                      <a:pt x="11" y="16"/>
                      <a:pt x="11" y="16"/>
                      <a:pt x="11" y="16"/>
                    </a:cubicBezTo>
                    <a:cubicBezTo>
                      <a:pt x="13" y="17"/>
                      <a:pt x="13" y="17"/>
                      <a:pt x="13" y="17"/>
                    </a:cubicBezTo>
                    <a:cubicBezTo>
                      <a:pt x="15" y="22"/>
                      <a:pt x="15" y="22"/>
                      <a:pt x="15" y="22"/>
                    </a:cubicBezTo>
                    <a:cubicBezTo>
                      <a:pt x="17" y="24"/>
                      <a:pt x="17" y="24"/>
                      <a:pt x="17" y="24"/>
                    </a:cubicBezTo>
                    <a:cubicBezTo>
                      <a:pt x="20" y="28"/>
                      <a:pt x="20" y="28"/>
                      <a:pt x="20" y="28"/>
                    </a:cubicBezTo>
                    <a:cubicBezTo>
                      <a:pt x="19" y="29"/>
                      <a:pt x="19" y="29"/>
                      <a:pt x="19" y="29"/>
                    </a:cubicBezTo>
                    <a:cubicBezTo>
                      <a:pt x="19" y="30"/>
                      <a:pt x="19" y="30"/>
                      <a:pt x="19" y="30"/>
                    </a:cubicBezTo>
                    <a:cubicBezTo>
                      <a:pt x="19" y="32"/>
                      <a:pt x="19" y="32"/>
                      <a:pt x="19" y="32"/>
                    </a:cubicBezTo>
                    <a:cubicBezTo>
                      <a:pt x="21" y="32"/>
                      <a:pt x="21" y="32"/>
                      <a:pt x="21" y="32"/>
                    </a:cubicBezTo>
                    <a:cubicBezTo>
                      <a:pt x="23" y="32"/>
                      <a:pt x="23" y="32"/>
                      <a:pt x="23" y="32"/>
                    </a:cubicBezTo>
                    <a:cubicBezTo>
                      <a:pt x="24" y="36"/>
                      <a:pt x="24" y="36"/>
                      <a:pt x="24" y="36"/>
                    </a:cubicBezTo>
                    <a:cubicBezTo>
                      <a:pt x="22" y="39"/>
                      <a:pt x="22" y="39"/>
                      <a:pt x="22" y="39"/>
                    </a:cubicBezTo>
                    <a:cubicBezTo>
                      <a:pt x="22" y="40"/>
                      <a:pt x="22" y="40"/>
                      <a:pt x="22" y="40"/>
                    </a:cubicBezTo>
                    <a:cubicBezTo>
                      <a:pt x="24" y="40"/>
                      <a:pt x="24" y="40"/>
                      <a:pt x="24" y="40"/>
                    </a:cubicBezTo>
                    <a:cubicBezTo>
                      <a:pt x="22" y="41"/>
                      <a:pt x="22" y="41"/>
                      <a:pt x="22" y="41"/>
                    </a:cubicBezTo>
                    <a:cubicBezTo>
                      <a:pt x="17" y="43"/>
                      <a:pt x="17" y="43"/>
                      <a:pt x="17" y="43"/>
                    </a:cubicBezTo>
                    <a:cubicBezTo>
                      <a:pt x="14" y="43"/>
                      <a:pt x="14" y="43"/>
                      <a:pt x="14" y="43"/>
                    </a:cubicBezTo>
                    <a:cubicBezTo>
                      <a:pt x="11" y="44"/>
                      <a:pt x="11" y="44"/>
                      <a:pt x="11" y="44"/>
                    </a:cubicBezTo>
                    <a:cubicBezTo>
                      <a:pt x="11" y="44"/>
                      <a:pt x="10" y="43"/>
                      <a:pt x="9" y="43"/>
                    </a:cubicBezTo>
                    <a:cubicBezTo>
                      <a:pt x="9" y="43"/>
                      <a:pt x="8" y="45"/>
                      <a:pt x="8" y="45"/>
                    </a:cubicBezTo>
                    <a:cubicBezTo>
                      <a:pt x="6" y="45"/>
                      <a:pt x="6" y="45"/>
                      <a:pt x="6" y="45"/>
                    </a:cubicBezTo>
                    <a:cubicBezTo>
                      <a:pt x="4" y="45"/>
                      <a:pt x="4" y="45"/>
                      <a:pt x="4" y="45"/>
                    </a:cubicBezTo>
                    <a:cubicBezTo>
                      <a:pt x="3" y="47"/>
                      <a:pt x="3" y="47"/>
                      <a:pt x="3" y="47"/>
                    </a:cubicBezTo>
                    <a:cubicBezTo>
                      <a:pt x="1" y="46"/>
                      <a:pt x="1" y="46"/>
                      <a:pt x="1" y="46"/>
                    </a:cubicBezTo>
                    <a:cubicBezTo>
                      <a:pt x="2" y="44"/>
                      <a:pt x="2" y="44"/>
                      <a:pt x="2" y="44"/>
                    </a:cubicBezTo>
                    <a:cubicBezTo>
                      <a:pt x="5" y="42"/>
                      <a:pt x="5" y="42"/>
                      <a:pt x="5" y="42"/>
                    </a:cubicBezTo>
                    <a:cubicBezTo>
                      <a:pt x="8" y="39"/>
                      <a:pt x="8" y="39"/>
                      <a:pt x="8" y="39"/>
                    </a:cubicBezTo>
                    <a:cubicBezTo>
                      <a:pt x="6" y="38"/>
                      <a:pt x="6" y="38"/>
                      <a:pt x="6" y="38"/>
                    </a:cubicBezTo>
                    <a:cubicBezTo>
                      <a:pt x="4" y="38"/>
                      <a:pt x="4" y="38"/>
                      <a:pt x="4" y="38"/>
                    </a:cubicBezTo>
                    <a:lnTo>
                      <a:pt x="3" y="37"/>
                    </a:lnTo>
                    <a:close/>
                  </a:path>
                </a:pathLst>
              </a:custGeom>
              <a:grpFill/>
              <a:ln w="9525">
                <a:solidFill>
                  <a:sysClr val="window" lastClr="FFFFFF">
                    <a:lumMod val="85000"/>
                  </a:sysClr>
                </a:solidFill>
                <a:round/>
                <a:headEnd/>
                <a:tailEnd/>
              </a:ln>
            </p:spPr>
            <p:txBody>
              <a:bodyPr/>
              <a:lstStyle/>
              <a:p>
                <a:pPr defTabSz="843107">
                  <a:defRPr/>
                </a:pPr>
                <a:endParaRPr lang="en-US" sz="1600" kern="0" dirty="0">
                  <a:solidFill>
                    <a:srgbClr val="263147"/>
                  </a:solidFill>
                </a:endParaRPr>
              </a:p>
            </p:txBody>
          </p:sp>
          <p:sp>
            <p:nvSpPr>
              <p:cNvPr id="275" name="Freeform 455"/>
              <p:cNvSpPr>
                <a:spLocks/>
              </p:cNvSpPr>
              <p:nvPr/>
            </p:nvSpPr>
            <p:spPr bwMode="auto">
              <a:xfrm>
                <a:off x="2201" y="1331"/>
                <a:ext cx="34" cy="22"/>
              </a:xfrm>
              <a:custGeom>
                <a:avLst/>
                <a:gdLst>
                  <a:gd name="T0" fmla="*/ 24 w 34"/>
                  <a:gd name="T1" fmla="*/ 22 h 22"/>
                  <a:gd name="T2" fmla="*/ 0 w 34"/>
                  <a:gd name="T3" fmla="*/ 18 h 22"/>
                  <a:gd name="T4" fmla="*/ 13 w 34"/>
                  <a:gd name="T5" fmla="*/ 0 h 22"/>
                  <a:gd name="T6" fmla="*/ 27 w 34"/>
                  <a:gd name="T7" fmla="*/ 3 h 22"/>
                  <a:gd name="T8" fmla="*/ 34 w 34"/>
                  <a:gd name="T9" fmla="*/ 15 h 22"/>
                  <a:gd name="T10" fmla="*/ 24 w 34"/>
                  <a:gd name="T11" fmla="*/ 22 h 22"/>
                  <a:gd name="T12" fmla="*/ 0 60000 65536"/>
                  <a:gd name="T13" fmla="*/ 0 60000 65536"/>
                  <a:gd name="T14" fmla="*/ 0 60000 65536"/>
                  <a:gd name="T15" fmla="*/ 0 60000 65536"/>
                  <a:gd name="T16" fmla="*/ 0 60000 65536"/>
                  <a:gd name="T17" fmla="*/ 0 60000 65536"/>
                  <a:gd name="T18" fmla="*/ 0 w 34"/>
                  <a:gd name="T19" fmla="*/ 0 h 22"/>
                  <a:gd name="T20" fmla="*/ 34 w 34"/>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34" h="22">
                    <a:moveTo>
                      <a:pt x="24" y="22"/>
                    </a:moveTo>
                    <a:lnTo>
                      <a:pt x="0" y="18"/>
                    </a:lnTo>
                    <a:lnTo>
                      <a:pt x="13" y="0"/>
                    </a:lnTo>
                    <a:lnTo>
                      <a:pt x="27" y="3"/>
                    </a:lnTo>
                    <a:lnTo>
                      <a:pt x="34" y="15"/>
                    </a:lnTo>
                    <a:lnTo>
                      <a:pt x="24" y="22"/>
                    </a:lnTo>
                    <a:close/>
                  </a:path>
                </a:pathLst>
              </a:custGeom>
              <a:grpFill/>
              <a:ln w="9525">
                <a:solidFill>
                  <a:sysClr val="window" lastClr="FFFFFF">
                    <a:lumMod val="85000"/>
                  </a:sysClr>
                </a:solidFill>
                <a:round/>
                <a:headEnd/>
                <a:tailEnd/>
              </a:ln>
            </p:spPr>
            <p:txBody>
              <a:bodyPr/>
              <a:lstStyle/>
              <a:p>
                <a:pPr defTabSz="843107">
                  <a:defRPr/>
                </a:pPr>
                <a:endParaRPr lang="en-US" sz="1600" kern="0" dirty="0">
                  <a:solidFill>
                    <a:srgbClr val="263147"/>
                  </a:solidFill>
                </a:endParaRPr>
              </a:p>
            </p:txBody>
          </p:sp>
        </p:grpSp>
        <p:sp>
          <p:nvSpPr>
            <p:cNvPr id="276" name="Freeform 457"/>
            <p:cNvSpPr>
              <a:spLocks/>
            </p:cNvSpPr>
            <p:nvPr/>
          </p:nvSpPr>
          <p:spPr bwMode="auto">
            <a:xfrm>
              <a:off x="6483736" y="2817828"/>
              <a:ext cx="65647" cy="46747"/>
            </a:xfrm>
            <a:custGeom>
              <a:avLst/>
              <a:gdLst>
                <a:gd name="T0" fmla="*/ 4654 w 44"/>
                <a:gd name="T1" fmla="*/ 46224 h 34"/>
                <a:gd name="T2" fmla="*/ 9309 w 44"/>
                <a:gd name="T3" fmla="*/ 46224 h 34"/>
                <a:gd name="T4" fmla="*/ 13963 w 44"/>
                <a:gd name="T5" fmla="*/ 44824 h 34"/>
                <a:gd name="T6" fmla="*/ 20169 w 44"/>
                <a:gd name="T7" fmla="*/ 46224 h 34"/>
                <a:gd name="T8" fmla="*/ 26374 w 44"/>
                <a:gd name="T9" fmla="*/ 39221 h 34"/>
                <a:gd name="T10" fmla="*/ 31029 w 44"/>
                <a:gd name="T11" fmla="*/ 47625 h 34"/>
                <a:gd name="T12" fmla="*/ 32580 w 44"/>
                <a:gd name="T13" fmla="*/ 44824 h 34"/>
                <a:gd name="T14" fmla="*/ 38786 w 44"/>
                <a:gd name="T15" fmla="*/ 47625 h 34"/>
                <a:gd name="T16" fmla="*/ 41889 w 44"/>
                <a:gd name="T17" fmla="*/ 46224 h 34"/>
                <a:gd name="T18" fmla="*/ 40337 w 44"/>
                <a:gd name="T19" fmla="*/ 42022 h 34"/>
                <a:gd name="T20" fmla="*/ 43440 w 44"/>
                <a:gd name="T21" fmla="*/ 40621 h 34"/>
                <a:gd name="T22" fmla="*/ 40337 w 44"/>
                <a:gd name="T23" fmla="*/ 39221 h 34"/>
                <a:gd name="T24" fmla="*/ 44992 w 44"/>
                <a:gd name="T25" fmla="*/ 35018 h 34"/>
                <a:gd name="T26" fmla="*/ 48094 w 44"/>
                <a:gd name="T27" fmla="*/ 35018 h 34"/>
                <a:gd name="T28" fmla="*/ 49646 w 44"/>
                <a:gd name="T29" fmla="*/ 35018 h 34"/>
                <a:gd name="T30" fmla="*/ 49646 w 44"/>
                <a:gd name="T31" fmla="*/ 28015 h 34"/>
                <a:gd name="T32" fmla="*/ 46543 w 44"/>
                <a:gd name="T33" fmla="*/ 26614 h 34"/>
                <a:gd name="T34" fmla="*/ 48094 w 44"/>
                <a:gd name="T35" fmla="*/ 22412 h 34"/>
                <a:gd name="T36" fmla="*/ 51197 w 44"/>
                <a:gd name="T37" fmla="*/ 22412 h 34"/>
                <a:gd name="T38" fmla="*/ 57403 w 44"/>
                <a:gd name="T39" fmla="*/ 18210 h 34"/>
                <a:gd name="T40" fmla="*/ 58954 w 44"/>
                <a:gd name="T41" fmla="*/ 16809 h 34"/>
                <a:gd name="T42" fmla="*/ 62057 w 44"/>
                <a:gd name="T43" fmla="*/ 18210 h 34"/>
                <a:gd name="T44" fmla="*/ 60506 w 44"/>
                <a:gd name="T45" fmla="*/ 14007 h 34"/>
                <a:gd name="T46" fmla="*/ 63609 w 44"/>
                <a:gd name="T47" fmla="*/ 12607 h 34"/>
                <a:gd name="T48" fmla="*/ 68263 w 44"/>
                <a:gd name="T49" fmla="*/ 15408 h 34"/>
                <a:gd name="T50" fmla="*/ 65160 w 44"/>
                <a:gd name="T51" fmla="*/ 9805 h 34"/>
                <a:gd name="T52" fmla="*/ 63609 w 44"/>
                <a:gd name="T53" fmla="*/ 7004 h 34"/>
                <a:gd name="T54" fmla="*/ 62057 w 44"/>
                <a:gd name="T55" fmla="*/ 2801 h 34"/>
                <a:gd name="T56" fmla="*/ 58954 w 44"/>
                <a:gd name="T57" fmla="*/ 0 h 34"/>
                <a:gd name="T58" fmla="*/ 55852 w 44"/>
                <a:gd name="T59" fmla="*/ 4202 h 34"/>
                <a:gd name="T60" fmla="*/ 55852 w 44"/>
                <a:gd name="T61" fmla="*/ 8404 h 34"/>
                <a:gd name="T62" fmla="*/ 52749 w 44"/>
                <a:gd name="T63" fmla="*/ 7004 h 34"/>
                <a:gd name="T64" fmla="*/ 51197 w 44"/>
                <a:gd name="T65" fmla="*/ 7004 h 34"/>
                <a:gd name="T66" fmla="*/ 48094 w 44"/>
                <a:gd name="T67" fmla="*/ 8404 h 34"/>
                <a:gd name="T68" fmla="*/ 46543 w 44"/>
                <a:gd name="T69" fmla="*/ 8404 h 34"/>
                <a:gd name="T70" fmla="*/ 44992 w 44"/>
                <a:gd name="T71" fmla="*/ 9805 h 34"/>
                <a:gd name="T72" fmla="*/ 43440 w 44"/>
                <a:gd name="T73" fmla="*/ 9805 h 34"/>
                <a:gd name="T74" fmla="*/ 43440 w 44"/>
                <a:gd name="T75" fmla="*/ 9805 h 34"/>
                <a:gd name="T76" fmla="*/ 38786 w 44"/>
                <a:gd name="T77" fmla="*/ 9805 h 34"/>
                <a:gd name="T78" fmla="*/ 35683 w 44"/>
                <a:gd name="T79" fmla="*/ 9805 h 34"/>
                <a:gd name="T80" fmla="*/ 34132 w 44"/>
                <a:gd name="T81" fmla="*/ 9805 h 34"/>
                <a:gd name="T82" fmla="*/ 32580 w 44"/>
                <a:gd name="T83" fmla="*/ 9805 h 34"/>
                <a:gd name="T84" fmla="*/ 32580 w 44"/>
                <a:gd name="T85" fmla="*/ 9805 h 34"/>
                <a:gd name="T86" fmla="*/ 26374 w 44"/>
                <a:gd name="T87" fmla="*/ 15408 h 34"/>
                <a:gd name="T88" fmla="*/ 24823 w 44"/>
                <a:gd name="T89" fmla="*/ 18210 h 34"/>
                <a:gd name="T90" fmla="*/ 18617 w 44"/>
                <a:gd name="T91" fmla="*/ 15408 h 34"/>
                <a:gd name="T92" fmla="*/ 12411 w 44"/>
                <a:gd name="T93" fmla="*/ 14007 h 34"/>
                <a:gd name="T94" fmla="*/ 7757 w 44"/>
                <a:gd name="T95" fmla="*/ 14007 h 34"/>
                <a:gd name="T96" fmla="*/ 6206 w 44"/>
                <a:gd name="T97" fmla="*/ 15408 h 34"/>
                <a:gd name="T98" fmla="*/ 0 w 44"/>
                <a:gd name="T99" fmla="*/ 21011 h 34"/>
                <a:gd name="T100" fmla="*/ 1551 w 44"/>
                <a:gd name="T101" fmla="*/ 23813 h 34"/>
                <a:gd name="T102" fmla="*/ 6206 w 44"/>
                <a:gd name="T103" fmla="*/ 23813 h 34"/>
                <a:gd name="T104" fmla="*/ 4654 w 44"/>
                <a:gd name="T105" fmla="*/ 26614 h 34"/>
                <a:gd name="T106" fmla="*/ 1551 w 44"/>
                <a:gd name="T107" fmla="*/ 26614 h 34"/>
                <a:gd name="T108" fmla="*/ 3103 w 44"/>
                <a:gd name="T109" fmla="*/ 29415 h 34"/>
                <a:gd name="T110" fmla="*/ 4654 w 44"/>
                <a:gd name="T111" fmla="*/ 30816 h 34"/>
                <a:gd name="T112" fmla="*/ 3103 w 44"/>
                <a:gd name="T113" fmla="*/ 36419 h 34"/>
                <a:gd name="T114" fmla="*/ 7757 w 44"/>
                <a:gd name="T115" fmla="*/ 40621 h 34"/>
                <a:gd name="T116" fmla="*/ 7757 w 44"/>
                <a:gd name="T117" fmla="*/ 43423 h 34"/>
                <a:gd name="T118" fmla="*/ 4654 w 44"/>
                <a:gd name="T119" fmla="*/ 44824 h 34"/>
                <a:gd name="T120" fmla="*/ 4654 w 44"/>
                <a:gd name="T121" fmla="*/ 46224 h 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4"/>
                <a:gd name="T184" fmla="*/ 0 h 34"/>
                <a:gd name="T185" fmla="*/ 44 w 44"/>
                <a:gd name="T186" fmla="*/ 34 h 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4" h="34">
                  <a:moveTo>
                    <a:pt x="3" y="33"/>
                  </a:moveTo>
                  <a:lnTo>
                    <a:pt x="6" y="33"/>
                  </a:lnTo>
                  <a:lnTo>
                    <a:pt x="9" y="32"/>
                  </a:lnTo>
                  <a:lnTo>
                    <a:pt x="13" y="33"/>
                  </a:lnTo>
                  <a:lnTo>
                    <a:pt x="17" y="28"/>
                  </a:lnTo>
                  <a:lnTo>
                    <a:pt x="20" y="34"/>
                  </a:lnTo>
                  <a:lnTo>
                    <a:pt x="21" y="32"/>
                  </a:lnTo>
                  <a:lnTo>
                    <a:pt x="25" y="34"/>
                  </a:lnTo>
                  <a:lnTo>
                    <a:pt x="27" y="33"/>
                  </a:lnTo>
                  <a:lnTo>
                    <a:pt x="26" y="30"/>
                  </a:lnTo>
                  <a:lnTo>
                    <a:pt x="28" y="29"/>
                  </a:lnTo>
                  <a:lnTo>
                    <a:pt x="26" y="28"/>
                  </a:lnTo>
                  <a:lnTo>
                    <a:pt x="29" y="25"/>
                  </a:lnTo>
                  <a:lnTo>
                    <a:pt x="31" y="25"/>
                  </a:lnTo>
                  <a:lnTo>
                    <a:pt x="32" y="25"/>
                  </a:lnTo>
                  <a:lnTo>
                    <a:pt x="32" y="20"/>
                  </a:lnTo>
                  <a:lnTo>
                    <a:pt x="30" y="19"/>
                  </a:lnTo>
                  <a:lnTo>
                    <a:pt x="31" y="16"/>
                  </a:lnTo>
                  <a:lnTo>
                    <a:pt x="33" y="16"/>
                  </a:lnTo>
                  <a:lnTo>
                    <a:pt x="37" y="13"/>
                  </a:lnTo>
                  <a:lnTo>
                    <a:pt x="38" y="12"/>
                  </a:lnTo>
                  <a:lnTo>
                    <a:pt x="40" y="13"/>
                  </a:lnTo>
                  <a:lnTo>
                    <a:pt x="39" y="10"/>
                  </a:lnTo>
                  <a:lnTo>
                    <a:pt x="41" y="9"/>
                  </a:lnTo>
                  <a:lnTo>
                    <a:pt x="44" y="11"/>
                  </a:lnTo>
                  <a:lnTo>
                    <a:pt x="42" y="7"/>
                  </a:lnTo>
                  <a:lnTo>
                    <a:pt x="41" y="5"/>
                  </a:lnTo>
                  <a:lnTo>
                    <a:pt x="40" y="2"/>
                  </a:lnTo>
                  <a:lnTo>
                    <a:pt x="38" y="0"/>
                  </a:lnTo>
                  <a:lnTo>
                    <a:pt x="36" y="3"/>
                  </a:lnTo>
                  <a:lnTo>
                    <a:pt x="36" y="6"/>
                  </a:lnTo>
                  <a:lnTo>
                    <a:pt x="34" y="5"/>
                  </a:lnTo>
                  <a:lnTo>
                    <a:pt x="33" y="5"/>
                  </a:lnTo>
                  <a:lnTo>
                    <a:pt x="31" y="6"/>
                  </a:lnTo>
                  <a:lnTo>
                    <a:pt x="30" y="6"/>
                  </a:lnTo>
                  <a:lnTo>
                    <a:pt x="29" y="7"/>
                  </a:lnTo>
                  <a:lnTo>
                    <a:pt x="28" y="7"/>
                  </a:lnTo>
                  <a:lnTo>
                    <a:pt x="25" y="7"/>
                  </a:lnTo>
                  <a:lnTo>
                    <a:pt x="23" y="7"/>
                  </a:lnTo>
                  <a:lnTo>
                    <a:pt x="22" y="7"/>
                  </a:lnTo>
                  <a:lnTo>
                    <a:pt x="21" y="7"/>
                  </a:lnTo>
                  <a:lnTo>
                    <a:pt x="17" y="11"/>
                  </a:lnTo>
                  <a:lnTo>
                    <a:pt x="16" y="13"/>
                  </a:lnTo>
                  <a:lnTo>
                    <a:pt x="12" y="11"/>
                  </a:lnTo>
                  <a:lnTo>
                    <a:pt x="8" y="10"/>
                  </a:lnTo>
                  <a:lnTo>
                    <a:pt x="5" y="10"/>
                  </a:lnTo>
                  <a:lnTo>
                    <a:pt x="4" y="11"/>
                  </a:lnTo>
                  <a:lnTo>
                    <a:pt x="0" y="15"/>
                  </a:lnTo>
                  <a:lnTo>
                    <a:pt x="1" y="17"/>
                  </a:lnTo>
                  <a:lnTo>
                    <a:pt x="4" y="17"/>
                  </a:lnTo>
                  <a:lnTo>
                    <a:pt x="3" y="19"/>
                  </a:lnTo>
                  <a:lnTo>
                    <a:pt x="1" y="19"/>
                  </a:lnTo>
                  <a:lnTo>
                    <a:pt x="2" y="21"/>
                  </a:lnTo>
                  <a:lnTo>
                    <a:pt x="3" y="22"/>
                  </a:lnTo>
                  <a:lnTo>
                    <a:pt x="2" y="26"/>
                  </a:lnTo>
                  <a:lnTo>
                    <a:pt x="5" y="29"/>
                  </a:lnTo>
                  <a:lnTo>
                    <a:pt x="5" y="31"/>
                  </a:lnTo>
                  <a:lnTo>
                    <a:pt x="3" y="32"/>
                  </a:lnTo>
                  <a:lnTo>
                    <a:pt x="3" y="33"/>
                  </a:lnTo>
                  <a:close/>
                </a:path>
              </a:pathLst>
            </a:custGeom>
            <a:solidFill>
              <a:srgbClr val="909090">
                <a:lumMod val="20000"/>
                <a:lumOff val="80000"/>
              </a:srgb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77" name="Freeform 458"/>
            <p:cNvSpPr>
              <a:spLocks/>
            </p:cNvSpPr>
            <p:nvPr/>
          </p:nvSpPr>
          <p:spPr bwMode="auto">
            <a:xfrm>
              <a:off x="6909702" y="3182467"/>
              <a:ext cx="70227" cy="43629"/>
            </a:xfrm>
            <a:custGeom>
              <a:avLst/>
              <a:gdLst>
                <a:gd name="T0" fmla="*/ 0 w 46"/>
                <a:gd name="T1" fmla="*/ 23812 h 28"/>
                <a:gd name="T2" fmla="*/ 4762 w 46"/>
                <a:gd name="T3" fmla="*/ 26988 h 28"/>
                <a:gd name="T4" fmla="*/ 19050 w 46"/>
                <a:gd name="T5" fmla="*/ 22225 h 28"/>
                <a:gd name="T6" fmla="*/ 20637 w 46"/>
                <a:gd name="T7" fmla="*/ 12700 h 28"/>
                <a:gd name="T8" fmla="*/ 42862 w 46"/>
                <a:gd name="T9" fmla="*/ 14288 h 28"/>
                <a:gd name="T10" fmla="*/ 73025 w 46"/>
                <a:gd name="T11" fmla="*/ 0 h 28"/>
                <a:gd name="T12" fmla="*/ 73025 w 46"/>
                <a:gd name="T13" fmla="*/ 1588 h 28"/>
                <a:gd name="T14" fmla="*/ 52388 w 46"/>
                <a:gd name="T15" fmla="*/ 17463 h 28"/>
                <a:gd name="T16" fmla="*/ 57150 w 46"/>
                <a:gd name="T17" fmla="*/ 28575 h 28"/>
                <a:gd name="T18" fmla="*/ 42862 w 46"/>
                <a:gd name="T19" fmla="*/ 33338 h 28"/>
                <a:gd name="T20" fmla="*/ 23812 w 46"/>
                <a:gd name="T21" fmla="*/ 44450 h 28"/>
                <a:gd name="T22" fmla="*/ 20637 w 46"/>
                <a:gd name="T23" fmla="*/ 44450 h 28"/>
                <a:gd name="T24" fmla="*/ 12700 w 46"/>
                <a:gd name="T25" fmla="*/ 41275 h 28"/>
                <a:gd name="T26" fmla="*/ 3175 w 46"/>
                <a:gd name="T27" fmla="*/ 36513 h 28"/>
                <a:gd name="T28" fmla="*/ 0 w 46"/>
                <a:gd name="T29" fmla="*/ 23812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28"/>
                <a:gd name="T47" fmla="*/ 46 w 46"/>
                <a:gd name="T48" fmla="*/ 28 h 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28">
                  <a:moveTo>
                    <a:pt x="0" y="15"/>
                  </a:moveTo>
                  <a:lnTo>
                    <a:pt x="3" y="17"/>
                  </a:lnTo>
                  <a:lnTo>
                    <a:pt x="12" y="14"/>
                  </a:lnTo>
                  <a:lnTo>
                    <a:pt x="13" y="8"/>
                  </a:lnTo>
                  <a:lnTo>
                    <a:pt x="27" y="9"/>
                  </a:lnTo>
                  <a:lnTo>
                    <a:pt x="46" y="0"/>
                  </a:lnTo>
                  <a:lnTo>
                    <a:pt x="46" y="1"/>
                  </a:lnTo>
                  <a:lnTo>
                    <a:pt x="33" y="11"/>
                  </a:lnTo>
                  <a:lnTo>
                    <a:pt x="36" y="18"/>
                  </a:lnTo>
                  <a:lnTo>
                    <a:pt x="27" y="21"/>
                  </a:lnTo>
                  <a:lnTo>
                    <a:pt x="15" y="28"/>
                  </a:lnTo>
                  <a:lnTo>
                    <a:pt x="13" y="28"/>
                  </a:lnTo>
                  <a:lnTo>
                    <a:pt x="8" y="26"/>
                  </a:lnTo>
                  <a:lnTo>
                    <a:pt x="2" y="23"/>
                  </a:lnTo>
                  <a:lnTo>
                    <a:pt x="0" y="15"/>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78" name="Freeform 507"/>
            <p:cNvSpPr>
              <a:spLocks/>
            </p:cNvSpPr>
            <p:nvPr/>
          </p:nvSpPr>
          <p:spPr bwMode="auto">
            <a:xfrm>
              <a:off x="7935575" y="2579452"/>
              <a:ext cx="1450322" cy="1028395"/>
            </a:xfrm>
            <a:custGeom>
              <a:avLst/>
              <a:gdLst>
                <a:gd name="T0" fmla="*/ 1333500 w 950"/>
                <a:gd name="T1" fmla="*/ 139700 h 660"/>
                <a:gd name="T2" fmla="*/ 1162050 w 950"/>
                <a:gd name="T3" fmla="*/ 38100 h 660"/>
                <a:gd name="T4" fmla="*/ 1060450 w 950"/>
                <a:gd name="T5" fmla="*/ 139700 h 660"/>
                <a:gd name="T6" fmla="*/ 1060450 w 950"/>
                <a:gd name="T7" fmla="*/ 139700 h 660"/>
                <a:gd name="T8" fmla="*/ 1063625 w 950"/>
                <a:gd name="T9" fmla="*/ 142875 h 660"/>
                <a:gd name="T10" fmla="*/ 1066800 w 950"/>
                <a:gd name="T11" fmla="*/ 146050 h 660"/>
                <a:gd name="T12" fmla="*/ 1073150 w 950"/>
                <a:gd name="T13" fmla="*/ 146050 h 660"/>
                <a:gd name="T14" fmla="*/ 1073150 w 950"/>
                <a:gd name="T15" fmla="*/ 149225 h 660"/>
                <a:gd name="T16" fmla="*/ 1076325 w 950"/>
                <a:gd name="T17" fmla="*/ 149225 h 660"/>
                <a:gd name="T18" fmla="*/ 1076325 w 950"/>
                <a:gd name="T19" fmla="*/ 149225 h 660"/>
                <a:gd name="T20" fmla="*/ 1073150 w 950"/>
                <a:gd name="T21" fmla="*/ 146050 h 660"/>
                <a:gd name="T22" fmla="*/ 1069975 w 950"/>
                <a:gd name="T23" fmla="*/ 146050 h 660"/>
                <a:gd name="T24" fmla="*/ 1066800 w 950"/>
                <a:gd name="T25" fmla="*/ 142875 h 660"/>
                <a:gd name="T26" fmla="*/ 1060450 w 950"/>
                <a:gd name="T27" fmla="*/ 142875 h 660"/>
                <a:gd name="T28" fmla="*/ 1060450 w 950"/>
                <a:gd name="T29" fmla="*/ 139700 h 660"/>
                <a:gd name="T30" fmla="*/ 1044575 w 950"/>
                <a:gd name="T31" fmla="*/ 171450 h 660"/>
                <a:gd name="T32" fmla="*/ 1130300 w 950"/>
                <a:gd name="T33" fmla="*/ 250825 h 660"/>
                <a:gd name="T34" fmla="*/ 949325 w 950"/>
                <a:gd name="T35" fmla="*/ 320675 h 660"/>
                <a:gd name="T36" fmla="*/ 762000 w 950"/>
                <a:gd name="T37" fmla="*/ 438150 h 660"/>
                <a:gd name="T38" fmla="*/ 517525 w 950"/>
                <a:gd name="T39" fmla="*/ 320675 h 660"/>
                <a:gd name="T40" fmla="*/ 358775 w 950"/>
                <a:gd name="T41" fmla="*/ 187325 h 660"/>
                <a:gd name="T42" fmla="*/ 352425 w 950"/>
                <a:gd name="T43" fmla="*/ 180975 h 660"/>
                <a:gd name="T44" fmla="*/ 349250 w 950"/>
                <a:gd name="T45" fmla="*/ 184150 h 660"/>
                <a:gd name="T46" fmla="*/ 346075 w 950"/>
                <a:gd name="T47" fmla="*/ 193675 h 660"/>
                <a:gd name="T48" fmla="*/ 346075 w 950"/>
                <a:gd name="T49" fmla="*/ 193675 h 660"/>
                <a:gd name="T50" fmla="*/ 346075 w 950"/>
                <a:gd name="T51" fmla="*/ 193675 h 660"/>
                <a:gd name="T52" fmla="*/ 352425 w 950"/>
                <a:gd name="T53" fmla="*/ 180975 h 660"/>
                <a:gd name="T54" fmla="*/ 346075 w 950"/>
                <a:gd name="T55" fmla="*/ 171450 h 660"/>
                <a:gd name="T56" fmla="*/ 330200 w 950"/>
                <a:gd name="T57" fmla="*/ 180975 h 660"/>
                <a:gd name="T58" fmla="*/ 225425 w 950"/>
                <a:gd name="T59" fmla="*/ 225425 h 660"/>
                <a:gd name="T60" fmla="*/ 139700 w 950"/>
                <a:gd name="T61" fmla="*/ 406400 h 660"/>
                <a:gd name="T62" fmla="*/ 6350 w 950"/>
                <a:gd name="T63" fmla="*/ 485775 h 660"/>
                <a:gd name="T64" fmla="*/ 22225 w 950"/>
                <a:gd name="T65" fmla="*/ 555625 h 660"/>
                <a:gd name="T66" fmla="*/ 47625 w 950"/>
                <a:gd name="T67" fmla="*/ 587375 h 660"/>
                <a:gd name="T68" fmla="*/ 149225 w 950"/>
                <a:gd name="T69" fmla="*/ 619125 h 660"/>
                <a:gd name="T70" fmla="*/ 133350 w 950"/>
                <a:gd name="T71" fmla="*/ 704850 h 660"/>
                <a:gd name="T72" fmla="*/ 171450 w 950"/>
                <a:gd name="T73" fmla="*/ 774700 h 660"/>
                <a:gd name="T74" fmla="*/ 234950 w 950"/>
                <a:gd name="T75" fmla="*/ 806450 h 660"/>
                <a:gd name="T76" fmla="*/ 346075 w 950"/>
                <a:gd name="T77" fmla="*/ 850900 h 660"/>
                <a:gd name="T78" fmla="*/ 415925 w 950"/>
                <a:gd name="T79" fmla="*/ 866775 h 660"/>
                <a:gd name="T80" fmla="*/ 501650 w 950"/>
                <a:gd name="T81" fmla="*/ 812800 h 660"/>
                <a:gd name="T82" fmla="*/ 587375 w 950"/>
                <a:gd name="T83" fmla="*/ 838200 h 660"/>
                <a:gd name="T84" fmla="*/ 596900 w 950"/>
                <a:gd name="T85" fmla="*/ 930275 h 660"/>
                <a:gd name="T86" fmla="*/ 635000 w 950"/>
                <a:gd name="T87" fmla="*/ 977900 h 660"/>
                <a:gd name="T88" fmla="*/ 666750 w 950"/>
                <a:gd name="T89" fmla="*/ 1016000 h 660"/>
                <a:gd name="T90" fmla="*/ 793750 w 950"/>
                <a:gd name="T91" fmla="*/ 977900 h 660"/>
                <a:gd name="T92" fmla="*/ 847725 w 950"/>
                <a:gd name="T93" fmla="*/ 1016000 h 660"/>
                <a:gd name="T94" fmla="*/ 965200 w 950"/>
                <a:gd name="T95" fmla="*/ 1000125 h 660"/>
                <a:gd name="T96" fmla="*/ 1003300 w 950"/>
                <a:gd name="T97" fmla="*/ 993775 h 660"/>
                <a:gd name="T98" fmla="*/ 1114425 w 950"/>
                <a:gd name="T99" fmla="*/ 923925 h 660"/>
                <a:gd name="T100" fmla="*/ 1177925 w 950"/>
                <a:gd name="T101" fmla="*/ 812800 h 660"/>
                <a:gd name="T102" fmla="*/ 1177925 w 950"/>
                <a:gd name="T103" fmla="*/ 749300 h 660"/>
                <a:gd name="T104" fmla="*/ 1136650 w 950"/>
                <a:gd name="T105" fmla="*/ 631825 h 660"/>
                <a:gd name="T106" fmla="*/ 1193800 w 950"/>
                <a:gd name="T107" fmla="*/ 571500 h 660"/>
                <a:gd name="T108" fmla="*/ 1114425 w 950"/>
                <a:gd name="T109" fmla="*/ 561975 h 660"/>
                <a:gd name="T110" fmla="*/ 1120775 w 950"/>
                <a:gd name="T111" fmla="*/ 508000 h 660"/>
                <a:gd name="T112" fmla="*/ 1200150 w 950"/>
                <a:gd name="T113" fmla="*/ 460375 h 660"/>
                <a:gd name="T114" fmla="*/ 1209675 w 950"/>
                <a:gd name="T115" fmla="*/ 501650 h 660"/>
                <a:gd name="T116" fmla="*/ 1298575 w 950"/>
                <a:gd name="T117" fmla="*/ 415925 h 660"/>
                <a:gd name="T118" fmla="*/ 1412875 w 950"/>
                <a:gd name="T119" fmla="*/ 400050 h 660"/>
                <a:gd name="T120" fmla="*/ 1508125 w 950"/>
                <a:gd name="T121" fmla="*/ 187325 h 6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50"/>
                <a:gd name="T184" fmla="*/ 0 h 660"/>
                <a:gd name="T185" fmla="*/ 950 w 950"/>
                <a:gd name="T186" fmla="*/ 660 h 6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50" h="660">
                  <a:moveTo>
                    <a:pt x="890" y="118"/>
                  </a:moveTo>
                  <a:lnTo>
                    <a:pt x="890" y="118"/>
                  </a:lnTo>
                  <a:lnTo>
                    <a:pt x="880" y="98"/>
                  </a:lnTo>
                  <a:lnTo>
                    <a:pt x="840" y="88"/>
                  </a:lnTo>
                  <a:lnTo>
                    <a:pt x="792" y="0"/>
                  </a:lnTo>
                  <a:lnTo>
                    <a:pt x="746" y="0"/>
                  </a:lnTo>
                  <a:lnTo>
                    <a:pt x="732" y="24"/>
                  </a:lnTo>
                  <a:lnTo>
                    <a:pt x="702" y="78"/>
                  </a:lnTo>
                  <a:lnTo>
                    <a:pt x="672" y="78"/>
                  </a:lnTo>
                  <a:lnTo>
                    <a:pt x="668" y="88"/>
                  </a:lnTo>
                  <a:lnTo>
                    <a:pt x="668" y="90"/>
                  </a:lnTo>
                  <a:lnTo>
                    <a:pt x="670" y="90"/>
                  </a:lnTo>
                  <a:lnTo>
                    <a:pt x="672" y="90"/>
                  </a:lnTo>
                  <a:lnTo>
                    <a:pt x="672" y="92"/>
                  </a:lnTo>
                  <a:lnTo>
                    <a:pt x="674" y="92"/>
                  </a:lnTo>
                  <a:lnTo>
                    <a:pt x="676" y="92"/>
                  </a:lnTo>
                  <a:lnTo>
                    <a:pt x="676" y="94"/>
                  </a:lnTo>
                  <a:lnTo>
                    <a:pt x="678" y="94"/>
                  </a:lnTo>
                  <a:lnTo>
                    <a:pt x="676" y="94"/>
                  </a:lnTo>
                  <a:lnTo>
                    <a:pt x="676" y="92"/>
                  </a:lnTo>
                  <a:lnTo>
                    <a:pt x="674" y="92"/>
                  </a:lnTo>
                  <a:lnTo>
                    <a:pt x="672" y="92"/>
                  </a:lnTo>
                  <a:lnTo>
                    <a:pt x="672" y="90"/>
                  </a:lnTo>
                  <a:lnTo>
                    <a:pt x="670" y="90"/>
                  </a:lnTo>
                  <a:lnTo>
                    <a:pt x="668" y="90"/>
                  </a:lnTo>
                  <a:lnTo>
                    <a:pt x="668" y="88"/>
                  </a:lnTo>
                  <a:lnTo>
                    <a:pt x="658" y="108"/>
                  </a:lnTo>
                  <a:lnTo>
                    <a:pt x="658" y="132"/>
                  </a:lnTo>
                  <a:lnTo>
                    <a:pt x="702" y="138"/>
                  </a:lnTo>
                  <a:lnTo>
                    <a:pt x="712" y="158"/>
                  </a:lnTo>
                  <a:lnTo>
                    <a:pt x="668" y="172"/>
                  </a:lnTo>
                  <a:lnTo>
                    <a:pt x="632" y="188"/>
                  </a:lnTo>
                  <a:lnTo>
                    <a:pt x="598" y="202"/>
                  </a:lnTo>
                  <a:lnTo>
                    <a:pt x="588" y="236"/>
                  </a:lnTo>
                  <a:lnTo>
                    <a:pt x="534" y="242"/>
                  </a:lnTo>
                  <a:lnTo>
                    <a:pt x="480" y="276"/>
                  </a:lnTo>
                  <a:lnTo>
                    <a:pt x="430" y="252"/>
                  </a:lnTo>
                  <a:lnTo>
                    <a:pt x="370" y="246"/>
                  </a:lnTo>
                  <a:lnTo>
                    <a:pt x="326" y="202"/>
                  </a:lnTo>
                  <a:lnTo>
                    <a:pt x="262" y="182"/>
                  </a:lnTo>
                  <a:lnTo>
                    <a:pt x="256" y="132"/>
                  </a:lnTo>
                  <a:lnTo>
                    <a:pt x="226" y="118"/>
                  </a:lnTo>
                  <a:lnTo>
                    <a:pt x="222" y="114"/>
                  </a:lnTo>
                  <a:lnTo>
                    <a:pt x="220" y="116"/>
                  </a:lnTo>
                  <a:lnTo>
                    <a:pt x="218" y="120"/>
                  </a:lnTo>
                  <a:lnTo>
                    <a:pt x="218" y="122"/>
                  </a:lnTo>
                  <a:lnTo>
                    <a:pt x="218" y="124"/>
                  </a:lnTo>
                  <a:lnTo>
                    <a:pt x="218" y="122"/>
                  </a:lnTo>
                  <a:lnTo>
                    <a:pt x="218" y="120"/>
                  </a:lnTo>
                  <a:lnTo>
                    <a:pt x="222" y="114"/>
                  </a:lnTo>
                  <a:lnTo>
                    <a:pt x="218" y="108"/>
                  </a:lnTo>
                  <a:lnTo>
                    <a:pt x="208" y="114"/>
                  </a:lnTo>
                  <a:lnTo>
                    <a:pt x="208" y="124"/>
                  </a:lnTo>
                  <a:lnTo>
                    <a:pt x="208" y="114"/>
                  </a:lnTo>
                  <a:lnTo>
                    <a:pt x="192" y="118"/>
                  </a:lnTo>
                  <a:lnTo>
                    <a:pt x="182" y="148"/>
                  </a:lnTo>
                  <a:lnTo>
                    <a:pt x="142" y="142"/>
                  </a:lnTo>
                  <a:lnTo>
                    <a:pt x="132" y="192"/>
                  </a:lnTo>
                  <a:lnTo>
                    <a:pt x="98" y="198"/>
                  </a:lnTo>
                  <a:lnTo>
                    <a:pt x="88" y="256"/>
                  </a:lnTo>
                  <a:lnTo>
                    <a:pt x="68" y="276"/>
                  </a:lnTo>
                  <a:lnTo>
                    <a:pt x="44" y="296"/>
                  </a:lnTo>
                  <a:lnTo>
                    <a:pt x="4" y="306"/>
                  </a:lnTo>
                  <a:lnTo>
                    <a:pt x="0" y="326"/>
                  </a:lnTo>
                  <a:lnTo>
                    <a:pt x="10" y="334"/>
                  </a:lnTo>
                  <a:lnTo>
                    <a:pt x="14" y="350"/>
                  </a:lnTo>
                  <a:lnTo>
                    <a:pt x="4" y="354"/>
                  </a:lnTo>
                  <a:lnTo>
                    <a:pt x="14" y="364"/>
                  </a:lnTo>
                  <a:lnTo>
                    <a:pt x="30" y="370"/>
                  </a:lnTo>
                  <a:lnTo>
                    <a:pt x="44" y="390"/>
                  </a:lnTo>
                  <a:lnTo>
                    <a:pt x="64" y="390"/>
                  </a:lnTo>
                  <a:lnTo>
                    <a:pt x="94" y="390"/>
                  </a:lnTo>
                  <a:lnTo>
                    <a:pt x="98" y="398"/>
                  </a:lnTo>
                  <a:lnTo>
                    <a:pt x="78" y="428"/>
                  </a:lnTo>
                  <a:lnTo>
                    <a:pt x="84" y="444"/>
                  </a:lnTo>
                  <a:lnTo>
                    <a:pt x="74" y="458"/>
                  </a:lnTo>
                  <a:lnTo>
                    <a:pt x="84" y="478"/>
                  </a:lnTo>
                  <a:lnTo>
                    <a:pt x="108" y="488"/>
                  </a:lnTo>
                  <a:lnTo>
                    <a:pt x="104" y="492"/>
                  </a:lnTo>
                  <a:lnTo>
                    <a:pt x="114" y="492"/>
                  </a:lnTo>
                  <a:lnTo>
                    <a:pt x="148" y="508"/>
                  </a:lnTo>
                  <a:lnTo>
                    <a:pt x="178" y="522"/>
                  </a:lnTo>
                  <a:lnTo>
                    <a:pt x="208" y="528"/>
                  </a:lnTo>
                  <a:lnTo>
                    <a:pt x="218" y="536"/>
                  </a:lnTo>
                  <a:lnTo>
                    <a:pt x="226" y="536"/>
                  </a:lnTo>
                  <a:lnTo>
                    <a:pt x="242" y="546"/>
                  </a:lnTo>
                  <a:lnTo>
                    <a:pt x="262" y="546"/>
                  </a:lnTo>
                  <a:lnTo>
                    <a:pt x="282" y="546"/>
                  </a:lnTo>
                  <a:lnTo>
                    <a:pt x="296" y="528"/>
                  </a:lnTo>
                  <a:lnTo>
                    <a:pt x="316" y="512"/>
                  </a:lnTo>
                  <a:lnTo>
                    <a:pt x="340" y="512"/>
                  </a:lnTo>
                  <a:lnTo>
                    <a:pt x="360" y="528"/>
                  </a:lnTo>
                  <a:lnTo>
                    <a:pt x="370" y="528"/>
                  </a:lnTo>
                  <a:lnTo>
                    <a:pt x="380" y="532"/>
                  </a:lnTo>
                  <a:lnTo>
                    <a:pt x="386" y="556"/>
                  </a:lnTo>
                  <a:lnTo>
                    <a:pt x="376" y="586"/>
                  </a:lnTo>
                  <a:lnTo>
                    <a:pt x="376" y="596"/>
                  </a:lnTo>
                  <a:lnTo>
                    <a:pt x="390" y="600"/>
                  </a:lnTo>
                  <a:lnTo>
                    <a:pt x="400" y="616"/>
                  </a:lnTo>
                  <a:lnTo>
                    <a:pt x="400" y="626"/>
                  </a:lnTo>
                  <a:lnTo>
                    <a:pt x="424" y="636"/>
                  </a:lnTo>
                  <a:lnTo>
                    <a:pt x="420" y="640"/>
                  </a:lnTo>
                  <a:lnTo>
                    <a:pt x="444" y="636"/>
                  </a:lnTo>
                  <a:lnTo>
                    <a:pt x="450" y="616"/>
                  </a:lnTo>
                  <a:lnTo>
                    <a:pt x="500" y="616"/>
                  </a:lnTo>
                  <a:lnTo>
                    <a:pt x="518" y="630"/>
                  </a:lnTo>
                  <a:lnTo>
                    <a:pt x="524" y="646"/>
                  </a:lnTo>
                  <a:lnTo>
                    <a:pt x="534" y="640"/>
                  </a:lnTo>
                  <a:lnTo>
                    <a:pt x="568" y="660"/>
                  </a:lnTo>
                  <a:lnTo>
                    <a:pt x="568" y="646"/>
                  </a:lnTo>
                  <a:lnTo>
                    <a:pt x="608" y="630"/>
                  </a:lnTo>
                  <a:lnTo>
                    <a:pt x="612" y="626"/>
                  </a:lnTo>
                  <a:lnTo>
                    <a:pt x="622" y="620"/>
                  </a:lnTo>
                  <a:lnTo>
                    <a:pt x="632" y="626"/>
                  </a:lnTo>
                  <a:lnTo>
                    <a:pt x="652" y="616"/>
                  </a:lnTo>
                  <a:lnTo>
                    <a:pt x="678" y="600"/>
                  </a:lnTo>
                  <a:lnTo>
                    <a:pt x="702" y="582"/>
                  </a:lnTo>
                  <a:lnTo>
                    <a:pt x="712" y="562"/>
                  </a:lnTo>
                  <a:lnTo>
                    <a:pt x="726" y="542"/>
                  </a:lnTo>
                  <a:lnTo>
                    <a:pt x="742" y="512"/>
                  </a:lnTo>
                  <a:lnTo>
                    <a:pt x="742" y="498"/>
                  </a:lnTo>
                  <a:lnTo>
                    <a:pt x="736" y="488"/>
                  </a:lnTo>
                  <a:lnTo>
                    <a:pt x="742" y="472"/>
                  </a:lnTo>
                  <a:lnTo>
                    <a:pt x="736" y="454"/>
                  </a:lnTo>
                  <a:lnTo>
                    <a:pt x="712" y="404"/>
                  </a:lnTo>
                  <a:lnTo>
                    <a:pt x="716" y="398"/>
                  </a:lnTo>
                  <a:lnTo>
                    <a:pt x="736" y="374"/>
                  </a:lnTo>
                  <a:lnTo>
                    <a:pt x="752" y="370"/>
                  </a:lnTo>
                  <a:lnTo>
                    <a:pt x="754" y="368"/>
                  </a:lnTo>
                  <a:lnTo>
                    <a:pt x="754" y="364"/>
                  </a:lnTo>
                  <a:lnTo>
                    <a:pt x="752" y="360"/>
                  </a:lnTo>
                  <a:lnTo>
                    <a:pt x="726" y="354"/>
                  </a:lnTo>
                  <a:lnTo>
                    <a:pt x="712" y="360"/>
                  </a:lnTo>
                  <a:lnTo>
                    <a:pt x="702" y="354"/>
                  </a:lnTo>
                  <a:lnTo>
                    <a:pt x="692" y="340"/>
                  </a:lnTo>
                  <a:lnTo>
                    <a:pt x="682" y="330"/>
                  </a:lnTo>
                  <a:lnTo>
                    <a:pt x="706" y="320"/>
                  </a:lnTo>
                  <a:lnTo>
                    <a:pt x="722" y="306"/>
                  </a:lnTo>
                  <a:lnTo>
                    <a:pt x="746" y="290"/>
                  </a:lnTo>
                  <a:lnTo>
                    <a:pt x="756" y="290"/>
                  </a:lnTo>
                  <a:lnTo>
                    <a:pt x="742" y="310"/>
                  </a:lnTo>
                  <a:lnTo>
                    <a:pt x="752" y="320"/>
                  </a:lnTo>
                  <a:lnTo>
                    <a:pt x="762" y="316"/>
                  </a:lnTo>
                  <a:lnTo>
                    <a:pt x="786" y="306"/>
                  </a:lnTo>
                  <a:lnTo>
                    <a:pt x="792" y="284"/>
                  </a:lnTo>
                  <a:lnTo>
                    <a:pt x="806" y="272"/>
                  </a:lnTo>
                  <a:lnTo>
                    <a:pt x="820" y="282"/>
                  </a:lnTo>
                  <a:lnTo>
                    <a:pt x="818" y="262"/>
                  </a:lnTo>
                  <a:lnTo>
                    <a:pt x="838" y="250"/>
                  </a:lnTo>
                  <a:lnTo>
                    <a:pt x="864" y="254"/>
                  </a:lnTo>
                  <a:lnTo>
                    <a:pt x="876" y="246"/>
                  </a:lnTo>
                  <a:lnTo>
                    <a:pt x="890" y="252"/>
                  </a:lnTo>
                  <a:lnTo>
                    <a:pt x="900" y="198"/>
                  </a:lnTo>
                  <a:lnTo>
                    <a:pt x="924" y="192"/>
                  </a:lnTo>
                  <a:lnTo>
                    <a:pt x="950" y="118"/>
                  </a:lnTo>
                  <a:lnTo>
                    <a:pt x="890" y="118"/>
                  </a:lnTo>
                  <a:close/>
                </a:path>
              </a:pathLst>
            </a:custGeom>
            <a:solidFill>
              <a:srgbClr val="0098C7"/>
            </a:solidFill>
            <a:ln w="9525">
              <a:solidFill>
                <a:sysClr val="window" lastClr="FFFFFF">
                  <a:lumMod val="85000"/>
                </a:sys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79" name="Freeform 260"/>
            <p:cNvSpPr>
              <a:spLocks/>
            </p:cNvSpPr>
            <p:nvPr/>
          </p:nvSpPr>
          <p:spPr bwMode="auto">
            <a:xfrm>
              <a:off x="8069917" y="3885135"/>
              <a:ext cx="54960" cy="67003"/>
            </a:xfrm>
            <a:custGeom>
              <a:avLst/>
              <a:gdLst>
                <a:gd name="T0" fmla="*/ 8164 w 42"/>
                <a:gd name="T1" fmla="*/ 0 h 54"/>
                <a:gd name="T2" fmla="*/ 0 w 42"/>
                <a:gd name="T3" fmla="*/ 30339 h 54"/>
                <a:gd name="T4" fmla="*/ 8164 w 42"/>
                <a:gd name="T5" fmla="*/ 68263 h 54"/>
                <a:gd name="T6" fmla="*/ 40821 w 42"/>
                <a:gd name="T7" fmla="*/ 68263 h 54"/>
                <a:gd name="T8" fmla="*/ 57150 w 42"/>
                <a:gd name="T9" fmla="*/ 37924 h 54"/>
                <a:gd name="T10" fmla="*/ 8164 w 42"/>
                <a:gd name="T11" fmla="*/ 0 h 54"/>
                <a:gd name="T12" fmla="*/ 0 60000 65536"/>
                <a:gd name="T13" fmla="*/ 0 60000 65536"/>
                <a:gd name="T14" fmla="*/ 0 60000 65536"/>
                <a:gd name="T15" fmla="*/ 0 60000 65536"/>
                <a:gd name="T16" fmla="*/ 0 60000 65536"/>
                <a:gd name="T17" fmla="*/ 0 60000 65536"/>
                <a:gd name="T18" fmla="*/ 0 w 42"/>
                <a:gd name="T19" fmla="*/ 0 h 54"/>
                <a:gd name="T20" fmla="*/ 42 w 42"/>
                <a:gd name="T21" fmla="*/ 54 h 54"/>
              </a:gdLst>
              <a:ahLst/>
              <a:cxnLst>
                <a:cxn ang="T12">
                  <a:pos x="T0" y="T1"/>
                </a:cxn>
                <a:cxn ang="T13">
                  <a:pos x="T2" y="T3"/>
                </a:cxn>
                <a:cxn ang="T14">
                  <a:pos x="T4" y="T5"/>
                </a:cxn>
                <a:cxn ang="T15">
                  <a:pos x="T6" y="T7"/>
                </a:cxn>
                <a:cxn ang="T16">
                  <a:pos x="T8" y="T9"/>
                </a:cxn>
                <a:cxn ang="T17">
                  <a:pos x="T10" y="T11"/>
                </a:cxn>
              </a:cxnLst>
              <a:rect l="T18" t="T19" r="T20" b="T21"/>
              <a:pathLst>
                <a:path w="42" h="54">
                  <a:moveTo>
                    <a:pt x="6" y="0"/>
                  </a:moveTo>
                  <a:lnTo>
                    <a:pt x="0" y="24"/>
                  </a:lnTo>
                  <a:lnTo>
                    <a:pt x="6" y="54"/>
                  </a:lnTo>
                  <a:lnTo>
                    <a:pt x="30" y="54"/>
                  </a:lnTo>
                  <a:lnTo>
                    <a:pt x="42" y="30"/>
                  </a:lnTo>
                  <a:lnTo>
                    <a:pt x="6" y="0"/>
                  </a:lnTo>
                  <a:close/>
                </a:path>
              </a:pathLst>
            </a:custGeom>
            <a:solidFill>
              <a:schemeClr val="bg1"/>
            </a:solidFill>
            <a:ln w="9525">
              <a:solidFill>
                <a:sysClr val="window" lastClr="FFFFFF">
                  <a:lumMod val="85000"/>
                </a:sys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80" name="Freeform 261"/>
            <p:cNvSpPr>
              <a:spLocks/>
            </p:cNvSpPr>
            <p:nvPr/>
          </p:nvSpPr>
          <p:spPr bwMode="auto">
            <a:xfrm>
              <a:off x="8766072" y="3607778"/>
              <a:ext cx="51906" cy="52979"/>
            </a:xfrm>
            <a:custGeom>
              <a:avLst/>
              <a:gdLst>
                <a:gd name="T0" fmla="*/ 0 w 42"/>
                <a:gd name="T1" fmla="*/ 38554 h 42"/>
                <a:gd name="T2" fmla="*/ 15421 w 42"/>
                <a:gd name="T3" fmla="*/ 15421 h 42"/>
                <a:gd name="T4" fmla="*/ 38554 w 42"/>
                <a:gd name="T5" fmla="*/ 0 h 42"/>
                <a:gd name="T6" fmla="*/ 53975 w 42"/>
                <a:gd name="T7" fmla="*/ 15421 h 42"/>
                <a:gd name="T8" fmla="*/ 38554 w 42"/>
                <a:gd name="T9" fmla="*/ 38554 h 42"/>
                <a:gd name="T10" fmla="*/ 15421 w 42"/>
                <a:gd name="T11" fmla="*/ 53975 h 42"/>
                <a:gd name="T12" fmla="*/ 0 w 42"/>
                <a:gd name="T13" fmla="*/ 38554 h 42"/>
                <a:gd name="T14" fmla="*/ 0 60000 65536"/>
                <a:gd name="T15" fmla="*/ 0 60000 65536"/>
                <a:gd name="T16" fmla="*/ 0 60000 65536"/>
                <a:gd name="T17" fmla="*/ 0 60000 65536"/>
                <a:gd name="T18" fmla="*/ 0 60000 65536"/>
                <a:gd name="T19" fmla="*/ 0 60000 65536"/>
                <a:gd name="T20" fmla="*/ 0 60000 65536"/>
                <a:gd name="T21" fmla="*/ 0 w 42"/>
                <a:gd name="T22" fmla="*/ 0 h 42"/>
                <a:gd name="T23" fmla="*/ 42 w 42"/>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42">
                  <a:moveTo>
                    <a:pt x="0" y="30"/>
                  </a:moveTo>
                  <a:lnTo>
                    <a:pt x="12" y="12"/>
                  </a:lnTo>
                  <a:lnTo>
                    <a:pt x="30" y="0"/>
                  </a:lnTo>
                  <a:lnTo>
                    <a:pt x="42" y="12"/>
                  </a:lnTo>
                  <a:lnTo>
                    <a:pt x="30" y="30"/>
                  </a:lnTo>
                  <a:lnTo>
                    <a:pt x="12" y="42"/>
                  </a:lnTo>
                  <a:lnTo>
                    <a:pt x="0" y="3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81" name="Freeform 262"/>
            <p:cNvSpPr>
              <a:spLocks/>
            </p:cNvSpPr>
            <p:nvPr/>
          </p:nvSpPr>
          <p:spPr bwMode="auto">
            <a:xfrm>
              <a:off x="9045486" y="3476889"/>
              <a:ext cx="30533" cy="91933"/>
            </a:xfrm>
            <a:custGeom>
              <a:avLst/>
              <a:gdLst>
                <a:gd name="T0" fmla="*/ 0 w 24"/>
                <a:gd name="T1" fmla="*/ 54637 h 72"/>
                <a:gd name="T2" fmla="*/ 0 w 24"/>
                <a:gd name="T3" fmla="*/ 23416 h 72"/>
                <a:gd name="T4" fmla="*/ 31750 w 24"/>
                <a:gd name="T5" fmla="*/ 0 h 72"/>
                <a:gd name="T6" fmla="*/ 31750 w 24"/>
                <a:gd name="T7" fmla="*/ 31221 h 72"/>
                <a:gd name="T8" fmla="*/ 7938 w 24"/>
                <a:gd name="T9" fmla="*/ 93663 h 72"/>
                <a:gd name="T10" fmla="*/ 0 w 24"/>
                <a:gd name="T11" fmla="*/ 54637 h 72"/>
                <a:gd name="T12" fmla="*/ 0 60000 65536"/>
                <a:gd name="T13" fmla="*/ 0 60000 65536"/>
                <a:gd name="T14" fmla="*/ 0 60000 65536"/>
                <a:gd name="T15" fmla="*/ 0 60000 65536"/>
                <a:gd name="T16" fmla="*/ 0 60000 65536"/>
                <a:gd name="T17" fmla="*/ 0 60000 65536"/>
                <a:gd name="T18" fmla="*/ 0 w 24"/>
                <a:gd name="T19" fmla="*/ 0 h 72"/>
                <a:gd name="T20" fmla="*/ 24 w 24"/>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24" h="72">
                  <a:moveTo>
                    <a:pt x="0" y="42"/>
                  </a:moveTo>
                  <a:lnTo>
                    <a:pt x="0" y="18"/>
                  </a:lnTo>
                  <a:lnTo>
                    <a:pt x="24" y="0"/>
                  </a:lnTo>
                  <a:lnTo>
                    <a:pt x="24" y="24"/>
                  </a:lnTo>
                  <a:lnTo>
                    <a:pt x="6" y="72"/>
                  </a:lnTo>
                  <a:lnTo>
                    <a:pt x="0" y="42"/>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82" name="Freeform 263"/>
            <p:cNvSpPr>
              <a:spLocks/>
            </p:cNvSpPr>
            <p:nvPr/>
          </p:nvSpPr>
          <p:spPr bwMode="auto">
            <a:xfrm>
              <a:off x="9271397" y="3238488"/>
              <a:ext cx="44274" cy="68560"/>
            </a:xfrm>
            <a:custGeom>
              <a:avLst/>
              <a:gdLst>
                <a:gd name="T0" fmla="*/ 0 w 36"/>
                <a:gd name="T1" fmla="*/ 23283 h 54"/>
                <a:gd name="T2" fmla="*/ 7673 w 36"/>
                <a:gd name="T3" fmla="*/ 46567 h 54"/>
                <a:gd name="T4" fmla="*/ 15346 w 36"/>
                <a:gd name="T5" fmla="*/ 69850 h 54"/>
                <a:gd name="T6" fmla="*/ 38365 w 36"/>
                <a:gd name="T7" fmla="*/ 54328 h 54"/>
                <a:gd name="T8" fmla="*/ 46038 w 36"/>
                <a:gd name="T9" fmla="*/ 23283 h 54"/>
                <a:gd name="T10" fmla="*/ 38365 w 36"/>
                <a:gd name="T11" fmla="*/ 0 h 54"/>
                <a:gd name="T12" fmla="*/ 0 w 36"/>
                <a:gd name="T13" fmla="*/ 23283 h 54"/>
                <a:gd name="T14" fmla="*/ 0 60000 65536"/>
                <a:gd name="T15" fmla="*/ 0 60000 65536"/>
                <a:gd name="T16" fmla="*/ 0 60000 65536"/>
                <a:gd name="T17" fmla="*/ 0 60000 65536"/>
                <a:gd name="T18" fmla="*/ 0 60000 65536"/>
                <a:gd name="T19" fmla="*/ 0 60000 65536"/>
                <a:gd name="T20" fmla="*/ 0 60000 65536"/>
                <a:gd name="T21" fmla="*/ 0 w 36"/>
                <a:gd name="T22" fmla="*/ 0 h 54"/>
                <a:gd name="T23" fmla="*/ 36 w 36"/>
                <a:gd name="T24" fmla="*/ 54 h 5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 h="54">
                  <a:moveTo>
                    <a:pt x="0" y="18"/>
                  </a:moveTo>
                  <a:lnTo>
                    <a:pt x="6" y="36"/>
                  </a:lnTo>
                  <a:lnTo>
                    <a:pt x="12" y="54"/>
                  </a:lnTo>
                  <a:lnTo>
                    <a:pt x="30" y="42"/>
                  </a:lnTo>
                  <a:lnTo>
                    <a:pt x="36" y="18"/>
                  </a:lnTo>
                  <a:lnTo>
                    <a:pt x="30" y="0"/>
                  </a:lnTo>
                  <a:lnTo>
                    <a:pt x="0" y="18"/>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83" name="Freeform 264"/>
            <p:cNvSpPr>
              <a:spLocks/>
            </p:cNvSpPr>
            <p:nvPr/>
          </p:nvSpPr>
          <p:spPr bwMode="auto">
            <a:xfrm>
              <a:off x="9324832" y="2886419"/>
              <a:ext cx="331284" cy="367729"/>
            </a:xfrm>
            <a:custGeom>
              <a:avLst/>
              <a:gdLst>
                <a:gd name="T0" fmla="*/ 7829 w 264"/>
                <a:gd name="T1" fmla="*/ 320203 h 289"/>
                <a:gd name="T2" fmla="*/ 54805 w 264"/>
                <a:gd name="T3" fmla="*/ 304646 h 289"/>
                <a:gd name="T4" fmla="*/ 86122 w 264"/>
                <a:gd name="T5" fmla="*/ 304646 h 289"/>
                <a:gd name="T6" fmla="*/ 140926 w 264"/>
                <a:gd name="T7" fmla="*/ 257977 h 289"/>
                <a:gd name="T8" fmla="*/ 180073 w 264"/>
                <a:gd name="T9" fmla="*/ 242421 h 289"/>
                <a:gd name="T10" fmla="*/ 187902 w 264"/>
                <a:gd name="T11" fmla="*/ 203530 h 289"/>
                <a:gd name="T12" fmla="*/ 203560 w 264"/>
                <a:gd name="T13" fmla="*/ 141304 h 289"/>
                <a:gd name="T14" fmla="*/ 203560 w 264"/>
                <a:gd name="T15" fmla="*/ 93338 h 289"/>
                <a:gd name="T16" fmla="*/ 227048 w 264"/>
                <a:gd name="T17" fmla="*/ 62226 h 289"/>
                <a:gd name="T18" fmla="*/ 227048 w 264"/>
                <a:gd name="T19" fmla="*/ 23335 h 289"/>
                <a:gd name="T20" fmla="*/ 242707 w 264"/>
                <a:gd name="T21" fmla="*/ 0 h 289"/>
                <a:gd name="T22" fmla="*/ 274024 w 264"/>
                <a:gd name="T23" fmla="*/ 23335 h 289"/>
                <a:gd name="T24" fmla="*/ 320999 w 264"/>
                <a:gd name="T25" fmla="*/ 38891 h 289"/>
                <a:gd name="T26" fmla="*/ 344487 w 264"/>
                <a:gd name="T27" fmla="*/ 38891 h 289"/>
                <a:gd name="T28" fmla="*/ 313170 w 264"/>
                <a:gd name="T29" fmla="*/ 70004 h 289"/>
                <a:gd name="T30" fmla="*/ 289682 w 264"/>
                <a:gd name="T31" fmla="*/ 85560 h 289"/>
                <a:gd name="T32" fmla="*/ 274024 w 264"/>
                <a:gd name="T33" fmla="*/ 110191 h 289"/>
                <a:gd name="T34" fmla="*/ 234877 w 264"/>
                <a:gd name="T35" fmla="*/ 77782 h 289"/>
                <a:gd name="T36" fmla="*/ 211390 w 264"/>
                <a:gd name="T37" fmla="*/ 125748 h 289"/>
                <a:gd name="T38" fmla="*/ 242707 w 264"/>
                <a:gd name="T39" fmla="*/ 180195 h 289"/>
                <a:gd name="T40" fmla="*/ 219219 w 264"/>
                <a:gd name="T41" fmla="*/ 219086 h 289"/>
                <a:gd name="T42" fmla="*/ 211390 w 264"/>
                <a:gd name="T43" fmla="*/ 250199 h 289"/>
                <a:gd name="T44" fmla="*/ 211390 w 264"/>
                <a:gd name="T45" fmla="*/ 304646 h 289"/>
                <a:gd name="T46" fmla="*/ 195731 w 264"/>
                <a:gd name="T47" fmla="*/ 320203 h 289"/>
                <a:gd name="T48" fmla="*/ 180073 w 264"/>
                <a:gd name="T49" fmla="*/ 312424 h 289"/>
                <a:gd name="T50" fmla="*/ 164414 w 264"/>
                <a:gd name="T51" fmla="*/ 320203 h 289"/>
                <a:gd name="T52" fmla="*/ 133097 w 264"/>
                <a:gd name="T53" fmla="*/ 320203 h 289"/>
                <a:gd name="T54" fmla="*/ 117439 w 264"/>
                <a:gd name="T55" fmla="*/ 320203 h 289"/>
                <a:gd name="T56" fmla="*/ 86122 w 264"/>
                <a:gd name="T57" fmla="*/ 351315 h 289"/>
                <a:gd name="T58" fmla="*/ 78292 w 264"/>
                <a:gd name="T59" fmla="*/ 335759 h 289"/>
                <a:gd name="T60" fmla="*/ 62634 w 264"/>
                <a:gd name="T61" fmla="*/ 343537 h 289"/>
                <a:gd name="T62" fmla="*/ 46975 w 264"/>
                <a:gd name="T63" fmla="*/ 351315 h 289"/>
                <a:gd name="T64" fmla="*/ 15658 w 264"/>
                <a:gd name="T65" fmla="*/ 374650 h 289"/>
                <a:gd name="T66" fmla="*/ 0 w 264"/>
                <a:gd name="T67" fmla="*/ 335759 h 289"/>
                <a:gd name="T68" fmla="*/ 7829 w 264"/>
                <a:gd name="T69" fmla="*/ 320203 h 2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64"/>
                <a:gd name="T106" fmla="*/ 0 h 289"/>
                <a:gd name="T107" fmla="*/ 264 w 264"/>
                <a:gd name="T108" fmla="*/ 289 h 2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64" h="289">
                  <a:moveTo>
                    <a:pt x="6" y="247"/>
                  </a:moveTo>
                  <a:lnTo>
                    <a:pt x="42" y="235"/>
                  </a:lnTo>
                  <a:lnTo>
                    <a:pt x="66" y="235"/>
                  </a:lnTo>
                  <a:lnTo>
                    <a:pt x="108" y="199"/>
                  </a:lnTo>
                  <a:lnTo>
                    <a:pt x="138" y="187"/>
                  </a:lnTo>
                  <a:lnTo>
                    <a:pt x="144" y="157"/>
                  </a:lnTo>
                  <a:lnTo>
                    <a:pt x="156" y="109"/>
                  </a:lnTo>
                  <a:lnTo>
                    <a:pt x="156" y="72"/>
                  </a:lnTo>
                  <a:lnTo>
                    <a:pt x="174" y="48"/>
                  </a:lnTo>
                  <a:lnTo>
                    <a:pt x="174" y="18"/>
                  </a:lnTo>
                  <a:lnTo>
                    <a:pt x="186" y="0"/>
                  </a:lnTo>
                  <a:lnTo>
                    <a:pt x="210" y="18"/>
                  </a:lnTo>
                  <a:lnTo>
                    <a:pt x="246" y="30"/>
                  </a:lnTo>
                  <a:lnTo>
                    <a:pt x="264" y="30"/>
                  </a:lnTo>
                  <a:lnTo>
                    <a:pt x="240" y="54"/>
                  </a:lnTo>
                  <a:lnTo>
                    <a:pt x="222" y="66"/>
                  </a:lnTo>
                  <a:lnTo>
                    <a:pt x="210" y="85"/>
                  </a:lnTo>
                  <a:lnTo>
                    <a:pt x="180" y="60"/>
                  </a:lnTo>
                  <a:lnTo>
                    <a:pt x="162" y="97"/>
                  </a:lnTo>
                  <a:lnTo>
                    <a:pt x="186" y="139"/>
                  </a:lnTo>
                  <a:lnTo>
                    <a:pt x="168" y="169"/>
                  </a:lnTo>
                  <a:lnTo>
                    <a:pt x="162" y="193"/>
                  </a:lnTo>
                  <a:lnTo>
                    <a:pt x="162" y="235"/>
                  </a:lnTo>
                  <a:lnTo>
                    <a:pt x="150" y="247"/>
                  </a:lnTo>
                  <a:lnTo>
                    <a:pt x="138" y="241"/>
                  </a:lnTo>
                  <a:lnTo>
                    <a:pt x="126" y="247"/>
                  </a:lnTo>
                  <a:lnTo>
                    <a:pt x="102" y="247"/>
                  </a:lnTo>
                  <a:lnTo>
                    <a:pt x="90" y="247"/>
                  </a:lnTo>
                  <a:lnTo>
                    <a:pt x="66" y="271"/>
                  </a:lnTo>
                  <a:lnTo>
                    <a:pt x="60" y="259"/>
                  </a:lnTo>
                  <a:lnTo>
                    <a:pt x="48" y="265"/>
                  </a:lnTo>
                  <a:lnTo>
                    <a:pt x="36" y="271"/>
                  </a:lnTo>
                  <a:lnTo>
                    <a:pt x="12" y="289"/>
                  </a:lnTo>
                  <a:lnTo>
                    <a:pt x="0" y="259"/>
                  </a:lnTo>
                  <a:lnTo>
                    <a:pt x="6" y="247"/>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84" name="Freeform 265"/>
            <p:cNvSpPr>
              <a:spLocks/>
            </p:cNvSpPr>
            <p:nvPr/>
          </p:nvSpPr>
          <p:spPr bwMode="auto">
            <a:xfrm>
              <a:off x="9558405" y="2548215"/>
              <a:ext cx="59540" cy="300728"/>
            </a:xfrm>
            <a:custGeom>
              <a:avLst/>
              <a:gdLst>
                <a:gd name="T0" fmla="*/ 15478 w 48"/>
                <a:gd name="T1" fmla="*/ 290676 h 234"/>
                <a:gd name="T2" fmla="*/ 15478 w 48"/>
                <a:gd name="T3" fmla="*/ 235683 h 234"/>
                <a:gd name="T4" fmla="*/ 7739 w 48"/>
                <a:gd name="T5" fmla="*/ 117842 h 234"/>
                <a:gd name="T6" fmla="*/ 0 w 48"/>
                <a:gd name="T7" fmla="*/ 86417 h 234"/>
                <a:gd name="T8" fmla="*/ 7739 w 48"/>
                <a:gd name="T9" fmla="*/ 39281 h 234"/>
                <a:gd name="T10" fmla="*/ 15478 w 48"/>
                <a:gd name="T11" fmla="*/ 0 h 234"/>
                <a:gd name="T12" fmla="*/ 30957 w 48"/>
                <a:gd name="T13" fmla="*/ 47137 h 234"/>
                <a:gd name="T14" fmla="*/ 30957 w 48"/>
                <a:gd name="T15" fmla="*/ 78561 h 234"/>
                <a:gd name="T16" fmla="*/ 61913 w 48"/>
                <a:gd name="T17" fmla="*/ 204259 h 234"/>
                <a:gd name="T18" fmla="*/ 38696 w 48"/>
                <a:gd name="T19" fmla="*/ 188546 h 234"/>
                <a:gd name="T20" fmla="*/ 30957 w 48"/>
                <a:gd name="T21" fmla="*/ 219971 h 234"/>
                <a:gd name="T22" fmla="*/ 30957 w 48"/>
                <a:gd name="T23" fmla="*/ 259251 h 234"/>
                <a:gd name="T24" fmla="*/ 54174 w 48"/>
                <a:gd name="T25" fmla="*/ 306388 h 234"/>
                <a:gd name="T26" fmla="*/ 15478 w 48"/>
                <a:gd name="T27" fmla="*/ 290676 h 23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8"/>
                <a:gd name="T43" fmla="*/ 0 h 234"/>
                <a:gd name="T44" fmla="*/ 48 w 48"/>
                <a:gd name="T45" fmla="*/ 234 h 23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8" h="234">
                  <a:moveTo>
                    <a:pt x="12" y="222"/>
                  </a:moveTo>
                  <a:lnTo>
                    <a:pt x="12" y="180"/>
                  </a:lnTo>
                  <a:lnTo>
                    <a:pt x="6" y="90"/>
                  </a:lnTo>
                  <a:lnTo>
                    <a:pt x="0" y="66"/>
                  </a:lnTo>
                  <a:lnTo>
                    <a:pt x="6" y="30"/>
                  </a:lnTo>
                  <a:lnTo>
                    <a:pt x="12" y="0"/>
                  </a:lnTo>
                  <a:lnTo>
                    <a:pt x="24" y="36"/>
                  </a:lnTo>
                  <a:lnTo>
                    <a:pt x="24" y="60"/>
                  </a:lnTo>
                  <a:lnTo>
                    <a:pt x="48" y="156"/>
                  </a:lnTo>
                  <a:lnTo>
                    <a:pt x="30" y="144"/>
                  </a:lnTo>
                  <a:lnTo>
                    <a:pt x="24" y="168"/>
                  </a:lnTo>
                  <a:lnTo>
                    <a:pt x="24" y="198"/>
                  </a:lnTo>
                  <a:lnTo>
                    <a:pt x="42" y="234"/>
                  </a:lnTo>
                  <a:lnTo>
                    <a:pt x="12" y="222"/>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85" name="Freeform 272"/>
            <p:cNvSpPr>
              <a:spLocks/>
            </p:cNvSpPr>
            <p:nvPr/>
          </p:nvSpPr>
          <p:spPr bwMode="auto">
            <a:xfrm>
              <a:off x="9028658" y="3652971"/>
              <a:ext cx="135872" cy="191655"/>
            </a:xfrm>
            <a:custGeom>
              <a:avLst/>
              <a:gdLst>
                <a:gd name="T0" fmla="*/ 15699 w 108"/>
                <a:gd name="T1" fmla="*/ 23276 h 151"/>
                <a:gd name="T2" fmla="*/ 0 w 108"/>
                <a:gd name="T3" fmla="*/ 54311 h 151"/>
                <a:gd name="T4" fmla="*/ 7849 w 108"/>
                <a:gd name="T5" fmla="*/ 93105 h 151"/>
                <a:gd name="T6" fmla="*/ 23548 w 108"/>
                <a:gd name="T7" fmla="*/ 109916 h 151"/>
                <a:gd name="T8" fmla="*/ 47096 w 108"/>
                <a:gd name="T9" fmla="*/ 117674 h 151"/>
                <a:gd name="T10" fmla="*/ 94191 w 108"/>
                <a:gd name="T11" fmla="*/ 140951 h 151"/>
                <a:gd name="T12" fmla="*/ 102041 w 108"/>
                <a:gd name="T13" fmla="*/ 179744 h 151"/>
                <a:gd name="T14" fmla="*/ 141287 w 108"/>
                <a:gd name="T15" fmla="*/ 195262 h 151"/>
                <a:gd name="T16" fmla="*/ 133438 w 108"/>
                <a:gd name="T17" fmla="*/ 164227 h 151"/>
                <a:gd name="T18" fmla="*/ 102041 w 108"/>
                <a:gd name="T19" fmla="*/ 117674 h 151"/>
                <a:gd name="T20" fmla="*/ 54945 w 108"/>
                <a:gd name="T21" fmla="*/ 85346 h 151"/>
                <a:gd name="T22" fmla="*/ 62794 w 108"/>
                <a:gd name="T23" fmla="*/ 62070 h 151"/>
                <a:gd name="T24" fmla="*/ 70644 w 108"/>
                <a:gd name="T25" fmla="*/ 15518 h 151"/>
                <a:gd name="T26" fmla="*/ 39246 w 108"/>
                <a:gd name="T27" fmla="*/ 0 h 151"/>
                <a:gd name="T28" fmla="*/ 15699 w 108"/>
                <a:gd name="T29" fmla="*/ 23276 h 1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8"/>
                <a:gd name="T46" fmla="*/ 0 h 151"/>
                <a:gd name="T47" fmla="*/ 108 w 108"/>
                <a:gd name="T48" fmla="*/ 151 h 15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8" h="151">
                  <a:moveTo>
                    <a:pt x="12" y="18"/>
                  </a:moveTo>
                  <a:lnTo>
                    <a:pt x="0" y="42"/>
                  </a:lnTo>
                  <a:lnTo>
                    <a:pt x="6" y="72"/>
                  </a:lnTo>
                  <a:lnTo>
                    <a:pt x="18" y="85"/>
                  </a:lnTo>
                  <a:lnTo>
                    <a:pt x="36" y="91"/>
                  </a:lnTo>
                  <a:lnTo>
                    <a:pt x="72" y="109"/>
                  </a:lnTo>
                  <a:lnTo>
                    <a:pt x="78" y="139"/>
                  </a:lnTo>
                  <a:lnTo>
                    <a:pt x="108" y="151"/>
                  </a:lnTo>
                  <a:lnTo>
                    <a:pt x="102" y="127"/>
                  </a:lnTo>
                  <a:lnTo>
                    <a:pt x="78" y="91"/>
                  </a:lnTo>
                  <a:lnTo>
                    <a:pt x="42" y="66"/>
                  </a:lnTo>
                  <a:lnTo>
                    <a:pt x="48" y="48"/>
                  </a:lnTo>
                  <a:lnTo>
                    <a:pt x="54" y="12"/>
                  </a:lnTo>
                  <a:lnTo>
                    <a:pt x="30" y="0"/>
                  </a:lnTo>
                  <a:lnTo>
                    <a:pt x="12" y="18"/>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86" name="Freeform 273"/>
            <p:cNvSpPr>
              <a:spLocks/>
            </p:cNvSpPr>
            <p:nvPr/>
          </p:nvSpPr>
          <p:spPr bwMode="auto">
            <a:xfrm>
              <a:off x="9083621" y="3875791"/>
              <a:ext cx="111446" cy="90375"/>
            </a:xfrm>
            <a:custGeom>
              <a:avLst/>
              <a:gdLst>
                <a:gd name="T0" fmla="*/ 0 w 90"/>
                <a:gd name="T1" fmla="*/ 69056 h 72"/>
                <a:gd name="T2" fmla="*/ 23177 w 90"/>
                <a:gd name="T3" fmla="*/ 30692 h 72"/>
                <a:gd name="T4" fmla="*/ 54081 w 90"/>
                <a:gd name="T5" fmla="*/ 30692 h 72"/>
                <a:gd name="T6" fmla="*/ 77258 w 90"/>
                <a:gd name="T7" fmla="*/ 0 h 72"/>
                <a:gd name="T8" fmla="*/ 115887 w 90"/>
                <a:gd name="T9" fmla="*/ 30692 h 72"/>
                <a:gd name="T10" fmla="*/ 115887 w 90"/>
                <a:gd name="T11" fmla="*/ 92075 h 72"/>
                <a:gd name="T12" fmla="*/ 77258 w 90"/>
                <a:gd name="T13" fmla="*/ 76729 h 72"/>
                <a:gd name="T14" fmla="*/ 54081 w 90"/>
                <a:gd name="T15" fmla="*/ 76729 h 72"/>
                <a:gd name="T16" fmla="*/ 30903 w 90"/>
                <a:gd name="T17" fmla="*/ 61383 h 72"/>
                <a:gd name="T18" fmla="*/ 0 w 90"/>
                <a:gd name="T19" fmla="*/ 69056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0"/>
                <a:gd name="T31" fmla="*/ 0 h 72"/>
                <a:gd name="T32" fmla="*/ 90 w 90"/>
                <a:gd name="T33" fmla="*/ 72 h 7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0" h="72">
                  <a:moveTo>
                    <a:pt x="0" y="54"/>
                  </a:moveTo>
                  <a:lnTo>
                    <a:pt x="18" y="24"/>
                  </a:lnTo>
                  <a:lnTo>
                    <a:pt x="42" y="24"/>
                  </a:lnTo>
                  <a:lnTo>
                    <a:pt x="60" y="0"/>
                  </a:lnTo>
                  <a:lnTo>
                    <a:pt x="90" y="24"/>
                  </a:lnTo>
                  <a:lnTo>
                    <a:pt x="90" y="72"/>
                  </a:lnTo>
                  <a:lnTo>
                    <a:pt x="60" y="60"/>
                  </a:lnTo>
                  <a:lnTo>
                    <a:pt x="42" y="60"/>
                  </a:lnTo>
                  <a:lnTo>
                    <a:pt x="24" y="48"/>
                  </a:lnTo>
                  <a:lnTo>
                    <a:pt x="0" y="54"/>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87" name="Freeform 298"/>
            <p:cNvSpPr>
              <a:spLocks/>
            </p:cNvSpPr>
            <p:nvPr/>
          </p:nvSpPr>
          <p:spPr bwMode="auto">
            <a:xfrm>
              <a:off x="8259223" y="3459747"/>
              <a:ext cx="114498" cy="99724"/>
            </a:xfrm>
            <a:custGeom>
              <a:avLst/>
              <a:gdLst>
                <a:gd name="T0" fmla="*/ 95250 w 90"/>
                <a:gd name="T1" fmla="*/ 54708 h 78"/>
                <a:gd name="T2" fmla="*/ 103187 w 90"/>
                <a:gd name="T3" fmla="*/ 39077 h 78"/>
                <a:gd name="T4" fmla="*/ 111125 w 90"/>
                <a:gd name="T5" fmla="*/ 23446 h 78"/>
                <a:gd name="T6" fmla="*/ 63500 w 90"/>
                <a:gd name="T7" fmla="*/ 15631 h 78"/>
                <a:gd name="T8" fmla="*/ 39687 w 90"/>
                <a:gd name="T9" fmla="*/ 0 h 78"/>
                <a:gd name="T10" fmla="*/ 15875 w 90"/>
                <a:gd name="T11" fmla="*/ 0 h 78"/>
                <a:gd name="T12" fmla="*/ 7937 w 90"/>
                <a:gd name="T13" fmla="*/ 15631 h 78"/>
                <a:gd name="T14" fmla="*/ 0 w 90"/>
                <a:gd name="T15" fmla="*/ 23446 h 78"/>
                <a:gd name="T16" fmla="*/ 7937 w 90"/>
                <a:gd name="T17" fmla="*/ 39077 h 78"/>
                <a:gd name="T18" fmla="*/ 23812 w 90"/>
                <a:gd name="T19" fmla="*/ 101600 h 78"/>
                <a:gd name="T20" fmla="*/ 71437 w 90"/>
                <a:gd name="T21" fmla="*/ 93785 h 78"/>
                <a:gd name="T22" fmla="*/ 103187 w 90"/>
                <a:gd name="T23" fmla="*/ 85969 h 78"/>
                <a:gd name="T24" fmla="*/ 111125 w 90"/>
                <a:gd name="T25" fmla="*/ 93785 h 78"/>
                <a:gd name="T26" fmla="*/ 119062 w 90"/>
                <a:gd name="T27" fmla="*/ 62523 h 78"/>
                <a:gd name="T28" fmla="*/ 95250 w 90"/>
                <a:gd name="T29" fmla="*/ 54708 h 7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0"/>
                <a:gd name="T46" fmla="*/ 0 h 78"/>
                <a:gd name="T47" fmla="*/ 90 w 90"/>
                <a:gd name="T48" fmla="*/ 78 h 7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0" h="78">
                  <a:moveTo>
                    <a:pt x="72" y="42"/>
                  </a:moveTo>
                  <a:lnTo>
                    <a:pt x="78" y="30"/>
                  </a:lnTo>
                  <a:lnTo>
                    <a:pt x="84" y="18"/>
                  </a:lnTo>
                  <a:lnTo>
                    <a:pt x="48" y="12"/>
                  </a:lnTo>
                  <a:lnTo>
                    <a:pt x="30" y="0"/>
                  </a:lnTo>
                  <a:lnTo>
                    <a:pt x="12" y="0"/>
                  </a:lnTo>
                  <a:lnTo>
                    <a:pt x="6" y="12"/>
                  </a:lnTo>
                  <a:lnTo>
                    <a:pt x="0" y="18"/>
                  </a:lnTo>
                  <a:lnTo>
                    <a:pt x="6" y="30"/>
                  </a:lnTo>
                  <a:lnTo>
                    <a:pt x="18" y="78"/>
                  </a:lnTo>
                  <a:lnTo>
                    <a:pt x="54" y="72"/>
                  </a:lnTo>
                  <a:lnTo>
                    <a:pt x="78" y="66"/>
                  </a:lnTo>
                  <a:lnTo>
                    <a:pt x="84" y="72"/>
                  </a:lnTo>
                  <a:lnTo>
                    <a:pt x="90" y="48"/>
                  </a:lnTo>
                  <a:lnTo>
                    <a:pt x="72" y="42"/>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88" name="Freeform 329"/>
            <p:cNvSpPr>
              <a:spLocks/>
            </p:cNvSpPr>
            <p:nvPr/>
          </p:nvSpPr>
          <p:spPr bwMode="auto">
            <a:xfrm>
              <a:off x="8561500" y="3568818"/>
              <a:ext cx="172512" cy="283588"/>
            </a:xfrm>
            <a:custGeom>
              <a:avLst/>
              <a:gdLst>
                <a:gd name="T0" fmla="*/ 132590 w 138"/>
                <a:gd name="T1" fmla="*/ 265604 h 223"/>
                <a:gd name="T2" fmla="*/ 155989 w 138"/>
                <a:gd name="T3" fmla="*/ 257830 h 223"/>
                <a:gd name="T4" fmla="*/ 179387 w 138"/>
                <a:gd name="T5" fmla="*/ 242282 h 223"/>
                <a:gd name="T6" fmla="*/ 179387 w 138"/>
                <a:gd name="T7" fmla="*/ 195640 h 223"/>
                <a:gd name="T8" fmla="*/ 179387 w 138"/>
                <a:gd name="T9" fmla="*/ 155475 h 223"/>
                <a:gd name="T10" fmla="*/ 155989 w 138"/>
                <a:gd name="T11" fmla="*/ 132154 h 223"/>
                <a:gd name="T12" fmla="*/ 124791 w 138"/>
                <a:gd name="T13" fmla="*/ 93285 h 223"/>
                <a:gd name="T14" fmla="*/ 101393 w 138"/>
                <a:gd name="T15" fmla="*/ 62190 h 223"/>
                <a:gd name="T16" fmla="*/ 109192 w 138"/>
                <a:gd name="T17" fmla="*/ 46643 h 223"/>
                <a:gd name="T18" fmla="*/ 101393 w 138"/>
                <a:gd name="T19" fmla="*/ 31095 h 223"/>
                <a:gd name="T20" fmla="*/ 77994 w 138"/>
                <a:gd name="T21" fmla="*/ 23321 h 223"/>
                <a:gd name="T22" fmla="*/ 62395 w 138"/>
                <a:gd name="T23" fmla="*/ 0 h 223"/>
                <a:gd name="T24" fmla="*/ 54596 w 138"/>
                <a:gd name="T25" fmla="*/ 0 h 223"/>
                <a:gd name="T26" fmla="*/ 15599 w 138"/>
                <a:gd name="T27" fmla="*/ 7774 h 223"/>
                <a:gd name="T28" fmla="*/ 0 w 138"/>
                <a:gd name="T29" fmla="*/ 31095 h 223"/>
                <a:gd name="T30" fmla="*/ 0 w 138"/>
                <a:gd name="T31" fmla="*/ 31095 h 223"/>
                <a:gd name="T32" fmla="*/ 7799 w 138"/>
                <a:gd name="T33" fmla="*/ 46643 h 223"/>
                <a:gd name="T34" fmla="*/ 15599 w 138"/>
                <a:gd name="T35" fmla="*/ 93285 h 223"/>
                <a:gd name="T36" fmla="*/ 70195 w 138"/>
                <a:gd name="T37" fmla="*/ 93285 h 223"/>
                <a:gd name="T38" fmla="*/ 93593 w 138"/>
                <a:gd name="T39" fmla="*/ 101059 h 223"/>
                <a:gd name="T40" fmla="*/ 132590 w 138"/>
                <a:gd name="T41" fmla="*/ 163249 h 223"/>
                <a:gd name="T42" fmla="*/ 124791 w 138"/>
                <a:gd name="T43" fmla="*/ 187866 h 223"/>
                <a:gd name="T44" fmla="*/ 77994 w 138"/>
                <a:gd name="T45" fmla="*/ 195640 h 223"/>
                <a:gd name="T46" fmla="*/ 54596 w 138"/>
                <a:gd name="T47" fmla="*/ 211187 h 223"/>
                <a:gd name="T48" fmla="*/ 54596 w 138"/>
                <a:gd name="T49" fmla="*/ 242282 h 223"/>
                <a:gd name="T50" fmla="*/ 93593 w 138"/>
                <a:gd name="T51" fmla="*/ 281151 h 223"/>
                <a:gd name="T52" fmla="*/ 109192 w 138"/>
                <a:gd name="T53" fmla="*/ 288925 h 223"/>
                <a:gd name="T54" fmla="*/ 124791 w 138"/>
                <a:gd name="T55" fmla="*/ 281151 h 223"/>
                <a:gd name="T56" fmla="*/ 132590 w 138"/>
                <a:gd name="T57" fmla="*/ 265604 h 22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8"/>
                <a:gd name="T88" fmla="*/ 0 h 223"/>
                <a:gd name="T89" fmla="*/ 138 w 138"/>
                <a:gd name="T90" fmla="*/ 223 h 22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8" h="223">
                  <a:moveTo>
                    <a:pt x="102" y="205"/>
                  </a:moveTo>
                  <a:lnTo>
                    <a:pt x="120" y="199"/>
                  </a:lnTo>
                  <a:lnTo>
                    <a:pt x="138" y="187"/>
                  </a:lnTo>
                  <a:lnTo>
                    <a:pt x="138" y="151"/>
                  </a:lnTo>
                  <a:lnTo>
                    <a:pt x="138" y="120"/>
                  </a:lnTo>
                  <a:lnTo>
                    <a:pt x="120" y="102"/>
                  </a:lnTo>
                  <a:lnTo>
                    <a:pt x="96" y="72"/>
                  </a:lnTo>
                  <a:lnTo>
                    <a:pt x="78" y="48"/>
                  </a:lnTo>
                  <a:lnTo>
                    <a:pt x="84" y="36"/>
                  </a:lnTo>
                  <a:lnTo>
                    <a:pt x="78" y="24"/>
                  </a:lnTo>
                  <a:lnTo>
                    <a:pt x="60" y="18"/>
                  </a:lnTo>
                  <a:lnTo>
                    <a:pt x="48" y="0"/>
                  </a:lnTo>
                  <a:lnTo>
                    <a:pt x="42" y="0"/>
                  </a:lnTo>
                  <a:lnTo>
                    <a:pt x="12" y="6"/>
                  </a:lnTo>
                  <a:lnTo>
                    <a:pt x="0" y="24"/>
                  </a:lnTo>
                  <a:lnTo>
                    <a:pt x="6" y="36"/>
                  </a:lnTo>
                  <a:lnTo>
                    <a:pt x="12" y="72"/>
                  </a:lnTo>
                  <a:lnTo>
                    <a:pt x="54" y="72"/>
                  </a:lnTo>
                  <a:lnTo>
                    <a:pt x="72" y="78"/>
                  </a:lnTo>
                  <a:lnTo>
                    <a:pt x="102" y="126"/>
                  </a:lnTo>
                  <a:lnTo>
                    <a:pt x="96" y="145"/>
                  </a:lnTo>
                  <a:lnTo>
                    <a:pt x="60" y="151"/>
                  </a:lnTo>
                  <a:lnTo>
                    <a:pt x="42" y="163"/>
                  </a:lnTo>
                  <a:lnTo>
                    <a:pt x="42" y="187"/>
                  </a:lnTo>
                  <a:lnTo>
                    <a:pt x="72" y="217"/>
                  </a:lnTo>
                  <a:lnTo>
                    <a:pt x="84" y="223"/>
                  </a:lnTo>
                  <a:lnTo>
                    <a:pt x="96" y="217"/>
                  </a:lnTo>
                  <a:lnTo>
                    <a:pt x="102" y="205"/>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89" name="Freeform 330"/>
            <p:cNvSpPr>
              <a:spLocks/>
            </p:cNvSpPr>
            <p:nvPr/>
          </p:nvSpPr>
          <p:spPr bwMode="auto">
            <a:xfrm>
              <a:off x="8614944" y="3536116"/>
              <a:ext cx="174039" cy="349031"/>
            </a:xfrm>
            <a:custGeom>
              <a:avLst/>
              <a:gdLst>
                <a:gd name="T0" fmla="*/ 86553 w 138"/>
                <a:gd name="T1" fmla="*/ 0 h 271"/>
                <a:gd name="T2" fmla="*/ 7868 w 138"/>
                <a:gd name="T3" fmla="*/ 0 h 271"/>
                <a:gd name="T4" fmla="*/ 0 w 138"/>
                <a:gd name="T5" fmla="*/ 31492 h 271"/>
                <a:gd name="T6" fmla="*/ 7868 w 138"/>
                <a:gd name="T7" fmla="*/ 31492 h 271"/>
                <a:gd name="T8" fmla="*/ 23605 w 138"/>
                <a:gd name="T9" fmla="*/ 55111 h 271"/>
                <a:gd name="T10" fmla="*/ 47211 w 138"/>
                <a:gd name="T11" fmla="*/ 62984 h 271"/>
                <a:gd name="T12" fmla="*/ 55079 w 138"/>
                <a:gd name="T13" fmla="*/ 78731 h 271"/>
                <a:gd name="T14" fmla="*/ 47211 w 138"/>
                <a:gd name="T15" fmla="*/ 94477 h 271"/>
                <a:gd name="T16" fmla="*/ 70816 w 138"/>
                <a:gd name="T17" fmla="*/ 125969 h 271"/>
                <a:gd name="T18" fmla="*/ 102290 w 138"/>
                <a:gd name="T19" fmla="*/ 165334 h 271"/>
                <a:gd name="T20" fmla="*/ 125896 w 138"/>
                <a:gd name="T21" fmla="*/ 188954 h 271"/>
                <a:gd name="T22" fmla="*/ 125896 w 138"/>
                <a:gd name="T23" fmla="*/ 229631 h 271"/>
                <a:gd name="T24" fmla="*/ 125896 w 138"/>
                <a:gd name="T25" fmla="*/ 276869 h 271"/>
                <a:gd name="T26" fmla="*/ 102290 w 138"/>
                <a:gd name="T27" fmla="*/ 292615 h 271"/>
                <a:gd name="T28" fmla="*/ 78685 w 138"/>
                <a:gd name="T29" fmla="*/ 300489 h 271"/>
                <a:gd name="T30" fmla="*/ 70816 w 138"/>
                <a:gd name="T31" fmla="*/ 316235 h 271"/>
                <a:gd name="T32" fmla="*/ 55079 w 138"/>
                <a:gd name="T33" fmla="*/ 324108 h 271"/>
                <a:gd name="T34" fmla="*/ 62948 w 138"/>
                <a:gd name="T35" fmla="*/ 331981 h 271"/>
                <a:gd name="T36" fmla="*/ 86553 w 138"/>
                <a:gd name="T37" fmla="*/ 355600 h 271"/>
                <a:gd name="T38" fmla="*/ 141633 w 138"/>
                <a:gd name="T39" fmla="*/ 316235 h 271"/>
                <a:gd name="T40" fmla="*/ 180975 w 138"/>
                <a:gd name="T41" fmla="*/ 276869 h 271"/>
                <a:gd name="T42" fmla="*/ 149501 w 138"/>
                <a:gd name="T43" fmla="*/ 173207 h 271"/>
                <a:gd name="T44" fmla="*/ 133764 w 138"/>
                <a:gd name="T45" fmla="*/ 149588 h 271"/>
                <a:gd name="T46" fmla="*/ 102290 w 138"/>
                <a:gd name="T47" fmla="*/ 110223 h 271"/>
                <a:gd name="T48" fmla="*/ 86553 w 138"/>
                <a:gd name="T49" fmla="*/ 78731 h 271"/>
                <a:gd name="T50" fmla="*/ 102290 w 138"/>
                <a:gd name="T51" fmla="*/ 62984 h 271"/>
                <a:gd name="T52" fmla="*/ 125896 w 138"/>
                <a:gd name="T53" fmla="*/ 47238 h 271"/>
                <a:gd name="T54" fmla="*/ 118027 w 138"/>
                <a:gd name="T55" fmla="*/ 23619 h 271"/>
                <a:gd name="T56" fmla="*/ 86553 w 138"/>
                <a:gd name="T57" fmla="*/ 0 h 2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8"/>
                <a:gd name="T88" fmla="*/ 0 h 271"/>
                <a:gd name="T89" fmla="*/ 138 w 138"/>
                <a:gd name="T90" fmla="*/ 271 h 27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8" h="271">
                  <a:moveTo>
                    <a:pt x="66" y="0"/>
                  </a:moveTo>
                  <a:lnTo>
                    <a:pt x="6" y="0"/>
                  </a:lnTo>
                  <a:lnTo>
                    <a:pt x="0" y="24"/>
                  </a:lnTo>
                  <a:lnTo>
                    <a:pt x="6" y="24"/>
                  </a:lnTo>
                  <a:lnTo>
                    <a:pt x="18" y="42"/>
                  </a:lnTo>
                  <a:lnTo>
                    <a:pt x="36" y="48"/>
                  </a:lnTo>
                  <a:lnTo>
                    <a:pt x="42" y="60"/>
                  </a:lnTo>
                  <a:lnTo>
                    <a:pt x="36" y="72"/>
                  </a:lnTo>
                  <a:lnTo>
                    <a:pt x="54" y="96"/>
                  </a:lnTo>
                  <a:lnTo>
                    <a:pt x="78" y="126"/>
                  </a:lnTo>
                  <a:lnTo>
                    <a:pt x="96" y="144"/>
                  </a:lnTo>
                  <a:lnTo>
                    <a:pt x="96" y="175"/>
                  </a:lnTo>
                  <a:lnTo>
                    <a:pt x="96" y="211"/>
                  </a:lnTo>
                  <a:lnTo>
                    <a:pt x="78" y="223"/>
                  </a:lnTo>
                  <a:lnTo>
                    <a:pt x="60" y="229"/>
                  </a:lnTo>
                  <a:lnTo>
                    <a:pt x="54" y="241"/>
                  </a:lnTo>
                  <a:lnTo>
                    <a:pt x="42" y="247"/>
                  </a:lnTo>
                  <a:lnTo>
                    <a:pt x="48" y="253"/>
                  </a:lnTo>
                  <a:lnTo>
                    <a:pt x="66" y="271"/>
                  </a:lnTo>
                  <a:lnTo>
                    <a:pt x="108" y="241"/>
                  </a:lnTo>
                  <a:lnTo>
                    <a:pt x="138" y="211"/>
                  </a:lnTo>
                  <a:lnTo>
                    <a:pt x="114" y="132"/>
                  </a:lnTo>
                  <a:lnTo>
                    <a:pt x="102" y="114"/>
                  </a:lnTo>
                  <a:lnTo>
                    <a:pt x="78" y="84"/>
                  </a:lnTo>
                  <a:lnTo>
                    <a:pt x="66" y="60"/>
                  </a:lnTo>
                  <a:lnTo>
                    <a:pt x="78" y="48"/>
                  </a:lnTo>
                  <a:lnTo>
                    <a:pt x="96" y="36"/>
                  </a:lnTo>
                  <a:lnTo>
                    <a:pt x="90" y="18"/>
                  </a:lnTo>
                  <a:lnTo>
                    <a:pt x="66" y="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90" name="Freeform 331"/>
            <p:cNvSpPr>
              <a:spLocks/>
            </p:cNvSpPr>
            <p:nvPr/>
          </p:nvSpPr>
          <p:spPr bwMode="auto">
            <a:xfrm>
              <a:off x="8077550" y="3346005"/>
              <a:ext cx="189306" cy="91933"/>
            </a:xfrm>
            <a:custGeom>
              <a:avLst/>
              <a:gdLst>
                <a:gd name="T0" fmla="*/ 133858 w 150"/>
                <a:gd name="T1" fmla="*/ 46832 h 72"/>
                <a:gd name="T2" fmla="*/ 86614 w 150"/>
                <a:gd name="T3" fmla="*/ 23416 h 72"/>
                <a:gd name="T4" fmla="*/ 31496 w 150"/>
                <a:gd name="T5" fmla="*/ 0 h 72"/>
                <a:gd name="T6" fmla="*/ 15748 w 150"/>
                <a:gd name="T7" fmla="*/ 0 h 72"/>
                <a:gd name="T8" fmla="*/ 0 w 150"/>
                <a:gd name="T9" fmla="*/ 39026 h 72"/>
                <a:gd name="T10" fmla="*/ 78740 w 150"/>
                <a:gd name="T11" fmla="*/ 78052 h 72"/>
                <a:gd name="T12" fmla="*/ 133858 w 150"/>
                <a:gd name="T13" fmla="*/ 85858 h 72"/>
                <a:gd name="T14" fmla="*/ 165354 w 150"/>
                <a:gd name="T15" fmla="*/ 93663 h 72"/>
                <a:gd name="T16" fmla="*/ 181102 w 150"/>
                <a:gd name="T17" fmla="*/ 93663 h 72"/>
                <a:gd name="T18" fmla="*/ 196850 w 150"/>
                <a:gd name="T19" fmla="*/ 70247 h 72"/>
                <a:gd name="T20" fmla="*/ 196850 w 150"/>
                <a:gd name="T21" fmla="*/ 70247 h 72"/>
                <a:gd name="T22" fmla="*/ 181102 w 150"/>
                <a:gd name="T23" fmla="*/ 54637 h 72"/>
                <a:gd name="T24" fmla="*/ 133858 w 150"/>
                <a:gd name="T25" fmla="*/ 46832 h 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0"/>
                <a:gd name="T40" fmla="*/ 0 h 72"/>
                <a:gd name="T41" fmla="*/ 150 w 150"/>
                <a:gd name="T42" fmla="*/ 72 h 7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0" h="72">
                  <a:moveTo>
                    <a:pt x="102" y="36"/>
                  </a:moveTo>
                  <a:lnTo>
                    <a:pt x="66" y="18"/>
                  </a:lnTo>
                  <a:lnTo>
                    <a:pt x="24" y="0"/>
                  </a:lnTo>
                  <a:lnTo>
                    <a:pt x="12" y="0"/>
                  </a:lnTo>
                  <a:lnTo>
                    <a:pt x="0" y="30"/>
                  </a:lnTo>
                  <a:lnTo>
                    <a:pt x="60" y="60"/>
                  </a:lnTo>
                  <a:lnTo>
                    <a:pt x="102" y="66"/>
                  </a:lnTo>
                  <a:lnTo>
                    <a:pt x="126" y="72"/>
                  </a:lnTo>
                  <a:lnTo>
                    <a:pt x="138" y="72"/>
                  </a:lnTo>
                  <a:lnTo>
                    <a:pt x="150" y="54"/>
                  </a:lnTo>
                  <a:lnTo>
                    <a:pt x="138" y="42"/>
                  </a:lnTo>
                  <a:lnTo>
                    <a:pt x="102" y="36"/>
                  </a:lnTo>
                  <a:close/>
                </a:path>
              </a:pathLst>
            </a:custGeom>
            <a:solidFill>
              <a:schemeClr val="bg1">
                <a:lumMod val="85000"/>
              </a:schemeClr>
            </a:solidFill>
            <a:ln w="9525">
              <a:solidFill>
                <a:sysClr val="window" lastClr="FFFFFF"/>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91" name="Freeform 333"/>
            <p:cNvSpPr>
              <a:spLocks/>
            </p:cNvSpPr>
            <p:nvPr/>
          </p:nvSpPr>
          <p:spPr bwMode="auto">
            <a:xfrm>
              <a:off x="8272966" y="2626178"/>
              <a:ext cx="748060" cy="383311"/>
            </a:xfrm>
            <a:custGeom>
              <a:avLst/>
              <a:gdLst>
                <a:gd name="T0" fmla="*/ 54909 w 595"/>
                <a:gd name="T1" fmla="*/ 163476 h 301"/>
                <a:gd name="T2" fmla="*/ 62753 w 595"/>
                <a:gd name="T3" fmla="*/ 241321 h 301"/>
                <a:gd name="T4" fmla="*/ 166034 w 595"/>
                <a:gd name="T5" fmla="*/ 272459 h 301"/>
                <a:gd name="T6" fmla="*/ 236631 w 595"/>
                <a:gd name="T7" fmla="*/ 342520 h 301"/>
                <a:gd name="T8" fmla="*/ 330760 w 595"/>
                <a:gd name="T9" fmla="*/ 350305 h 301"/>
                <a:gd name="T10" fmla="*/ 409201 w 595"/>
                <a:gd name="T11" fmla="*/ 390525 h 301"/>
                <a:gd name="T12" fmla="*/ 495487 w 595"/>
                <a:gd name="T13" fmla="*/ 334736 h 301"/>
                <a:gd name="T14" fmla="*/ 581772 w 595"/>
                <a:gd name="T15" fmla="*/ 326951 h 301"/>
                <a:gd name="T16" fmla="*/ 597460 w 595"/>
                <a:gd name="T17" fmla="*/ 272459 h 301"/>
                <a:gd name="T18" fmla="*/ 652369 w 595"/>
                <a:gd name="T19" fmla="*/ 249106 h 301"/>
                <a:gd name="T20" fmla="*/ 707278 w 595"/>
                <a:gd name="T21" fmla="*/ 225752 h 301"/>
                <a:gd name="T22" fmla="*/ 777875 w 595"/>
                <a:gd name="T23" fmla="*/ 202398 h 301"/>
                <a:gd name="T24" fmla="*/ 762187 w 595"/>
                <a:gd name="T25" fmla="*/ 171260 h 301"/>
                <a:gd name="T26" fmla="*/ 691590 w 595"/>
                <a:gd name="T27" fmla="*/ 163476 h 301"/>
                <a:gd name="T28" fmla="*/ 691590 w 595"/>
                <a:gd name="T29" fmla="*/ 124553 h 301"/>
                <a:gd name="T30" fmla="*/ 707278 w 595"/>
                <a:gd name="T31" fmla="*/ 93415 h 301"/>
                <a:gd name="T32" fmla="*/ 652369 w 595"/>
                <a:gd name="T33" fmla="*/ 77846 h 301"/>
                <a:gd name="T34" fmla="*/ 526863 w 595"/>
                <a:gd name="T35" fmla="*/ 108984 h 301"/>
                <a:gd name="T36" fmla="*/ 479798 w 595"/>
                <a:gd name="T37" fmla="*/ 70061 h 301"/>
                <a:gd name="T38" fmla="*/ 401357 w 595"/>
                <a:gd name="T39" fmla="*/ 70061 h 301"/>
                <a:gd name="T40" fmla="*/ 377825 w 595"/>
                <a:gd name="T41" fmla="*/ 46707 h 301"/>
                <a:gd name="T42" fmla="*/ 283696 w 595"/>
                <a:gd name="T43" fmla="*/ 0 h 301"/>
                <a:gd name="T44" fmla="*/ 252319 w 595"/>
                <a:gd name="T45" fmla="*/ 38923 h 301"/>
                <a:gd name="T46" fmla="*/ 220943 w 595"/>
                <a:gd name="T47" fmla="*/ 85630 h 301"/>
                <a:gd name="T48" fmla="*/ 158190 w 595"/>
                <a:gd name="T49" fmla="*/ 62276 h 301"/>
                <a:gd name="T50" fmla="*/ 70597 w 595"/>
                <a:gd name="T51" fmla="*/ 70061 h 301"/>
                <a:gd name="T52" fmla="*/ 15688 w 595"/>
                <a:gd name="T53" fmla="*/ 101199 h 301"/>
                <a:gd name="T54" fmla="*/ 0 w 595"/>
                <a:gd name="T55" fmla="*/ 132337 h 301"/>
                <a:gd name="T56" fmla="*/ 7844 w 595"/>
                <a:gd name="T57" fmla="*/ 140122 h 301"/>
                <a:gd name="T58" fmla="*/ 54909 w 595"/>
                <a:gd name="T59" fmla="*/ 163476 h 30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95"/>
                <a:gd name="T91" fmla="*/ 0 h 301"/>
                <a:gd name="T92" fmla="*/ 595 w 595"/>
                <a:gd name="T93" fmla="*/ 301 h 30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95" h="301">
                  <a:moveTo>
                    <a:pt x="42" y="126"/>
                  </a:moveTo>
                  <a:lnTo>
                    <a:pt x="48" y="186"/>
                  </a:lnTo>
                  <a:lnTo>
                    <a:pt x="127" y="210"/>
                  </a:lnTo>
                  <a:lnTo>
                    <a:pt x="181" y="264"/>
                  </a:lnTo>
                  <a:lnTo>
                    <a:pt x="253" y="270"/>
                  </a:lnTo>
                  <a:lnTo>
                    <a:pt x="313" y="301"/>
                  </a:lnTo>
                  <a:lnTo>
                    <a:pt x="379" y="258"/>
                  </a:lnTo>
                  <a:lnTo>
                    <a:pt x="445" y="252"/>
                  </a:lnTo>
                  <a:lnTo>
                    <a:pt x="457" y="210"/>
                  </a:lnTo>
                  <a:lnTo>
                    <a:pt x="499" y="192"/>
                  </a:lnTo>
                  <a:lnTo>
                    <a:pt x="541" y="174"/>
                  </a:lnTo>
                  <a:lnTo>
                    <a:pt x="595" y="156"/>
                  </a:lnTo>
                  <a:lnTo>
                    <a:pt x="583" y="132"/>
                  </a:lnTo>
                  <a:lnTo>
                    <a:pt x="529" y="126"/>
                  </a:lnTo>
                  <a:lnTo>
                    <a:pt x="529" y="96"/>
                  </a:lnTo>
                  <a:lnTo>
                    <a:pt x="541" y="72"/>
                  </a:lnTo>
                  <a:lnTo>
                    <a:pt x="499" y="60"/>
                  </a:lnTo>
                  <a:lnTo>
                    <a:pt x="403" y="84"/>
                  </a:lnTo>
                  <a:lnTo>
                    <a:pt x="367" y="54"/>
                  </a:lnTo>
                  <a:lnTo>
                    <a:pt x="307" y="54"/>
                  </a:lnTo>
                  <a:lnTo>
                    <a:pt x="289" y="36"/>
                  </a:lnTo>
                  <a:lnTo>
                    <a:pt x="217" y="0"/>
                  </a:lnTo>
                  <a:lnTo>
                    <a:pt x="193" y="30"/>
                  </a:lnTo>
                  <a:lnTo>
                    <a:pt x="169" y="66"/>
                  </a:lnTo>
                  <a:lnTo>
                    <a:pt x="121" y="48"/>
                  </a:lnTo>
                  <a:lnTo>
                    <a:pt x="54" y="54"/>
                  </a:lnTo>
                  <a:lnTo>
                    <a:pt x="12" y="78"/>
                  </a:lnTo>
                  <a:lnTo>
                    <a:pt x="0" y="102"/>
                  </a:lnTo>
                  <a:lnTo>
                    <a:pt x="6" y="108"/>
                  </a:lnTo>
                  <a:lnTo>
                    <a:pt x="42" y="126"/>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92" name="Freeform 446"/>
            <p:cNvSpPr>
              <a:spLocks/>
            </p:cNvSpPr>
            <p:nvPr/>
          </p:nvSpPr>
          <p:spPr bwMode="auto">
            <a:xfrm>
              <a:off x="8497394" y="3596867"/>
              <a:ext cx="193885" cy="355264"/>
            </a:xfrm>
            <a:custGeom>
              <a:avLst/>
              <a:gdLst>
                <a:gd name="T0" fmla="*/ 13190 w 107"/>
                <a:gd name="T1" fmla="*/ 17145 h 190"/>
                <a:gd name="T2" fmla="*/ 0 w 107"/>
                <a:gd name="T3" fmla="*/ 43815 h 190"/>
                <a:gd name="T4" fmla="*/ 28263 w 107"/>
                <a:gd name="T5" fmla="*/ 89535 h 190"/>
                <a:gd name="T6" fmla="*/ 28263 w 107"/>
                <a:gd name="T7" fmla="*/ 114300 h 190"/>
                <a:gd name="T8" fmla="*/ 41453 w 107"/>
                <a:gd name="T9" fmla="*/ 148590 h 190"/>
                <a:gd name="T10" fmla="*/ 35800 w 107"/>
                <a:gd name="T11" fmla="*/ 177165 h 190"/>
                <a:gd name="T12" fmla="*/ 43337 w 107"/>
                <a:gd name="T13" fmla="*/ 209550 h 190"/>
                <a:gd name="T14" fmla="*/ 48990 w 107"/>
                <a:gd name="T15" fmla="*/ 224790 h 190"/>
                <a:gd name="T16" fmla="*/ 35800 w 107"/>
                <a:gd name="T17" fmla="*/ 240030 h 190"/>
                <a:gd name="T18" fmla="*/ 24495 w 107"/>
                <a:gd name="T19" fmla="*/ 302895 h 190"/>
                <a:gd name="T20" fmla="*/ 62179 w 107"/>
                <a:gd name="T21" fmla="*/ 346710 h 190"/>
                <a:gd name="T22" fmla="*/ 64064 w 107"/>
                <a:gd name="T23" fmla="*/ 339090 h 190"/>
                <a:gd name="T24" fmla="*/ 86674 w 107"/>
                <a:gd name="T25" fmla="*/ 352425 h 190"/>
                <a:gd name="T26" fmla="*/ 86674 w 107"/>
                <a:gd name="T27" fmla="*/ 361950 h 190"/>
                <a:gd name="T28" fmla="*/ 105517 w 107"/>
                <a:gd name="T29" fmla="*/ 358140 h 190"/>
                <a:gd name="T30" fmla="*/ 111169 w 107"/>
                <a:gd name="T31" fmla="*/ 350520 h 190"/>
                <a:gd name="T32" fmla="*/ 81022 w 107"/>
                <a:gd name="T33" fmla="*/ 331470 h 190"/>
                <a:gd name="T34" fmla="*/ 50874 w 107"/>
                <a:gd name="T35" fmla="*/ 283845 h 190"/>
                <a:gd name="T36" fmla="*/ 35800 w 107"/>
                <a:gd name="T37" fmla="*/ 262890 h 190"/>
                <a:gd name="T38" fmla="*/ 60295 w 107"/>
                <a:gd name="T39" fmla="*/ 215265 h 190"/>
                <a:gd name="T40" fmla="*/ 107401 w 107"/>
                <a:gd name="T41" fmla="*/ 205740 h 190"/>
                <a:gd name="T42" fmla="*/ 131896 w 107"/>
                <a:gd name="T43" fmla="*/ 226695 h 190"/>
                <a:gd name="T44" fmla="*/ 118706 w 107"/>
                <a:gd name="T45" fmla="*/ 184785 h 190"/>
                <a:gd name="T46" fmla="*/ 135664 w 107"/>
                <a:gd name="T47" fmla="*/ 165735 h 190"/>
                <a:gd name="T48" fmla="*/ 190307 w 107"/>
                <a:gd name="T49" fmla="*/ 165735 h 190"/>
                <a:gd name="T50" fmla="*/ 201612 w 107"/>
                <a:gd name="T51" fmla="*/ 139065 h 190"/>
                <a:gd name="T52" fmla="*/ 179001 w 107"/>
                <a:gd name="T53" fmla="*/ 95250 h 190"/>
                <a:gd name="T54" fmla="*/ 160159 w 107"/>
                <a:gd name="T55" fmla="*/ 70485 h 190"/>
                <a:gd name="T56" fmla="*/ 90443 w 107"/>
                <a:gd name="T57" fmla="*/ 51435 h 190"/>
                <a:gd name="T58" fmla="*/ 67832 w 107"/>
                <a:gd name="T59" fmla="*/ 0 h 190"/>
                <a:gd name="T60" fmla="*/ 13190 w 107"/>
                <a:gd name="T61" fmla="*/ 17145 h 19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7"/>
                <a:gd name="T94" fmla="*/ 0 h 190"/>
                <a:gd name="T95" fmla="*/ 107 w 107"/>
                <a:gd name="T96" fmla="*/ 190 h 19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7" h="190">
                  <a:moveTo>
                    <a:pt x="7" y="9"/>
                  </a:moveTo>
                  <a:lnTo>
                    <a:pt x="0" y="23"/>
                  </a:lnTo>
                  <a:lnTo>
                    <a:pt x="15" y="47"/>
                  </a:lnTo>
                  <a:lnTo>
                    <a:pt x="15" y="60"/>
                  </a:lnTo>
                  <a:lnTo>
                    <a:pt x="22" y="78"/>
                  </a:lnTo>
                  <a:lnTo>
                    <a:pt x="19" y="93"/>
                  </a:lnTo>
                  <a:lnTo>
                    <a:pt x="23" y="110"/>
                  </a:lnTo>
                  <a:lnTo>
                    <a:pt x="26" y="118"/>
                  </a:lnTo>
                  <a:lnTo>
                    <a:pt x="19" y="126"/>
                  </a:lnTo>
                  <a:lnTo>
                    <a:pt x="13" y="159"/>
                  </a:lnTo>
                  <a:lnTo>
                    <a:pt x="33" y="182"/>
                  </a:lnTo>
                  <a:lnTo>
                    <a:pt x="34" y="178"/>
                  </a:lnTo>
                  <a:lnTo>
                    <a:pt x="46" y="185"/>
                  </a:lnTo>
                  <a:lnTo>
                    <a:pt x="46" y="190"/>
                  </a:lnTo>
                  <a:lnTo>
                    <a:pt x="56" y="188"/>
                  </a:lnTo>
                  <a:lnTo>
                    <a:pt x="59" y="184"/>
                  </a:lnTo>
                  <a:lnTo>
                    <a:pt x="43" y="174"/>
                  </a:lnTo>
                  <a:lnTo>
                    <a:pt x="27" y="149"/>
                  </a:lnTo>
                  <a:lnTo>
                    <a:pt x="19" y="138"/>
                  </a:lnTo>
                  <a:lnTo>
                    <a:pt x="32" y="113"/>
                  </a:lnTo>
                  <a:lnTo>
                    <a:pt x="57" y="108"/>
                  </a:lnTo>
                  <a:lnTo>
                    <a:pt x="70" y="119"/>
                  </a:lnTo>
                  <a:lnTo>
                    <a:pt x="63" y="97"/>
                  </a:lnTo>
                  <a:lnTo>
                    <a:pt x="72" y="87"/>
                  </a:lnTo>
                  <a:lnTo>
                    <a:pt x="101" y="87"/>
                  </a:lnTo>
                  <a:lnTo>
                    <a:pt x="107" y="73"/>
                  </a:lnTo>
                  <a:lnTo>
                    <a:pt x="95" y="50"/>
                  </a:lnTo>
                  <a:lnTo>
                    <a:pt x="85" y="37"/>
                  </a:lnTo>
                  <a:lnTo>
                    <a:pt x="48" y="27"/>
                  </a:lnTo>
                  <a:lnTo>
                    <a:pt x="36" y="0"/>
                  </a:lnTo>
                  <a:lnTo>
                    <a:pt x="7" y="9"/>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93" name="Freeform 447"/>
            <p:cNvSpPr>
              <a:spLocks/>
            </p:cNvSpPr>
            <p:nvPr/>
          </p:nvSpPr>
          <p:spPr bwMode="auto">
            <a:xfrm>
              <a:off x="8369142" y="3395874"/>
              <a:ext cx="218312" cy="436289"/>
            </a:xfrm>
            <a:custGeom>
              <a:avLst/>
              <a:gdLst>
                <a:gd name="T0" fmla="*/ 136207 w 120"/>
                <a:gd name="T1" fmla="*/ 0 h 233"/>
                <a:gd name="T2" fmla="*/ 104047 w 120"/>
                <a:gd name="T3" fmla="*/ 32431 h 233"/>
                <a:gd name="T4" fmla="*/ 75671 w 120"/>
                <a:gd name="T5" fmla="*/ 49601 h 233"/>
                <a:gd name="T6" fmla="*/ 28377 w 120"/>
                <a:gd name="T7" fmla="*/ 114464 h 233"/>
                <a:gd name="T8" fmla="*/ 13242 w 120"/>
                <a:gd name="T9" fmla="*/ 162157 h 233"/>
                <a:gd name="T10" fmla="*/ 0 w 120"/>
                <a:gd name="T11" fmla="*/ 186957 h 233"/>
                <a:gd name="T12" fmla="*/ 43511 w 120"/>
                <a:gd name="T13" fmla="*/ 234650 h 233"/>
                <a:gd name="T14" fmla="*/ 58645 w 120"/>
                <a:gd name="T15" fmla="*/ 270897 h 233"/>
                <a:gd name="T16" fmla="*/ 49186 w 120"/>
                <a:gd name="T17" fmla="*/ 307144 h 233"/>
                <a:gd name="T18" fmla="*/ 83238 w 120"/>
                <a:gd name="T19" fmla="*/ 314775 h 233"/>
                <a:gd name="T20" fmla="*/ 109722 w 120"/>
                <a:gd name="T21" fmla="*/ 299513 h 233"/>
                <a:gd name="T22" fmla="*/ 122965 w 120"/>
                <a:gd name="T23" fmla="*/ 282343 h 233"/>
                <a:gd name="T24" fmla="*/ 151341 w 120"/>
                <a:gd name="T25" fmla="*/ 358652 h 233"/>
                <a:gd name="T26" fmla="*/ 162692 w 120"/>
                <a:gd name="T27" fmla="*/ 402530 h 233"/>
                <a:gd name="T28" fmla="*/ 160800 w 120"/>
                <a:gd name="T29" fmla="*/ 444500 h 233"/>
                <a:gd name="T30" fmla="*/ 187285 w 120"/>
                <a:gd name="T31" fmla="*/ 404438 h 233"/>
                <a:gd name="T32" fmla="*/ 174043 w 120"/>
                <a:gd name="T33" fmla="*/ 358652 h 233"/>
                <a:gd name="T34" fmla="*/ 151341 w 120"/>
                <a:gd name="T35" fmla="*/ 330037 h 233"/>
                <a:gd name="T36" fmla="*/ 162692 w 120"/>
                <a:gd name="T37" fmla="*/ 307144 h 233"/>
                <a:gd name="T38" fmla="*/ 160800 w 120"/>
                <a:gd name="T39" fmla="*/ 288067 h 233"/>
                <a:gd name="T40" fmla="*/ 130532 w 120"/>
                <a:gd name="T41" fmla="*/ 248004 h 233"/>
                <a:gd name="T42" fmla="*/ 145666 w 120"/>
                <a:gd name="T43" fmla="*/ 217481 h 233"/>
                <a:gd name="T44" fmla="*/ 200527 w 120"/>
                <a:gd name="T45" fmla="*/ 202219 h 233"/>
                <a:gd name="T46" fmla="*/ 227012 w 120"/>
                <a:gd name="T47" fmla="*/ 173603 h 233"/>
                <a:gd name="T48" fmla="*/ 209986 w 120"/>
                <a:gd name="T49" fmla="*/ 173603 h 233"/>
                <a:gd name="T50" fmla="*/ 196744 w 120"/>
                <a:gd name="T51" fmla="*/ 165972 h 233"/>
                <a:gd name="T52" fmla="*/ 175934 w 120"/>
                <a:gd name="T53" fmla="*/ 160249 h 233"/>
                <a:gd name="T54" fmla="*/ 185393 w 120"/>
                <a:gd name="T55" fmla="*/ 139264 h 233"/>
                <a:gd name="T56" fmla="*/ 166475 w 120"/>
                <a:gd name="T57" fmla="*/ 114464 h 233"/>
                <a:gd name="T58" fmla="*/ 145666 w 120"/>
                <a:gd name="T59" fmla="*/ 80124 h 233"/>
                <a:gd name="T60" fmla="*/ 162692 w 120"/>
                <a:gd name="T61" fmla="*/ 64863 h 233"/>
                <a:gd name="T62" fmla="*/ 162692 w 120"/>
                <a:gd name="T63" fmla="*/ 24800 h 233"/>
                <a:gd name="T64" fmla="*/ 136207 w 120"/>
                <a:gd name="T65" fmla="*/ 0 h 23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0"/>
                <a:gd name="T100" fmla="*/ 0 h 233"/>
                <a:gd name="T101" fmla="*/ 120 w 120"/>
                <a:gd name="T102" fmla="*/ 233 h 23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0" h="233">
                  <a:moveTo>
                    <a:pt x="72" y="0"/>
                  </a:moveTo>
                  <a:lnTo>
                    <a:pt x="55" y="17"/>
                  </a:lnTo>
                  <a:lnTo>
                    <a:pt x="40" y="26"/>
                  </a:lnTo>
                  <a:lnTo>
                    <a:pt x="15" y="60"/>
                  </a:lnTo>
                  <a:lnTo>
                    <a:pt x="7" y="85"/>
                  </a:lnTo>
                  <a:lnTo>
                    <a:pt x="0" y="98"/>
                  </a:lnTo>
                  <a:lnTo>
                    <a:pt x="23" y="123"/>
                  </a:lnTo>
                  <a:lnTo>
                    <a:pt x="31" y="142"/>
                  </a:lnTo>
                  <a:lnTo>
                    <a:pt x="26" y="161"/>
                  </a:lnTo>
                  <a:lnTo>
                    <a:pt x="44" y="165"/>
                  </a:lnTo>
                  <a:lnTo>
                    <a:pt x="58" y="157"/>
                  </a:lnTo>
                  <a:lnTo>
                    <a:pt x="65" y="148"/>
                  </a:lnTo>
                  <a:lnTo>
                    <a:pt x="80" y="188"/>
                  </a:lnTo>
                  <a:lnTo>
                    <a:pt x="86" y="211"/>
                  </a:lnTo>
                  <a:lnTo>
                    <a:pt x="85" y="233"/>
                  </a:lnTo>
                  <a:lnTo>
                    <a:pt x="99" y="212"/>
                  </a:lnTo>
                  <a:lnTo>
                    <a:pt x="92" y="188"/>
                  </a:lnTo>
                  <a:lnTo>
                    <a:pt x="80" y="173"/>
                  </a:lnTo>
                  <a:lnTo>
                    <a:pt x="86" y="161"/>
                  </a:lnTo>
                  <a:lnTo>
                    <a:pt x="85" y="151"/>
                  </a:lnTo>
                  <a:lnTo>
                    <a:pt x="69" y="130"/>
                  </a:lnTo>
                  <a:lnTo>
                    <a:pt x="77" y="114"/>
                  </a:lnTo>
                  <a:lnTo>
                    <a:pt x="106" y="106"/>
                  </a:lnTo>
                  <a:lnTo>
                    <a:pt x="120" y="91"/>
                  </a:lnTo>
                  <a:lnTo>
                    <a:pt x="111" y="91"/>
                  </a:lnTo>
                  <a:lnTo>
                    <a:pt x="104" y="87"/>
                  </a:lnTo>
                  <a:lnTo>
                    <a:pt x="93" y="84"/>
                  </a:lnTo>
                  <a:lnTo>
                    <a:pt x="98" y="73"/>
                  </a:lnTo>
                  <a:lnTo>
                    <a:pt x="88" y="60"/>
                  </a:lnTo>
                  <a:lnTo>
                    <a:pt x="77" y="42"/>
                  </a:lnTo>
                  <a:lnTo>
                    <a:pt x="86" y="34"/>
                  </a:lnTo>
                  <a:lnTo>
                    <a:pt x="86" y="13"/>
                  </a:lnTo>
                  <a:lnTo>
                    <a:pt x="72" y="0"/>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94" name="Line 449"/>
            <p:cNvSpPr>
              <a:spLocks noChangeShapeType="1"/>
            </p:cNvSpPr>
            <p:nvPr/>
          </p:nvSpPr>
          <p:spPr bwMode="auto">
            <a:xfrm>
              <a:off x="8992017" y="3670099"/>
              <a:ext cx="0" cy="0"/>
            </a:xfrm>
            <a:prstGeom prst="line">
              <a:avLst/>
            </a:prstGeom>
            <a:solidFill>
              <a:sysClr val="window" lastClr="FFFFFF"/>
            </a:solidFill>
            <a:ln w="0">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95" name="Freeform 506"/>
            <p:cNvSpPr>
              <a:spLocks/>
            </p:cNvSpPr>
            <p:nvPr/>
          </p:nvSpPr>
          <p:spPr bwMode="auto">
            <a:xfrm>
              <a:off x="9135565" y="2968987"/>
              <a:ext cx="119079" cy="152701"/>
            </a:xfrm>
            <a:custGeom>
              <a:avLst/>
              <a:gdLst>
                <a:gd name="T0" fmla="*/ 50800 w 78"/>
                <a:gd name="T1" fmla="*/ 19050 h 98"/>
                <a:gd name="T2" fmla="*/ 53975 w 78"/>
                <a:gd name="T3" fmla="*/ 50800 h 98"/>
                <a:gd name="T4" fmla="*/ 31750 w 78"/>
                <a:gd name="T5" fmla="*/ 34925 h 98"/>
                <a:gd name="T6" fmla="*/ 9525 w 78"/>
                <a:gd name="T7" fmla="*/ 53975 h 98"/>
                <a:gd name="T8" fmla="*/ 0 w 78"/>
                <a:gd name="T9" fmla="*/ 88900 h 98"/>
                <a:gd name="T10" fmla="*/ 0 w 78"/>
                <a:gd name="T11" fmla="*/ 88900 h 98"/>
                <a:gd name="T12" fmla="*/ 9525 w 78"/>
                <a:gd name="T13" fmla="*/ 88900 h 98"/>
                <a:gd name="T14" fmla="*/ 9525 w 78"/>
                <a:gd name="T15" fmla="*/ 88900 h 98"/>
                <a:gd name="T16" fmla="*/ 15875 w 78"/>
                <a:gd name="T17" fmla="*/ 88900 h 98"/>
                <a:gd name="T18" fmla="*/ 15875 w 78"/>
                <a:gd name="T19" fmla="*/ 88900 h 98"/>
                <a:gd name="T20" fmla="*/ 47625 w 78"/>
                <a:gd name="T21" fmla="*/ 111125 h 98"/>
                <a:gd name="T22" fmla="*/ 53975 w 78"/>
                <a:gd name="T23" fmla="*/ 133350 h 98"/>
                <a:gd name="T24" fmla="*/ 53975 w 78"/>
                <a:gd name="T25" fmla="*/ 133350 h 98"/>
                <a:gd name="T26" fmla="*/ 57150 w 78"/>
                <a:gd name="T27" fmla="*/ 146050 h 98"/>
                <a:gd name="T28" fmla="*/ 63500 w 78"/>
                <a:gd name="T29" fmla="*/ 155575 h 98"/>
                <a:gd name="T30" fmla="*/ 111125 w 78"/>
                <a:gd name="T31" fmla="*/ 139700 h 98"/>
                <a:gd name="T32" fmla="*/ 111125 w 78"/>
                <a:gd name="T33" fmla="*/ 133350 h 98"/>
                <a:gd name="T34" fmla="*/ 111125 w 78"/>
                <a:gd name="T35" fmla="*/ 133350 h 98"/>
                <a:gd name="T36" fmla="*/ 107950 w 78"/>
                <a:gd name="T37" fmla="*/ 130175 h 98"/>
                <a:gd name="T38" fmla="*/ 104775 w 78"/>
                <a:gd name="T39" fmla="*/ 123825 h 98"/>
                <a:gd name="T40" fmla="*/ 101600 w 78"/>
                <a:gd name="T41" fmla="*/ 120650 h 98"/>
                <a:gd name="T42" fmla="*/ 101600 w 78"/>
                <a:gd name="T43" fmla="*/ 120650 h 98"/>
                <a:gd name="T44" fmla="*/ 101600 w 78"/>
                <a:gd name="T45" fmla="*/ 95250 h 98"/>
                <a:gd name="T46" fmla="*/ 101600 w 78"/>
                <a:gd name="T47" fmla="*/ 95250 h 98"/>
                <a:gd name="T48" fmla="*/ 101600 w 78"/>
                <a:gd name="T49" fmla="*/ 73025 h 98"/>
                <a:gd name="T50" fmla="*/ 101600 w 78"/>
                <a:gd name="T51" fmla="*/ 73025 h 98"/>
                <a:gd name="T52" fmla="*/ 85725 w 78"/>
                <a:gd name="T53" fmla="*/ 41275 h 98"/>
                <a:gd name="T54" fmla="*/ 85725 w 78"/>
                <a:gd name="T55" fmla="*/ 41275 h 98"/>
                <a:gd name="T56" fmla="*/ 101600 w 78"/>
                <a:gd name="T57" fmla="*/ 25400 h 98"/>
                <a:gd name="T58" fmla="*/ 101600 w 78"/>
                <a:gd name="T59" fmla="*/ 25400 h 98"/>
                <a:gd name="T60" fmla="*/ 123825 w 78"/>
                <a:gd name="T61" fmla="*/ 6350 h 98"/>
                <a:gd name="T62" fmla="*/ 82550 w 78"/>
                <a:gd name="T63" fmla="*/ 0 h 98"/>
                <a:gd name="T64" fmla="*/ 50800 w 78"/>
                <a:gd name="T65" fmla="*/ 19050 h 9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8"/>
                <a:gd name="T100" fmla="*/ 0 h 98"/>
                <a:gd name="T101" fmla="*/ 78 w 78"/>
                <a:gd name="T102" fmla="*/ 98 h 9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8" h="98">
                  <a:moveTo>
                    <a:pt x="32" y="12"/>
                  </a:moveTo>
                  <a:lnTo>
                    <a:pt x="34" y="32"/>
                  </a:lnTo>
                  <a:lnTo>
                    <a:pt x="20" y="22"/>
                  </a:lnTo>
                  <a:lnTo>
                    <a:pt x="6" y="34"/>
                  </a:lnTo>
                  <a:lnTo>
                    <a:pt x="0" y="56"/>
                  </a:lnTo>
                  <a:lnTo>
                    <a:pt x="6" y="56"/>
                  </a:lnTo>
                  <a:lnTo>
                    <a:pt x="10" y="56"/>
                  </a:lnTo>
                  <a:lnTo>
                    <a:pt x="30" y="70"/>
                  </a:lnTo>
                  <a:lnTo>
                    <a:pt x="34" y="84"/>
                  </a:lnTo>
                  <a:lnTo>
                    <a:pt x="36" y="92"/>
                  </a:lnTo>
                  <a:lnTo>
                    <a:pt x="40" y="98"/>
                  </a:lnTo>
                  <a:lnTo>
                    <a:pt x="70" y="88"/>
                  </a:lnTo>
                  <a:lnTo>
                    <a:pt x="70" y="84"/>
                  </a:lnTo>
                  <a:lnTo>
                    <a:pt x="68" y="82"/>
                  </a:lnTo>
                  <a:lnTo>
                    <a:pt x="66" y="78"/>
                  </a:lnTo>
                  <a:lnTo>
                    <a:pt x="64" y="76"/>
                  </a:lnTo>
                  <a:lnTo>
                    <a:pt x="64" y="60"/>
                  </a:lnTo>
                  <a:lnTo>
                    <a:pt x="64" y="46"/>
                  </a:lnTo>
                  <a:lnTo>
                    <a:pt x="54" y="26"/>
                  </a:lnTo>
                  <a:lnTo>
                    <a:pt x="64" y="16"/>
                  </a:lnTo>
                  <a:lnTo>
                    <a:pt x="78" y="4"/>
                  </a:lnTo>
                  <a:lnTo>
                    <a:pt x="52" y="0"/>
                  </a:lnTo>
                  <a:lnTo>
                    <a:pt x="32" y="12"/>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sp>
          <p:nvSpPr>
            <p:cNvPr id="296" name="Freeform 517"/>
            <p:cNvSpPr>
              <a:spLocks/>
            </p:cNvSpPr>
            <p:nvPr/>
          </p:nvSpPr>
          <p:spPr bwMode="auto">
            <a:xfrm>
              <a:off x="9181325" y="3106114"/>
              <a:ext cx="82440" cy="102839"/>
            </a:xfrm>
            <a:custGeom>
              <a:avLst/>
              <a:gdLst>
                <a:gd name="T0" fmla="*/ 15875 w 54"/>
                <a:gd name="T1" fmla="*/ 19050 h 66"/>
                <a:gd name="T2" fmla="*/ 15875 w 54"/>
                <a:gd name="T3" fmla="*/ 19050 h 66"/>
                <a:gd name="T4" fmla="*/ 15875 w 54"/>
                <a:gd name="T5" fmla="*/ 57150 h 66"/>
                <a:gd name="T6" fmla="*/ 15875 w 54"/>
                <a:gd name="T7" fmla="*/ 57150 h 66"/>
                <a:gd name="T8" fmla="*/ 0 w 54"/>
                <a:gd name="T9" fmla="*/ 104775 h 66"/>
                <a:gd name="T10" fmla="*/ 0 w 54"/>
                <a:gd name="T11" fmla="*/ 104775 h 66"/>
                <a:gd name="T12" fmla="*/ 31750 w 54"/>
                <a:gd name="T13" fmla="*/ 104775 h 66"/>
                <a:gd name="T14" fmla="*/ 31750 w 54"/>
                <a:gd name="T15" fmla="*/ 104775 h 66"/>
                <a:gd name="T16" fmla="*/ 63500 w 54"/>
                <a:gd name="T17" fmla="*/ 95250 h 66"/>
                <a:gd name="T18" fmla="*/ 63500 w 54"/>
                <a:gd name="T19" fmla="*/ 95250 h 66"/>
                <a:gd name="T20" fmla="*/ 79375 w 54"/>
                <a:gd name="T21" fmla="*/ 82550 h 66"/>
                <a:gd name="T22" fmla="*/ 79375 w 54"/>
                <a:gd name="T23" fmla="*/ 82550 h 66"/>
                <a:gd name="T24" fmla="*/ 85725 w 54"/>
                <a:gd name="T25" fmla="*/ 57150 h 66"/>
                <a:gd name="T26" fmla="*/ 63500 w 54"/>
                <a:gd name="T27" fmla="*/ 0 h 66"/>
                <a:gd name="T28" fmla="*/ 15875 w 54"/>
                <a:gd name="T29" fmla="*/ 15875 h 66"/>
                <a:gd name="T30" fmla="*/ 15875 w 54"/>
                <a:gd name="T31" fmla="*/ 15875 h 66"/>
                <a:gd name="T32" fmla="*/ 15875 w 54"/>
                <a:gd name="T33" fmla="*/ 19050 h 66"/>
                <a:gd name="T34" fmla="*/ 15875 w 54"/>
                <a:gd name="T35" fmla="*/ 19050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66"/>
                <a:gd name="T56" fmla="*/ 54 w 54"/>
                <a:gd name="T57" fmla="*/ 66 h 6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66">
                  <a:moveTo>
                    <a:pt x="10" y="12"/>
                  </a:moveTo>
                  <a:lnTo>
                    <a:pt x="10" y="12"/>
                  </a:lnTo>
                  <a:lnTo>
                    <a:pt x="10" y="36"/>
                  </a:lnTo>
                  <a:lnTo>
                    <a:pt x="0" y="66"/>
                  </a:lnTo>
                  <a:lnTo>
                    <a:pt x="20" y="66"/>
                  </a:lnTo>
                  <a:lnTo>
                    <a:pt x="40" y="60"/>
                  </a:lnTo>
                  <a:lnTo>
                    <a:pt x="50" y="52"/>
                  </a:lnTo>
                  <a:lnTo>
                    <a:pt x="54" y="36"/>
                  </a:lnTo>
                  <a:lnTo>
                    <a:pt x="40" y="0"/>
                  </a:lnTo>
                  <a:lnTo>
                    <a:pt x="10" y="10"/>
                  </a:lnTo>
                  <a:lnTo>
                    <a:pt x="10" y="12"/>
                  </a:lnTo>
                  <a:close/>
                </a:path>
              </a:pathLst>
            </a:custGeom>
            <a:solidFill>
              <a:schemeClr val="bg1">
                <a:lumMod val="85000"/>
              </a:schemeClr>
            </a:solidFill>
            <a:ln w="9525">
              <a:solidFill>
                <a:schemeClr val="bg1">
                  <a:lumMod val="95000"/>
                </a:schemeClr>
              </a:solidFill>
              <a:round/>
              <a:headEnd/>
              <a:tailEnd/>
            </a:ln>
          </p:spPr>
          <p:txBody>
            <a:bodyPr lIns="91372" tIns="45686" rIns="91372" bIns="45686"/>
            <a:lstStyle/>
            <a:p>
              <a:pPr defTabSz="843107">
                <a:defRPr/>
              </a:pPr>
              <a:endParaRPr lang="en-US" sz="1600" kern="0" dirty="0">
                <a:solidFill>
                  <a:srgbClr val="263147"/>
                </a:solidFill>
              </a:endParaRPr>
            </a:p>
          </p:txBody>
        </p:sp>
        <p:grpSp>
          <p:nvGrpSpPr>
            <p:cNvPr id="297" name="Groupe 234"/>
            <p:cNvGrpSpPr/>
            <p:nvPr/>
          </p:nvGrpSpPr>
          <p:grpSpPr>
            <a:xfrm>
              <a:off x="5767728" y="3185503"/>
              <a:ext cx="370976" cy="397332"/>
              <a:chOff x="4111756" y="3602232"/>
              <a:chExt cx="356087" cy="373672"/>
            </a:xfrm>
          </p:grpSpPr>
          <p:sp>
            <p:nvSpPr>
              <p:cNvPr id="298" name="Freeform 309"/>
              <p:cNvSpPr>
                <a:spLocks/>
              </p:cNvSpPr>
              <p:nvPr/>
            </p:nvSpPr>
            <p:spPr bwMode="auto">
              <a:xfrm>
                <a:off x="4193817" y="3602232"/>
                <a:ext cx="274026" cy="209550"/>
              </a:xfrm>
              <a:custGeom>
                <a:avLst/>
                <a:gdLst>
                  <a:gd name="T0" fmla="*/ 117182 w 228"/>
                  <a:gd name="T1" fmla="*/ 203528 h 174"/>
                  <a:gd name="T2" fmla="*/ 148431 w 228"/>
                  <a:gd name="T3" fmla="*/ 180044 h 174"/>
                  <a:gd name="T4" fmla="*/ 187492 w 228"/>
                  <a:gd name="T5" fmla="*/ 156560 h 174"/>
                  <a:gd name="T6" fmla="*/ 234365 w 228"/>
                  <a:gd name="T7" fmla="*/ 140904 h 174"/>
                  <a:gd name="T8" fmla="*/ 242177 w 228"/>
                  <a:gd name="T9" fmla="*/ 125248 h 174"/>
                  <a:gd name="T10" fmla="*/ 249989 w 228"/>
                  <a:gd name="T11" fmla="*/ 109592 h 174"/>
                  <a:gd name="T12" fmla="*/ 281238 w 228"/>
                  <a:gd name="T13" fmla="*/ 101764 h 174"/>
                  <a:gd name="T14" fmla="*/ 296862 w 228"/>
                  <a:gd name="T15" fmla="*/ 93936 h 174"/>
                  <a:gd name="T16" fmla="*/ 289050 w 228"/>
                  <a:gd name="T17" fmla="*/ 54796 h 174"/>
                  <a:gd name="T18" fmla="*/ 281238 w 228"/>
                  <a:gd name="T19" fmla="*/ 15656 h 174"/>
                  <a:gd name="T20" fmla="*/ 273426 w 228"/>
                  <a:gd name="T21" fmla="*/ 15656 h 174"/>
                  <a:gd name="T22" fmla="*/ 242177 w 228"/>
                  <a:gd name="T23" fmla="*/ 15656 h 174"/>
                  <a:gd name="T24" fmla="*/ 218740 w 228"/>
                  <a:gd name="T25" fmla="*/ 15656 h 174"/>
                  <a:gd name="T26" fmla="*/ 187492 w 228"/>
                  <a:gd name="T27" fmla="*/ 0 h 174"/>
                  <a:gd name="T28" fmla="*/ 156243 w 228"/>
                  <a:gd name="T29" fmla="*/ 46968 h 174"/>
                  <a:gd name="T30" fmla="*/ 124995 w 228"/>
                  <a:gd name="T31" fmla="*/ 78280 h 174"/>
                  <a:gd name="T32" fmla="*/ 93746 w 228"/>
                  <a:gd name="T33" fmla="*/ 117420 h 174"/>
                  <a:gd name="T34" fmla="*/ 85934 w 228"/>
                  <a:gd name="T35" fmla="*/ 180044 h 174"/>
                  <a:gd name="T36" fmla="*/ 15624 w 228"/>
                  <a:gd name="T37" fmla="*/ 211356 h 174"/>
                  <a:gd name="T38" fmla="*/ 0 w 228"/>
                  <a:gd name="T39" fmla="*/ 227012 h 174"/>
                  <a:gd name="T40" fmla="*/ 109370 w 228"/>
                  <a:gd name="T41" fmla="*/ 227012 h 174"/>
                  <a:gd name="T42" fmla="*/ 117182 w 228"/>
                  <a:gd name="T43" fmla="*/ 203528 h 1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8"/>
                  <a:gd name="T67" fmla="*/ 0 h 174"/>
                  <a:gd name="T68" fmla="*/ 228 w 228"/>
                  <a:gd name="T69" fmla="*/ 174 h 17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8" h="174">
                    <a:moveTo>
                      <a:pt x="90" y="156"/>
                    </a:moveTo>
                    <a:lnTo>
                      <a:pt x="114" y="138"/>
                    </a:lnTo>
                    <a:lnTo>
                      <a:pt x="144" y="120"/>
                    </a:lnTo>
                    <a:lnTo>
                      <a:pt x="180" y="108"/>
                    </a:lnTo>
                    <a:lnTo>
                      <a:pt x="186" y="96"/>
                    </a:lnTo>
                    <a:lnTo>
                      <a:pt x="192" y="84"/>
                    </a:lnTo>
                    <a:lnTo>
                      <a:pt x="216" y="78"/>
                    </a:lnTo>
                    <a:lnTo>
                      <a:pt x="228" y="72"/>
                    </a:lnTo>
                    <a:lnTo>
                      <a:pt x="222" y="42"/>
                    </a:lnTo>
                    <a:lnTo>
                      <a:pt x="216" y="12"/>
                    </a:lnTo>
                    <a:lnTo>
                      <a:pt x="210" y="12"/>
                    </a:lnTo>
                    <a:lnTo>
                      <a:pt x="186" y="12"/>
                    </a:lnTo>
                    <a:lnTo>
                      <a:pt x="168" y="12"/>
                    </a:lnTo>
                    <a:lnTo>
                      <a:pt x="144" y="0"/>
                    </a:lnTo>
                    <a:lnTo>
                      <a:pt x="120" y="36"/>
                    </a:lnTo>
                    <a:lnTo>
                      <a:pt x="96" y="60"/>
                    </a:lnTo>
                    <a:lnTo>
                      <a:pt x="72" y="90"/>
                    </a:lnTo>
                    <a:lnTo>
                      <a:pt x="66" y="138"/>
                    </a:lnTo>
                    <a:lnTo>
                      <a:pt x="12" y="162"/>
                    </a:lnTo>
                    <a:lnTo>
                      <a:pt x="0" y="174"/>
                    </a:lnTo>
                    <a:lnTo>
                      <a:pt x="84" y="174"/>
                    </a:lnTo>
                    <a:lnTo>
                      <a:pt x="90" y="156"/>
                    </a:lnTo>
                    <a:close/>
                  </a:path>
                </a:pathLst>
              </a:custGeom>
              <a:solidFill>
                <a:srgbClr val="CD1B31"/>
              </a:solidFill>
              <a:ln w="9525">
                <a:solidFill>
                  <a:sysClr val="window" lastClr="FFFFFF">
                    <a:lumMod val="85000"/>
                  </a:sysClr>
                </a:solidFill>
                <a:round/>
                <a:headEnd/>
                <a:tailEnd/>
              </a:ln>
            </p:spPr>
            <p:txBody>
              <a:bodyPr/>
              <a:lstStyle/>
              <a:p>
                <a:pPr defTabSz="843107">
                  <a:defRPr/>
                </a:pPr>
                <a:endParaRPr lang="en-US" sz="1600" kern="0" dirty="0">
                  <a:solidFill>
                    <a:srgbClr val="263147"/>
                  </a:solidFill>
                </a:endParaRPr>
              </a:p>
            </p:txBody>
          </p:sp>
          <p:sp>
            <p:nvSpPr>
              <p:cNvPr id="299" name="Freeform 310"/>
              <p:cNvSpPr>
                <a:spLocks/>
              </p:cNvSpPr>
              <p:nvPr/>
            </p:nvSpPr>
            <p:spPr bwMode="auto">
              <a:xfrm>
                <a:off x="4111756" y="3811781"/>
                <a:ext cx="189034" cy="164123"/>
              </a:xfrm>
              <a:custGeom>
                <a:avLst/>
                <a:gdLst>
                  <a:gd name="T0" fmla="*/ 102394 w 26"/>
                  <a:gd name="T1" fmla="*/ 123687 h 23"/>
                  <a:gd name="T2" fmla="*/ 118146 w 26"/>
                  <a:gd name="T3" fmla="*/ 108226 h 23"/>
                  <a:gd name="T4" fmla="*/ 126023 w 26"/>
                  <a:gd name="T5" fmla="*/ 46383 h 23"/>
                  <a:gd name="T6" fmla="*/ 204787 w 26"/>
                  <a:gd name="T7" fmla="*/ 46383 h 23"/>
                  <a:gd name="T8" fmla="*/ 204787 w 26"/>
                  <a:gd name="T9" fmla="*/ 23191 h 23"/>
                  <a:gd name="T10" fmla="*/ 196911 w 26"/>
                  <a:gd name="T11" fmla="*/ 23191 h 23"/>
                  <a:gd name="T12" fmla="*/ 196911 w 26"/>
                  <a:gd name="T13" fmla="*/ 0 h 23"/>
                  <a:gd name="T14" fmla="*/ 86641 w 26"/>
                  <a:gd name="T15" fmla="*/ 0 h 23"/>
                  <a:gd name="T16" fmla="*/ 70888 w 26"/>
                  <a:gd name="T17" fmla="*/ 15461 h 23"/>
                  <a:gd name="T18" fmla="*/ 31506 w 26"/>
                  <a:gd name="T19" fmla="*/ 100496 h 23"/>
                  <a:gd name="T20" fmla="*/ 0 w 26"/>
                  <a:gd name="T21" fmla="*/ 170070 h 23"/>
                  <a:gd name="T22" fmla="*/ 94517 w 26"/>
                  <a:gd name="T23" fmla="*/ 177800 h 23"/>
                  <a:gd name="T24" fmla="*/ 102394 w 26"/>
                  <a:gd name="T25" fmla="*/ 123687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23"/>
                  <a:gd name="T41" fmla="*/ 26 w 26"/>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23">
                    <a:moveTo>
                      <a:pt x="13" y="16"/>
                    </a:moveTo>
                    <a:cubicBezTo>
                      <a:pt x="15" y="14"/>
                      <a:pt x="15" y="14"/>
                      <a:pt x="15" y="14"/>
                    </a:cubicBezTo>
                    <a:cubicBezTo>
                      <a:pt x="16" y="6"/>
                      <a:pt x="16" y="6"/>
                      <a:pt x="16" y="6"/>
                    </a:cubicBezTo>
                    <a:cubicBezTo>
                      <a:pt x="26" y="6"/>
                      <a:pt x="26" y="6"/>
                      <a:pt x="26" y="6"/>
                    </a:cubicBezTo>
                    <a:cubicBezTo>
                      <a:pt x="26" y="3"/>
                      <a:pt x="26" y="3"/>
                      <a:pt x="26" y="3"/>
                    </a:cubicBezTo>
                    <a:cubicBezTo>
                      <a:pt x="25" y="3"/>
                      <a:pt x="25" y="3"/>
                      <a:pt x="25" y="3"/>
                    </a:cubicBezTo>
                    <a:cubicBezTo>
                      <a:pt x="25" y="0"/>
                      <a:pt x="25" y="0"/>
                      <a:pt x="25" y="0"/>
                    </a:cubicBezTo>
                    <a:cubicBezTo>
                      <a:pt x="11" y="0"/>
                      <a:pt x="11" y="0"/>
                      <a:pt x="11" y="0"/>
                    </a:cubicBezTo>
                    <a:cubicBezTo>
                      <a:pt x="9" y="2"/>
                      <a:pt x="9" y="2"/>
                      <a:pt x="9" y="2"/>
                    </a:cubicBezTo>
                    <a:cubicBezTo>
                      <a:pt x="4" y="13"/>
                      <a:pt x="4" y="13"/>
                      <a:pt x="4" y="13"/>
                    </a:cubicBezTo>
                    <a:cubicBezTo>
                      <a:pt x="0" y="22"/>
                      <a:pt x="0" y="22"/>
                      <a:pt x="0" y="22"/>
                    </a:cubicBezTo>
                    <a:cubicBezTo>
                      <a:pt x="4" y="22"/>
                      <a:pt x="12" y="23"/>
                      <a:pt x="12" y="23"/>
                    </a:cubicBezTo>
                    <a:cubicBezTo>
                      <a:pt x="13" y="23"/>
                      <a:pt x="13" y="16"/>
                      <a:pt x="13" y="16"/>
                    </a:cubicBezTo>
                    <a:close/>
                  </a:path>
                </a:pathLst>
              </a:custGeom>
              <a:solidFill>
                <a:srgbClr val="CD1B31"/>
              </a:solidFill>
              <a:ln w="9525">
                <a:solidFill>
                  <a:sysClr val="window" lastClr="FFFFFF">
                    <a:lumMod val="85000"/>
                  </a:sysClr>
                </a:solidFill>
                <a:round/>
                <a:headEnd/>
                <a:tailEnd/>
              </a:ln>
            </p:spPr>
            <p:txBody>
              <a:bodyPr/>
              <a:lstStyle/>
              <a:p>
                <a:pPr defTabSz="843107">
                  <a:defRPr/>
                </a:pPr>
                <a:endParaRPr lang="en-US" sz="1600" kern="0" dirty="0">
                  <a:solidFill>
                    <a:srgbClr val="263147"/>
                  </a:solidFill>
                </a:endParaRPr>
              </a:p>
            </p:txBody>
          </p:sp>
          <p:cxnSp>
            <p:nvCxnSpPr>
              <p:cNvPr id="300" name="Connecteur droit 226"/>
              <p:cNvCxnSpPr/>
              <p:nvPr/>
            </p:nvCxnSpPr>
            <p:spPr>
              <a:xfrm flipH="1">
                <a:off x="4202906" y="3812381"/>
                <a:ext cx="83344" cy="0"/>
              </a:xfrm>
              <a:prstGeom prst="line">
                <a:avLst/>
              </a:prstGeom>
              <a:noFill/>
              <a:ln w="9525" cap="flat" cmpd="sng" algn="ctr">
                <a:solidFill>
                  <a:srgbClr val="CD1B31"/>
                </a:solidFill>
                <a:prstDash val="solid"/>
              </a:ln>
              <a:effectLst/>
            </p:spPr>
          </p:cxnSp>
        </p:grpSp>
        <p:sp>
          <p:nvSpPr>
            <p:cNvPr id="301" name="ZoneTexte 117"/>
            <p:cNvSpPr txBox="1"/>
            <p:nvPr/>
          </p:nvSpPr>
          <p:spPr>
            <a:xfrm>
              <a:off x="2025571" y="2764012"/>
              <a:ext cx="1328057" cy="905147"/>
            </a:xfrm>
            <a:prstGeom prst="rect">
              <a:avLst/>
            </a:prstGeom>
            <a:noFill/>
          </p:spPr>
          <p:txBody>
            <a:bodyPr wrap="square" lIns="91372" tIns="45686" rIns="91372" bIns="45686" rtlCol="0">
              <a:spAutoFit/>
            </a:bodyPr>
            <a:lstStyle/>
            <a:p>
              <a:pPr defTabSz="914263"/>
              <a:r>
                <a:rPr lang="en-US" b="1" dirty="0">
                  <a:solidFill>
                    <a:srgbClr val="263147">
                      <a:lumMod val="50000"/>
                    </a:srgbClr>
                  </a:solidFill>
                </a:rPr>
                <a:t>North</a:t>
              </a:r>
            </a:p>
            <a:p>
              <a:pPr defTabSz="914263"/>
              <a:r>
                <a:rPr lang="en-US" b="1" dirty="0">
                  <a:solidFill>
                    <a:srgbClr val="263147">
                      <a:lumMod val="50000"/>
                    </a:srgbClr>
                  </a:solidFill>
                </a:rPr>
                <a:t>America</a:t>
              </a:r>
            </a:p>
            <a:p>
              <a:pPr defTabSz="914263"/>
              <a:r>
                <a:rPr lang="en-US" sz="2000" b="1" dirty="0">
                  <a:solidFill>
                    <a:srgbClr val="007299"/>
                  </a:solidFill>
                </a:rPr>
                <a:t>500</a:t>
              </a:r>
              <a:endParaRPr lang="en-US" b="1" dirty="0">
                <a:solidFill>
                  <a:srgbClr val="007299"/>
                </a:solidFill>
              </a:endParaRPr>
            </a:p>
          </p:txBody>
        </p:sp>
        <p:sp>
          <p:nvSpPr>
            <p:cNvPr id="302" name="ZoneTexte 118"/>
            <p:cNvSpPr txBox="1"/>
            <p:nvPr/>
          </p:nvSpPr>
          <p:spPr>
            <a:xfrm>
              <a:off x="2537386" y="4235137"/>
              <a:ext cx="1796143" cy="642343"/>
            </a:xfrm>
            <a:prstGeom prst="rect">
              <a:avLst/>
            </a:prstGeom>
            <a:noFill/>
          </p:spPr>
          <p:txBody>
            <a:bodyPr wrap="square" lIns="91372" tIns="45686" rIns="91372" bIns="45686" rtlCol="0">
              <a:spAutoFit/>
            </a:bodyPr>
            <a:lstStyle/>
            <a:p>
              <a:pPr defTabSz="914263"/>
              <a:r>
                <a:rPr lang="en-US" b="1" dirty="0">
                  <a:solidFill>
                    <a:srgbClr val="263147">
                      <a:lumMod val="50000"/>
                    </a:srgbClr>
                  </a:solidFill>
                </a:rPr>
                <a:t>Latin America</a:t>
              </a:r>
            </a:p>
            <a:p>
              <a:pPr defTabSz="914263"/>
              <a:r>
                <a:rPr lang="en-US" sz="2000" b="1" dirty="0">
                  <a:solidFill>
                    <a:srgbClr val="ED7E13"/>
                  </a:solidFill>
                </a:rPr>
                <a:t>250</a:t>
              </a:r>
              <a:endParaRPr lang="en-US" b="1" dirty="0">
                <a:solidFill>
                  <a:srgbClr val="ED7E13"/>
                </a:solidFill>
              </a:endParaRPr>
            </a:p>
          </p:txBody>
        </p:sp>
        <p:sp>
          <p:nvSpPr>
            <p:cNvPr id="303" name="ZoneTexte 121"/>
            <p:cNvSpPr txBox="1"/>
            <p:nvPr/>
          </p:nvSpPr>
          <p:spPr>
            <a:xfrm>
              <a:off x="9205916" y="2944800"/>
              <a:ext cx="1321754" cy="905147"/>
            </a:xfrm>
            <a:prstGeom prst="rect">
              <a:avLst/>
            </a:prstGeom>
            <a:noFill/>
          </p:spPr>
          <p:txBody>
            <a:bodyPr wrap="square" lIns="91372" tIns="45686" rIns="91372" bIns="45686" rtlCol="0">
              <a:spAutoFit/>
            </a:bodyPr>
            <a:lstStyle/>
            <a:p>
              <a:pPr defTabSz="914263"/>
              <a:r>
                <a:rPr lang="en-US" b="1" dirty="0">
                  <a:solidFill>
                    <a:srgbClr val="263147">
                      <a:lumMod val="50000"/>
                    </a:srgbClr>
                  </a:solidFill>
                </a:rPr>
                <a:t>Asia-Pacific</a:t>
              </a:r>
            </a:p>
            <a:p>
              <a:pPr defTabSz="914263"/>
              <a:r>
                <a:rPr lang="en-US" sz="2000" b="1" dirty="0">
                  <a:solidFill>
                    <a:srgbClr val="0098C7"/>
                  </a:solidFill>
                </a:rPr>
                <a:t>250 </a:t>
              </a:r>
              <a:endParaRPr lang="en-US" b="1" dirty="0">
                <a:solidFill>
                  <a:srgbClr val="0098C7"/>
                </a:solidFill>
              </a:endParaRPr>
            </a:p>
          </p:txBody>
        </p:sp>
        <p:sp>
          <p:nvSpPr>
            <p:cNvPr id="304" name="ZoneTexte 119"/>
            <p:cNvSpPr txBox="1"/>
            <p:nvPr/>
          </p:nvSpPr>
          <p:spPr>
            <a:xfrm>
              <a:off x="7409768" y="3858004"/>
              <a:ext cx="1229179" cy="642343"/>
            </a:xfrm>
            <a:prstGeom prst="rect">
              <a:avLst/>
            </a:prstGeom>
            <a:noFill/>
          </p:spPr>
          <p:txBody>
            <a:bodyPr wrap="square" lIns="91372" tIns="45686" rIns="91372" bIns="45686" rtlCol="0">
              <a:spAutoFit/>
            </a:bodyPr>
            <a:lstStyle/>
            <a:p>
              <a:pPr defTabSz="914263"/>
              <a:r>
                <a:rPr lang="en-US" b="1" dirty="0">
                  <a:solidFill>
                    <a:srgbClr val="263147">
                      <a:lumMod val="50000"/>
                    </a:srgbClr>
                  </a:solidFill>
                </a:rPr>
                <a:t>India</a:t>
              </a:r>
            </a:p>
            <a:p>
              <a:pPr defTabSz="914263"/>
              <a:r>
                <a:rPr lang="en-US" sz="2000" b="1" dirty="0">
                  <a:solidFill>
                    <a:srgbClr val="B7BE16">
                      <a:lumMod val="75000"/>
                    </a:srgbClr>
                  </a:solidFill>
                </a:rPr>
                <a:t>4,500+</a:t>
              </a:r>
              <a:endParaRPr lang="en-US" b="1" dirty="0">
                <a:solidFill>
                  <a:srgbClr val="B7BE16">
                    <a:lumMod val="75000"/>
                  </a:srgbClr>
                </a:solidFill>
              </a:endParaRPr>
            </a:p>
          </p:txBody>
        </p:sp>
        <p:sp>
          <p:nvSpPr>
            <p:cNvPr id="305" name="ZoneTexte 119"/>
            <p:cNvSpPr txBox="1"/>
            <p:nvPr/>
          </p:nvSpPr>
          <p:spPr>
            <a:xfrm>
              <a:off x="4981999" y="3174121"/>
              <a:ext cx="973009" cy="525541"/>
            </a:xfrm>
            <a:prstGeom prst="rect">
              <a:avLst/>
            </a:prstGeom>
            <a:noFill/>
          </p:spPr>
          <p:txBody>
            <a:bodyPr wrap="square" lIns="91372" tIns="45686" rIns="91372" bIns="45686" rtlCol="0">
              <a:spAutoFit/>
            </a:bodyPr>
            <a:lstStyle/>
            <a:p>
              <a:pPr defTabSz="914263"/>
              <a:r>
                <a:rPr lang="en-US" sz="1400" b="1" dirty="0">
                  <a:solidFill>
                    <a:srgbClr val="263147"/>
                  </a:solidFill>
                </a:rPr>
                <a:t>Morocco</a:t>
              </a:r>
            </a:p>
            <a:p>
              <a:pPr defTabSz="914263"/>
              <a:r>
                <a:rPr lang="en-US" sz="1600" b="1" dirty="0">
                  <a:solidFill>
                    <a:srgbClr val="CD1B31"/>
                  </a:solidFill>
                </a:rPr>
                <a:t>200</a:t>
              </a:r>
              <a:endParaRPr lang="en-US" sz="1400" b="1" dirty="0">
                <a:solidFill>
                  <a:srgbClr val="CD1B31"/>
                </a:solidFill>
              </a:endParaRPr>
            </a:p>
          </p:txBody>
        </p:sp>
        <p:sp>
          <p:nvSpPr>
            <p:cNvPr id="308" name="Rectangle 307"/>
            <p:cNvSpPr/>
            <p:nvPr/>
          </p:nvSpPr>
          <p:spPr bwMode="auto">
            <a:xfrm>
              <a:off x="5874626" y="3399433"/>
              <a:ext cx="67144" cy="36000"/>
            </a:xfrm>
            <a:prstGeom prst="rect">
              <a:avLst/>
            </a:prstGeom>
            <a:solidFill>
              <a:srgbClr val="CD1B31"/>
            </a:solidFill>
            <a:ln w="6350" cap="flat" cmpd="sng" algn="ctr">
              <a:noFill/>
              <a:prstDash val="solid"/>
              <a:round/>
              <a:headEnd type="none" w="med" len="med"/>
              <a:tailEnd type="none" w="med" len="med"/>
            </a:ln>
            <a:effectLst/>
          </p:spPr>
          <p:txBody>
            <a:bodyPr vert="horz" wrap="none" lIns="91435" tIns="45718" rIns="91435" bIns="45718" numCol="1" rtlCol="0" anchor="ctr" anchorCtr="0" compatLnSpc="1">
              <a:prstTxWarp prst="textNoShape">
                <a:avLst/>
              </a:prstTxWarp>
            </a:bodyPr>
            <a:lstStyle/>
            <a:p>
              <a:pPr algn="ctr" defTabSz="914263" eaLnBrk="0" fontAlgn="base" hangingPunct="0">
                <a:spcBef>
                  <a:spcPct val="0"/>
                </a:spcBef>
                <a:spcAft>
                  <a:spcPct val="0"/>
                </a:spcAft>
              </a:pPr>
              <a:endParaRPr lang="fr-FR" sz="1600" dirty="0">
                <a:solidFill>
                  <a:srgbClr val="998C85"/>
                </a:solidFill>
                <a:cs typeface="Arial" charset="0"/>
              </a:endParaRPr>
            </a:p>
          </p:txBody>
        </p:sp>
        <p:pic>
          <p:nvPicPr>
            <p:cNvPr id="309" name="Picture 308"/>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761973" y="877144"/>
              <a:ext cx="1615733" cy="206058"/>
            </a:xfrm>
            <a:prstGeom prst="rect">
              <a:avLst/>
            </a:prstGeom>
          </p:spPr>
        </p:pic>
        <p:pic>
          <p:nvPicPr>
            <p:cNvPr id="310" name="Picture 2" descr="Afficher l'image d'origine"/>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582899" y="956746"/>
              <a:ext cx="913879" cy="201053"/>
            </a:xfrm>
            <a:prstGeom prst="rect">
              <a:avLst/>
            </a:prstGeom>
            <a:solidFill>
              <a:schemeClr val="bg1">
                <a:lumMod val="85000"/>
              </a:schemeClr>
            </a:solidFill>
            <a:extLst/>
          </p:spPr>
        </p:pic>
        <p:pic>
          <p:nvPicPr>
            <p:cNvPr id="311" name="Picture 4" descr="Afficher l'image d'origine"/>
            <p:cNvPicPr>
              <a:picLocks noChangeAspect="1" noChangeArrowheads="1"/>
            </p:cNvPicPr>
            <p:nvPr/>
          </p:nvPicPr>
          <p:blipFill>
            <a:blip r:embed="rId5" cstate="screen">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8849242" y="869831"/>
              <a:ext cx="310615" cy="389204"/>
            </a:xfrm>
            <a:prstGeom prst="rect">
              <a:avLst/>
            </a:prstGeom>
            <a:noFill/>
            <a:extLst/>
          </p:spPr>
        </p:pic>
        <p:pic>
          <p:nvPicPr>
            <p:cNvPr id="312" name="Picture 8" descr="Afficher l'image d'origine"/>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679163" y="874012"/>
              <a:ext cx="729362" cy="418365"/>
            </a:xfrm>
            <a:prstGeom prst="rect">
              <a:avLst/>
            </a:prstGeom>
            <a:noFill/>
            <a:extLst>
              <a:ext uri="{909E8E84-426E-40DD-AFC4-6F175D3DCCD1}">
                <a14:hiddenFill xmlns:a14="http://schemas.microsoft.com/office/drawing/2010/main">
                  <a:solidFill>
                    <a:srgbClr val="FFFFFF"/>
                  </a:solidFill>
                </a14:hiddenFill>
              </a:ext>
            </a:extLst>
          </p:spPr>
        </p:pic>
        <p:pic>
          <p:nvPicPr>
            <p:cNvPr id="313" name="Picture 14" descr="Afficher l'image d'origine"/>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081187" y="888118"/>
              <a:ext cx="1055219" cy="62757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4908359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103" y="794"/>
          <a:ext cx="793" cy="793"/>
        </p:xfrm>
        <a:graphic>
          <a:graphicData uri="http://schemas.openxmlformats.org/presentationml/2006/ole">
            <mc:AlternateContent xmlns:mc="http://schemas.openxmlformats.org/markup-compatibility/2006">
              <mc:Choice xmlns:v="urn:schemas-microsoft-com:vml" Requires="v">
                <p:oleObj spid="_x0000_s9121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3" y="794"/>
                        <a:ext cx="793" cy="79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96" name="Group 695"/>
          <p:cNvGrpSpPr/>
          <p:nvPr/>
        </p:nvGrpSpPr>
        <p:grpSpPr>
          <a:xfrm>
            <a:off x="382544" y="1134011"/>
            <a:ext cx="11238737" cy="5201475"/>
            <a:chOff x="2202835" y="2719636"/>
            <a:chExt cx="5500331" cy="2674369"/>
          </a:xfrm>
        </p:grpSpPr>
        <p:sp>
          <p:nvSpPr>
            <p:cNvPr id="789" name="Freeform 788"/>
            <p:cNvSpPr>
              <a:spLocks/>
            </p:cNvSpPr>
            <p:nvPr/>
          </p:nvSpPr>
          <p:spPr bwMode="auto">
            <a:xfrm>
              <a:off x="4682935" y="3813301"/>
              <a:ext cx="283569" cy="244966"/>
            </a:xfrm>
            <a:custGeom>
              <a:avLst/>
              <a:gdLst>
                <a:gd name="T0" fmla="*/ 241 w 286"/>
                <a:gd name="T1" fmla="*/ 207 h 250"/>
                <a:gd name="T2" fmla="*/ 228 w 286"/>
                <a:gd name="T3" fmla="*/ 207 h 250"/>
                <a:gd name="T4" fmla="*/ 219 w 286"/>
                <a:gd name="T5" fmla="*/ 216 h 250"/>
                <a:gd name="T6" fmla="*/ 186 w 286"/>
                <a:gd name="T7" fmla="*/ 216 h 250"/>
                <a:gd name="T8" fmla="*/ 164 w 286"/>
                <a:gd name="T9" fmla="*/ 228 h 250"/>
                <a:gd name="T10" fmla="*/ 143 w 286"/>
                <a:gd name="T11" fmla="*/ 216 h 250"/>
                <a:gd name="T12" fmla="*/ 119 w 286"/>
                <a:gd name="T13" fmla="*/ 216 h 250"/>
                <a:gd name="T14" fmla="*/ 97 w 286"/>
                <a:gd name="T15" fmla="*/ 207 h 250"/>
                <a:gd name="T16" fmla="*/ 76 w 286"/>
                <a:gd name="T17" fmla="*/ 207 h 250"/>
                <a:gd name="T18" fmla="*/ 67 w 286"/>
                <a:gd name="T19" fmla="*/ 228 h 250"/>
                <a:gd name="T20" fmla="*/ 67 w 286"/>
                <a:gd name="T21" fmla="*/ 250 h 250"/>
                <a:gd name="T22" fmla="*/ 55 w 286"/>
                <a:gd name="T23" fmla="*/ 228 h 250"/>
                <a:gd name="T24" fmla="*/ 43 w 286"/>
                <a:gd name="T25" fmla="*/ 238 h 250"/>
                <a:gd name="T26" fmla="*/ 33 w 286"/>
                <a:gd name="T27" fmla="*/ 228 h 250"/>
                <a:gd name="T28" fmla="*/ 21 w 286"/>
                <a:gd name="T29" fmla="*/ 228 h 250"/>
                <a:gd name="T30" fmla="*/ 0 w 286"/>
                <a:gd name="T31" fmla="*/ 195 h 250"/>
                <a:gd name="T32" fmla="*/ 0 w 286"/>
                <a:gd name="T33" fmla="*/ 174 h 250"/>
                <a:gd name="T34" fmla="*/ 67 w 286"/>
                <a:gd name="T35" fmla="*/ 161 h 250"/>
                <a:gd name="T36" fmla="*/ 76 w 286"/>
                <a:gd name="T37" fmla="*/ 152 h 250"/>
                <a:gd name="T38" fmla="*/ 76 w 286"/>
                <a:gd name="T39" fmla="*/ 97 h 250"/>
                <a:gd name="T40" fmla="*/ 97 w 286"/>
                <a:gd name="T41" fmla="*/ 85 h 250"/>
                <a:gd name="T42" fmla="*/ 210 w 286"/>
                <a:gd name="T43" fmla="*/ 0 h 250"/>
                <a:gd name="T44" fmla="*/ 250 w 286"/>
                <a:gd name="T45" fmla="*/ 0 h 250"/>
                <a:gd name="T46" fmla="*/ 262 w 286"/>
                <a:gd name="T47" fmla="*/ 12 h 250"/>
                <a:gd name="T48" fmla="*/ 262 w 286"/>
                <a:gd name="T49" fmla="*/ 43 h 250"/>
                <a:gd name="T50" fmla="*/ 274 w 286"/>
                <a:gd name="T51" fmla="*/ 67 h 250"/>
                <a:gd name="T52" fmla="*/ 286 w 286"/>
                <a:gd name="T53" fmla="*/ 67 h 250"/>
                <a:gd name="T54" fmla="*/ 274 w 286"/>
                <a:gd name="T55" fmla="*/ 131 h 250"/>
                <a:gd name="T56" fmla="*/ 241 w 286"/>
                <a:gd name="T57" fmla="*/ 195 h 250"/>
                <a:gd name="T58" fmla="*/ 241 w 286"/>
                <a:gd name="T59" fmla="*/ 207 h 25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6"/>
                <a:gd name="T91" fmla="*/ 0 h 250"/>
                <a:gd name="T92" fmla="*/ 286 w 286"/>
                <a:gd name="T93" fmla="*/ 250 h 25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6" h="250">
                  <a:moveTo>
                    <a:pt x="241" y="207"/>
                  </a:moveTo>
                  <a:lnTo>
                    <a:pt x="228" y="207"/>
                  </a:lnTo>
                  <a:lnTo>
                    <a:pt x="219" y="216"/>
                  </a:lnTo>
                  <a:lnTo>
                    <a:pt x="186" y="216"/>
                  </a:lnTo>
                  <a:lnTo>
                    <a:pt x="164" y="228"/>
                  </a:lnTo>
                  <a:lnTo>
                    <a:pt x="143" y="216"/>
                  </a:lnTo>
                  <a:lnTo>
                    <a:pt x="119" y="216"/>
                  </a:lnTo>
                  <a:lnTo>
                    <a:pt x="97" y="207"/>
                  </a:lnTo>
                  <a:lnTo>
                    <a:pt x="76" y="207"/>
                  </a:lnTo>
                  <a:lnTo>
                    <a:pt x="67" y="228"/>
                  </a:lnTo>
                  <a:lnTo>
                    <a:pt x="67" y="250"/>
                  </a:lnTo>
                  <a:lnTo>
                    <a:pt x="55" y="228"/>
                  </a:lnTo>
                  <a:lnTo>
                    <a:pt x="43" y="238"/>
                  </a:lnTo>
                  <a:lnTo>
                    <a:pt x="33" y="228"/>
                  </a:lnTo>
                  <a:lnTo>
                    <a:pt x="21" y="228"/>
                  </a:lnTo>
                  <a:lnTo>
                    <a:pt x="0" y="195"/>
                  </a:lnTo>
                  <a:lnTo>
                    <a:pt x="0" y="174"/>
                  </a:lnTo>
                  <a:lnTo>
                    <a:pt x="67" y="161"/>
                  </a:lnTo>
                  <a:lnTo>
                    <a:pt x="76" y="152"/>
                  </a:lnTo>
                  <a:lnTo>
                    <a:pt x="76" y="97"/>
                  </a:lnTo>
                  <a:lnTo>
                    <a:pt x="97" y="85"/>
                  </a:lnTo>
                  <a:lnTo>
                    <a:pt x="210" y="0"/>
                  </a:lnTo>
                  <a:lnTo>
                    <a:pt x="250" y="0"/>
                  </a:lnTo>
                  <a:lnTo>
                    <a:pt x="262" y="12"/>
                  </a:lnTo>
                  <a:lnTo>
                    <a:pt x="262" y="43"/>
                  </a:lnTo>
                  <a:lnTo>
                    <a:pt x="274" y="67"/>
                  </a:lnTo>
                  <a:lnTo>
                    <a:pt x="286" y="67"/>
                  </a:lnTo>
                  <a:lnTo>
                    <a:pt x="274" y="131"/>
                  </a:lnTo>
                  <a:lnTo>
                    <a:pt x="241" y="195"/>
                  </a:lnTo>
                  <a:lnTo>
                    <a:pt x="241" y="207"/>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790" name="Freeform 789"/>
            <p:cNvSpPr>
              <a:spLocks/>
            </p:cNvSpPr>
            <p:nvPr/>
          </p:nvSpPr>
          <p:spPr bwMode="auto">
            <a:xfrm>
              <a:off x="4725245" y="4015832"/>
              <a:ext cx="205249" cy="188064"/>
            </a:xfrm>
            <a:custGeom>
              <a:avLst/>
              <a:gdLst>
                <a:gd name="T0" fmla="*/ 207 w 207"/>
                <a:gd name="T1" fmla="*/ 9 h 192"/>
                <a:gd name="T2" fmla="*/ 207 w 207"/>
                <a:gd name="T3" fmla="*/ 21 h 192"/>
                <a:gd name="T4" fmla="*/ 207 w 207"/>
                <a:gd name="T5" fmla="*/ 43 h 192"/>
                <a:gd name="T6" fmla="*/ 198 w 207"/>
                <a:gd name="T7" fmla="*/ 52 h 192"/>
                <a:gd name="T8" fmla="*/ 185 w 207"/>
                <a:gd name="T9" fmla="*/ 97 h 192"/>
                <a:gd name="T10" fmla="*/ 176 w 207"/>
                <a:gd name="T11" fmla="*/ 107 h 192"/>
                <a:gd name="T12" fmla="*/ 167 w 207"/>
                <a:gd name="T13" fmla="*/ 140 h 192"/>
                <a:gd name="T14" fmla="*/ 155 w 207"/>
                <a:gd name="T15" fmla="*/ 152 h 192"/>
                <a:gd name="T16" fmla="*/ 143 w 207"/>
                <a:gd name="T17" fmla="*/ 140 h 192"/>
                <a:gd name="T18" fmla="*/ 131 w 207"/>
                <a:gd name="T19" fmla="*/ 140 h 192"/>
                <a:gd name="T20" fmla="*/ 109 w 207"/>
                <a:gd name="T21" fmla="*/ 183 h 192"/>
                <a:gd name="T22" fmla="*/ 54 w 207"/>
                <a:gd name="T23" fmla="*/ 192 h 192"/>
                <a:gd name="T24" fmla="*/ 54 w 207"/>
                <a:gd name="T25" fmla="*/ 183 h 192"/>
                <a:gd name="T26" fmla="*/ 45 w 207"/>
                <a:gd name="T27" fmla="*/ 161 h 192"/>
                <a:gd name="T28" fmla="*/ 24 w 207"/>
                <a:gd name="T29" fmla="*/ 152 h 192"/>
                <a:gd name="T30" fmla="*/ 0 w 207"/>
                <a:gd name="T31" fmla="*/ 152 h 192"/>
                <a:gd name="T32" fmla="*/ 0 w 207"/>
                <a:gd name="T33" fmla="*/ 107 h 192"/>
                <a:gd name="T34" fmla="*/ 24 w 207"/>
                <a:gd name="T35" fmla="*/ 64 h 192"/>
                <a:gd name="T36" fmla="*/ 24 w 207"/>
                <a:gd name="T37" fmla="*/ 43 h 192"/>
                <a:gd name="T38" fmla="*/ 24 w 207"/>
                <a:gd name="T39" fmla="*/ 21 h 192"/>
                <a:gd name="T40" fmla="*/ 33 w 207"/>
                <a:gd name="T41" fmla="*/ 0 h 192"/>
                <a:gd name="T42" fmla="*/ 54 w 207"/>
                <a:gd name="T43" fmla="*/ 0 h 192"/>
                <a:gd name="T44" fmla="*/ 76 w 207"/>
                <a:gd name="T45" fmla="*/ 9 h 192"/>
                <a:gd name="T46" fmla="*/ 100 w 207"/>
                <a:gd name="T47" fmla="*/ 9 h 192"/>
                <a:gd name="T48" fmla="*/ 121 w 207"/>
                <a:gd name="T49" fmla="*/ 21 h 192"/>
                <a:gd name="T50" fmla="*/ 143 w 207"/>
                <a:gd name="T51" fmla="*/ 9 h 192"/>
                <a:gd name="T52" fmla="*/ 176 w 207"/>
                <a:gd name="T53" fmla="*/ 9 h 192"/>
                <a:gd name="T54" fmla="*/ 185 w 207"/>
                <a:gd name="T55" fmla="*/ 0 h 192"/>
                <a:gd name="T56" fmla="*/ 198 w 207"/>
                <a:gd name="T57" fmla="*/ 0 h 192"/>
                <a:gd name="T58" fmla="*/ 207 w 207"/>
                <a:gd name="T59" fmla="*/ 9 h 19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07"/>
                <a:gd name="T91" fmla="*/ 0 h 192"/>
                <a:gd name="T92" fmla="*/ 207 w 207"/>
                <a:gd name="T93" fmla="*/ 192 h 19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07" h="192">
                  <a:moveTo>
                    <a:pt x="207" y="9"/>
                  </a:moveTo>
                  <a:lnTo>
                    <a:pt x="207" y="21"/>
                  </a:lnTo>
                  <a:lnTo>
                    <a:pt x="207" y="43"/>
                  </a:lnTo>
                  <a:lnTo>
                    <a:pt x="198" y="52"/>
                  </a:lnTo>
                  <a:lnTo>
                    <a:pt x="185" y="97"/>
                  </a:lnTo>
                  <a:lnTo>
                    <a:pt x="176" y="107"/>
                  </a:lnTo>
                  <a:lnTo>
                    <a:pt x="167" y="140"/>
                  </a:lnTo>
                  <a:lnTo>
                    <a:pt x="155" y="152"/>
                  </a:lnTo>
                  <a:lnTo>
                    <a:pt x="143" y="140"/>
                  </a:lnTo>
                  <a:lnTo>
                    <a:pt x="131" y="140"/>
                  </a:lnTo>
                  <a:lnTo>
                    <a:pt x="109" y="183"/>
                  </a:lnTo>
                  <a:lnTo>
                    <a:pt x="54" y="192"/>
                  </a:lnTo>
                  <a:lnTo>
                    <a:pt x="54" y="183"/>
                  </a:lnTo>
                  <a:lnTo>
                    <a:pt x="45" y="161"/>
                  </a:lnTo>
                  <a:lnTo>
                    <a:pt x="24" y="152"/>
                  </a:lnTo>
                  <a:lnTo>
                    <a:pt x="0" y="152"/>
                  </a:lnTo>
                  <a:lnTo>
                    <a:pt x="0" y="107"/>
                  </a:lnTo>
                  <a:lnTo>
                    <a:pt x="24" y="64"/>
                  </a:lnTo>
                  <a:lnTo>
                    <a:pt x="24" y="43"/>
                  </a:lnTo>
                  <a:lnTo>
                    <a:pt x="24" y="21"/>
                  </a:lnTo>
                  <a:lnTo>
                    <a:pt x="33" y="0"/>
                  </a:lnTo>
                  <a:lnTo>
                    <a:pt x="54" y="0"/>
                  </a:lnTo>
                  <a:lnTo>
                    <a:pt x="76" y="9"/>
                  </a:lnTo>
                  <a:lnTo>
                    <a:pt x="100" y="9"/>
                  </a:lnTo>
                  <a:lnTo>
                    <a:pt x="121" y="21"/>
                  </a:lnTo>
                  <a:lnTo>
                    <a:pt x="143" y="9"/>
                  </a:lnTo>
                  <a:lnTo>
                    <a:pt x="176" y="9"/>
                  </a:lnTo>
                  <a:lnTo>
                    <a:pt x="185" y="0"/>
                  </a:lnTo>
                  <a:lnTo>
                    <a:pt x="198" y="0"/>
                  </a:lnTo>
                  <a:lnTo>
                    <a:pt x="207" y="9"/>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791" name="Freeform 790"/>
            <p:cNvSpPr>
              <a:spLocks/>
            </p:cNvSpPr>
            <p:nvPr/>
          </p:nvSpPr>
          <p:spPr bwMode="auto">
            <a:xfrm>
              <a:off x="4942197" y="4066947"/>
              <a:ext cx="238558" cy="161060"/>
            </a:xfrm>
            <a:custGeom>
              <a:avLst/>
              <a:gdLst>
                <a:gd name="T0" fmla="*/ 0 w 240"/>
                <a:gd name="T1" fmla="*/ 131 h 164"/>
                <a:gd name="T2" fmla="*/ 24 w 240"/>
                <a:gd name="T3" fmla="*/ 164 h 164"/>
                <a:gd name="T4" fmla="*/ 33 w 240"/>
                <a:gd name="T5" fmla="*/ 155 h 164"/>
                <a:gd name="T6" fmla="*/ 42 w 240"/>
                <a:gd name="T7" fmla="*/ 155 h 164"/>
                <a:gd name="T8" fmla="*/ 55 w 240"/>
                <a:gd name="T9" fmla="*/ 155 h 164"/>
                <a:gd name="T10" fmla="*/ 79 w 240"/>
                <a:gd name="T11" fmla="*/ 155 h 164"/>
                <a:gd name="T12" fmla="*/ 88 w 240"/>
                <a:gd name="T13" fmla="*/ 119 h 164"/>
                <a:gd name="T14" fmla="*/ 100 w 240"/>
                <a:gd name="T15" fmla="*/ 119 h 164"/>
                <a:gd name="T16" fmla="*/ 109 w 240"/>
                <a:gd name="T17" fmla="*/ 131 h 164"/>
                <a:gd name="T18" fmla="*/ 143 w 240"/>
                <a:gd name="T19" fmla="*/ 140 h 164"/>
                <a:gd name="T20" fmla="*/ 155 w 240"/>
                <a:gd name="T21" fmla="*/ 131 h 164"/>
                <a:gd name="T22" fmla="*/ 240 w 240"/>
                <a:gd name="T23" fmla="*/ 119 h 164"/>
                <a:gd name="T24" fmla="*/ 186 w 240"/>
                <a:gd name="T25" fmla="*/ 55 h 164"/>
                <a:gd name="T26" fmla="*/ 164 w 240"/>
                <a:gd name="T27" fmla="*/ 45 h 164"/>
                <a:gd name="T28" fmla="*/ 164 w 240"/>
                <a:gd name="T29" fmla="*/ 24 h 164"/>
                <a:gd name="T30" fmla="*/ 143 w 240"/>
                <a:gd name="T31" fmla="*/ 0 h 164"/>
                <a:gd name="T32" fmla="*/ 131 w 240"/>
                <a:gd name="T33" fmla="*/ 12 h 164"/>
                <a:gd name="T34" fmla="*/ 109 w 240"/>
                <a:gd name="T35" fmla="*/ 33 h 164"/>
                <a:gd name="T36" fmla="*/ 79 w 240"/>
                <a:gd name="T37" fmla="*/ 45 h 164"/>
                <a:gd name="T38" fmla="*/ 79 w 240"/>
                <a:gd name="T39" fmla="*/ 55 h 164"/>
                <a:gd name="T40" fmla="*/ 64 w 240"/>
                <a:gd name="T41" fmla="*/ 67 h 164"/>
                <a:gd name="T42" fmla="*/ 12 w 240"/>
                <a:gd name="T43" fmla="*/ 76 h 164"/>
                <a:gd name="T44" fmla="*/ 0 w 240"/>
                <a:gd name="T45" fmla="*/ 109 h 164"/>
                <a:gd name="T46" fmla="*/ 0 w 240"/>
                <a:gd name="T47" fmla="*/ 131 h 16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40"/>
                <a:gd name="T73" fmla="*/ 0 h 164"/>
                <a:gd name="T74" fmla="*/ 240 w 240"/>
                <a:gd name="T75" fmla="*/ 164 h 16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40" h="164">
                  <a:moveTo>
                    <a:pt x="0" y="131"/>
                  </a:moveTo>
                  <a:lnTo>
                    <a:pt x="24" y="164"/>
                  </a:lnTo>
                  <a:lnTo>
                    <a:pt x="33" y="155"/>
                  </a:lnTo>
                  <a:lnTo>
                    <a:pt x="42" y="155"/>
                  </a:lnTo>
                  <a:lnTo>
                    <a:pt x="55" y="155"/>
                  </a:lnTo>
                  <a:lnTo>
                    <a:pt x="79" y="155"/>
                  </a:lnTo>
                  <a:lnTo>
                    <a:pt x="88" y="119"/>
                  </a:lnTo>
                  <a:lnTo>
                    <a:pt x="100" y="119"/>
                  </a:lnTo>
                  <a:lnTo>
                    <a:pt x="109" y="131"/>
                  </a:lnTo>
                  <a:lnTo>
                    <a:pt x="143" y="140"/>
                  </a:lnTo>
                  <a:lnTo>
                    <a:pt x="155" y="131"/>
                  </a:lnTo>
                  <a:lnTo>
                    <a:pt x="240" y="119"/>
                  </a:lnTo>
                  <a:lnTo>
                    <a:pt x="186" y="55"/>
                  </a:lnTo>
                  <a:lnTo>
                    <a:pt x="164" y="45"/>
                  </a:lnTo>
                  <a:lnTo>
                    <a:pt x="164" y="24"/>
                  </a:lnTo>
                  <a:lnTo>
                    <a:pt x="143" y="0"/>
                  </a:lnTo>
                  <a:lnTo>
                    <a:pt x="131" y="12"/>
                  </a:lnTo>
                  <a:lnTo>
                    <a:pt x="109" y="33"/>
                  </a:lnTo>
                  <a:lnTo>
                    <a:pt x="79" y="45"/>
                  </a:lnTo>
                  <a:lnTo>
                    <a:pt x="79" y="55"/>
                  </a:lnTo>
                  <a:lnTo>
                    <a:pt x="64" y="67"/>
                  </a:lnTo>
                  <a:lnTo>
                    <a:pt x="12" y="76"/>
                  </a:lnTo>
                  <a:lnTo>
                    <a:pt x="0" y="109"/>
                  </a:lnTo>
                  <a:lnTo>
                    <a:pt x="0" y="131"/>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792" name="Freeform 791"/>
            <p:cNvSpPr>
              <a:spLocks/>
            </p:cNvSpPr>
            <p:nvPr/>
          </p:nvSpPr>
          <p:spPr bwMode="auto">
            <a:xfrm>
              <a:off x="4899887" y="4183643"/>
              <a:ext cx="346583" cy="372271"/>
            </a:xfrm>
            <a:custGeom>
              <a:avLst/>
              <a:gdLst>
                <a:gd name="T0" fmla="*/ 198 w 350"/>
                <a:gd name="T1" fmla="*/ 12 h 380"/>
                <a:gd name="T2" fmla="*/ 283 w 350"/>
                <a:gd name="T3" fmla="*/ 0 h 380"/>
                <a:gd name="T4" fmla="*/ 296 w 350"/>
                <a:gd name="T5" fmla="*/ 12 h 380"/>
                <a:gd name="T6" fmla="*/ 320 w 350"/>
                <a:gd name="T7" fmla="*/ 12 h 380"/>
                <a:gd name="T8" fmla="*/ 338 w 350"/>
                <a:gd name="T9" fmla="*/ 36 h 380"/>
                <a:gd name="T10" fmla="*/ 338 w 350"/>
                <a:gd name="T11" fmla="*/ 54 h 380"/>
                <a:gd name="T12" fmla="*/ 350 w 350"/>
                <a:gd name="T13" fmla="*/ 67 h 380"/>
                <a:gd name="T14" fmla="*/ 338 w 350"/>
                <a:gd name="T15" fmla="*/ 76 h 380"/>
                <a:gd name="T16" fmla="*/ 329 w 350"/>
                <a:gd name="T17" fmla="*/ 97 h 380"/>
                <a:gd name="T18" fmla="*/ 320 w 350"/>
                <a:gd name="T19" fmla="*/ 130 h 380"/>
                <a:gd name="T20" fmla="*/ 305 w 350"/>
                <a:gd name="T21" fmla="*/ 152 h 380"/>
                <a:gd name="T22" fmla="*/ 305 w 350"/>
                <a:gd name="T23" fmla="*/ 164 h 380"/>
                <a:gd name="T24" fmla="*/ 320 w 350"/>
                <a:gd name="T25" fmla="*/ 173 h 380"/>
                <a:gd name="T26" fmla="*/ 320 w 350"/>
                <a:gd name="T27" fmla="*/ 197 h 380"/>
                <a:gd name="T28" fmla="*/ 320 w 350"/>
                <a:gd name="T29" fmla="*/ 237 h 380"/>
                <a:gd name="T30" fmla="*/ 338 w 350"/>
                <a:gd name="T31" fmla="*/ 274 h 380"/>
                <a:gd name="T32" fmla="*/ 329 w 350"/>
                <a:gd name="T33" fmla="*/ 274 h 380"/>
                <a:gd name="T34" fmla="*/ 305 w 350"/>
                <a:gd name="T35" fmla="*/ 283 h 380"/>
                <a:gd name="T36" fmla="*/ 305 w 350"/>
                <a:gd name="T37" fmla="*/ 295 h 380"/>
                <a:gd name="T38" fmla="*/ 296 w 350"/>
                <a:gd name="T39" fmla="*/ 347 h 380"/>
                <a:gd name="T40" fmla="*/ 305 w 350"/>
                <a:gd name="T41" fmla="*/ 359 h 380"/>
                <a:gd name="T42" fmla="*/ 320 w 350"/>
                <a:gd name="T43" fmla="*/ 359 h 380"/>
                <a:gd name="T44" fmla="*/ 320 w 350"/>
                <a:gd name="T45" fmla="*/ 380 h 380"/>
                <a:gd name="T46" fmla="*/ 296 w 350"/>
                <a:gd name="T47" fmla="*/ 368 h 380"/>
                <a:gd name="T48" fmla="*/ 262 w 350"/>
                <a:gd name="T49" fmla="*/ 347 h 380"/>
                <a:gd name="T50" fmla="*/ 253 w 350"/>
                <a:gd name="T51" fmla="*/ 347 h 380"/>
                <a:gd name="T52" fmla="*/ 219 w 350"/>
                <a:gd name="T53" fmla="*/ 328 h 380"/>
                <a:gd name="T54" fmla="*/ 174 w 350"/>
                <a:gd name="T55" fmla="*/ 338 h 380"/>
                <a:gd name="T56" fmla="*/ 186 w 350"/>
                <a:gd name="T57" fmla="*/ 328 h 380"/>
                <a:gd name="T58" fmla="*/ 174 w 350"/>
                <a:gd name="T59" fmla="*/ 304 h 380"/>
                <a:gd name="T60" fmla="*/ 174 w 350"/>
                <a:gd name="T61" fmla="*/ 261 h 380"/>
                <a:gd name="T62" fmla="*/ 152 w 350"/>
                <a:gd name="T63" fmla="*/ 252 h 380"/>
                <a:gd name="T64" fmla="*/ 131 w 350"/>
                <a:gd name="T65" fmla="*/ 252 h 380"/>
                <a:gd name="T66" fmla="*/ 131 w 350"/>
                <a:gd name="T67" fmla="*/ 274 h 380"/>
                <a:gd name="T68" fmla="*/ 98 w 350"/>
                <a:gd name="T69" fmla="*/ 274 h 380"/>
                <a:gd name="T70" fmla="*/ 85 w 350"/>
                <a:gd name="T71" fmla="*/ 261 h 380"/>
                <a:gd name="T72" fmla="*/ 76 w 350"/>
                <a:gd name="T73" fmla="*/ 228 h 380"/>
                <a:gd name="T74" fmla="*/ 67 w 350"/>
                <a:gd name="T75" fmla="*/ 228 h 380"/>
                <a:gd name="T76" fmla="*/ 22 w 350"/>
                <a:gd name="T77" fmla="*/ 228 h 380"/>
                <a:gd name="T78" fmla="*/ 0 w 350"/>
                <a:gd name="T79" fmla="*/ 237 h 380"/>
                <a:gd name="T80" fmla="*/ 0 w 350"/>
                <a:gd name="T81" fmla="*/ 228 h 380"/>
                <a:gd name="T82" fmla="*/ 0 w 350"/>
                <a:gd name="T83" fmla="*/ 207 h 380"/>
                <a:gd name="T84" fmla="*/ 9 w 350"/>
                <a:gd name="T85" fmla="*/ 207 h 380"/>
                <a:gd name="T86" fmla="*/ 22 w 350"/>
                <a:gd name="T87" fmla="*/ 207 h 380"/>
                <a:gd name="T88" fmla="*/ 31 w 350"/>
                <a:gd name="T89" fmla="*/ 197 h 380"/>
                <a:gd name="T90" fmla="*/ 43 w 350"/>
                <a:gd name="T91" fmla="*/ 207 h 380"/>
                <a:gd name="T92" fmla="*/ 67 w 350"/>
                <a:gd name="T93" fmla="*/ 185 h 380"/>
                <a:gd name="T94" fmla="*/ 76 w 350"/>
                <a:gd name="T95" fmla="*/ 152 h 380"/>
                <a:gd name="T96" fmla="*/ 98 w 350"/>
                <a:gd name="T97" fmla="*/ 121 h 380"/>
                <a:gd name="T98" fmla="*/ 107 w 350"/>
                <a:gd name="T99" fmla="*/ 67 h 380"/>
                <a:gd name="T100" fmla="*/ 122 w 350"/>
                <a:gd name="T101" fmla="*/ 36 h 380"/>
                <a:gd name="T102" fmla="*/ 131 w 350"/>
                <a:gd name="T103" fmla="*/ 0 h 380"/>
                <a:gd name="T104" fmla="*/ 143 w 350"/>
                <a:gd name="T105" fmla="*/ 0 h 380"/>
                <a:gd name="T106" fmla="*/ 152 w 350"/>
                <a:gd name="T107" fmla="*/ 12 h 380"/>
                <a:gd name="T108" fmla="*/ 186 w 350"/>
                <a:gd name="T109" fmla="*/ 21 h 380"/>
                <a:gd name="T110" fmla="*/ 198 w 350"/>
                <a:gd name="T111" fmla="*/ 12 h 38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50"/>
                <a:gd name="T169" fmla="*/ 0 h 380"/>
                <a:gd name="T170" fmla="*/ 350 w 350"/>
                <a:gd name="T171" fmla="*/ 380 h 38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50" h="380">
                  <a:moveTo>
                    <a:pt x="198" y="12"/>
                  </a:moveTo>
                  <a:lnTo>
                    <a:pt x="283" y="0"/>
                  </a:lnTo>
                  <a:lnTo>
                    <a:pt x="296" y="12"/>
                  </a:lnTo>
                  <a:lnTo>
                    <a:pt x="320" y="12"/>
                  </a:lnTo>
                  <a:lnTo>
                    <a:pt x="338" y="36"/>
                  </a:lnTo>
                  <a:lnTo>
                    <a:pt x="338" y="54"/>
                  </a:lnTo>
                  <a:lnTo>
                    <a:pt x="350" y="67"/>
                  </a:lnTo>
                  <a:lnTo>
                    <a:pt x="338" y="76"/>
                  </a:lnTo>
                  <a:lnTo>
                    <a:pt x="329" y="97"/>
                  </a:lnTo>
                  <a:lnTo>
                    <a:pt x="320" y="130"/>
                  </a:lnTo>
                  <a:lnTo>
                    <a:pt x="305" y="152"/>
                  </a:lnTo>
                  <a:lnTo>
                    <a:pt x="305" y="164"/>
                  </a:lnTo>
                  <a:lnTo>
                    <a:pt x="320" y="173"/>
                  </a:lnTo>
                  <a:lnTo>
                    <a:pt x="320" y="197"/>
                  </a:lnTo>
                  <a:lnTo>
                    <a:pt x="320" y="237"/>
                  </a:lnTo>
                  <a:lnTo>
                    <a:pt x="338" y="274"/>
                  </a:lnTo>
                  <a:lnTo>
                    <a:pt x="329" y="274"/>
                  </a:lnTo>
                  <a:lnTo>
                    <a:pt x="305" y="283"/>
                  </a:lnTo>
                  <a:lnTo>
                    <a:pt x="305" y="295"/>
                  </a:lnTo>
                  <a:lnTo>
                    <a:pt x="296" y="347"/>
                  </a:lnTo>
                  <a:lnTo>
                    <a:pt x="305" y="359"/>
                  </a:lnTo>
                  <a:lnTo>
                    <a:pt x="320" y="359"/>
                  </a:lnTo>
                  <a:lnTo>
                    <a:pt x="320" y="380"/>
                  </a:lnTo>
                  <a:lnTo>
                    <a:pt x="296" y="368"/>
                  </a:lnTo>
                  <a:lnTo>
                    <a:pt x="262" y="347"/>
                  </a:lnTo>
                  <a:lnTo>
                    <a:pt x="253" y="347"/>
                  </a:lnTo>
                  <a:lnTo>
                    <a:pt x="219" y="328"/>
                  </a:lnTo>
                  <a:lnTo>
                    <a:pt x="174" y="338"/>
                  </a:lnTo>
                  <a:lnTo>
                    <a:pt x="186" y="328"/>
                  </a:lnTo>
                  <a:lnTo>
                    <a:pt x="174" y="304"/>
                  </a:lnTo>
                  <a:lnTo>
                    <a:pt x="174" y="261"/>
                  </a:lnTo>
                  <a:lnTo>
                    <a:pt x="152" y="252"/>
                  </a:lnTo>
                  <a:lnTo>
                    <a:pt x="131" y="252"/>
                  </a:lnTo>
                  <a:lnTo>
                    <a:pt x="131" y="274"/>
                  </a:lnTo>
                  <a:lnTo>
                    <a:pt x="98" y="274"/>
                  </a:lnTo>
                  <a:lnTo>
                    <a:pt x="85" y="261"/>
                  </a:lnTo>
                  <a:lnTo>
                    <a:pt x="76" y="228"/>
                  </a:lnTo>
                  <a:lnTo>
                    <a:pt x="67" y="228"/>
                  </a:lnTo>
                  <a:lnTo>
                    <a:pt x="22" y="228"/>
                  </a:lnTo>
                  <a:lnTo>
                    <a:pt x="0" y="237"/>
                  </a:lnTo>
                  <a:lnTo>
                    <a:pt x="0" y="228"/>
                  </a:lnTo>
                  <a:lnTo>
                    <a:pt x="0" y="207"/>
                  </a:lnTo>
                  <a:lnTo>
                    <a:pt x="9" y="207"/>
                  </a:lnTo>
                  <a:lnTo>
                    <a:pt x="22" y="207"/>
                  </a:lnTo>
                  <a:lnTo>
                    <a:pt x="31" y="197"/>
                  </a:lnTo>
                  <a:lnTo>
                    <a:pt x="43" y="207"/>
                  </a:lnTo>
                  <a:lnTo>
                    <a:pt x="67" y="185"/>
                  </a:lnTo>
                  <a:lnTo>
                    <a:pt x="76" y="152"/>
                  </a:lnTo>
                  <a:lnTo>
                    <a:pt x="98" y="121"/>
                  </a:lnTo>
                  <a:lnTo>
                    <a:pt x="107" y="67"/>
                  </a:lnTo>
                  <a:lnTo>
                    <a:pt x="122" y="36"/>
                  </a:lnTo>
                  <a:lnTo>
                    <a:pt x="131" y="0"/>
                  </a:lnTo>
                  <a:lnTo>
                    <a:pt x="143" y="0"/>
                  </a:lnTo>
                  <a:lnTo>
                    <a:pt x="152" y="12"/>
                  </a:lnTo>
                  <a:lnTo>
                    <a:pt x="186" y="21"/>
                  </a:lnTo>
                  <a:lnTo>
                    <a:pt x="198" y="12"/>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793" name="Freeform 792"/>
            <p:cNvSpPr>
              <a:spLocks/>
            </p:cNvSpPr>
            <p:nvPr/>
          </p:nvSpPr>
          <p:spPr bwMode="auto">
            <a:xfrm>
              <a:off x="4834171" y="4025476"/>
              <a:ext cx="132332" cy="232429"/>
            </a:xfrm>
            <a:custGeom>
              <a:avLst/>
              <a:gdLst>
                <a:gd name="T0" fmla="*/ 90 w 134"/>
                <a:gd name="T1" fmla="*/ 0 h 238"/>
                <a:gd name="T2" fmla="*/ 102 w 134"/>
                <a:gd name="T3" fmla="*/ 12 h 238"/>
                <a:gd name="T4" fmla="*/ 102 w 134"/>
                <a:gd name="T5" fmla="*/ 43 h 238"/>
                <a:gd name="T6" fmla="*/ 114 w 134"/>
                <a:gd name="T7" fmla="*/ 67 h 238"/>
                <a:gd name="T8" fmla="*/ 90 w 134"/>
                <a:gd name="T9" fmla="*/ 67 h 238"/>
                <a:gd name="T10" fmla="*/ 90 w 134"/>
                <a:gd name="T11" fmla="*/ 76 h 238"/>
                <a:gd name="T12" fmla="*/ 102 w 134"/>
                <a:gd name="T13" fmla="*/ 88 h 238"/>
                <a:gd name="T14" fmla="*/ 114 w 134"/>
                <a:gd name="T15" fmla="*/ 119 h 238"/>
                <a:gd name="T16" fmla="*/ 102 w 134"/>
                <a:gd name="T17" fmla="*/ 152 h 238"/>
                <a:gd name="T18" fmla="*/ 102 w 134"/>
                <a:gd name="T19" fmla="*/ 174 h 238"/>
                <a:gd name="T20" fmla="*/ 126 w 134"/>
                <a:gd name="T21" fmla="*/ 207 h 238"/>
                <a:gd name="T22" fmla="*/ 126 w 134"/>
                <a:gd name="T23" fmla="*/ 238 h 238"/>
                <a:gd name="T24" fmla="*/ 81 w 134"/>
                <a:gd name="T25" fmla="*/ 229 h 238"/>
                <a:gd name="T26" fmla="*/ 46 w 134"/>
                <a:gd name="T27" fmla="*/ 229 h 238"/>
                <a:gd name="T28" fmla="*/ 22 w 134"/>
                <a:gd name="T29" fmla="*/ 229 h 238"/>
                <a:gd name="T30" fmla="*/ 22 w 134"/>
                <a:gd name="T31" fmla="*/ 207 h 238"/>
                <a:gd name="T32" fmla="*/ 12 w 134"/>
                <a:gd name="T33" fmla="*/ 183 h 238"/>
                <a:gd name="T34" fmla="*/ 0 w 134"/>
                <a:gd name="T35" fmla="*/ 183 h 238"/>
                <a:gd name="T36" fmla="*/ 0 w 134"/>
                <a:gd name="T37" fmla="*/ 174 h 238"/>
                <a:gd name="T38" fmla="*/ 22 w 134"/>
                <a:gd name="T39" fmla="*/ 131 h 238"/>
                <a:gd name="T40" fmla="*/ 34 w 134"/>
                <a:gd name="T41" fmla="*/ 131 h 238"/>
                <a:gd name="T42" fmla="*/ 46 w 134"/>
                <a:gd name="T43" fmla="*/ 143 h 238"/>
                <a:gd name="T44" fmla="*/ 58 w 134"/>
                <a:gd name="T45" fmla="*/ 131 h 238"/>
                <a:gd name="T46" fmla="*/ 67 w 134"/>
                <a:gd name="T47" fmla="*/ 98 h 238"/>
                <a:gd name="T48" fmla="*/ 68 w 134"/>
                <a:gd name="T49" fmla="*/ 88 h 238"/>
                <a:gd name="T50" fmla="*/ 81 w 134"/>
                <a:gd name="T51" fmla="*/ 43 h 238"/>
                <a:gd name="T52" fmla="*/ 90 w 134"/>
                <a:gd name="T53" fmla="*/ 34 h 238"/>
                <a:gd name="T54" fmla="*/ 90 w 134"/>
                <a:gd name="T55" fmla="*/ 12 h 238"/>
                <a:gd name="T56" fmla="*/ 90 w 134"/>
                <a:gd name="T57" fmla="*/ 0 h 23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4"/>
                <a:gd name="T88" fmla="*/ 0 h 238"/>
                <a:gd name="T89" fmla="*/ 134 w 134"/>
                <a:gd name="T90" fmla="*/ 238 h 23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4" h="238">
                  <a:moveTo>
                    <a:pt x="98" y="0"/>
                  </a:moveTo>
                  <a:lnTo>
                    <a:pt x="110" y="12"/>
                  </a:lnTo>
                  <a:lnTo>
                    <a:pt x="110" y="43"/>
                  </a:lnTo>
                  <a:lnTo>
                    <a:pt x="122" y="67"/>
                  </a:lnTo>
                  <a:lnTo>
                    <a:pt x="98" y="67"/>
                  </a:lnTo>
                  <a:lnTo>
                    <a:pt x="98" y="76"/>
                  </a:lnTo>
                  <a:lnTo>
                    <a:pt x="110" y="88"/>
                  </a:lnTo>
                  <a:lnTo>
                    <a:pt x="122" y="119"/>
                  </a:lnTo>
                  <a:lnTo>
                    <a:pt x="110" y="152"/>
                  </a:lnTo>
                  <a:lnTo>
                    <a:pt x="110" y="174"/>
                  </a:lnTo>
                  <a:lnTo>
                    <a:pt x="134" y="207"/>
                  </a:lnTo>
                  <a:lnTo>
                    <a:pt x="134" y="238"/>
                  </a:lnTo>
                  <a:lnTo>
                    <a:pt x="89" y="229"/>
                  </a:lnTo>
                  <a:lnTo>
                    <a:pt x="46" y="229"/>
                  </a:lnTo>
                  <a:lnTo>
                    <a:pt x="22" y="229"/>
                  </a:lnTo>
                  <a:lnTo>
                    <a:pt x="22" y="207"/>
                  </a:lnTo>
                  <a:lnTo>
                    <a:pt x="12" y="183"/>
                  </a:lnTo>
                  <a:lnTo>
                    <a:pt x="0" y="183"/>
                  </a:lnTo>
                  <a:lnTo>
                    <a:pt x="0" y="174"/>
                  </a:lnTo>
                  <a:lnTo>
                    <a:pt x="22" y="131"/>
                  </a:lnTo>
                  <a:lnTo>
                    <a:pt x="34" y="131"/>
                  </a:lnTo>
                  <a:lnTo>
                    <a:pt x="46" y="143"/>
                  </a:lnTo>
                  <a:lnTo>
                    <a:pt x="58" y="131"/>
                  </a:lnTo>
                  <a:lnTo>
                    <a:pt x="67" y="98"/>
                  </a:lnTo>
                  <a:lnTo>
                    <a:pt x="76" y="88"/>
                  </a:lnTo>
                  <a:lnTo>
                    <a:pt x="89" y="43"/>
                  </a:lnTo>
                  <a:lnTo>
                    <a:pt x="98" y="34"/>
                  </a:lnTo>
                  <a:lnTo>
                    <a:pt x="98" y="12"/>
                  </a:lnTo>
                  <a:lnTo>
                    <a:pt x="98"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794" name="Freeform 793"/>
            <p:cNvSpPr>
              <a:spLocks/>
            </p:cNvSpPr>
            <p:nvPr/>
          </p:nvSpPr>
          <p:spPr bwMode="auto">
            <a:xfrm>
              <a:off x="4921493" y="3824874"/>
              <a:ext cx="183644" cy="316334"/>
            </a:xfrm>
            <a:custGeom>
              <a:avLst/>
              <a:gdLst>
                <a:gd name="T0" fmla="*/ 21 w 185"/>
                <a:gd name="T1" fmla="*/ 31 h 323"/>
                <a:gd name="T2" fmla="*/ 21 w 185"/>
                <a:gd name="T3" fmla="*/ 0 h 323"/>
                <a:gd name="T4" fmla="*/ 54 w 185"/>
                <a:gd name="T5" fmla="*/ 0 h 323"/>
                <a:gd name="T6" fmla="*/ 185 w 185"/>
                <a:gd name="T7" fmla="*/ 73 h 323"/>
                <a:gd name="T8" fmla="*/ 185 w 185"/>
                <a:gd name="T9" fmla="*/ 140 h 323"/>
                <a:gd name="T10" fmla="*/ 185 w 185"/>
                <a:gd name="T11" fmla="*/ 149 h 323"/>
                <a:gd name="T12" fmla="*/ 176 w 185"/>
                <a:gd name="T13" fmla="*/ 149 h 323"/>
                <a:gd name="T14" fmla="*/ 152 w 185"/>
                <a:gd name="T15" fmla="*/ 204 h 323"/>
                <a:gd name="T16" fmla="*/ 176 w 185"/>
                <a:gd name="T17" fmla="*/ 238 h 323"/>
                <a:gd name="T18" fmla="*/ 164 w 185"/>
                <a:gd name="T19" fmla="*/ 247 h 323"/>
                <a:gd name="T20" fmla="*/ 152 w 185"/>
                <a:gd name="T21" fmla="*/ 259 h 323"/>
                <a:gd name="T22" fmla="*/ 130 w 185"/>
                <a:gd name="T23" fmla="*/ 280 h 323"/>
                <a:gd name="T24" fmla="*/ 100 w 185"/>
                <a:gd name="T25" fmla="*/ 292 h 323"/>
                <a:gd name="T26" fmla="*/ 100 w 185"/>
                <a:gd name="T27" fmla="*/ 302 h 323"/>
                <a:gd name="T28" fmla="*/ 85 w 185"/>
                <a:gd name="T29" fmla="*/ 314 h 323"/>
                <a:gd name="T30" fmla="*/ 33 w 185"/>
                <a:gd name="T31" fmla="*/ 323 h 323"/>
                <a:gd name="T32" fmla="*/ 21 w 185"/>
                <a:gd name="T33" fmla="*/ 292 h 323"/>
                <a:gd name="T34" fmla="*/ 9 w 185"/>
                <a:gd name="T35" fmla="*/ 280 h 323"/>
                <a:gd name="T36" fmla="*/ 9 w 185"/>
                <a:gd name="T37" fmla="*/ 271 h 323"/>
                <a:gd name="T38" fmla="*/ 33 w 185"/>
                <a:gd name="T39" fmla="*/ 271 h 323"/>
                <a:gd name="T40" fmla="*/ 21 w 185"/>
                <a:gd name="T41" fmla="*/ 247 h 323"/>
                <a:gd name="T42" fmla="*/ 21 w 185"/>
                <a:gd name="T43" fmla="*/ 216 h 323"/>
                <a:gd name="T44" fmla="*/ 9 w 185"/>
                <a:gd name="T45" fmla="*/ 204 h 323"/>
                <a:gd name="T46" fmla="*/ 0 w 185"/>
                <a:gd name="T47" fmla="*/ 195 h 323"/>
                <a:gd name="T48" fmla="*/ 0 w 185"/>
                <a:gd name="T49" fmla="*/ 183 h 323"/>
                <a:gd name="T50" fmla="*/ 33 w 185"/>
                <a:gd name="T51" fmla="*/ 119 h 323"/>
                <a:gd name="T52" fmla="*/ 45 w 185"/>
                <a:gd name="T53" fmla="*/ 55 h 323"/>
                <a:gd name="T54" fmla="*/ 33 w 185"/>
                <a:gd name="T55" fmla="*/ 55 h 323"/>
                <a:gd name="T56" fmla="*/ 21 w 185"/>
                <a:gd name="T57" fmla="*/ 31 h 32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5"/>
                <a:gd name="T88" fmla="*/ 0 h 323"/>
                <a:gd name="T89" fmla="*/ 185 w 185"/>
                <a:gd name="T90" fmla="*/ 323 h 32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5" h="323">
                  <a:moveTo>
                    <a:pt x="21" y="31"/>
                  </a:moveTo>
                  <a:lnTo>
                    <a:pt x="21" y="0"/>
                  </a:lnTo>
                  <a:lnTo>
                    <a:pt x="54" y="0"/>
                  </a:lnTo>
                  <a:lnTo>
                    <a:pt x="185" y="73"/>
                  </a:lnTo>
                  <a:lnTo>
                    <a:pt x="185" y="140"/>
                  </a:lnTo>
                  <a:lnTo>
                    <a:pt x="185" y="149"/>
                  </a:lnTo>
                  <a:lnTo>
                    <a:pt x="176" y="149"/>
                  </a:lnTo>
                  <a:lnTo>
                    <a:pt x="152" y="204"/>
                  </a:lnTo>
                  <a:lnTo>
                    <a:pt x="176" y="238"/>
                  </a:lnTo>
                  <a:lnTo>
                    <a:pt x="164" y="247"/>
                  </a:lnTo>
                  <a:lnTo>
                    <a:pt x="152" y="259"/>
                  </a:lnTo>
                  <a:lnTo>
                    <a:pt x="130" y="280"/>
                  </a:lnTo>
                  <a:lnTo>
                    <a:pt x="100" y="292"/>
                  </a:lnTo>
                  <a:lnTo>
                    <a:pt x="100" y="302"/>
                  </a:lnTo>
                  <a:lnTo>
                    <a:pt x="85" y="314"/>
                  </a:lnTo>
                  <a:lnTo>
                    <a:pt x="33" y="323"/>
                  </a:lnTo>
                  <a:lnTo>
                    <a:pt x="21" y="292"/>
                  </a:lnTo>
                  <a:lnTo>
                    <a:pt x="9" y="280"/>
                  </a:lnTo>
                  <a:lnTo>
                    <a:pt x="9" y="271"/>
                  </a:lnTo>
                  <a:lnTo>
                    <a:pt x="33" y="271"/>
                  </a:lnTo>
                  <a:lnTo>
                    <a:pt x="21" y="247"/>
                  </a:lnTo>
                  <a:lnTo>
                    <a:pt x="21" y="216"/>
                  </a:lnTo>
                  <a:lnTo>
                    <a:pt x="9" y="204"/>
                  </a:lnTo>
                  <a:lnTo>
                    <a:pt x="0" y="195"/>
                  </a:lnTo>
                  <a:lnTo>
                    <a:pt x="0" y="183"/>
                  </a:lnTo>
                  <a:lnTo>
                    <a:pt x="33" y="119"/>
                  </a:lnTo>
                  <a:lnTo>
                    <a:pt x="45" y="55"/>
                  </a:lnTo>
                  <a:lnTo>
                    <a:pt x="33" y="55"/>
                  </a:lnTo>
                  <a:lnTo>
                    <a:pt x="21" y="31"/>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795" name="Freeform 794"/>
            <p:cNvSpPr>
              <a:spLocks/>
            </p:cNvSpPr>
            <p:nvPr/>
          </p:nvSpPr>
          <p:spPr bwMode="auto">
            <a:xfrm>
              <a:off x="5105137" y="2802576"/>
              <a:ext cx="2212736" cy="662566"/>
            </a:xfrm>
            <a:custGeom>
              <a:avLst/>
              <a:gdLst>
                <a:gd name="T0" fmla="*/ 679 w 2233"/>
                <a:gd name="T1" fmla="*/ 88 h 676"/>
                <a:gd name="T2" fmla="*/ 719 w 2233"/>
                <a:gd name="T3" fmla="*/ 36 h 676"/>
                <a:gd name="T4" fmla="*/ 917 w 2233"/>
                <a:gd name="T5" fmla="*/ 12 h 676"/>
                <a:gd name="T6" fmla="*/ 1008 w 2233"/>
                <a:gd name="T7" fmla="*/ 55 h 676"/>
                <a:gd name="T8" fmla="*/ 1124 w 2233"/>
                <a:gd name="T9" fmla="*/ 67 h 676"/>
                <a:gd name="T10" fmla="*/ 1279 w 2233"/>
                <a:gd name="T11" fmla="*/ 88 h 676"/>
                <a:gd name="T12" fmla="*/ 1432 w 2233"/>
                <a:gd name="T13" fmla="*/ 100 h 676"/>
                <a:gd name="T14" fmla="*/ 1715 w 2233"/>
                <a:gd name="T15" fmla="*/ 122 h 676"/>
                <a:gd name="T16" fmla="*/ 1849 w 2233"/>
                <a:gd name="T17" fmla="*/ 131 h 676"/>
                <a:gd name="T18" fmla="*/ 2141 w 2233"/>
                <a:gd name="T19" fmla="*/ 177 h 676"/>
                <a:gd name="T20" fmla="*/ 2166 w 2233"/>
                <a:gd name="T21" fmla="*/ 207 h 676"/>
                <a:gd name="T22" fmla="*/ 2111 w 2233"/>
                <a:gd name="T23" fmla="*/ 219 h 676"/>
                <a:gd name="T24" fmla="*/ 2089 w 2233"/>
                <a:gd name="T25" fmla="*/ 292 h 676"/>
                <a:gd name="T26" fmla="*/ 2010 w 2233"/>
                <a:gd name="T27" fmla="*/ 304 h 676"/>
                <a:gd name="T28" fmla="*/ 2044 w 2233"/>
                <a:gd name="T29" fmla="*/ 359 h 676"/>
                <a:gd name="T30" fmla="*/ 2065 w 2233"/>
                <a:gd name="T31" fmla="*/ 435 h 676"/>
                <a:gd name="T32" fmla="*/ 1943 w 2233"/>
                <a:gd name="T33" fmla="*/ 347 h 676"/>
                <a:gd name="T34" fmla="*/ 1934 w 2233"/>
                <a:gd name="T35" fmla="*/ 253 h 676"/>
                <a:gd name="T36" fmla="*/ 1858 w 2233"/>
                <a:gd name="T37" fmla="*/ 304 h 676"/>
                <a:gd name="T38" fmla="*/ 1791 w 2233"/>
                <a:gd name="T39" fmla="*/ 317 h 676"/>
                <a:gd name="T40" fmla="*/ 1706 w 2233"/>
                <a:gd name="T41" fmla="*/ 423 h 676"/>
                <a:gd name="T42" fmla="*/ 1782 w 2233"/>
                <a:gd name="T43" fmla="*/ 435 h 676"/>
                <a:gd name="T44" fmla="*/ 1791 w 2233"/>
                <a:gd name="T45" fmla="*/ 639 h 676"/>
                <a:gd name="T46" fmla="*/ 1773 w 2233"/>
                <a:gd name="T47" fmla="*/ 600 h 676"/>
                <a:gd name="T48" fmla="*/ 1684 w 2233"/>
                <a:gd name="T49" fmla="*/ 524 h 676"/>
                <a:gd name="T50" fmla="*/ 1477 w 2233"/>
                <a:gd name="T51" fmla="*/ 435 h 676"/>
                <a:gd name="T52" fmla="*/ 1444 w 2233"/>
                <a:gd name="T53" fmla="*/ 499 h 676"/>
                <a:gd name="T54" fmla="*/ 1191 w 2233"/>
                <a:gd name="T55" fmla="*/ 469 h 676"/>
                <a:gd name="T56" fmla="*/ 1084 w 2233"/>
                <a:gd name="T57" fmla="*/ 490 h 676"/>
                <a:gd name="T58" fmla="*/ 963 w 2233"/>
                <a:gd name="T59" fmla="*/ 508 h 676"/>
                <a:gd name="T60" fmla="*/ 810 w 2233"/>
                <a:gd name="T61" fmla="*/ 435 h 676"/>
                <a:gd name="T62" fmla="*/ 710 w 2233"/>
                <a:gd name="T63" fmla="*/ 414 h 676"/>
                <a:gd name="T64" fmla="*/ 612 w 2233"/>
                <a:gd name="T65" fmla="*/ 405 h 676"/>
                <a:gd name="T66" fmla="*/ 536 w 2233"/>
                <a:gd name="T67" fmla="*/ 444 h 676"/>
                <a:gd name="T68" fmla="*/ 512 w 2233"/>
                <a:gd name="T69" fmla="*/ 478 h 676"/>
                <a:gd name="T70" fmla="*/ 417 w 2233"/>
                <a:gd name="T71" fmla="*/ 460 h 676"/>
                <a:gd name="T72" fmla="*/ 360 w 2233"/>
                <a:gd name="T73" fmla="*/ 499 h 676"/>
                <a:gd name="T74" fmla="*/ 381 w 2233"/>
                <a:gd name="T75" fmla="*/ 566 h 676"/>
                <a:gd name="T76" fmla="*/ 396 w 2233"/>
                <a:gd name="T77" fmla="*/ 664 h 676"/>
                <a:gd name="T78" fmla="*/ 296 w 2233"/>
                <a:gd name="T79" fmla="*/ 630 h 676"/>
                <a:gd name="T80" fmla="*/ 207 w 2233"/>
                <a:gd name="T81" fmla="*/ 566 h 676"/>
                <a:gd name="T82" fmla="*/ 229 w 2233"/>
                <a:gd name="T83" fmla="*/ 545 h 676"/>
                <a:gd name="T84" fmla="*/ 153 w 2233"/>
                <a:gd name="T85" fmla="*/ 490 h 676"/>
                <a:gd name="T86" fmla="*/ 76 w 2233"/>
                <a:gd name="T87" fmla="*/ 435 h 676"/>
                <a:gd name="T88" fmla="*/ 34 w 2233"/>
                <a:gd name="T89" fmla="*/ 368 h 676"/>
                <a:gd name="T90" fmla="*/ 34 w 2233"/>
                <a:gd name="T91" fmla="*/ 304 h 676"/>
                <a:gd name="T92" fmla="*/ 34 w 2233"/>
                <a:gd name="T93" fmla="*/ 207 h 676"/>
                <a:gd name="T94" fmla="*/ 12 w 2233"/>
                <a:gd name="T95" fmla="*/ 143 h 676"/>
                <a:gd name="T96" fmla="*/ 143 w 2233"/>
                <a:gd name="T97" fmla="*/ 186 h 676"/>
                <a:gd name="T98" fmla="*/ 143 w 2233"/>
                <a:gd name="T99" fmla="*/ 219 h 676"/>
                <a:gd name="T100" fmla="*/ 220 w 2233"/>
                <a:gd name="T101" fmla="*/ 186 h 676"/>
                <a:gd name="T102" fmla="*/ 253 w 2233"/>
                <a:gd name="T103" fmla="*/ 161 h 676"/>
                <a:gd name="T104" fmla="*/ 360 w 2233"/>
                <a:gd name="T105" fmla="*/ 152 h 676"/>
                <a:gd name="T106" fmla="*/ 436 w 2233"/>
                <a:gd name="T107" fmla="*/ 143 h 676"/>
                <a:gd name="T108" fmla="*/ 503 w 2233"/>
                <a:gd name="T109" fmla="*/ 113 h 676"/>
                <a:gd name="T110" fmla="*/ 558 w 2233"/>
                <a:gd name="T111" fmla="*/ 100 h 676"/>
                <a:gd name="T112" fmla="*/ 603 w 2233"/>
                <a:gd name="T113" fmla="*/ 186 h 676"/>
                <a:gd name="T114" fmla="*/ 591 w 2233"/>
                <a:gd name="T115" fmla="*/ 113 h 6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233"/>
                <a:gd name="T175" fmla="*/ 0 h 676"/>
                <a:gd name="T176" fmla="*/ 2233 w 2233"/>
                <a:gd name="T177" fmla="*/ 676 h 6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233" h="676">
                  <a:moveTo>
                    <a:pt x="591" y="76"/>
                  </a:moveTo>
                  <a:lnTo>
                    <a:pt x="603" y="100"/>
                  </a:lnTo>
                  <a:lnTo>
                    <a:pt x="643" y="113"/>
                  </a:lnTo>
                  <a:lnTo>
                    <a:pt x="603" y="88"/>
                  </a:lnTo>
                  <a:lnTo>
                    <a:pt x="612" y="76"/>
                  </a:lnTo>
                  <a:lnTo>
                    <a:pt x="679" y="88"/>
                  </a:lnTo>
                  <a:lnTo>
                    <a:pt x="689" y="88"/>
                  </a:lnTo>
                  <a:lnTo>
                    <a:pt x="658" y="76"/>
                  </a:lnTo>
                  <a:lnTo>
                    <a:pt x="643" y="67"/>
                  </a:lnTo>
                  <a:lnTo>
                    <a:pt x="719" y="55"/>
                  </a:lnTo>
                  <a:lnTo>
                    <a:pt x="701" y="46"/>
                  </a:lnTo>
                  <a:lnTo>
                    <a:pt x="719" y="36"/>
                  </a:lnTo>
                  <a:lnTo>
                    <a:pt x="765" y="24"/>
                  </a:lnTo>
                  <a:lnTo>
                    <a:pt x="841" y="24"/>
                  </a:lnTo>
                  <a:lnTo>
                    <a:pt x="841" y="12"/>
                  </a:lnTo>
                  <a:lnTo>
                    <a:pt x="865" y="0"/>
                  </a:lnTo>
                  <a:lnTo>
                    <a:pt x="896" y="0"/>
                  </a:lnTo>
                  <a:lnTo>
                    <a:pt x="917" y="12"/>
                  </a:lnTo>
                  <a:lnTo>
                    <a:pt x="972" y="12"/>
                  </a:lnTo>
                  <a:lnTo>
                    <a:pt x="1017" y="24"/>
                  </a:lnTo>
                  <a:lnTo>
                    <a:pt x="1027" y="36"/>
                  </a:lnTo>
                  <a:lnTo>
                    <a:pt x="972" y="67"/>
                  </a:lnTo>
                  <a:lnTo>
                    <a:pt x="1017" y="67"/>
                  </a:lnTo>
                  <a:lnTo>
                    <a:pt x="1008" y="55"/>
                  </a:lnTo>
                  <a:lnTo>
                    <a:pt x="1048" y="55"/>
                  </a:lnTo>
                  <a:lnTo>
                    <a:pt x="1017" y="46"/>
                  </a:lnTo>
                  <a:lnTo>
                    <a:pt x="1039" y="46"/>
                  </a:lnTo>
                  <a:lnTo>
                    <a:pt x="1060" y="67"/>
                  </a:lnTo>
                  <a:lnTo>
                    <a:pt x="1115" y="67"/>
                  </a:lnTo>
                  <a:lnTo>
                    <a:pt x="1124" y="67"/>
                  </a:lnTo>
                  <a:lnTo>
                    <a:pt x="1148" y="67"/>
                  </a:lnTo>
                  <a:lnTo>
                    <a:pt x="1191" y="67"/>
                  </a:lnTo>
                  <a:lnTo>
                    <a:pt x="1170" y="55"/>
                  </a:lnTo>
                  <a:lnTo>
                    <a:pt x="1246" y="67"/>
                  </a:lnTo>
                  <a:lnTo>
                    <a:pt x="1279" y="76"/>
                  </a:lnTo>
                  <a:lnTo>
                    <a:pt x="1279" y="88"/>
                  </a:lnTo>
                  <a:lnTo>
                    <a:pt x="1334" y="113"/>
                  </a:lnTo>
                  <a:lnTo>
                    <a:pt x="1334" y="100"/>
                  </a:lnTo>
                  <a:lnTo>
                    <a:pt x="1322" y="88"/>
                  </a:lnTo>
                  <a:lnTo>
                    <a:pt x="1368" y="100"/>
                  </a:lnTo>
                  <a:lnTo>
                    <a:pt x="1377" y="88"/>
                  </a:lnTo>
                  <a:lnTo>
                    <a:pt x="1432" y="100"/>
                  </a:lnTo>
                  <a:lnTo>
                    <a:pt x="1413" y="88"/>
                  </a:lnTo>
                  <a:lnTo>
                    <a:pt x="1413" y="76"/>
                  </a:lnTo>
                  <a:lnTo>
                    <a:pt x="1544" y="88"/>
                  </a:lnTo>
                  <a:lnTo>
                    <a:pt x="1605" y="113"/>
                  </a:lnTo>
                  <a:lnTo>
                    <a:pt x="1684" y="113"/>
                  </a:lnTo>
                  <a:lnTo>
                    <a:pt x="1715" y="122"/>
                  </a:lnTo>
                  <a:lnTo>
                    <a:pt x="1751" y="131"/>
                  </a:lnTo>
                  <a:lnTo>
                    <a:pt x="1837" y="131"/>
                  </a:lnTo>
                  <a:lnTo>
                    <a:pt x="1837" y="122"/>
                  </a:lnTo>
                  <a:lnTo>
                    <a:pt x="1858" y="122"/>
                  </a:lnTo>
                  <a:lnTo>
                    <a:pt x="1858" y="131"/>
                  </a:lnTo>
                  <a:lnTo>
                    <a:pt x="1849" y="131"/>
                  </a:lnTo>
                  <a:lnTo>
                    <a:pt x="1879" y="143"/>
                  </a:lnTo>
                  <a:lnTo>
                    <a:pt x="1891" y="143"/>
                  </a:lnTo>
                  <a:lnTo>
                    <a:pt x="1858" y="122"/>
                  </a:lnTo>
                  <a:lnTo>
                    <a:pt x="1943" y="122"/>
                  </a:lnTo>
                  <a:lnTo>
                    <a:pt x="2010" y="143"/>
                  </a:lnTo>
                  <a:lnTo>
                    <a:pt x="2141" y="177"/>
                  </a:lnTo>
                  <a:lnTo>
                    <a:pt x="2175" y="177"/>
                  </a:lnTo>
                  <a:lnTo>
                    <a:pt x="2233" y="186"/>
                  </a:lnTo>
                  <a:lnTo>
                    <a:pt x="2233" y="198"/>
                  </a:lnTo>
                  <a:lnTo>
                    <a:pt x="2208" y="198"/>
                  </a:lnTo>
                  <a:lnTo>
                    <a:pt x="2233" y="219"/>
                  </a:lnTo>
                  <a:lnTo>
                    <a:pt x="2166" y="207"/>
                  </a:lnTo>
                  <a:lnTo>
                    <a:pt x="2120" y="198"/>
                  </a:lnTo>
                  <a:lnTo>
                    <a:pt x="2099" y="186"/>
                  </a:lnTo>
                  <a:lnTo>
                    <a:pt x="2089" y="198"/>
                  </a:lnTo>
                  <a:lnTo>
                    <a:pt x="2111" y="198"/>
                  </a:lnTo>
                  <a:lnTo>
                    <a:pt x="2111" y="207"/>
                  </a:lnTo>
                  <a:lnTo>
                    <a:pt x="2111" y="219"/>
                  </a:lnTo>
                  <a:lnTo>
                    <a:pt x="2089" y="219"/>
                  </a:lnTo>
                  <a:lnTo>
                    <a:pt x="2166" y="253"/>
                  </a:lnTo>
                  <a:lnTo>
                    <a:pt x="2166" y="262"/>
                  </a:lnTo>
                  <a:lnTo>
                    <a:pt x="2132" y="253"/>
                  </a:lnTo>
                  <a:lnTo>
                    <a:pt x="2120" y="262"/>
                  </a:lnTo>
                  <a:lnTo>
                    <a:pt x="2089" y="292"/>
                  </a:lnTo>
                  <a:lnTo>
                    <a:pt x="2099" y="304"/>
                  </a:lnTo>
                  <a:lnTo>
                    <a:pt x="2056" y="292"/>
                  </a:lnTo>
                  <a:lnTo>
                    <a:pt x="2044" y="292"/>
                  </a:lnTo>
                  <a:lnTo>
                    <a:pt x="2044" y="304"/>
                  </a:lnTo>
                  <a:lnTo>
                    <a:pt x="2022" y="292"/>
                  </a:lnTo>
                  <a:lnTo>
                    <a:pt x="2010" y="304"/>
                  </a:lnTo>
                  <a:lnTo>
                    <a:pt x="2001" y="304"/>
                  </a:lnTo>
                  <a:lnTo>
                    <a:pt x="2010" y="317"/>
                  </a:lnTo>
                  <a:lnTo>
                    <a:pt x="2010" y="338"/>
                  </a:lnTo>
                  <a:lnTo>
                    <a:pt x="2022" y="347"/>
                  </a:lnTo>
                  <a:lnTo>
                    <a:pt x="2035" y="347"/>
                  </a:lnTo>
                  <a:lnTo>
                    <a:pt x="2044" y="359"/>
                  </a:lnTo>
                  <a:lnTo>
                    <a:pt x="2065" y="368"/>
                  </a:lnTo>
                  <a:lnTo>
                    <a:pt x="2056" y="384"/>
                  </a:lnTo>
                  <a:lnTo>
                    <a:pt x="2077" y="405"/>
                  </a:lnTo>
                  <a:lnTo>
                    <a:pt x="2056" y="414"/>
                  </a:lnTo>
                  <a:lnTo>
                    <a:pt x="2077" y="435"/>
                  </a:lnTo>
                  <a:lnTo>
                    <a:pt x="2065" y="435"/>
                  </a:lnTo>
                  <a:lnTo>
                    <a:pt x="2065" y="469"/>
                  </a:lnTo>
                  <a:lnTo>
                    <a:pt x="2065" y="478"/>
                  </a:lnTo>
                  <a:lnTo>
                    <a:pt x="1968" y="393"/>
                  </a:lnTo>
                  <a:lnTo>
                    <a:pt x="1943" y="359"/>
                  </a:lnTo>
                  <a:lnTo>
                    <a:pt x="1958" y="359"/>
                  </a:lnTo>
                  <a:lnTo>
                    <a:pt x="1943" y="347"/>
                  </a:lnTo>
                  <a:lnTo>
                    <a:pt x="1958" y="338"/>
                  </a:lnTo>
                  <a:lnTo>
                    <a:pt x="1968" y="292"/>
                  </a:lnTo>
                  <a:lnTo>
                    <a:pt x="1980" y="283"/>
                  </a:lnTo>
                  <a:lnTo>
                    <a:pt x="1958" y="262"/>
                  </a:lnTo>
                  <a:lnTo>
                    <a:pt x="1958" y="253"/>
                  </a:lnTo>
                  <a:lnTo>
                    <a:pt x="1934" y="253"/>
                  </a:lnTo>
                  <a:lnTo>
                    <a:pt x="1943" y="274"/>
                  </a:lnTo>
                  <a:lnTo>
                    <a:pt x="1934" y="292"/>
                  </a:lnTo>
                  <a:lnTo>
                    <a:pt x="1913" y="283"/>
                  </a:lnTo>
                  <a:lnTo>
                    <a:pt x="1913" y="274"/>
                  </a:lnTo>
                  <a:lnTo>
                    <a:pt x="1867" y="274"/>
                  </a:lnTo>
                  <a:lnTo>
                    <a:pt x="1858" y="304"/>
                  </a:lnTo>
                  <a:lnTo>
                    <a:pt x="1867" y="317"/>
                  </a:lnTo>
                  <a:lnTo>
                    <a:pt x="1891" y="317"/>
                  </a:lnTo>
                  <a:lnTo>
                    <a:pt x="1837" y="329"/>
                  </a:lnTo>
                  <a:lnTo>
                    <a:pt x="1827" y="304"/>
                  </a:lnTo>
                  <a:lnTo>
                    <a:pt x="1791" y="304"/>
                  </a:lnTo>
                  <a:lnTo>
                    <a:pt x="1791" y="317"/>
                  </a:lnTo>
                  <a:lnTo>
                    <a:pt x="1715" y="317"/>
                  </a:lnTo>
                  <a:lnTo>
                    <a:pt x="1697" y="317"/>
                  </a:lnTo>
                  <a:lnTo>
                    <a:pt x="1684" y="384"/>
                  </a:lnTo>
                  <a:lnTo>
                    <a:pt x="1660" y="405"/>
                  </a:lnTo>
                  <a:lnTo>
                    <a:pt x="1697" y="405"/>
                  </a:lnTo>
                  <a:lnTo>
                    <a:pt x="1706" y="423"/>
                  </a:lnTo>
                  <a:lnTo>
                    <a:pt x="1706" y="414"/>
                  </a:lnTo>
                  <a:lnTo>
                    <a:pt x="1715" y="414"/>
                  </a:lnTo>
                  <a:lnTo>
                    <a:pt x="1715" y="423"/>
                  </a:lnTo>
                  <a:lnTo>
                    <a:pt x="1727" y="423"/>
                  </a:lnTo>
                  <a:lnTo>
                    <a:pt x="1736" y="414"/>
                  </a:lnTo>
                  <a:lnTo>
                    <a:pt x="1782" y="435"/>
                  </a:lnTo>
                  <a:lnTo>
                    <a:pt x="1803" y="478"/>
                  </a:lnTo>
                  <a:lnTo>
                    <a:pt x="1837" y="524"/>
                  </a:lnTo>
                  <a:lnTo>
                    <a:pt x="1837" y="584"/>
                  </a:lnTo>
                  <a:lnTo>
                    <a:pt x="1812" y="609"/>
                  </a:lnTo>
                  <a:lnTo>
                    <a:pt x="1812" y="630"/>
                  </a:lnTo>
                  <a:lnTo>
                    <a:pt x="1791" y="639"/>
                  </a:lnTo>
                  <a:lnTo>
                    <a:pt x="1773" y="630"/>
                  </a:lnTo>
                  <a:lnTo>
                    <a:pt x="1760" y="639"/>
                  </a:lnTo>
                  <a:lnTo>
                    <a:pt x="1760" y="630"/>
                  </a:lnTo>
                  <a:lnTo>
                    <a:pt x="1736" y="600"/>
                  </a:lnTo>
                  <a:lnTo>
                    <a:pt x="1751" y="584"/>
                  </a:lnTo>
                  <a:lnTo>
                    <a:pt x="1773" y="600"/>
                  </a:lnTo>
                  <a:lnTo>
                    <a:pt x="1760" y="554"/>
                  </a:lnTo>
                  <a:lnTo>
                    <a:pt x="1760" y="545"/>
                  </a:lnTo>
                  <a:lnTo>
                    <a:pt x="1751" y="524"/>
                  </a:lnTo>
                  <a:lnTo>
                    <a:pt x="1715" y="545"/>
                  </a:lnTo>
                  <a:lnTo>
                    <a:pt x="1706" y="545"/>
                  </a:lnTo>
                  <a:lnTo>
                    <a:pt x="1684" y="524"/>
                  </a:lnTo>
                  <a:lnTo>
                    <a:pt x="1651" y="508"/>
                  </a:lnTo>
                  <a:lnTo>
                    <a:pt x="1620" y="499"/>
                  </a:lnTo>
                  <a:lnTo>
                    <a:pt x="1596" y="478"/>
                  </a:lnTo>
                  <a:lnTo>
                    <a:pt x="1553" y="435"/>
                  </a:lnTo>
                  <a:lnTo>
                    <a:pt x="1508" y="423"/>
                  </a:lnTo>
                  <a:lnTo>
                    <a:pt x="1477" y="435"/>
                  </a:lnTo>
                  <a:lnTo>
                    <a:pt x="1465" y="444"/>
                  </a:lnTo>
                  <a:lnTo>
                    <a:pt x="1489" y="460"/>
                  </a:lnTo>
                  <a:lnTo>
                    <a:pt x="1477" y="469"/>
                  </a:lnTo>
                  <a:lnTo>
                    <a:pt x="1489" y="490"/>
                  </a:lnTo>
                  <a:lnTo>
                    <a:pt x="1465" y="499"/>
                  </a:lnTo>
                  <a:lnTo>
                    <a:pt x="1444" y="499"/>
                  </a:lnTo>
                  <a:lnTo>
                    <a:pt x="1413" y="490"/>
                  </a:lnTo>
                  <a:lnTo>
                    <a:pt x="1389" y="499"/>
                  </a:lnTo>
                  <a:lnTo>
                    <a:pt x="1346" y="508"/>
                  </a:lnTo>
                  <a:lnTo>
                    <a:pt x="1267" y="490"/>
                  </a:lnTo>
                  <a:lnTo>
                    <a:pt x="1225" y="490"/>
                  </a:lnTo>
                  <a:lnTo>
                    <a:pt x="1191" y="469"/>
                  </a:lnTo>
                  <a:lnTo>
                    <a:pt x="1148" y="460"/>
                  </a:lnTo>
                  <a:lnTo>
                    <a:pt x="1139" y="469"/>
                  </a:lnTo>
                  <a:lnTo>
                    <a:pt x="1148" y="478"/>
                  </a:lnTo>
                  <a:lnTo>
                    <a:pt x="1148" y="499"/>
                  </a:lnTo>
                  <a:lnTo>
                    <a:pt x="1103" y="499"/>
                  </a:lnTo>
                  <a:lnTo>
                    <a:pt x="1084" y="490"/>
                  </a:lnTo>
                  <a:lnTo>
                    <a:pt x="1048" y="478"/>
                  </a:lnTo>
                  <a:lnTo>
                    <a:pt x="993" y="508"/>
                  </a:lnTo>
                  <a:lnTo>
                    <a:pt x="984" y="524"/>
                  </a:lnTo>
                  <a:lnTo>
                    <a:pt x="984" y="508"/>
                  </a:lnTo>
                  <a:lnTo>
                    <a:pt x="972" y="499"/>
                  </a:lnTo>
                  <a:lnTo>
                    <a:pt x="963" y="508"/>
                  </a:lnTo>
                  <a:lnTo>
                    <a:pt x="950" y="499"/>
                  </a:lnTo>
                  <a:lnTo>
                    <a:pt x="908" y="478"/>
                  </a:lnTo>
                  <a:lnTo>
                    <a:pt x="874" y="478"/>
                  </a:lnTo>
                  <a:lnTo>
                    <a:pt x="865" y="469"/>
                  </a:lnTo>
                  <a:lnTo>
                    <a:pt x="853" y="478"/>
                  </a:lnTo>
                  <a:lnTo>
                    <a:pt x="810" y="435"/>
                  </a:lnTo>
                  <a:lnTo>
                    <a:pt x="777" y="414"/>
                  </a:lnTo>
                  <a:lnTo>
                    <a:pt x="765" y="414"/>
                  </a:lnTo>
                  <a:lnTo>
                    <a:pt x="743" y="423"/>
                  </a:lnTo>
                  <a:lnTo>
                    <a:pt x="734" y="423"/>
                  </a:lnTo>
                  <a:lnTo>
                    <a:pt x="734" y="414"/>
                  </a:lnTo>
                  <a:lnTo>
                    <a:pt x="710" y="414"/>
                  </a:lnTo>
                  <a:lnTo>
                    <a:pt x="689" y="414"/>
                  </a:lnTo>
                  <a:lnTo>
                    <a:pt x="689" y="405"/>
                  </a:lnTo>
                  <a:lnTo>
                    <a:pt x="679" y="393"/>
                  </a:lnTo>
                  <a:lnTo>
                    <a:pt x="643" y="393"/>
                  </a:lnTo>
                  <a:lnTo>
                    <a:pt x="643" y="405"/>
                  </a:lnTo>
                  <a:lnTo>
                    <a:pt x="612" y="405"/>
                  </a:lnTo>
                  <a:lnTo>
                    <a:pt x="558" y="414"/>
                  </a:lnTo>
                  <a:lnTo>
                    <a:pt x="536" y="414"/>
                  </a:lnTo>
                  <a:lnTo>
                    <a:pt x="536" y="423"/>
                  </a:lnTo>
                  <a:lnTo>
                    <a:pt x="548" y="423"/>
                  </a:lnTo>
                  <a:lnTo>
                    <a:pt x="548" y="435"/>
                  </a:lnTo>
                  <a:lnTo>
                    <a:pt x="536" y="444"/>
                  </a:lnTo>
                  <a:lnTo>
                    <a:pt x="548" y="444"/>
                  </a:lnTo>
                  <a:lnTo>
                    <a:pt x="536" y="460"/>
                  </a:lnTo>
                  <a:lnTo>
                    <a:pt x="567" y="469"/>
                  </a:lnTo>
                  <a:lnTo>
                    <a:pt x="558" y="478"/>
                  </a:lnTo>
                  <a:lnTo>
                    <a:pt x="536" y="478"/>
                  </a:lnTo>
                  <a:lnTo>
                    <a:pt x="512" y="478"/>
                  </a:lnTo>
                  <a:lnTo>
                    <a:pt x="491" y="478"/>
                  </a:lnTo>
                  <a:lnTo>
                    <a:pt x="472" y="478"/>
                  </a:lnTo>
                  <a:lnTo>
                    <a:pt x="460" y="478"/>
                  </a:lnTo>
                  <a:lnTo>
                    <a:pt x="460" y="490"/>
                  </a:lnTo>
                  <a:lnTo>
                    <a:pt x="436" y="469"/>
                  </a:lnTo>
                  <a:lnTo>
                    <a:pt x="417" y="460"/>
                  </a:lnTo>
                  <a:lnTo>
                    <a:pt x="405" y="469"/>
                  </a:lnTo>
                  <a:lnTo>
                    <a:pt x="396" y="469"/>
                  </a:lnTo>
                  <a:lnTo>
                    <a:pt x="372" y="478"/>
                  </a:lnTo>
                  <a:lnTo>
                    <a:pt x="360" y="478"/>
                  </a:lnTo>
                  <a:lnTo>
                    <a:pt x="372" y="499"/>
                  </a:lnTo>
                  <a:lnTo>
                    <a:pt x="360" y="499"/>
                  </a:lnTo>
                  <a:lnTo>
                    <a:pt x="351" y="490"/>
                  </a:lnTo>
                  <a:lnTo>
                    <a:pt x="341" y="524"/>
                  </a:lnTo>
                  <a:lnTo>
                    <a:pt x="351" y="533"/>
                  </a:lnTo>
                  <a:lnTo>
                    <a:pt x="351" y="545"/>
                  </a:lnTo>
                  <a:lnTo>
                    <a:pt x="372" y="545"/>
                  </a:lnTo>
                  <a:lnTo>
                    <a:pt x="381" y="566"/>
                  </a:lnTo>
                  <a:lnTo>
                    <a:pt x="372" y="575"/>
                  </a:lnTo>
                  <a:lnTo>
                    <a:pt x="360" y="575"/>
                  </a:lnTo>
                  <a:lnTo>
                    <a:pt x="351" y="600"/>
                  </a:lnTo>
                  <a:lnTo>
                    <a:pt x="372" y="621"/>
                  </a:lnTo>
                  <a:lnTo>
                    <a:pt x="372" y="639"/>
                  </a:lnTo>
                  <a:lnTo>
                    <a:pt x="396" y="664"/>
                  </a:lnTo>
                  <a:lnTo>
                    <a:pt x="381" y="676"/>
                  </a:lnTo>
                  <a:lnTo>
                    <a:pt x="372" y="676"/>
                  </a:lnTo>
                  <a:lnTo>
                    <a:pt x="360" y="664"/>
                  </a:lnTo>
                  <a:lnTo>
                    <a:pt x="341" y="639"/>
                  </a:lnTo>
                  <a:lnTo>
                    <a:pt x="320" y="639"/>
                  </a:lnTo>
                  <a:lnTo>
                    <a:pt x="296" y="630"/>
                  </a:lnTo>
                  <a:lnTo>
                    <a:pt x="253" y="630"/>
                  </a:lnTo>
                  <a:lnTo>
                    <a:pt x="198" y="600"/>
                  </a:lnTo>
                  <a:lnTo>
                    <a:pt x="189" y="600"/>
                  </a:lnTo>
                  <a:lnTo>
                    <a:pt x="189" y="584"/>
                  </a:lnTo>
                  <a:lnTo>
                    <a:pt x="198" y="584"/>
                  </a:lnTo>
                  <a:lnTo>
                    <a:pt x="207" y="566"/>
                  </a:lnTo>
                  <a:lnTo>
                    <a:pt x="198" y="566"/>
                  </a:lnTo>
                  <a:lnTo>
                    <a:pt x="229" y="554"/>
                  </a:lnTo>
                  <a:lnTo>
                    <a:pt x="207" y="554"/>
                  </a:lnTo>
                  <a:lnTo>
                    <a:pt x="207" y="545"/>
                  </a:lnTo>
                  <a:lnTo>
                    <a:pt x="220" y="533"/>
                  </a:lnTo>
                  <a:lnTo>
                    <a:pt x="229" y="545"/>
                  </a:lnTo>
                  <a:lnTo>
                    <a:pt x="229" y="524"/>
                  </a:lnTo>
                  <a:lnTo>
                    <a:pt x="229" y="508"/>
                  </a:lnTo>
                  <a:lnTo>
                    <a:pt x="229" y="499"/>
                  </a:lnTo>
                  <a:lnTo>
                    <a:pt x="198" y="499"/>
                  </a:lnTo>
                  <a:lnTo>
                    <a:pt x="189" y="490"/>
                  </a:lnTo>
                  <a:lnTo>
                    <a:pt x="153" y="490"/>
                  </a:lnTo>
                  <a:lnTo>
                    <a:pt x="143" y="469"/>
                  </a:lnTo>
                  <a:lnTo>
                    <a:pt x="131" y="469"/>
                  </a:lnTo>
                  <a:lnTo>
                    <a:pt x="131" y="460"/>
                  </a:lnTo>
                  <a:lnTo>
                    <a:pt x="122" y="444"/>
                  </a:lnTo>
                  <a:lnTo>
                    <a:pt x="89" y="460"/>
                  </a:lnTo>
                  <a:lnTo>
                    <a:pt x="76" y="435"/>
                  </a:lnTo>
                  <a:lnTo>
                    <a:pt x="98" y="435"/>
                  </a:lnTo>
                  <a:lnTo>
                    <a:pt x="98" y="423"/>
                  </a:lnTo>
                  <a:lnTo>
                    <a:pt x="89" y="423"/>
                  </a:lnTo>
                  <a:lnTo>
                    <a:pt x="76" y="405"/>
                  </a:lnTo>
                  <a:lnTo>
                    <a:pt x="67" y="384"/>
                  </a:lnTo>
                  <a:lnTo>
                    <a:pt x="34" y="368"/>
                  </a:lnTo>
                  <a:lnTo>
                    <a:pt x="12" y="347"/>
                  </a:lnTo>
                  <a:lnTo>
                    <a:pt x="12" y="338"/>
                  </a:lnTo>
                  <a:lnTo>
                    <a:pt x="0" y="329"/>
                  </a:lnTo>
                  <a:lnTo>
                    <a:pt x="12" y="317"/>
                  </a:lnTo>
                  <a:lnTo>
                    <a:pt x="22" y="317"/>
                  </a:lnTo>
                  <a:lnTo>
                    <a:pt x="34" y="304"/>
                  </a:lnTo>
                  <a:lnTo>
                    <a:pt x="22" y="292"/>
                  </a:lnTo>
                  <a:lnTo>
                    <a:pt x="12" y="292"/>
                  </a:lnTo>
                  <a:lnTo>
                    <a:pt x="55" y="253"/>
                  </a:lnTo>
                  <a:lnTo>
                    <a:pt x="46" y="228"/>
                  </a:lnTo>
                  <a:lnTo>
                    <a:pt x="46" y="219"/>
                  </a:lnTo>
                  <a:lnTo>
                    <a:pt x="34" y="207"/>
                  </a:lnTo>
                  <a:lnTo>
                    <a:pt x="34" y="198"/>
                  </a:lnTo>
                  <a:lnTo>
                    <a:pt x="22" y="177"/>
                  </a:lnTo>
                  <a:lnTo>
                    <a:pt x="22" y="161"/>
                  </a:lnTo>
                  <a:lnTo>
                    <a:pt x="0" y="152"/>
                  </a:lnTo>
                  <a:lnTo>
                    <a:pt x="0" y="143"/>
                  </a:lnTo>
                  <a:lnTo>
                    <a:pt x="12" y="143"/>
                  </a:lnTo>
                  <a:lnTo>
                    <a:pt x="34" y="131"/>
                  </a:lnTo>
                  <a:lnTo>
                    <a:pt x="55" y="122"/>
                  </a:lnTo>
                  <a:lnTo>
                    <a:pt x="113" y="143"/>
                  </a:lnTo>
                  <a:lnTo>
                    <a:pt x="174" y="161"/>
                  </a:lnTo>
                  <a:lnTo>
                    <a:pt x="189" y="177"/>
                  </a:lnTo>
                  <a:lnTo>
                    <a:pt x="143" y="186"/>
                  </a:lnTo>
                  <a:lnTo>
                    <a:pt x="55" y="177"/>
                  </a:lnTo>
                  <a:lnTo>
                    <a:pt x="98" y="198"/>
                  </a:lnTo>
                  <a:lnTo>
                    <a:pt x="98" y="219"/>
                  </a:lnTo>
                  <a:lnTo>
                    <a:pt x="131" y="228"/>
                  </a:lnTo>
                  <a:lnTo>
                    <a:pt x="153" y="228"/>
                  </a:lnTo>
                  <a:lnTo>
                    <a:pt x="143" y="219"/>
                  </a:lnTo>
                  <a:lnTo>
                    <a:pt x="122" y="207"/>
                  </a:lnTo>
                  <a:lnTo>
                    <a:pt x="131" y="207"/>
                  </a:lnTo>
                  <a:lnTo>
                    <a:pt x="189" y="219"/>
                  </a:lnTo>
                  <a:lnTo>
                    <a:pt x="165" y="198"/>
                  </a:lnTo>
                  <a:lnTo>
                    <a:pt x="198" y="186"/>
                  </a:lnTo>
                  <a:lnTo>
                    <a:pt x="220" y="186"/>
                  </a:lnTo>
                  <a:lnTo>
                    <a:pt x="229" y="186"/>
                  </a:lnTo>
                  <a:lnTo>
                    <a:pt x="220" y="177"/>
                  </a:lnTo>
                  <a:lnTo>
                    <a:pt x="220" y="152"/>
                  </a:lnTo>
                  <a:lnTo>
                    <a:pt x="198" y="143"/>
                  </a:lnTo>
                  <a:lnTo>
                    <a:pt x="241" y="152"/>
                  </a:lnTo>
                  <a:lnTo>
                    <a:pt x="253" y="161"/>
                  </a:lnTo>
                  <a:lnTo>
                    <a:pt x="229" y="161"/>
                  </a:lnTo>
                  <a:lnTo>
                    <a:pt x="265" y="177"/>
                  </a:lnTo>
                  <a:lnTo>
                    <a:pt x="274" y="177"/>
                  </a:lnTo>
                  <a:lnTo>
                    <a:pt x="274" y="161"/>
                  </a:lnTo>
                  <a:lnTo>
                    <a:pt x="341" y="143"/>
                  </a:lnTo>
                  <a:lnTo>
                    <a:pt x="360" y="152"/>
                  </a:lnTo>
                  <a:lnTo>
                    <a:pt x="360" y="143"/>
                  </a:lnTo>
                  <a:lnTo>
                    <a:pt x="405" y="143"/>
                  </a:lnTo>
                  <a:lnTo>
                    <a:pt x="417" y="152"/>
                  </a:lnTo>
                  <a:lnTo>
                    <a:pt x="427" y="152"/>
                  </a:lnTo>
                  <a:lnTo>
                    <a:pt x="417" y="143"/>
                  </a:lnTo>
                  <a:lnTo>
                    <a:pt x="436" y="143"/>
                  </a:lnTo>
                  <a:lnTo>
                    <a:pt x="396" y="122"/>
                  </a:lnTo>
                  <a:lnTo>
                    <a:pt x="396" y="113"/>
                  </a:lnTo>
                  <a:lnTo>
                    <a:pt x="536" y="152"/>
                  </a:lnTo>
                  <a:lnTo>
                    <a:pt x="548" y="143"/>
                  </a:lnTo>
                  <a:lnTo>
                    <a:pt x="503" y="131"/>
                  </a:lnTo>
                  <a:lnTo>
                    <a:pt x="503" y="113"/>
                  </a:lnTo>
                  <a:lnTo>
                    <a:pt x="491" y="100"/>
                  </a:lnTo>
                  <a:lnTo>
                    <a:pt x="512" y="67"/>
                  </a:lnTo>
                  <a:lnTo>
                    <a:pt x="527" y="67"/>
                  </a:lnTo>
                  <a:lnTo>
                    <a:pt x="536" y="67"/>
                  </a:lnTo>
                  <a:lnTo>
                    <a:pt x="558" y="76"/>
                  </a:lnTo>
                  <a:lnTo>
                    <a:pt x="558" y="100"/>
                  </a:lnTo>
                  <a:lnTo>
                    <a:pt x="567" y="100"/>
                  </a:lnTo>
                  <a:lnTo>
                    <a:pt x="591" y="143"/>
                  </a:lnTo>
                  <a:lnTo>
                    <a:pt x="603" y="143"/>
                  </a:lnTo>
                  <a:lnTo>
                    <a:pt x="603" y="161"/>
                  </a:lnTo>
                  <a:lnTo>
                    <a:pt x="579" y="177"/>
                  </a:lnTo>
                  <a:lnTo>
                    <a:pt x="603" y="186"/>
                  </a:lnTo>
                  <a:lnTo>
                    <a:pt x="625" y="177"/>
                  </a:lnTo>
                  <a:lnTo>
                    <a:pt x="634" y="161"/>
                  </a:lnTo>
                  <a:lnTo>
                    <a:pt x="612" y="143"/>
                  </a:lnTo>
                  <a:lnTo>
                    <a:pt x="603" y="143"/>
                  </a:lnTo>
                  <a:lnTo>
                    <a:pt x="591" y="131"/>
                  </a:lnTo>
                  <a:lnTo>
                    <a:pt x="591" y="113"/>
                  </a:lnTo>
                  <a:lnTo>
                    <a:pt x="567" y="100"/>
                  </a:lnTo>
                  <a:lnTo>
                    <a:pt x="591" y="76"/>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796" name="Freeform 795"/>
            <p:cNvSpPr>
              <a:spLocks/>
            </p:cNvSpPr>
            <p:nvPr/>
          </p:nvSpPr>
          <p:spPr bwMode="auto">
            <a:xfrm>
              <a:off x="4908889" y="4004259"/>
              <a:ext cx="45911" cy="32791"/>
            </a:xfrm>
            <a:custGeom>
              <a:avLst/>
              <a:gdLst>
                <a:gd name="T0" fmla="*/ 0 w 46"/>
                <a:gd name="T1" fmla="*/ 0 h 33"/>
                <a:gd name="T2" fmla="*/ 22 w 46"/>
                <a:gd name="T3" fmla="*/ 0 h 33"/>
                <a:gd name="T4" fmla="*/ 22 w 46"/>
                <a:gd name="T5" fmla="*/ 12 h 33"/>
                <a:gd name="T6" fmla="*/ 46 w 46"/>
                <a:gd name="T7" fmla="*/ 12 h 33"/>
                <a:gd name="T8" fmla="*/ 46 w 46"/>
                <a:gd name="T9" fmla="*/ 21 h 33"/>
                <a:gd name="T10" fmla="*/ 22 w 46"/>
                <a:gd name="T11" fmla="*/ 33 h 33"/>
                <a:gd name="T12" fmla="*/ 0 w 46"/>
                <a:gd name="T13" fmla="*/ 0 h 33"/>
                <a:gd name="T14" fmla="*/ 0 60000 65536"/>
                <a:gd name="T15" fmla="*/ 0 60000 65536"/>
                <a:gd name="T16" fmla="*/ 0 60000 65536"/>
                <a:gd name="T17" fmla="*/ 0 60000 65536"/>
                <a:gd name="T18" fmla="*/ 0 60000 65536"/>
                <a:gd name="T19" fmla="*/ 0 60000 65536"/>
                <a:gd name="T20" fmla="*/ 0 60000 65536"/>
                <a:gd name="T21" fmla="*/ 0 w 46"/>
                <a:gd name="T22" fmla="*/ 0 h 33"/>
                <a:gd name="T23" fmla="*/ 46 w 46"/>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33">
                  <a:moveTo>
                    <a:pt x="0" y="0"/>
                  </a:moveTo>
                  <a:lnTo>
                    <a:pt x="22" y="0"/>
                  </a:lnTo>
                  <a:lnTo>
                    <a:pt x="22" y="12"/>
                  </a:lnTo>
                  <a:lnTo>
                    <a:pt x="46" y="12"/>
                  </a:lnTo>
                  <a:lnTo>
                    <a:pt x="46" y="21"/>
                  </a:lnTo>
                  <a:lnTo>
                    <a:pt x="22" y="33"/>
                  </a:lnTo>
                  <a:lnTo>
                    <a:pt x="0"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797" name="Freeform 796"/>
            <p:cNvSpPr>
              <a:spLocks/>
            </p:cNvSpPr>
            <p:nvPr/>
          </p:nvSpPr>
          <p:spPr bwMode="auto">
            <a:xfrm>
              <a:off x="5246471" y="4278157"/>
              <a:ext cx="54913" cy="66546"/>
            </a:xfrm>
            <a:custGeom>
              <a:avLst/>
              <a:gdLst>
                <a:gd name="T0" fmla="*/ 0 w 55"/>
                <a:gd name="T1" fmla="*/ 55 h 67"/>
                <a:gd name="T2" fmla="*/ 10 w 55"/>
                <a:gd name="T3" fmla="*/ 15 h 67"/>
                <a:gd name="T4" fmla="*/ 31 w 55"/>
                <a:gd name="T5" fmla="*/ 0 h 67"/>
                <a:gd name="T6" fmla="*/ 46 w 55"/>
                <a:gd name="T7" fmla="*/ 15 h 67"/>
                <a:gd name="T8" fmla="*/ 55 w 55"/>
                <a:gd name="T9" fmla="*/ 24 h 67"/>
                <a:gd name="T10" fmla="*/ 31 w 55"/>
                <a:gd name="T11" fmla="*/ 55 h 67"/>
                <a:gd name="T12" fmla="*/ 46 w 55"/>
                <a:gd name="T13" fmla="*/ 55 h 67"/>
                <a:gd name="T14" fmla="*/ 31 w 55"/>
                <a:gd name="T15" fmla="*/ 67 h 67"/>
                <a:gd name="T16" fmla="*/ 10 w 55"/>
                <a:gd name="T17" fmla="*/ 55 h 67"/>
                <a:gd name="T18" fmla="*/ 10 w 55"/>
                <a:gd name="T19" fmla="*/ 67 h 67"/>
                <a:gd name="T20" fmla="*/ 0 w 55"/>
                <a:gd name="T21" fmla="*/ 55 h 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67"/>
                <a:gd name="T35" fmla="*/ 55 w 55"/>
                <a:gd name="T36" fmla="*/ 67 h 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67">
                  <a:moveTo>
                    <a:pt x="0" y="55"/>
                  </a:moveTo>
                  <a:lnTo>
                    <a:pt x="10" y="15"/>
                  </a:lnTo>
                  <a:lnTo>
                    <a:pt x="31" y="0"/>
                  </a:lnTo>
                  <a:lnTo>
                    <a:pt x="46" y="15"/>
                  </a:lnTo>
                  <a:lnTo>
                    <a:pt x="55" y="24"/>
                  </a:lnTo>
                  <a:lnTo>
                    <a:pt x="31" y="55"/>
                  </a:lnTo>
                  <a:lnTo>
                    <a:pt x="46" y="55"/>
                  </a:lnTo>
                  <a:lnTo>
                    <a:pt x="31" y="67"/>
                  </a:lnTo>
                  <a:lnTo>
                    <a:pt x="10" y="55"/>
                  </a:lnTo>
                  <a:lnTo>
                    <a:pt x="10" y="67"/>
                  </a:lnTo>
                  <a:lnTo>
                    <a:pt x="0" y="55"/>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798" name="Freeform 797"/>
            <p:cNvSpPr>
              <a:spLocks/>
            </p:cNvSpPr>
            <p:nvPr/>
          </p:nvSpPr>
          <p:spPr bwMode="auto">
            <a:xfrm>
              <a:off x="5202361" y="4353383"/>
              <a:ext cx="32408" cy="107052"/>
            </a:xfrm>
            <a:custGeom>
              <a:avLst/>
              <a:gdLst>
                <a:gd name="T0" fmla="*/ 0 w 33"/>
                <a:gd name="T1" fmla="*/ 55 h 110"/>
                <a:gd name="T2" fmla="*/ 0 w 33"/>
                <a:gd name="T3" fmla="*/ 12 h 110"/>
                <a:gd name="T4" fmla="*/ 0 w 33"/>
                <a:gd name="T5" fmla="*/ 0 h 110"/>
                <a:gd name="T6" fmla="*/ 24 w 33"/>
                <a:gd name="T7" fmla="*/ 55 h 110"/>
                <a:gd name="T8" fmla="*/ 15 w 33"/>
                <a:gd name="T9" fmla="*/ 64 h 110"/>
                <a:gd name="T10" fmla="*/ 33 w 33"/>
                <a:gd name="T11" fmla="*/ 79 h 110"/>
                <a:gd name="T12" fmla="*/ 33 w 33"/>
                <a:gd name="T13" fmla="*/ 110 h 110"/>
                <a:gd name="T14" fmla="*/ 24 w 33"/>
                <a:gd name="T15" fmla="*/ 110 h 110"/>
                <a:gd name="T16" fmla="*/ 24 w 33"/>
                <a:gd name="T17" fmla="*/ 88 h 110"/>
                <a:gd name="T18" fmla="*/ 0 w 33"/>
                <a:gd name="T19" fmla="*/ 55 h 1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110"/>
                <a:gd name="T32" fmla="*/ 33 w 33"/>
                <a:gd name="T33" fmla="*/ 110 h 1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110">
                  <a:moveTo>
                    <a:pt x="0" y="55"/>
                  </a:moveTo>
                  <a:lnTo>
                    <a:pt x="0" y="12"/>
                  </a:lnTo>
                  <a:lnTo>
                    <a:pt x="0" y="0"/>
                  </a:lnTo>
                  <a:lnTo>
                    <a:pt x="24" y="55"/>
                  </a:lnTo>
                  <a:lnTo>
                    <a:pt x="15" y="64"/>
                  </a:lnTo>
                  <a:lnTo>
                    <a:pt x="33" y="79"/>
                  </a:lnTo>
                  <a:lnTo>
                    <a:pt x="33" y="110"/>
                  </a:lnTo>
                  <a:lnTo>
                    <a:pt x="24" y="110"/>
                  </a:lnTo>
                  <a:lnTo>
                    <a:pt x="24" y="88"/>
                  </a:lnTo>
                  <a:lnTo>
                    <a:pt x="0" y="55"/>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799" name="Freeform 798"/>
            <p:cNvSpPr>
              <a:spLocks/>
            </p:cNvSpPr>
            <p:nvPr/>
          </p:nvSpPr>
          <p:spPr bwMode="auto">
            <a:xfrm>
              <a:off x="5292383" y="4481653"/>
              <a:ext cx="18905" cy="97407"/>
            </a:xfrm>
            <a:custGeom>
              <a:avLst/>
              <a:gdLst>
                <a:gd name="T0" fmla="*/ 0 w 18"/>
                <a:gd name="T1" fmla="*/ 55 h 100"/>
                <a:gd name="T2" fmla="*/ 17 w 18"/>
                <a:gd name="T3" fmla="*/ 43 h 100"/>
                <a:gd name="T4" fmla="*/ 0 w 18"/>
                <a:gd name="T5" fmla="*/ 0 h 100"/>
                <a:gd name="T6" fmla="*/ 17 w 18"/>
                <a:gd name="T7" fmla="*/ 9 h 100"/>
                <a:gd name="T8" fmla="*/ 26 w 18"/>
                <a:gd name="T9" fmla="*/ 43 h 100"/>
                <a:gd name="T10" fmla="*/ 17 w 18"/>
                <a:gd name="T11" fmla="*/ 64 h 100"/>
                <a:gd name="T12" fmla="*/ 26 w 18"/>
                <a:gd name="T13" fmla="*/ 100 h 100"/>
                <a:gd name="T14" fmla="*/ 17 w 18"/>
                <a:gd name="T15" fmla="*/ 76 h 100"/>
                <a:gd name="T16" fmla="*/ 0 w 18"/>
                <a:gd name="T17" fmla="*/ 55 h 1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00"/>
                <a:gd name="T29" fmla="*/ 18 w 18"/>
                <a:gd name="T30" fmla="*/ 100 h 1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00">
                  <a:moveTo>
                    <a:pt x="0" y="55"/>
                  </a:moveTo>
                  <a:lnTo>
                    <a:pt x="9" y="43"/>
                  </a:lnTo>
                  <a:lnTo>
                    <a:pt x="0" y="0"/>
                  </a:lnTo>
                  <a:lnTo>
                    <a:pt x="9" y="9"/>
                  </a:lnTo>
                  <a:lnTo>
                    <a:pt x="18" y="43"/>
                  </a:lnTo>
                  <a:lnTo>
                    <a:pt x="9" y="64"/>
                  </a:lnTo>
                  <a:lnTo>
                    <a:pt x="18" y="100"/>
                  </a:lnTo>
                  <a:lnTo>
                    <a:pt x="9" y="76"/>
                  </a:lnTo>
                  <a:lnTo>
                    <a:pt x="0" y="55"/>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00" name="Freeform 799"/>
            <p:cNvSpPr>
              <a:spLocks/>
            </p:cNvSpPr>
            <p:nvPr/>
          </p:nvSpPr>
          <p:spPr bwMode="auto">
            <a:xfrm>
              <a:off x="3026534" y="2976175"/>
              <a:ext cx="108927" cy="28933"/>
            </a:xfrm>
            <a:custGeom>
              <a:avLst/>
              <a:gdLst>
                <a:gd name="T0" fmla="*/ 0 w 110"/>
                <a:gd name="T1" fmla="*/ 9 h 30"/>
                <a:gd name="T2" fmla="*/ 85 w 110"/>
                <a:gd name="T3" fmla="*/ 0 h 30"/>
                <a:gd name="T4" fmla="*/ 101 w 110"/>
                <a:gd name="T5" fmla="*/ 0 h 30"/>
                <a:gd name="T6" fmla="*/ 67 w 110"/>
                <a:gd name="T7" fmla="*/ 9 h 30"/>
                <a:gd name="T8" fmla="*/ 110 w 110"/>
                <a:gd name="T9" fmla="*/ 9 h 30"/>
                <a:gd name="T10" fmla="*/ 85 w 110"/>
                <a:gd name="T11" fmla="*/ 21 h 30"/>
                <a:gd name="T12" fmla="*/ 67 w 110"/>
                <a:gd name="T13" fmla="*/ 21 h 30"/>
                <a:gd name="T14" fmla="*/ 67 w 110"/>
                <a:gd name="T15" fmla="*/ 30 h 30"/>
                <a:gd name="T16" fmla="*/ 34 w 110"/>
                <a:gd name="T17" fmla="*/ 30 h 30"/>
                <a:gd name="T18" fmla="*/ 55 w 110"/>
                <a:gd name="T19" fmla="*/ 21 h 30"/>
                <a:gd name="T20" fmla="*/ 21 w 110"/>
                <a:gd name="T21" fmla="*/ 30 h 30"/>
                <a:gd name="T22" fmla="*/ 0 w 110"/>
                <a:gd name="T23" fmla="*/ 30 h 30"/>
                <a:gd name="T24" fmla="*/ 55 w 110"/>
                <a:gd name="T25" fmla="*/ 21 h 30"/>
                <a:gd name="T26" fmla="*/ 46 w 110"/>
                <a:gd name="T27" fmla="*/ 9 h 30"/>
                <a:gd name="T28" fmla="*/ 0 w 110"/>
                <a:gd name="T29" fmla="*/ 9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0"/>
                <a:gd name="T46" fmla="*/ 0 h 30"/>
                <a:gd name="T47" fmla="*/ 110 w 110"/>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0" h="30">
                  <a:moveTo>
                    <a:pt x="0" y="9"/>
                  </a:moveTo>
                  <a:lnTo>
                    <a:pt x="85" y="0"/>
                  </a:lnTo>
                  <a:lnTo>
                    <a:pt x="101" y="0"/>
                  </a:lnTo>
                  <a:lnTo>
                    <a:pt x="67" y="9"/>
                  </a:lnTo>
                  <a:lnTo>
                    <a:pt x="110" y="9"/>
                  </a:lnTo>
                  <a:lnTo>
                    <a:pt x="85" y="21"/>
                  </a:lnTo>
                  <a:lnTo>
                    <a:pt x="67" y="21"/>
                  </a:lnTo>
                  <a:lnTo>
                    <a:pt x="67" y="30"/>
                  </a:lnTo>
                  <a:lnTo>
                    <a:pt x="34" y="30"/>
                  </a:lnTo>
                  <a:lnTo>
                    <a:pt x="55" y="21"/>
                  </a:lnTo>
                  <a:lnTo>
                    <a:pt x="21" y="30"/>
                  </a:lnTo>
                  <a:lnTo>
                    <a:pt x="0" y="30"/>
                  </a:lnTo>
                  <a:lnTo>
                    <a:pt x="55" y="21"/>
                  </a:lnTo>
                  <a:lnTo>
                    <a:pt x="46" y="9"/>
                  </a:lnTo>
                  <a:lnTo>
                    <a:pt x="0" y="9"/>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01" name="Freeform 800"/>
            <p:cNvSpPr>
              <a:spLocks/>
            </p:cNvSpPr>
            <p:nvPr/>
          </p:nvSpPr>
          <p:spPr bwMode="auto">
            <a:xfrm>
              <a:off x="3047239" y="3050436"/>
              <a:ext cx="120629" cy="29897"/>
            </a:xfrm>
            <a:custGeom>
              <a:avLst/>
              <a:gdLst>
                <a:gd name="T0" fmla="*/ 122 w 122"/>
                <a:gd name="T1" fmla="*/ 0 h 30"/>
                <a:gd name="T2" fmla="*/ 122 w 122"/>
                <a:gd name="T3" fmla="*/ 9 h 30"/>
                <a:gd name="T4" fmla="*/ 89 w 122"/>
                <a:gd name="T5" fmla="*/ 9 h 30"/>
                <a:gd name="T6" fmla="*/ 46 w 122"/>
                <a:gd name="T7" fmla="*/ 30 h 30"/>
                <a:gd name="T8" fmla="*/ 13 w 122"/>
                <a:gd name="T9" fmla="*/ 30 h 30"/>
                <a:gd name="T10" fmla="*/ 0 w 122"/>
                <a:gd name="T11" fmla="*/ 30 h 30"/>
                <a:gd name="T12" fmla="*/ 13 w 122"/>
                <a:gd name="T13" fmla="*/ 30 h 30"/>
                <a:gd name="T14" fmla="*/ 46 w 122"/>
                <a:gd name="T15" fmla="*/ 21 h 30"/>
                <a:gd name="T16" fmla="*/ 46 w 122"/>
                <a:gd name="T17" fmla="*/ 9 h 30"/>
                <a:gd name="T18" fmla="*/ 64 w 122"/>
                <a:gd name="T19" fmla="*/ 9 h 30"/>
                <a:gd name="T20" fmla="*/ 122 w 122"/>
                <a:gd name="T21" fmla="*/ 0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30"/>
                <a:gd name="T35" fmla="*/ 122 w 122"/>
                <a:gd name="T36" fmla="*/ 30 h 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30">
                  <a:moveTo>
                    <a:pt x="122" y="0"/>
                  </a:moveTo>
                  <a:lnTo>
                    <a:pt x="122" y="9"/>
                  </a:lnTo>
                  <a:lnTo>
                    <a:pt x="89" y="9"/>
                  </a:lnTo>
                  <a:lnTo>
                    <a:pt x="46" y="30"/>
                  </a:lnTo>
                  <a:lnTo>
                    <a:pt x="13" y="30"/>
                  </a:lnTo>
                  <a:lnTo>
                    <a:pt x="0" y="30"/>
                  </a:lnTo>
                  <a:lnTo>
                    <a:pt x="13" y="30"/>
                  </a:lnTo>
                  <a:lnTo>
                    <a:pt x="46" y="21"/>
                  </a:lnTo>
                  <a:lnTo>
                    <a:pt x="46" y="9"/>
                  </a:lnTo>
                  <a:lnTo>
                    <a:pt x="64" y="9"/>
                  </a:lnTo>
                  <a:lnTo>
                    <a:pt x="122"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02" name="Freeform 801"/>
            <p:cNvSpPr>
              <a:spLocks/>
            </p:cNvSpPr>
            <p:nvPr/>
          </p:nvSpPr>
          <p:spPr bwMode="auto">
            <a:xfrm>
              <a:off x="3092250" y="3100587"/>
              <a:ext cx="63915" cy="24111"/>
            </a:xfrm>
            <a:custGeom>
              <a:avLst/>
              <a:gdLst>
                <a:gd name="T0" fmla="*/ 0 w 64"/>
                <a:gd name="T1" fmla="*/ 25 h 25"/>
                <a:gd name="T2" fmla="*/ 34 w 64"/>
                <a:gd name="T3" fmla="*/ 0 h 25"/>
                <a:gd name="T4" fmla="*/ 64 w 64"/>
                <a:gd name="T5" fmla="*/ 13 h 25"/>
                <a:gd name="T6" fmla="*/ 0 w 64"/>
                <a:gd name="T7" fmla="*/ 25 h 25"/>
                <a:gd name="T8" fmla="*/ 0 60000 65536"/>
                <a:gd name="T9" fmla="*/ 0 60000 65536"/>
                <a:gd name="T10" fmla="*/ 0 60000 65536"/>
                <a:gd name="T11" fmla="*/ 0 60000 65536"/>
                <a:gd name="T12" fmla="*/ 0 w 64"/>
                <a:gd name="T13" fmla="*/ 0 h 25"/>
                <a:gd name="T14" fmla="*/ 64 w 64"/>
                <a:gd name="T15" fmla="*/ 25 h 25"/>
              </a:gdLst>
              <a:ahLst/>
              <a:cxnLst>
                <a:cxn ang="T8">
                  <a:pos x="T0" y="T1"/>
                </a:cxn>
                <a:cxn ang="T9">
                  <a:pos x="T2" y="T3"/>
                </a:cxn>
                <a:cxn ang="T10">
                  <a:pos x="T4" y="T5"/>
                </a:cxn>
                <a:cxn ang="T11">
                  <a:pos x="T6" y="T7"/>
                </a:cxn>
              </a:cxnLst>
              <a:rect l="T12" t="T13" r="T14" b="T15"/>
              <a:pathLst>
                <a:path w="64" h="25">
                  <a:moveTo>
                    <a:pt x="0" y="25"/>
                  </a:moveTo>
                  <a:lnTo>
                    <a:pt x="34" y="0"/>
                  </a:lnTo>
                  <a:lnTo>
                    <a:pt x="64" y="13"/>
                  </a:lnTo>
                  <a:lnTo>
                    <a:pt x="0" y="25"/>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03" name="Freeform 802"/>
            <p:cNvSpPr>
              <a:spLocks/>
            </p:cNvSpPr>
            <p:nvPr/>
          </p:nvSpPr>
          <p:spPr bwMode="auto">
            <a:xfrm>
              <a:off x="3167869" y="3134341"/>
              <a:ext cx="44110" cy="28933"/>
            </a:xfrm>
            <a:custGeom>
              <a:avLst/>
              <a:gdLst>
                <a:gd name="T0" fmla="*/ 0 w 43"/>
                <a:gd name="T1" fmla="*/ 30 h 30"/>
                <a:gd name="T2" fmla="*/ 51 w 43"/>
                <a:gd name="T3" fmla="*/ 0 h 30"/>
                <a:gd name="T4" fmla="*/ 51 w 43"/>
                <a:gd name="T5" fmla="*/ 9 h 30"/>
                <a:gd name="T6" fmla="*/ 42 w 43"/>
                <a:gd name="T7" fmla="*/ 9 h 30"/>
                <a:gd name="T8" fmla="*/ 18 w 43"/>
                <a:gd name="T9" fmla="*/ 30 h 30"/>
                <a:gd name="T10" fmla="*/ 0 w 43"/>
                <a:gd name="T11" fmla="*/ 30 h 30"/>
                <a:gd name="T12" fmla="*/ 0 60000 65536"/>
                <a:gd name="T13" fmla="*/ 0 60000 65536"/>
                <a:gd name="T14" fmla="*/ 0 60000 65536"/>
                <a:gd name="T15" fmla="*/ 0 60000 65536"/>
                <a:gd name="T16" fmla="*/ 0 60000 65536"/>
                <a:gd name="T17" fmla="*/ 0 60000 65536"/>
                <a:gd name="T18" fmla="*/ 0 w 43"/>
                <a:gd name="T19" fmla="*/ 0 h 30"/>
                <a:gd name="T20" fmla="*/ 43 w 43"/>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43" h="30">
                  <a:moveTo>
                    <a:pt x="0" y="30"/>
                  </a:moveTo>
                  <a:lnTo>
                    <a:pt x="43" y="0"/>
                  </a:lnTo>
                  <a:lnTo>
                    <a:pt x="43" y="9"/>
                  </a:lnTo>
                  <a:lnTo>
                    <a:pt x="34" y="9"/>
                  </a:lnTo>
                  <a:lnTo>
                    <a:pt x="18" y="30"/>
                  </a:lnTo>
                  <a:lnTo>
                    <a:pt x="0" y="3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04" name="Freeform 803"/>
            <p:cNvSpPr>
              <a:spLocks/>
            </p:cNvSpPr>
            <p:nvPr/>
          </p:nvSpPr>
          <p:spPr bwMode="auto">
            <a:xfrm>
              <a:off x="3185873" y="3217282"/>
              <a:ext cx="26106" cy="65581"/>
            </a:xfrm>
            <a:custGeom>
              <a:avLst/>
              <a:gdLst>
                <a:gd name="T0" fmla="*/ 0 w 25"/>
                <a:gd name="T1" fmla="*/ 12 h 67"/>
                <a:gd name="T2" fmla="*/ 24 w 25"/>
                <a:gd name="T3" fmla="*/ 0 h 67"/>
                <a:gd name="T4" fmla="*/ 33 w 25"/>
                <a:gd name="T5" fmla="*/ 0 h 67"/>
                <a:gd name="T6" fmla="*/ 33 w 25"/>
                <a:gd name="T7" fmla="*/ 46 h 67"/>
                <a:gd name="T8" fmla="*/ 0 w 25"/>
                <a:gd name="T9" fmla="*/ 67 h 67"/>
                <a:gd name="T10" fmla="*/ 24 w 25"/>
                <a:gd name="T11" fmla="*/ 46 h 67"/>
                <a:gd name="T12" fmla="*/ 0 w 25"/>
                <a:gd name="T13" fmla="*/ 46 h 67"/>
                <a:gd name="T14" fmla="*/ 24 w 25"/>
                <a:gd name="T15" fmla="*/ 37 h 67"/>
                <a:gd name="T16" fmla="*/ 0 w 25"/>
                <a:gd name="T17" fmla="*/ 37 h 67"/>
                <a:gd name="T18" fmla="*/ 0 w 25"/>
                <a:gd name="T19" fmla="*/ 12 h 6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
                <a:gd name="T31" fmla="*/ 0 h 67"/>
                <a:gd name="T32" fmla="*/ 25 w 25"/>
                <a:gd name="T33" fmla="*/ 67 h 6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 h="67">
                  <a:moveTo>
                    <a:pt x="0" y="12"/>
                  </a:moveTo>
                  <a:lnTo>
                    <a:pt x="16" y="0"/>
                  </a:lnTo>
                  <a:lnTo>
                    <a:pt x="25" y="0"/>
                  </a:lnTo>
                  <a:lnTo>
                    <a:pt x="25" y="46"/>
                  </a:lnTo>
                  <a:lnTo>
                    <a:pt x="0" y="67"/>
                  </a:lnTo>
                  <a:lnTo>
                    <a:pt x="16" y="46"/>
                  </a:lnTo>
                  <a:lnTo>
                    <a:pt x="0" y="46"/>
                  </a:lnTo>
                  <a:lnTo>
                    <a:pt x="16" y="37"/>
                  </a:lnTo>
                  <a:lnTo>
                    <a:pt x="0" y="37"/>
                  </a:lnTo>
                  <a:lnTo>
                    <a:pt x="0" y="12"/>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05" name="Freeform 804"/>
            <p:cNvSpPr>
              <a:spLocks/>
            </p:cNvSpPr>
            <p:nvPr/>
          </p:nvSpPr>
          <p:spPr bwMode="auto">
            <a:xfrm>
              <a:off x="3382120" y="3399560"/>
              <a:ext cx="79219" cy="20253"/>
            </a:xfrm>
            <a:custGeom>
              <a:avLst/>
              <a:gdLst>
                <a:gd name="T0" fmla="*/ 16 w 80"/>
                <a:gd name="T1" fmla="*/ 21 h 21"/>
                <a:gd name="T2" fmla="*/ 0 w 80"/>
                <a:gd name="T3" fmla="*/ 21 h 21"/>
                <a:gd name="T4" fmla="*/ 16 w 80"/>
                <a:gd name="T5" fmla="*/ 12 h 21"/>
                <a:gd name="T6" fmla="*/ 55 w 80"/>
                <a:gd name="T7" fmla="*/ 12 h 21"/>
                <a:gd name="T8" fmla="*/ 80 w 80"/>
                <a:gd name="T9" fmla="*/ 0 h 21"/>
                <a:gd name="T10" fmla="*/ 67 w 80"/>
                <a:gd name="T11" fmla="*/ 21 h 21"/>
                <a:gd name="T12" fmla="*/ 16 w 80"/>
                <a:gd name="T13" fmla="*/ 21 h 21"/>
                <a:gd name="T14" fmla="*/ 0 60000 65536"/>
                <a:gd name="T15" fmla="*/ 0 60000 65536"/>
                <a:gd name="T16" fmla="*/ 0 60000 65536"/>
                <a:gd name="T17" fmla="*/ 0 60000 65536"/>
                <a:gd name="T18" fmla="*/ 0 60000 65536"/>
                <a:gd name="T19" fmla="*/ 0 60000 65536"/>
                <a:gd name="T20" fmla="*/ 0 60000 65536"/>
                <a:gd name="T21" fmla="*/ 0 w 80"/>
                <a:gd name="T22" fmla="*/ 0 h 21"/>
                <a:gd name="T23" fmla="*/ 80 w 80"/>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21">
                  <a:moveTo>
                    <a:pt x="16" y="21"/>
                  </a:moveTo>
                  <a:lnTo>
                    <a:pt x="0" y="21"/>
                  </a:lnTo>
                  <a:lnTo>
                    <a:pt x="16" y="12"/>
                  </a:lnTo>
                  <a:lnTo>
                    <a:pt x="55" y="12"/>
                  </a:lnTo>
                  <a:lnTo>
                    <a:pt x="80" y="0"/>
                  </a:lnTo>
                  <a:lnTo>
                    <a:pt x="67" y="21"/>
                  </a:lnTo>
                  <a:lnTo>
                    <a:pt x="16" y="21"/>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06" name="Freeform 805"/>
            <p:cNvSpPr>
              <a:spLocks/>
            </p:cNvSpPr>
            <p:nvPr/>
          </p:nvSpPr>
          <p:spPr bwMode="auto">
            <a:xfrm>
              <a:off x="3318205" y="3428493"/>
              <a:ext cx="88222" cy="25075"/>
            </a:xfrm>
            <a:custGeom>
              <a:avLst/>
              <a:gdLst>
                <a:gd name="T0" fmla="*/ 0 w 89"/>
                <a:gd name="T1" fmla="*/ 25 h 25"/>
                <a:gd name="T2" fmla="*/ 34 w 89"/>
                <a:gd name="T3" fmla="*/ 0 h 25"/>
                <a:gd name="T4" fmla="*/ 89 w 89"/>
                <a:gd name="T5" fmla="*/ 0 h 25"/>
                <a:gd name="T6" fmla="*/ 22 w 89"/>
                <a:gd name="T7" fmla="*/ 25 h 25"/>
                <a:gd name="T8" fmla="*/ 0 w 89"/>
                <a:gd name="T9" fmla="*/ 25 h 25"/>
                <a:gd name="T10" fmla="*/ 0 60000 65536"/>
                <a:gd name="T11" fmla="*/ 0 60000 65536"/>
                <a:gd name="T12" fmla="*/ 0 60000 65536"/>
                <a:gd name="T13" fmla="*/ 0 60000 65536"/>
                <a:gd name="T14" fmla="*/ 0 60000 65536"/>
                <a:gd name="T15" fmla="*/ 0 w 89"/>
                <a:gd name="T16" fmla="*/ 0 h 25"/>
                <a:gd name="T17" fmla="*/ 89 w 89"/>
                <a:gd name="T18" fmla="*/ 25 h 25"/>
              </a:gdLst>
              <a:ahLst/>
              <a:cxnLst>
                <a:cxn ang="T10">
                  <a:pos x="T0" y="T1"/>
                </a:cxn>
                <a:cxn ang="T11">
                  <a:pos x="T2" y="T3"/>
                </a:cxn>
                <a:cxn ang="T12">
                  <a:pos x="T4" y="T5"/>
                </a:cxn>
                <a:cxn ang="T13">
                  <a:pos x="T6" y="T7"/>
                </a:cxn>
                <a:cxn ang="T14">
                  <a:pos x="T8" y="T9"/>
                </a:cxn>
              </a:cxnLst>
              <a:rect l="T15" t="T16" r="T17" b="T18"/>
              <a:pathLst>
                <a:path w="89" h="25">
                  <a:moveTo>
                    <a:pt x="0" y="25"/>
                  </a:moveTo>
                  <a:lnTo>
                    <a:pt x="34" y="0"/>
                  </a:lnTo>
                  <a:lnTo>
                    <a:pt x="89" y="0"/>
                  </a:lnTo>
                  <a:lnTo>
                    <a:pt x="22" y="25"/>
                  </a:lnTo>
                  <a:lnTo>
                    <a:pt x="0" y="25"/>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07" name="Freeform 806"/>
            <p:cNvSpPr>
              <a:spLocks/>
            </p:cNvSpPr>
            <p:nvPr/>
          </p:nvSpPr>
          <p:spPr bwMode="auto">
            <a:xfrm>
              <a:off x="3239885" y="3357125"/>
              <a:ext cx="166540" cy="96443"/>
            </a:xfrm>
            <a:custGeom>
              <a:avLst/>
              <a:gdLst>
                <a:gd name="T0" fmla="*/ 101 w 168"/>
                <a:gd name="T1" fmla="*/ 0 h 98"/>
                <a:gd name="T2" fmla="*/ 159 w 168"/>
                <a:gd name="T3" fmla="*/ 9 h 98"/>
                <a:gd name="T4" fmla="*/ 168 w 168"/>
                <a:gd name="T5" fmla="*/ 34 h 98"/>
                <a:gd name="T6" fmla="*/ 159 w 168"/>
                <a:gd name="T7" fmla="*/ 43 h 98"/>
                <a:gd name="T8" fmla="*/ 134 w 168"/>
                <a:gd name="T9" fmla="*/ 18 h 98"/>
                <a:gd name="T10" fmla="*/ 113 w 168"/>
                <a:gd name="T11" fmla="*/ 64 h 98"/>
                <a:gd name="T12" fmla="*/ 101 w 168"/>
                <a:gd name="T13" fmla="*/ 64 h 98"/>
                <a:gd name="T14" fmla="*/ 101 w 168"/>
                <a:gd name="T15" fmla="*/ 55 h 98"/>
                <a:gd name="T16" fmla="*/ 92 w 168"/>
                <a:gd name="T17" fmla="*/ 55 h 98"/>
                <a:gd name="T18" fmla="*/ 101 w 168"/>
                <a:gd name="T19" fmla="*/ 43 h 98"/>
                <a:gd name="T20" fmla="*/ 101 w 168"/>
                <a:gd name="T21" fmla="*/ 18 h 98"/>
                <a:gd name="T22" fmla="*/ 92 w 168"/>
                <a:gd name="T23" fmla="*/ 18 h 98"/>
                <a:gd name="T24" fmla="*/ 58 w 168"/>
                <a:gd name="T25" fmla="*/ 34 h 98"/>
                <a:gd name="T26" fmla="*/ 46 w 168"/>
                <a:gd name="T27" fmla="*/ 55 h 98"/>
                <a:gd name="T28" fmla="*/ 25 w 168"/>
                <a:gd name="T29" fmla="*/ 85 h 98"/>
                <a:gd name="T30" fmla="*/ 12 w 168"/>
                <a:gd name="T31" fmla="*/ 98 h 98"/>
                <a:gd name="T32" fmla="*/ 0 w 168"/>
                <a:gd name="T33" fmla="*/ 98 h 98"/>
                <a:gd name="T34" fmla="*/ 0 w 168"/>
                <a:gd name="T35" fmla="*/ 85 h 98"/>
                <a:gd name="T36" fmla="*/ 12 w 168"/>
                <a:gd name="T37" fmla="*/ 64 h 98"/>
                <a:gd name="T38" fmla="*/ 46 w 168"/>
                <a:gd name="T39" fmla="*/ 34 h 98"/>
                <a:gd name="T40" fmla="*/ 25 w 168"/>
                <a:gd name="T41" fmla="*/ 43 h 98"/>
                <a:gd name="T42" fmla="*/ 58 w 168"/>
                <a:gd name="T43" fmla="*/ 9 h 98"/>
                <a:gd name="T44" fmla="*/ 101 w 168"/>
                <a:gd name="T45" fmla="*/ 9 h 98"/>
                <a:gd name="T46" fmla="*/ 101 w 168"/>
                <a:gd name="T47" fmla="*/ 0 h 9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8"/>
                <a:gd name="T73" fmla="*/ 0 h 98"/>
                <a:gd name="T74" fmla="*/ 168 w 168"/>
                <a:gd name="T75" fmla="*/ 98 h 9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8" h="98">
                  <a:moveTo>
                    <a:pt x="101" y="0"/>
                  </a:moveTo>
                  <a:lnTo>
                    <a:pt x="159" y="9"/>
                  </a:lnTo>
                  <a:lnTo>
                    <a:pt x="168" y="34"/>
                  </a:lnTo>
                  <a:lnTo>
                    <a:pt x="159" y="43"/>
                  </a:lnTo>
                  <a:lnTo>
                    <a:pt x="134" y="18"/>
                  </a:lnTo>
                  <a:lnTo>
                    <a:pt x="113" y="64"/>
                  </a:lnTo>
                  <a:lnTo>
                    <a:pt x="101" y="64"/>
                  </a:lnTo>
                  <a:lnTo>
                    <a:pt x="101" y="55"/>
                  </a:lnTo>
                  <a:lnTo>
                    <a:pt x="92" y="55"/>
                  </a:lnTo>
                  <a:lnTo>
                    <a:pt x="101" y="43"/>
                  </a:lnTo>
                  <a:lnTo>
                    <a:pt x="101" y="18"/>
                  </a:lnTo>
                  <a:lnTo>
                    <a:pt x="92" y="18"/>
                  </a:lnTo>
                  <a:lnTo>
                    <a:pt x="58" y="34"/>
                  </a:lnTo>
                  <a:lnTo>
                    <a:pt x="46" y="55"/>
                  </a:lnTo>
                  <a:lnTo>
                    <a:pt x="25" y="85"/>
                  </a:lnTo>
                  <a:lnTo>
                    <a:pt x="12" y="98"/>
                  </a:lnTo>
                  <a:lnTo>
                    <a:pt x="0" y="98"/>
                  </a:lnTo>
                  <a:lnTo>
                    <a:pt x="0" y="85"/>
                  </a:lnTo>
                  <a:lnTo>
                    <a:pt x="12" y="64"/>
                  </a:lnTo>
                  <a:lnTo>
                    <a:pt x="46" y="34"/>
                  </a:lnTo>
                  <a:lnTo>
                    <a:pt x="25" y="43"/>
                  </a:lnTo>
                  <a:lnTo>
                    <a:pt x="58" y="9"/>
                  </a:lnTo>
                  <a:lnTo>
                    <a:pt x="101" y="9"/>
                  </a:lnTo>
                  <a:lnTo>
                    <a:pt x="101"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08" name="Freeform 807"/>
            <p:cNvSpPr>
              <a:spLocks/>
            </p:cNvSpPr>
            <p:nvPr/>
          </p:nvSpPr>
          <p:spPr bwMode="auto">
            <a:xfrm>
              <a:off x="3222781" y="3300223"/>
              <a:ext cx="130531" cy="56902"/>
            </a:xfrm>
            <a:custGeom>
              <a:avLst/>
              <a:gdLst>
                <a:gd name="T0" fmla="*/ 127 w 131"/>
                <a:gd name="T1" fmla="*/ 58 h 58"/>
                <a:gd name="T2" fmla="*/ 118 w 131"/>
                <a:gd name="T3" fmla="*/ 58 h 58"/>
                <a:gd name="T4" fmla="*/ 127 w 131"/>
                <a:gd name="T5" fmla="*/ 58 h 58"/>
                <a:gd name="T6" fmla="*/ 84 w 131"/>
                <a:gd name="T7" fmla="*/ 58 h 58"/>
                <a:gd name="T8" fmla="*/ 84 w 131"/>
                <a:gd name="T9" fmla="*/ 46 h 58"/>
                <a:gd name="T10" fmla="*/ 55 w 131"/>
                <a:gd name="T11" fmla="*/ 58 h 58"/>
                <a:gd name="T12" fmla="*/ 84 w 131"/>
                <a:gd name="T13" fmla="*/ 37 h 58"/>
                <a:gd name="T14" fmla="*/ 18 w 131"/>
                <a:gd name="T15" fmla="*/ 58 h 58"/>
                <a:gd name="T16" fmla="*/ 18 w 131"/>
                <a:gd name="T17" fmla="*/ 46 h 58"/>
                <a:gd name="T18" fmla="*/ 0 w 131"/>
                <a:gd name="T19" fmla="*/ 58 h 58"/>
                <a:gd name="T20" fmla="*/ 43 w 131"/>
                <a:gd name="T21" fmla="*/ 25 h 58"/>
                <a:gd name="T22" fmla="*/ 55 w 131"/>
                <a:gd name="T23" fmla="*/ 25 h 58"/>
                <a:gd name="T24" fmla="*/ 43 w 131"/>
                <a:gd name="T25" fmla="*/ 25 h 58"/>
                <a:gd name="T26" fmla="*/ 93 w 131"/>
                <a:gd name="T27" fmla="*/ 0 h 58"/>
                <a:gd name="T28" fmla="*/ 118 w 131"/>
                <a:gd name="T29" fmla="*/ 16 h 58"/>
                <a:gd name="T30" fmla="*/ 118 w 131"/>
                <a:gd name="T31" fmla="*/ 25 h 58"/>
                <a:gd name="T32" fmla="*/ 139 w 131"/>
                <a:gd name="T33" fmla="*/ 25 h 58"/>
                <a:gd name="T34" fmla="*/ 127 w 131"/>
                <a:gd name="T35" fmla="*/ 58 h 5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1"/>
                <a:gd name="T55" fmla="*/ 0 h 58"/>
                <a:gd name="T56" fmla="*/ 131 w 131"/>
                <a:gd name="T57" fmla="*/ 58 h 5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1" h="58">
                  <a:moveTo>
                    <a:pt x="119" y="58"/>
                  </a:moveTo>
                  <a:lnTo>
                    <a:pt x="110" y="58"/>
                  </a:lnTo>
                  <a:lnTo>
                    <a:pt x="119" y="58"/>
                  </a:lnTo>
                  <a:lnTo>
                    <a:pt x="76" y="58"/>
                  </a:lnTo>
                  <a:lnTo>
                    <a:pt x="76" y="46"/>
                  </a:lnTo>
                  <a:lnTo>
                    <a:pt x="55" y="58"/>
                  </a:lnTo>
                  <a:lnTo>
                    <a:pt x="76" y="37"/>
                  </a:lnTo>
                  <a:lnTo>
                    <a:pt x="18" y="58"/>
                  </a:lnTo>
                  <a:lnTo>
                    <a:pt x="18" y="46"/>
                  </a:lnTo>
                  <a:lnTo>
                    <a:pt x="0" y="58"/>
                  </a:lnTo>
                  <a:lnTo>
                    <a:pt x="43" y="25"/>
                  </a:lnTo>
                  <a:lnTo>
                    <a:pt x="55" y="25"/>
                  </a:lnTo>
                  <a:lnTo>
                    <a:pt x="43" y="25"/>
                  </a:lnTo>
                  <a:lnTo>
                    <a:pt x="85" y="0"/>
                  </a:lnTo>
                  <a:lnTo>
                    <a:pt x="110" y="16"/>
                  </a:lnTo>
                  <a:lnTo>
                    <a:pt x="110" y="25"/>
                  </a:lnTo>
                  <a:lnTo>
                    <a:pt x="131" y="25"/>
                  </a:lnTo>
                  <a:lnTo>
                    <a:pt x="119" y="58"/>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09" name="Freeform 808"/>
            <p:cNvSpPr>
              <a:spLocks/>
            </p:cNvSpPr>
            <p:nvPr/>
          </p:nvSpPr>
          <p:spPr bwMode="auto">
            <a:xfrm>
              <a:off x="3156165" y="3228856"/>
              <a:ext cx="20705" cy="54008"/>
            </a:xfrm>
            <a:custGeom>
              <a:avLst/>
              <a:gdLst>
                <a:gd name="T0" fmla="*/ 0 w 21"/>
                <a:gd name="T1" fmla="*/ 0 h 55"/>
                <a:gd name="T2" fmla="*/ 12 w 21"/>
                <a:gd name="T3" fmla="*/ 0 h 55"/>
                <a:gd name="T4" fmla="*/ 21 w 21"/>
                <a:gd name="T5" fmla="*/ 9 h 55"/>
                <a:gd name="T6" fmla="*/ 0 w 21"/>
                <a:gd name="T7" fmla="*/ 34 h 55"/>
                <a:gd name="T8" fmla="*/ 21 w 21"/>
                <a:gd name="T9" fmla="*/ 34 h 55"/>
                <a:gd name="T10" fmla="*/ 12 w 21"/>
                <a:gd name="T11" fmla="*/ 34 h 55"/>
                <a:gd name="T12" fmla="*/ 12 w 21"/>
                <a:gd name="T13" fmla="*/ 55 h 55"/>
                <a:gd name="T14" fmla="*/ 0 w 21"/>
                <a:gd name="T15" fmla="*/ 55 h 55"/>
                <a:gd name="T16" fmla="*/ 12 w 21"/>
                <a:gd name="T17" fmla="*/ 34 h 55"/>
                <a:gd name="T18" fmla="*/ 0 w 21"/>
                <a:gd name="T19" fmla="*/ 25 h 55"/>
                <a:gd name="T20" fmla="*/ 12 w 21"/>
                <a:gd name="T21" fmla="*/ 9 h 55"/>
                <a:gd name="T22" fmla="*/ 12 w 21"/>
                <a:gd name="T23" fmla="*/ 0 h 55"/>
                <a:gd name="T24" fmla="*/ 0 w 21"/>
                <a:gd name="T25" fmla="*/ 9 h 55"/>
                <a:gd name="T26" fmla="*/ 0 w 21"/>
                <a:gd name="T27" fmla="*/ 0 h 5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55"/>
                <a:gd name="T44" fmla="*/ 21 w 21"/>
                <a:gd name="T45" fmla="*/ 55 h 5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55">
                  <a:moveTo>
                    <a:pt x="0" y="0"/>
                  </a:moveTo>
                  <a:lnTo>
                    <a:pt x="12" y="0"/>
                  </a:lnTo>
                  <a:lnTo>
                    <a:pt x="21" y="9"/>
                  </a:lnTo>
                  <a:lnTo>
                    <a:pt x="0" y="34"/>
                  </a:lnTo>
                  <a:lnTo>
                    <a:pt x="21" y="34"/>
                  </a:lnTo>
                  <a:lnTo>
                    <a:pt x="12" y="34"/>
                  </a:lnTo>
                  <a:lnTo>
                    <a:pt x="12" y="55"/>
                  </a:lnTo>
                  <a:lnTo>
                    <a:pt x="0" y="55"/>
                  </a:lnTo>
                  <a:lnTo>
                    <a:pt x="12" y="34"/>
                  </a:lnTo>
                  <a:lnTo>
                    <a:pt x="0" y="25"/>
                  </a:lnTo>
                  <a:lnTo>
                    <a:pt x="12" y="9"/>
                  </a:lnTo>
                  <a:lnTo>
                    <a:pt x="12" y="0"/>
                  </a:lnTo>
                  <a:lnTo>
                    <a:pt x="0" y="9"/>
                  </a:lnTo>
                  <a:lnTo>
                    <a:pt x="0"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10" name="Freeform 809"/>
            <p:cNvSpPr>
              <a:spLocks/>
            </p:cNvSpPr>
            <p:nvPr/>
          </p:nvSpPr>
          <p:spPr bwMode="auto">
            <a:xfrm>
              <a:off x="5647969" y="3357125"/>
              <a:ext cx="54913" cy="54008"/>
            </a:xfrm>
            <a:custGeom>
              <a:avLst/>
              <a:gdLst>
                <a:gd name="T0" fmla="*/ 0 w 55"/>
                <a:gd name="T1" fmla="*/ 43 h 55"/>
                <a:gd name="T2" fmla="*/ 0 w 55"/>
                <a:gd name="T3" fmla="*/ 9 h 55"/>
                <a:gd name="T4" fmla="*/ 10 w 55"/>
                <a:gd name="T5" fmla="*/ 9 h 55"/>
                <a:gd name="T6" fmla="*/ 19 w 55"/>
                <a:gd name="T7" fmla="*/ 0 h 55"/>
                <a:gd name="T8" fmla="*/ 43 w 55"/>
                <a:gd name="T9" fmla="*/ 0 h 55"/>
                <a:gd name="T10" fmla="*/ 31 w 55"/>
                <a:gd name="T11" fmla="*/ 9 h 55"/>
                <a:gd name="T12" fmla="*/ 55 w 55"/>
                <a:gd name="T13" fmla="*/ 34 h 55"/>
                <a:gd name="T14" fmla="*/ 43 w 55"/>
                <a:gd name="T15" fmla="*/ 34 h 55"/>
                <a:gd name="T16" fmla="*/ 43 w 55"/>
                <a:gd name="T17" fmla="*/ 43 h 55"/>
                <a:gd name="T18" fmla="*/ 31 w 55"/>
                <a:gd name="T19" fmla="*/ 55 h 55"/>
                <a:gd name="T20" fmla="*/ 10 w 55"/>
                <a:gd name="T21" fmla="*/ 55 h 55"/>
                <a:gd name="T22" fmla="*/ 0 w 55"/>
                <a:gd name="T23" fmla="*/ 43 h 5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5"/>
                <a:gd name="T37" fmla="*/ 0 h 55"/>
                <a:gd name="T38" fmla="*/ 55 w 55"/>
                <a:gd name="T39" fmla="*/ 55 h 5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5" h="55">
                  <a:moveTo>
                    <a:pt x="0" y="43"/>
                  </a:moveTo>
                  <a:lnTo>
                    <a:pt x="0" y="9"/>
                  </a:lnTo>
                  <a:lnTo>
                    <a:pt x="10" y="9"/>
                  </a:lnTo>
                  <a:lnTo>
                    <a:pt x="19" y="0"/>
                  </a:lnTo>
                  <a:lnTo>
                    <a:pt x="43" y="0"/>
                  </a:lnTo>
                  <a:lnTo>
                    <a:pt x="31" y="9"/>
                  </a:lnTo>
                  <a:lnTo>
                    <a:pt x="55" y="34"/>
                  </a:lnTo>
                  <a:lnTo>
                    <a:pt x="43" y="34"/>
                  </a:lnTo>
                  <a:lnTo>
                    <a:pt x="43" y="43"/>
                  </a:lnTo>
                  <a:lnTo>
                    <a:pt x="31" y="55"/>
                  </a:lnTo>
                  <a:lnTo>
                    <a:pt x="10" y="55"/>
                  </a:lnTo>
                  <a:lnTo>
                    <a:pt x="0" y="43"/>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11" name="Freeform 810"/>
            <p:cNvSpPr>
              <a:spLocks/>
            </p:cNvSpPr>
            <p:nvPr/>
          </p:nvSpPr>
          <p:spPr bwMode="auto">
            <a:xfrm>
              <a:off x="5883826" y="3357125"/>
              <a:ext cx="87321" cy="33755"/>
            </a:xfrm>
            <a:custGeom>
              <a:avLst/>
              <a:gdLst>
                <a:gd name="T0" fmla="*/ 0 w 88"/>
                <a:gd name="T1" fmla="*/ 18 h 34"/>
                <a:gd name="T2" fmla="*/ 0 w 88"/>
                <a:gd name="T3" fmla="*/ 9 h 34"/>
                <a:gd name="T4" fmla="*/ 12 w 88"/>
                <a:gd name="T5" fmla="*/ 0 h 34"/>
                <a:gd name="T6" fmla="*/ 88 w 88"/>
                <a:gd name="T7" fmla="*/ 0 h 34"/>
                <a:gd name="T8" fmla="*/ 79 w 88"/>
                <a:gd name="T9" fmla="*/ 9 h 34"/>
                <a:gd name="T10" fmla="*/ 24 w 88"/>
                <a:gd name="T11" fmla="*/ 9 h 34"/>
                <a:gd name="T12" fmla="*/ 12 w 88"/>
                <a:gd name="T13" fmla="*/ 18 h 34"/>
                <a:gd name="T14" fmla="*/ 12 w 88"/>
                <a:gd name="T15" fmla="*/ 34 h 34"/>
                <a:gd name="T16" fmla="*/ 0 w 88"/>
                <a:gd name="T17" fmla="*/ 18 h 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8"/>
                <a:gd name="T28" fmla="*/ 0 h 34"/>
                <a:gd name="T29" fmla="*/ 88 w 88"/>
                <a:gd name="T30" fmla="*/ 34 h 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8" h="34">
                  <a:moveTo>
                    <a:pt x="0" y="18"/>
                  </a:moveTo>
                  <a:lnTo>
                    <a:pt x="0" y="9"/>
                  </a:lnTo>
                  <a:lnTo>
                    <a:pt x="12" y="0"/>
                  </a:lnTo>
                  <a:lnTo>
                    <a:pt x="88" y="0"/>
                  </a:lnTo>
                  <a:lnTo>
                    <a:pt x="79" y="9"/>
                  </a:lnTo>
                  <a:lnTo>
                    <a:pt x="24" y="9"/>
                  </a:lnTo>
                  <a:lnTo>
                    <a:pt x="12" y="18"/>
                  </a:lnTo>
                  <a:lnTo>
                    <a:pt x="12" y="34"/>
                  </a:lnTo>
                  <a:lnTo>
                    <a:pt x="0" y="18"/>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12" name="Freeform 811"/>
            <p:cNvSpPr>
              <a:spLocks/>
            </p:cNvSpPr>
            <p:nvPr/>
          </p:nvSpPr>
          <p:spPr bwMode="auto">
            <a:xfrm>
              <a:off x="6318631" y="3178705"/>
              <a:ext cx="54013" cy="83906"/>
            </a:xfrm>
            <a:custGeom>
              <a:avLst/>
              <a:gdLst>
                <a:gd name="T0" fmla="*/ 0 w 54"/>
                <a:gd name="T1" fmla="*/ 85 h 85"/>
                <a:gd name="T2" fmla="*/ 21 w 54"/>
                <a:gd name="T3" fmla="*/ 76 h 85"/>
                <a:gd name="T4" fmla="*/ 42 w 54"/>
                <a:gd name="T5" fmla="*/ 30 h 85"/>
                <a:gd name="T6" fmla="*/ 33 w 54"/>
                <a:gd name="T7" fmla="*/ 0 h 85"/>
                <a:gd name="T8" fmla="*/ 42 w 54"/>
                <a:gd name="T9" fmla="*/ 0 h 85"/>
                <a:gd name="T10" fmla="*/ 54 w 54"/>
                <a:gd name="T11" fmla="*/ 30 h 85"/>
                <a:gd name="T12" fmla="*/ 54 w 54"/>
                <a:gd name="T13" fmla="*/ 60 h 85"/>
                <a:gd name="T14" fmla="*/ 33 w 54"/>
                <a:gd name="T15" fmla="*/ 76 h 85"/>
                <a:gd name="T16" fmla="*/ 33 w 54"/>
                <a:gd name="T17" fmla="*/ 85 h 85"/>
                <a:gd name="T18" fmla="*/ 12 w 54"/>
                <a:gd name="T19" fmla="*/ 85 h 85"/>
                <a:gd name="T20" fmla="*/ 0 w 54"/>
                <a:gd name="T21" fmla="*/ 85 h 8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
                <a:gd name="T34" fmla="*/ 0 h 85"/>
                <a:gd name="T35" fmla="*/ 54 w 54"/>
                <a:gd name="T36" fmla="*/ 85 h 8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 h="85">
                  <a:moveTo>
                    <a:pt x="0" y="85"/>
                  </a:moveTo>
                  <a:lnTo>
                    <a:pt x="21" y="76"/>
                  </a:lnTo>
                  <a:lnTo>
                    <a:pt x="42" y="30"/>
                  </a:lnTo>
                  <a:lnTo>
                    <a:pt x="33" y="0"/>
                  </a:lnTo>
                  <a:lnTo>
                    <a:pt x="42" y="0"/>
                  </a:lnTo>
                  <a:lnTo>
                    <a:pt x="54" y="30"/>
                  </a:lnTo>
                  <a:lnTo>
                    <a:pt x="54" y="60"/>
                  </a:lnTo>
                  <a:lnTo>
                    <a:pt x="33" y="76"/>
                  </a:lnTo>
                  <a:lnTo>
                    <a:pt x="33" y="85"/>
                  </a:lnTo>
                  <a:lnTo>
                    <a:pt x="12" y="85"/>
                  </a:lnTo>
                  <a:lnTo>
                    <a:pt x="0" y="85"/>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13" name="Freeform 812"/>
            <p:cNvSpPr>
              <a:spLocks/>
            </p:cNvSpPr>
            <p:nvPr/>
          </p:nvSpPr>
          <p:spPr bwMode="auto">
            <a:xfrm>
              <a:off x="4966504" y="3291544"/>
              <a:ext cx="83720" cy="45328"/>
            </a:xfrm>
            <a:custGeom>
              <a:avLst/>
              <a:gdLst>
                <a:gd name="T0" fmla="*/ 0 w 85"/>
                <a:gd name="T1" fmla="*/ 25 h 46"/>
                <a:gd name="T2" fmla="*/ 31 w 85"/>
                <a:gd name="T3" fmla="*/ 0 h 46"/>
                <a:gd name="T4" fmla="*/ 55 w 85"/>
                <a:gd name="T5" fmla="*/ 9 h 46"/>
                <a:gd name="T6" fmla="*/ 76 w 85"/>
                <a:gd name="T7" fmla="*/ 9 h 46"/>
                <a:gd name="T8" fmla="*/ 85 w 85"/>
                <a:gd name="T9" fmla="*/ 9 h 46"/>
                <a:gd name="T10" fmla="*/ 85 w 85"/>
                <a:gd name="T11" fmla="*/ 25 h 46"/>
                <a:gd name="T12" fmla="*/ 64 w 85"/>
                <a:gd name="T13" fmla="*/ 25 h 46"/>
                <a:gd name="T14" fmla="*/ 31 w 85"/>
                <a:gd name="T15" fmla="*/ 46 h 46"/>
                <a:gd name="T16" fmla="*/ 9 w 85"/>
                <a:gd name="T17" fmla="*/ 34 h 46"/>
                <a:gd name="T18" fmla="*/ 0 w 85"/>
                <a:gd name="T19" fmla="*/ 25 h 4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46"/>
                <a:gd name="T32" fmla="*/ 85 w 85"/>
                <a:gd name="T33" fmla="*/ 46 h 4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46">
                  <a:moveTo>
                    <a:pt x="0" y="25"/>
                  </a:moveTo>
                  <a:lnTo>
                    <a:pt x="31" y="0"/>
                  </a:lnTo>
                  <a:lnTo>
                    <a:pt x="55" y="9"/>
                  </a:lnTo>
                  <a:lnTo>
                    <a:pt x="76" y="9"/>
                  </a:lnTo>
                  <a:lnTo>
                    <a:pt x="85" y="9"/>
                  </a:lnTo>
                  <a:lnTo>
                    <a:pt x="85" y="25"/>
                  </a:lnTo>
                  <a:lnTo>
                    <a:pt x="64" y="25"/>
                  </a:lnTo>
                  <a:lnTo>
                    <a:pt x="31" y="46"/>
                  </a:lnTo>
                  <a:lnTo>
                    <a:pt x="9" y="34"/>
                  </a:lnTo>
                  <a:lnTo>
                    <a:pt x="0" y="25"/>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14" name="Freeform 813"/>
            <p:cNvSpPr>
              <a:spLocks/>
            </p:cNvSpPr>
            <p:nvPr/>
          </p:nvSpPr>
          <p:spPr bwMode="auto">
            <a:xfrm>
              <a:off x="5050223" y="3237536"/>
              <a:ext cx="281768" cy="162024"/>
            </a:xfrm>
            <a:custGeom>
              <a:avLst/>
              <a:gdLst>
                <a:gd name="T0" fmla="*/ 110 w 284"/>
                <a:gd name="T1" fmla="*/ 140 h 165"/>
                <a:gd name="T2" fmla="*/ 122 w 284"/>
                <a:gd name="T3" fmla="*/ 122 h 165"/>
                <a:gd name="T4" fmla="*/ 131 w 284"/>
                <a:gd name="T5" fmla="*/ 122 h 165"/>
                <a:gd name="T6" fmla="*/ 131 w 284"/>
                <a:gd name="T7" fmla="*/ 110 h 165"/>
                <a:gd name="T8" fmla="*/ 122 w 284"/>
                <a:gd name="T9" fmla="*/ 101 h 165"/>
                <a:gd name="T10" fmla="*/ 110 w 284"/>
                <a:gd name="T11" fmla="*/ 89 h 165"/>
                <a:gd name="T12" fmla="*/ 89 w 284"/>
                <a:gd name="T13" fmla="*/ 80 h 165"/>
                <a:gd name="T14" fmla="*/ 77 w 284"/>
                <a:gd name="T15" fmla="*/ 89 h 165"/>
                <a:gd name="T16" fmla="*/ 46 w 284"/>
                <a:gd name="T17" fmla="*/ 101 h 165"/>
                <a:gd name="T18" fmla="*/ 13 w 284"/>
                <a:gd name="T19" fmla="*/ 89 h 165"/>
                <a:gd name="T20" fmla="*/ 0 w 284"/>
                <a:gd name="T21" fmla="*/ 89 h 165"/>
                <a:gd name="T22" fmla="*/ 0 w 284"/>
                <a:gd name="T23" fmla="*/ 80 h 165"/>
                <a:gd name="T24" fmla="*/ 0 w 284"/>
                <a:gd name="T25" fmla="*/ 64 h 165"/>
                <a:gd name="T26" fmla="*/ 34 w 284"/>
                <a:gd name="T27" fmla="*/ 46 h 165"/>
                <a:gd name="T28" fmla="*/ 22 w 284"/>
                <a:gd name="T29" fmla="*/ 25 h 165"/>
                <a:gd name="T30" fmla="*/ 55 w 284"/>
                <a:gd name="T31" fmla="*/ 16 h 165"/>
                <a:gd name="T32" fmla="*/ 89 w 284"/>
                <a:gd name="T33" fmla="*/ 25 h 165"/>
                <a:gd name="T34" fmla="*/ 110 w 284"/>
                <a:gd name="T35" fmla="*/ 25 h 165"/>
                <a:gd name="T36" fmla="*/ 131 w 284"/>
                <a:gd name="T37" fmla="*/ 25 h 165"/>
                <a:gd name="T38" fmla="*/ 131 w 284"/>
                <a:gd name="T39" fmla="*/ 16 h 165"/>
                <a:gd name="T40" fmla="*/ 144 w 284"/>
                <a:gd name="T41" fmla="*/ 16 h 165"/>
                <a:gd name="T42" fmla="*/ 177 w 284"/>
                <a:gd name="T43" fmla="*/ 0 h 165"/>
                <a:gd name="T44" fmla="*/ 186 w 284"/>
                <a:gd name="T45" fmla="*/ 16 h 165"/>
                <a:gd name="T46" fmla="*/ 186 w 284"/>
                <a:gd name="T47" fmla="*/ 25 h 165"/>
                <a:gd name="T48" fmla="*/ 198 w 284"/>
                <a:gd name="T49" fmla="*/ 25 h 165"/>
                <a:gd name="T50" fmla="*/ 208 w 284"/>
                <a:gd name="T51" fmla="*/ 46 h 165"/>
                <a:gd name="T52" fmla="*/ 244 w 284"/>
                <a:gd name="T53" fmla="*/ 46 h 165"/>
                <a:gd name="T54" fmla="*/ 253 w 284"/>
                <a:gd name="T55" fmla="*/ 55 h 165"/>
                <a:gd name="T56" fmla="*/ 284 w 284"/>
                <a:gd name="T57" fmla="*/ 55 h 165"/>
                <a:gd name="T58" fmla="*/ 284 w 284"/>
                <a:gd name="T59" fmla="*/ 64 h 165"/>
                <a:gd name="T60" fmla="*/ 284 w 284"/>
                <a:gd name="T61" fmla="*/ 80 h 165"/>
                <a:gd name="T62" fmla="*/ 284 w 284"/>
                <a:gd name="T63" fmla="*/ 101 h 165"/>
                <a:gd name="T64" fmla="*/ 275 w 284"/>
                <a:gd name="T65" fmla="*/ 89 h 165"/>
                <a:gd name="T66" fmla="*/ 262 w 284"/>
                <a:gd name="T67" fmla="*/ 101 h 165"/>
                <a:gd name="T68" fmla="*/ 262 w 284"/>
                <a:gd name="T69" fmla="*/ 110 h 165"/>
                <a:gd name="T70" fmla="*/ 253 w 284"/>
                <a:gd name="T71" fmla="*/ 110 h 165"/>
                <a:gd name="T72" fmla="*/ 208 w 284"/>
                <a:gd name="T73" fmla="*/ 131 h 165"/>
                <a:gd name="T74" fmla="*/ 229 w 284"/>
                <a:gd name="T75" fmla="*/ 140 h 165"/>
                <a:gd name="T76" fmla="*/ 244 w 284"/>
                <a:gd name="T77" fmla="*/ 140 h 165"/>
                <a:gd name="T78" fmla="*/ 244 w 284"/>
                <a:gd name="T79" fmla="*/ 156 h 165"/>
                <a:gd name="T80" fmla="*/ 229 w 284"/>
                <a:gd name="T81" fmla="*/ 156 h 165"/>
                <a:gd name="T82" fmla="*/ 198 w 284"/>
                <a:gd name="T83" fmla="*/ 165 h 165"/>
                <a:gd name="T84" fmla="*/ 198 w 284"/>
                <a:gd name="T85" fmla="*/ 156 h 165"/>
                <a:gd name="T86" fmla="*/ 177 w 284"/>
                <a:gd name="T87" fmla="*/ 140 h 165"/>
                <a:gd name="T88" fmla="*/ 198 w 284"/>
                <a:gd name="T89" fmla="*/ 131 h 165"/>
                <a:gd name="T90" fmla="*/ 168 w 284"/>
                <a:gd name="T91" fmla="*/ 122 h 165"/>
                <a:gd name="T92" fmla="*/ 144 w 284"/>
                <a:gd name="T93" fmla="*/ 122 h 165"/>
                <a:gd name="T94" fmla="*/ 131 w 284"/>
                <a:gd name="T95" fmla="*/ 131 h 165"/>
                <a:gd name="T96" fmla="*/ 131 w 284"/>
                <a:gd name="T97" fmla="*/ 140 h 165"/>
                <a:gd name="T98" fmla="*/ 110 w 284"/>
                <a:gd name="T99" fmla="*/ 140 h 16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84"/>
                <a:gd name="T151" fmla="*/ 0 h 165"/>
                <a:gd name="T152" fmla="*/ 284 w 284"/>
                <a:gd name="T153" fmla="*/ 165 h 16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84" h="165">
                  <a:moveTo>
                    <a:pt x="110" y="140"/>
                  </a:moveTo>
                  <a:lnTo>
                    <a:pt x="122" y="122"/>
                  </a:lnTo>
                  <a:lnTo>
                    <a:pt x="131" y="122"/>
                  </a:lnTo>
                  <a:lnTo>
                    <a:pt x="131" y="110"/>
                  </a:lnTo>
                  <a:lnTo>
                    <a:pt x="122" y="101"/>
                  </a:lnTo>
                  <a:lnTo>
                    <a:pt x="110" y="89"/>
                  </a:lnTo>
                  <a:lnTo>
                    <a:pt x="89" y="80"/>
                  </a:lnTo>
                  <a:lnTo>
                    <a:pt x="77" y="89"/>
                  </a:lnTo>
                  <a:lnTo>
                    <a:pt x="46" y="101"/>
                  </a:lnTo>
                  <a:lnTo>
                    <a:pt x="13" y="89"/>
                  </a:lnTo>
                  <a:lnTo>
                    <a:pt x="0" y="89"/>
                  </a:lnTo>
                  <a:lnTo>
                    <a:pt x="0" y="80"/>
                  </a:lnTo>
                  <a:lnTo>
                    <a:pt x="0" y="64"/>
                  </a:lnTo>
                  <a:lnTo>
                    <a:pt x="34" y="46"/>
                  </a:lnTo>
                  <a:lnTo>
                    <a:pt x="22" y="25"/>
                  </a:lnTo>
                  <a:lnTo>
                    <a:pt x="55" y="16"/>
                  </a:lnTo>
                  <a:lnTo>
                    <a:pt x="89" y="25"/>
                  </a:lnTo>
                  <a:lnTo>
                    <a:pt x="110" y="25"/>
                  </a:lnTo>
                  <a:lnTo>
                    <a:pt x="131" y="25"/>
                  </a:lnTo>
                  <a:lnTo>
                    <a:pt x="131" y="16"/>
                  </a:lnTo>
                  <a:lnTo>
                    <a:pt x="144" y="16"/>
                  </a:lnTo>
                  <a:lnTo>
                    <a:pt x="177" y="0"/>
                  </a:lnTo>
                  <a:lnTo>
                    <a:pt x="186" y="16"/>
                  </a:lnTo>
                  <a:lnTo>
                    <a:pt x="186" y="25"/>
                  </a:lnTo>
                  <a:lnTo>
                    <a:pt x="198" y="25"/>
                  </a:lnTo>
                  <a:lnTo>
                    <a:pt x="208" y="46"/>
                  </a:lnTo>
                  <a:lnTo>
                    <a:pt x="244" y="46"/>
                  </a:lnTo>
                  <a:lnTo>
                    <a:pt x="253" y="55"/>
                  </a:lnTo>
                  <a:lnTo>
                    <a:pt x="284" y="55"/>
                  </a:lnTo>
                  <a:lnTo>
                    <a:pt x="284" y="64"/>
                  </a:lnTo>
                  <a:lnTo>
                    <a:pt x="284" y="80"/>
                  </a:lnTo>
                  <a:lnTo>
                    <a:pt x="284" y="101"/>
                  </a:lnTo>
                  <a:lnTo>
                    <a:pt x="275" y="89"/>
                  </a:lnTo>
                  <a:lnTo>
                    <a:pt x="262" y="101"/>
                  </a:lnTo>
                  <a:lnTo>
                    <a:pt x="262" y="110"/>
                  </a:lnTo>
                  <a:lnTo>
                    <a:pt x="253" y="110"/>
                  </a:lnTo>
                  <a:lnTo>
                    <a:pt x="208" y="131"/>
                  </a:lnTo>
                  <a:lnTo>
                    <a:pt x="229" y="140"/>
                  </a:lnTo>
                  <a:lnTo>
                    <a:pt x="244" y="140"/>
                  </a:lnTo>
                  <a:lnTo>
                    <a:pt x="244" y="156"/>
                  </a:lnTo>
                  <a:lnTo>
                    <a:pt x="229" y="156"/>
                  </a:lnTo>
                  <a:lnTo>
                    <a:pt x="198" y="165"/>
                  </a:lnTo>
                  <a:lnTo>
                    <a:pt x="198" y="156"/>
                  </a:lnTo>
                  <a:lnTo>
                    <a:pt x="177" y="140"/>
                  </a:lnTo>
                  <a:lnTo>
                    <a:pt x="198" y="131"/>
                  </a:lnTo>
                  <a:lnTo>
                    <a:pt x="168" y="122"/>
                  </a:lnTo>
                  <a:lnTo>
                    <a:pt x="144" y="122"/>
                  </a:lnTo>
                  <a:lnTo>
                    <a:pt x="131" y="131"/>
                  </a:lnTo>
                  <a:lnTo>
                    <a:pt x="131" y="140"/>
                  </a:lnTo>
                  <a:lnTo>
                    <a:pt x="110" y="14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15" name="Freeform 814"/>
            <p:cNvSpPr>
              <a:spLocks/>
            </p:cNvSpPr>
            <p:nvPr/>
          </p:nvSpPr>
          <p:spPr bwMode="auto">
            <a:xfrm>
              <a:off x="5063727" y="3163274"/>
              <a:ext cx="138634" cy="99337"/>
            </a:xfrm>
            <a:custGeom>
              <a:avLst/>
              <a:gdLst>
                <a:gd name="T0" fmla="*/ 9 w 140"/>
                <a:gd name="T1" fmla="*/ 67 h 101"/>
                <a:gd name="T2" fmla="*/ 0 w 140"/>
                <a:gd name="T3" fmla="*/ 46 h 101"/>
                <a:gd name="T4" fmla="*/ 42 w 140"/>
                <a:gd name="T5" fmla="*/ 46 h 101"/>
                <a:gd name="T6" fmla="*/ 33 w 140"/>
                <a:gd name="T7" fmla="*/ 37 h 101"/>
                <a:gd name="T8" fmla="*/ 54 w 140"/>
                <a:gd name="T9" fmla="*/ 25 h 101"/>
                <a:gd name="T10" fmla="*/ 54 w 140"/>
                <a:gd name="T11" fmla="*/ 16 h 101"/>
                <a:gd name="T12" fmla="*/ 76 w 140"/>
                <a:gd name="T13" fmla="*/ 0 h 101"/>
                <a:gd name="T14" fmla="*/ 109 w 140"/>
                <a:gd name="T15" fmla="*/ 16 h 101"/>
                <a:gd name="T16" fmla="*/ 118 w 140"/>
                <a:gd name="T17" fmla="*/ 37 h 101"/>
                <a:gd name="T18" fmla="*/ 131 w 140"/>
                <a:gd name="T19" fmla="*/ 55 h 101"/>
                <a:gd name="T20" fmla="*/ 140 w 140"/>
                <a:gd name="T21" fmla="*/ 55 h 101"/>
                <a:gd name="T22" fmla="*/ 140 w 140"/>
                <a:gd name="T23" fmla="*/ 67 h 101"/>
                <a:gd name="T24" fmla="*/ 118 w 140"/>
                <a:gd name="T25" fmla="*/ 67 h 101"/>
                <a:gd name="T26" fmla="*/ 131 w 140"/>
                <a:gd name="T27" fmla="*/ 92 h 101"/>
                <a:gd name="T28" fmla="*/ 118 w 140"/>
                <a:gd name="T29" fmla="*/ 92 h 101"/>
                <a:gd name="T30" fmla="*/ 118 w 140"/>
                <a:gd name="T31" fmla="*/ 101 h 101"/>
                <a:gd name="T32" fmla="*/ 97 w 140"/>
                <a:gd name="T33" fmla="*/ 101 h 101"/>
                <a:gd name="T34" fmla="*/ 76 w 140"/>
                <a:gd name="T35" fmla="*/ 101 h 101"/>
                <a:gd name="T36" fmla="*/ 42 w 140"/>
                <a:gd name="T37" fmla="*/ 92 h 101"/>
                <a:gd name="T38" fmla="*/ 9 w 140"/>
                <a:gd name="T39" fmla="*/ 101 h 101"/>
                <a:gd name="T40" fmla="*/ 0 w 140"/>
                <a:gd name="T41" fmla="*/ 92 h 101"/>
                <a:gd name="T42" fmla="*/ 9 w 140"/>
                <a:gd name="T43" fmla="*/ 67 h 10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0"/>
                <a:gd name="T67" fmla="*/ 0 h 101"/>
                <a:gd name="T68" fmla="*/ 140 w 140"/>
                <a:gd name="T69" fmla="*/ 101 h 10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0" h="101">
                  <a:moveTo>
                    <a:pt x="9" y="67"/>
                  </a:moveTo>
                  <a:lnTo>
                    <a:pt x="0" y="46"/>
                  </a:lnTo>
                  <a:lnTo>
                    <a:pt x="42" y="46"/>
                  </a:lnTo>
                  <a:lnTo>
                    <a:pt x="33" y="37"/>
                  </a:lnTo>
                  <a:lnTo>
                    <a:pt x="54" y="25"/>
                  </a:lnTo>
                  <a:lnTo>
                    <a:pt x="54" y="16"/>
                  </a:lnTo>
                  <a:lnTo>
                    <a:pt x="76" y="0"/>
                  </a:lnTo>
                  <a:lnTo>
                    <a:pt x="109" y="16"/>
                  </a:lnTo>
                  <a:lnTo>
                    <a:pt x="118" y="37"/>
                  </a:lnTo>
                  <a:lnTo>
                    <a:pt x="131" y="55"/>
                  </a:lnTo>
                  <a:lnTo>
                    <a:pt x="140" y="55"/>
                  </a:lnTo>
                  <a:lnTo>
                    <a:pt x="140" y="67"/>
                  </a:lnTo>
                  <a:lnTo>
                    <a:pt x="118" y="67"/>
                  </a:lnTo>
                  <a:lnTo>
                    <a:pt x="131" y="92"/>
                  </a:lnTo>
                  <a:lnTo>
                    <a:pt x="118" y="92"/>
                  </a:lnTo>
                  <a:lnTo>
                    <a:pt x="118" y="101"/>
                  </a:lnTo>
                  <a:lnTo>
                    <a:pt x="97" y="101"/>
                  </a:lnTo>
                  <a:lnTo>
                    <a:pt x="76" y="101"/>
                  </a:lnTo>
                  <a:lnTo>
                    <a:pt x="42" y="92"/>
                  </a:lnTo>
                  <a:lnTo>
                    <a:pt x="9" y="101"/>
                  </a:lnTo>
                  <a:lnTo>
                    <a:pt x="0" y="92"/>
                  </a:lnTo>
                  <a:lnTo>
                    <a:pt x="9" y="67"/>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16" name="Freeform 815"/>
            <p:cNvSpPr>
              <a:spLocks/>
            </p:cNvSpPr>
            <p:nvPr/>
          </p:nvSpPr>
          <p:spPr bwMode="auto">
            <a:xfrm>
              <a:off x="5063727" y="3100587"/>
              <a:ext cx="63015" cy="42436"/>
            </a:xfrm>
            <a:custGeom>
              <a:avLst/>
              <a:gdLst>
                <a:gd name="T0" fmla="*/ 9 w 64"/>
                <a:gd name="T1" fmla="*/ 34 h 43"/>
                <a:gd name="T2" fmla="*/ 21 w 64"/>
                <a:gd name="T3" fmla="*/ 34 h 43"/>
                <a:gd name="T4" fmla="*/ 54 w 64"/>
                <a:gd name="T5" fmla="*/ 43 h 43"/>
                <a:gd name="T6" fmla="*/ 54 w 64"/>
                <a:gd name="T7" fmla="*/ 34 h 43"/>
                <a:gd name="T8" fmla="*/ 42 w 64"/>
                <a:gd name="T9" fmla="*/ 25 h 43"/>
                <a:gd name="T10" fmla="*/ 54 w 64"/>
                <a:gd name="T11" fmla="*/ 13 h 43"/>
                <a:gd name="T12" fmla="*/ 64 w 64"/>
                <a:gd name="T13" fmla="*/ 13 h 43"/>
                <a:gd name="T14" fmla="*/ 33 w 64"/>
                <a:gd name="T15" fmla="*/ 0 h 43"/>
                <a:gd name="T16" fmla="*/ 0 w 64"/>
                <a:gd name="T17" fmla="*/ 13 h 43"/>
                <a:gd name="T18" fmla="*/ 0 w 64"/>
                <a:gd name="T19" fmla="*/ 34 h 43"/>
                <a:gd name="T20" fmla="*/ 9 w 64"/>
                <a:gd name="T21" fmla="*/ 34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
                <a:gd name="T34" fmla="*/ 0 h 43"/>
                <a:gd name="T35" fmla="*/ 64 w 64"/>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 h="43">
                  <a:moveTo>
                    <a:pt x="9" y="34"/>
                  </a:moveTo>
                  <a:lnTo>
                    <a:pt x="21" y="34"/>
                  </a:lnTo>
                  <a:lnTo>
                    <a:pt x="54" y="43"/>
                  </a:lnTo>
                  <a:lnTo>
                    <a:pt x="54" y="34"/>
                  </a:lnTo>
                  <a:lnTo>
                    <a:pt x="42" y="25"/>
                  </a:lnTo>
                  <a:lnTo>
                    <a:pt x="54" y="13"/>
                  </a:lnTo>
                  <a:lnTo>
                    <a:pt x="64" y="13"/>
                  </a:lnTo>
                  <a:lnTo>
                    <a:pt x="33" y="0"/>
                  </a:lnTo>
                  <a:lnTo>
                    <a:pt x="0" y="13"/>
                  </a:lnTo>
                  <a:lnTo>
                    <a:pt x="0" y="34"/>
                  </a:lnTo>
                  <a:lnTo>
                    <a:pt x="9" y="34"/>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17" name="Freeform 816"/>
            <p:cNvSpPr>
              <a:spLocks/>
            </p:cNvSpPr>
            <p:nvPr/>
          </p:nvSpPr>
          <p:spPr bwMode="auto">
            <a:xfrm>
              <a:off x="5029519" y="3134341"/>
              <a:ext cx="108926" cy="44364"/>
            </a:xfrm>
            <a:custGeom>
              <a:avLst/>
              <a:gdLst>
                <a:gd name="T0" fmla="*/ 0 w 110"/>
                <a:gd name="T1" fmla="*/ 46 h 46"/>
                <a:gd name="T2" fmla="*/ 12 w 110"/>
                <a:gd name="T3" fmla="*/ 30 h 46"/>
                <a:gd name="T4" fmla="*/ 55 w 110"/>
                <a:gd name="T5" fmla="*/ 30 h 46"/>
                <a:gd name="T6" fmla="*/ 88 w 110"/>
                <a:gd name="T7" fmla="*/ 46 h 46"/>
                <a:gd name="T8" fmla="*/ 110 w 110"/>
                <a:gd name="T9" fmla="*/ 30 h 46"/>
                <a:gd name="T10" fmla="*/ 88 w 110"/>
                <a:gd name="T11" fmla="*/ 9 h 46"/>
                <a:gd name="T12" fmla="*/ 55 w 110"/>
                <a:gd name="T13" fmla="*/ 0 h 46"/>
                <a:gd name="T14" fmla="*/ 43 w 110"/>
                <a:gd name="T15" fmla="*/ 0 h 46"/>
                <a:gd name="T16" fmla="*/ 43 w 110"/>
                <a:gd name="T17" fmla="*/ 21 h 46"/>
                <a:gd name="T18" fmla="*/ 34 w 110"/>
                <a:gd name="T19" fmla="*/ 21 h 46"/>
                <a:gd name="T20" fmla="*/ 12 w 110"/>
                <a:gd name="T21" fmla="*/ 9 h 46"/>
                <a:gd name="T22" fmla="*/ 0 w 110"/>
                <a:gd name="T23" fmla="*/ 9 h 46"/>
                <a:gd name="T24" fmla="*/ 0 w 110"/>
                <a:gd name="T25" fmla="*/ 21 h 46"/>
                <a:gd name="T26" fmla="*/ 0 w 110"/>
                <a:gd name="T27" fmla="*/ 46 h 4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0"/>
                <a:gd name="T43" fmla="*/ 0 h 46"/>
                <a:gd name="T44" fmla="*/ 110 w 110"/>
                <a:gd name="T45" fmla="*/ 46 h 4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0" h="46">
                  <a:moveTo>
                    <a:pt x="0" y="46"/>
                  </a:moveTo>
                  <a:lnTo>
                    <a:pt x="12" y="30"/>
                  </a:lnTo>
                  <a:lnTo>
                    <a:pt x="55" y="30"/>
                  </a:lnTo>
                  <a:lnTo>
                    <a:pt x="88" y="46"/>
                  </a:lnTo>
                  <a:lnTo>
                    <a:pt x="110" y="30"/>
                  </a:lnTo>
                  <a:lnTo>
                    <a:pt x="88" y="9"/>
                  </a:lnTo>
                  <a:lnTo>
                    <a:pt x="55" y="0"/>
                  </a:lnTo>
                  <a:lnTo>
                    <a:pt x="43" y="0"/>
                  </a:lnTo>
                  <a:lnTo>
                    <a:pt x="43" y="21"/>
                  </a:lnTo>
                  <a:lnTo>
                    <a:pt x="34" y="21"/>
                  </a:lnTo>
                  <a:lnTo>
                    <a:pt x="12" y="9"/>
                  </a:lnTo>
                  <a:lnTo>
                    <a:pt x="0" y="9"/>
                  </a:lnTo>
                  <a:lnTo>
                    <a:pt x="0" y="21"/>
                  </a:lnTo>
                  <a:lnTo>
                    <a:pt x="0" y="46"/>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18" name="Freeform 817"/>
            <p:cNvSpPr>
              <a:spLocks/>
            </p:cNvSpPr>
            <p:nvPr/>
          </p:nvSpPr>
          <p:spPr bwMode="auto">
            <a:xfrm>
              <a:off x="5020517" y="3163274"/>
              <a:ext cx="97224" cy="45328"/>
            </a:xfrm>
            <a:custGeom>
              <a:avLst/>
              <a:gdLst>
                <a:gd name="T0" fmla="*/ 43 w 97"/>
                <a:gd name="T1" fmla="*/ 46 h 46"/>
                <a:gd name="T2" fmla="*/ 93 w 97"/>
                <a:gd name="T3" fmla="*/ 46 h 46"/>
                <a:gd name="T4" fmla="*/ 84 w 97"/>
                <a:gd name="T5" fmla="*/ 37 h 46"/>
                <a:gd name="T6" fmla="*/ 105 w 97"/>
                <a:gd name="T7" fmla="*/ 25 h 46"/>
                <a:gd name="T8" fmla="*/ 105 w 97"/>
                <a:gd name="T9" fmla="*/ 16 h 46"/>
                <a:gd name="T10" fmla="*/ 72 w 97"/>
                <a:gd name="T11" fmla="*/ 0 h 46"/>
                <a:gd name="T12" fmla="*/ 21 w 97"/>
                <a:gd name="T13" fmla="*/ 0 h 46"/>
                <a:gd name="T14" fmla="*/ 9 w 97"/>
                <a:gd name="T15" fmla="*/ 16 h 46"/>
                <a:gd name="T16" fmla="*/ 0 w 97"/>
                <a:gd name="T17" fmla="*/ 25 h 46"/>
                <a:gd name="T18" fmla="*/ 30 w 97"/>
                <a:gd name="T19" fmla="*/ 25 h 46"/>
                <a:gd name="T20" fmla="*/ 30 w 97"/>
                <a:gd name="T21" fmla="*/ 46 h 46"/>
                <a:gd name="T22" fmla="*/ 43 w 97"/>
                <a:gd name="T23" fmla="*/ 46 h 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7"/>
                <a:gd name="T37" fmla="*/ 0 h 46"/>
                <a:gd name="T38" fmla="*/ 97 w 97"/>
                <a:gd name="T39" fmla="*/ 46 h 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7" h="46">
                  <a:moveTo>
                    <a:pt x="43" y="46"/>
                  </a:moveTo>
                  <a:lnTo>
                    <a:pt x="85" y="46"/>
                  </a:lnTo>
                  <a:lnTo>
                    <a:pt x="76" y="37"/>
                  </a:lnTo>
                  <a:lnTo>
                    <a:pt x="97" y="25"/>
                  </a:lnTo>
                  <a:lnTo>
                    <a:pt x="97" y="16"/>
                  </a:lnTo>
                  <a:lnTo>
                    <a:pt x="64" y="0"/>
                  </a:lnTo>
                  <a:lnTo>
                    <a:pt x="21" y="0"/>
                  </a:lnTo>
                  <a:lnTo>
                    <a:pt x="9" y="16"/>
                  </a:lnTo>
                  <a:lnTo>
                    <a:pt x="0" y="25"/>
                  </a:lnTo>
                  <a:lnTo>
                    <a:pt x="30" y="25"/>
                  </a:lnTo>
                  <a:lnTo>
                    <a:pt x="30" y="46"/>
                  </a:lnTo>
                  <a:lnTo>
                    <a:pt x="43" y="46"/>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19" name="Freeform 818"/>
            <p:cNvSpPr>
              <a:spLocks/>
            </p:cNvSpPr>
            <p:nvPr/>
          </p:nvSpPr>
          <p:spPr bwMode="auto">
            <a:xfrm>
              <a:off x="5006114" y="3187386"/>
              <a:ext cx="44110" cy="21217"/>
            </a:xfrm>
            <a:custGeom>
              <a:avLst/>
              <a:gdLst>
                <a:gd name="T0" fmla="*/ 0 w 45"/>
                <a:gd name="T1" fmla="*/ 12 h 21"/>
                <a:gd name="T2" fmla="*/ 15 w 45"/>
                <a:gd name="T3" fmla="*/ 0 h 21"/>
                <a:gd name="T4" fmla="*/ 45 w 45"/>
                <a:gd name="T5" fmla="*/ 0 h 21"/>
                <a:gd name="T6" fmla="*/ 45 w 45"/>
                <a:gd name="T7" fmla="*/ 21 h 21"/>
                <a:gd name="T8" fmla="*/ 0 w 45"/>
                <a:gd name="T9" fmla="*/ 12 h 21"/>
                <a:gd name="T10" fmla="*/ 0 60000 65536"/>
                <a:gd name="T11" fmla="*/ 0 60000 65536"/>
                <a:gd name="T12" fmla="*/ 0 60000 65536"/>
                <a:gd name="T13" fmla="*/ 0 60000 65536"/>
                <a:gd name="T14" fmla="*/ 0 60000 65536"/>
                <a:gd name="T15" fmla="*/ 0 w 45"/>
                <a:gd name="T16" fmla="*/ 0 h 21"/>
                <a:gd name="T17" fmla="*/ 45 w 45"/>
                <a:gd name="T18" fmla="*/ 21 h 21"/>
              </a:gdLst>
              <a:ahLst/>
              <a:cxnLst>
                <a:cxn ang="T10">
                  <a:pos x="T0" y="T1"/>
                </a:cxn>
                <a:cxn ang="T11">
                  <a:pos x="T2" y="T3"/>
                </a:cxn>
                <a:cxn ang="T12">
                  <a:pos x="T4" y="T5"/>
                </a:cxn>
                <a:cxn ang="T13">
                  <a:pos x="T6" y="T7"/>
                </a:cxn>
                <a:cxn ang="T14">
                  <a:pos x="T8" y="T9"/>
                </a:cxn>
              </a:cxnLst>
              <a:rect l="T15" t="T16" r="T17" b="T18"/>
              <a:pathLst>
                <a:path w="45" h="21">
                  <a:moveTo>
                    <a:pt x="0" y="12"/>
                  </a:moveTo>
                  <a:lnTo>
                    <a:pt x="15" y="0"/>
                  </a:lnTo>
                  <a:lnTo>
                    <a:pt x="45" y="0"/>
                  </a:lnTo>
                  <a:lnTo>
                    <a:pt x="45" y="21"/>
                  </a:lnTo>
                  <a:lnTo>
                    <a:pt x="0" y="12"/>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20" name="Freeform 819"/>
            <p:cNvSpPr>
              <a:spLocks/>
            </p:cNvSpPr>
            <p:nvPr/>
          </p:nvSpPr>
          <p:spPr bwMode="auto">
            <a:xfrm>
              <a:off x="5126743" y="3315654"/>
              <a:ext cx="54013" cy="58831"/>
            </a:xfrm>
            <a:custGeom>
              <a:avLst/>
              <a:gdLst>
                <a:gd name="T0" fmla="*/ 33 w 54"/>
                <a:gd name="T1" fmla="*/ 60 h 60"/>
                <a:gd name="T2" fmla="*/ 45 w 54"/>
                <a:gd name="T3" fmla="*/ 42 h 60"/>
                <a:gd name="T4" fmla="*/ 54 w 54"/>
                <a:gd name="T5" fmla="*/ 42 h 60"/>
                <a:gd name="T6" fmla="*/ 54 w 54"/>
                <a:gd name="T7" fmla="*/ 30 h 60"/>
                <a:gd name="T8" fmla="*/ 45 w 54"/>
                <a:gd name="T9" fmla="*/ 21 h 60"/>
                <a:gd name="T10" fmla="*/ 33 w 54"/>
                <a:gd name="T11" fmla="*/ 9 h 60"/>
                <a:gd name="T12" fmla="*/ 12 w 54"/>
                <a:gd name="T13" fmla="*/ 0 h 60"/>
                <a:gd name="T14" fmla="*/ 0 w 54"/>
                <a:gd name="T15" fmla="*/ 9 h 60"/>
                <a:gd name="T16" fmla="*/ 24 w 54"/>
                <a:gd name="T17" fmla="*/ 30 h 60"/>
                <a:gd name="T18" fmla="*/ 33 w 54"/>
                <a:gd name="T19" fmla="*/ 60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
                <a:gd name="T31" fmla="*/ 0 h 60"/>
                <a:gd name="T32" fmla="*/ 54 w 54"/>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 h="60">
                  <a:moveTo>
                    <a:pt x="33" y="60"/>
                  </a:moveTo>
                  <a:lnTo>
                    <a:pt x="45" y="42"/>
                  </a:lnTo>
                  <a:lnTo>
                    <a:pt x="54" y="42"/>
                  </a:lnTo>
                  <a:lnTo>
                    <a:pt x="54" y="30"/>
                  </a:lnTo>
                  <a:lnTo>
                    <a:pt x="45" y="21"/>
                  </a:lnTo>
                  <a:lnTo>
                    <a:pt x="33" y="9"/>
                  </a:lnTo>
                  <a:lnTo>
                    <a:pt x="12" y="0"/>
                  </a:lnTo>
                  <a:lnTo>
                    <a:pt x="0" y="9"/>
                  </a:lnTo>
                  <a:lnTo>
                    <a:pt x="24" y="30"/>
                  </a:lnTo>
                  <a:lnTo>
                    <a:pt x="33" y="6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21" name="Freeform 820"/>
            <p:cNvSpPr>
              <a:spLocks/>
            </p:cNvSpPr>
            <p:nvPr/>
          </p:nvSpPr>
          <p:spPr bwMode="auto">
            <a:xfrm>
              <a:off x="5355398" y="3419813"/>
              <a:ext cx="106226" cy="45328"/>
            </a:xfrm>
            <a:custGeom>
              <a:avLst/>
              <a:gdLst>
                <a:gd name="T0" fmla="*/ 88 w 107"/>
                <a:gd name="T1" fmla="*/ 46 h 46"/>
                <a:gd name="T2" fmla="*/ 52 w 107"/>
                <a:gd name="T3" fmla="*/ 46 h 46"/>
                <a:gd name="T4" fmla="*/ 52 w 107"/>
                <a:gd name="T5" fmla="*/ 34 h 46"/>
                <a:gd name="T6" fmla="*/ 31 w 107"/>
                <a:gd name="T7" fmla="*/ 34 h 46"/>
                <a:gd name="T8" fmla="*/ 31 w 107"/>
                <a:gd name="T9" fmla="*/ 21 h 46"/>
                <a:gd name="T10" fmla="*/ 12 w 107"/>
                <a:gd name="T11" fmla="*/ 9 h 46"/>
                <a:gd name="T12" fmla="*/ 0 w 107"/>
                <a:gd name="T13" fmla="*/ 0 h 46"/>
                <a:gd name="T14" fmla="*/ 43 w 107"/>
                <a:gd name="T15" fmla="*/ 0 h 46"/>
                <a:gd name="T16" fmla="*/ 67 w 107"/>
                <a:gd name="T17" fmla="*/ 9 h 46"/>
                <a:gd name="T18" fmla="*/ 88 w 107"/>
                <a:gd name="T19" fmla="*/ 9 h 46"/>
                <a:gd name="T20" fmla="*/ 107 w 107"/>
                <a:gd name="T21" fmla="*/ 34 h 46"/>
                <a:gd name="T22" fmla="*/ 88 w 107"/>
                <a:gd name="T23" fmla="*/ 34 h 46"/>
                <a:gd name="T24" fmla="*/ 88 w 107"/>
                <a:gd name="T25" fmla="*/ 46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7"/>
                <a:gd name="T40" fmla="*/ 0 h 46"/>
                <a:gd name="T41" fmla="*/ 107 w 107"/>
                <a:gd name="T42" fmla="*/ 46 h 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7" h="46">
                  <a:moveTo>
                    <a:pt x="88" y="46"/>
                  </a:moveTo>
                  <a:lnTo>
                    <a:pt x="52" y="46"/>
                  </a:lnTo>
                  <a:lnTo>
                    <a:pt x="52" y="34"/>
                  </a:lnTo>
                  <a:lnTo>
                    <a:pt x="31" y="34"/>
                  </a:lnTo>
                  <a:lnTo>
                    <a:pt x="31" y="21"/>
                  </a:lnTo>
                  <a:lnTo>
                    <a:pt x="12" y="9"/>
                  </a:lnTo>
                  <a:lnTo>
                    <a:pt x="0" y="0"/>
                  </a:lnTo>
                  <a:lnTo>
                    <a:pt x="43" y="0"/>
                  </a:lnTo>
                  <a:lnTo>
                    <a:pt x="67" y="9"/>
                  </a:lnTo>
                  <a:lnTo>
                    <a:pt x="88" y="9"/>
                  </a:lnTo>
                  <a:lnTo>
                    <a:pt x="107" y="34"/>
                  </a:lnTo>
                  <a:lnTo>
                    <a:pt x="88" y="34"/>
                  </a:lnTo>
                  <a:lnTo>
                    <a:pt x="88" y="46"/>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22" name="Freeform 821"/>
            <p:cNvSpPr>
              <a:spLocks/>
            </p:cNvSpPr>
            <p:nvPr/>
          </p:nvSpPr>
          <p:spPr bwMode="auto">
            <a:xfrm>
              <a:off x="5407610" y="3465142"/>
              <a:ext cx="65716" cy="37613"/>
            </a:xfrm>
            <a:custGeom>
              <a:avLst/>
              <a:gdLst>
                <a:gd name="T0" fmla="*/ 36 w 67"/>
                <a:gd name="T1" fmla="*/ 21 h 39"/>
                <a:gd name="T2" fmla="*/ 46 w 67"/>
                <a:gd name="T3" fmla="*/ 30 h 39"/>
                <a:gd name="T4" fmla="*/ 55 w 67"/>
                <a:gd name="T5" fmla="*/ 39 h 39"/>
                <a:gd name="T6" fmla="*/ 67 w 67"/>
                <a:gd name="T7" fmla="*/ 39 h 39"/>
                <a:gd name="T8" fmla="*/ 55 w 67"/>
                <a:gd name="T9" fmla="*/ 21 h 39"/>
                <a:gd name="T10" fmla="*/ 46 w 67"/>
                <a:gd name="T11" fmla="*/ 21 h 39"/>
                <a:gd name="T12" fmla="*/ 46 w 67"/>
                <a:gd name="T13" fmla="*/ 9 h 39"/>
                <a:gd name="T14" fmla="*/ 36 w 67"/>
                <a:gd name="T15" fmla="*/ 0 h 39"/>
                <a:gd name="T16" fmla="*/ 0 w 67"/>
                <a:gd name="T17" fmla="*/ 0 h 39"/>
                <a:gd name="T18" fmla="*/ 15 w 67"/>
                <a:gd name="T19" fmla="*/ 21 h 39"/>
                <a:gd name="T20" fmla="*/ 36 w 67"/>
                <a:gd name="T21" fmla="*/ 21 h 3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
                <a:gd name="T34" fmla="*/ 0 h 39"/>
                <a:gd name="T35" fmla="*/ 67 w 67"/>
                <a:gd name="T36" fmla="*/ 39 h 3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 h="39">
                  <a:moveTo>
                    <a:pt x="36" y="21"/>
                  </a:moveTo>
                  <a:lnTo>
                    <a:pt x="46" y="30"/>
                  </a:lnTo>
                  <a:lnTo>
                    <a:pt x="55" y="39"/>
                  </a:lnTo>
                  <a:lnTo>
                    <a:pt x="67" y="39"/>
                  </a:lnTo>
                  <a:lnTo>
                    <a:pt x="55" y="21"/>
                  </a:lnTo>
                  <a:lnTo>
                    <a:pt x="46" y="21"/>
                  </a:lnTo>
                  <a:lnTo>
                    <a:pt x="46" y="9"/>
                  </a:lnTo>
                  <a:lnTo>
                    <a:pt x="36" y="0"/>
                  </a:lnTo>
                  <a:lnTo>
                    <a:pt x="0" y="0"/>
                  </a:lnTo>
                  <a:lnTo>
                    <a:pt x="15" y="21"/>
                  </a:lnTo>
                  <a:lnTo>
                    <a:pt x="36" y="21"/>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23" name="Freeform 822"/>
            <p:cNvSpPr>
              <a:spLocks/>
            </p:cNvSpPr>
            <p:nvPr/>
          </p:nvSpPr>
          <p:spPr bwMode="auto">
            <a:xfrm>
              <a:off x="5442719" y="3453568"/>
              <a:ext cx="85521" cy="62687"/>
            </a:xfrm>
            <a:custGeom>
              <a:avLst/>
              <a:gdLst>
                <a:gd name="T0" fmla="*/ 55 w 86"/>
                <a:gd name="T1" fmla="*/ 0 h 64"/>
                <a:gd name="T2" fmla="*/ 40 w 86"/>
                <a:gd name="T3" fmla="*/ 12 h 64"/>
                <a:gd name="T4" fmla="*/ 31 w 86"/>
                <a:gd name="T5" fmla="*/ 12 h 64"/>
                <a:gd name="T6" fmla="*/ 19 w 86"/>
                <a:gd name="T7" fmla="*/ 0 h 64"/>
                <a:gd name="T8" fmla="*/ 0 w 86"/>
                <a:gd name="T9" fmla="*/ 0 h 64"/>
                <a:gd name="T10" fmla="*/ 0 w 86"/>
                <a:gd name="T11" fmla="*/ 12 h 64"/>
                <a:gd name="T12" fmla="*/ 10 w 86"/>
                <a:gd name="T13" fmla="*/ 21 h 64"/>
                <a:gd name="T14" fmla="*/ 10 w 86"/>
                <a:gd name="T15" fmla="*/ 33 h 64"/>
                <a:gd name="T16" fmla="*/ 19 w 86"/>
                <a:gd name="T17" fmla="*/ 33 h 64"/>
                <a:gd name="T18" fmla="*/ 31 w 86"/>
                <a:gd name="T19" fmla="*/ 51 h 64"/>
                <a:gd name="T20" fmla="*/ 55 w 86"/>
                <a:gd name="T21" fmla="*/ 42 h 64"/>
                <a:gd name="T22" fmla="*/ 55 w 86"/>
                <a:gd name="T23" fmla="*/ 51 h 64"/>
                <a:gd name="T24" fmla="*/ 76 w 86"/>
                <a:gd name="T25" fmla="*/ 64 h 64"/>
                <a:gd name="T26" fmla="*/ 64 w 86"/>
                <a:gd name="T27" fmla="*/ 51 h 64"/>
                <a:gd name="T28" fmla="*/ 76 w 86"/>
                <a:gd name="T29" fmla="*/ 51 h 64"/>
                <a:gd name="T30" fmla="*/ 76 w 86"/>
                <a:gd name="T31" fmla="*/ 33 h 64"/>
                <a:gd name="T32" fmla="*/ 86 w 86"/>
                <a:gd name="T33" fmla="*/ 21 h 64"/>
                <a:gd name="T34" fmla="*/ 64 w 86"/>
                <a:gd name="T35" fmla="*/ 12 h 64"/>
                <a:gd name="T36" fmla="*/ 55 w 86"/>
                <a:gd name="T37" fmla="*/ 0 h 6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6"/>
                <a:gd name="T58" fmla="*/ 0 h 64"/>
                <a:gd name="T59" fmla="*/ 86 w 86"/>
                <a:gd name="T60" fmla="*/ 64 h 6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6" h="64">
                  <a:moveTo>
                    <a:pt x="55" y="0"/>
                  </a:moveTo>
                  <a:lnTo>
                    <a:pt x="40" y="12"/>
                  </a:lnTo>
                  <a:lnTo>
                    <a:pt x="31" y="12"/>
                  </a:lnTo>
                  <a:lnTo>
                    <a:pt x="19" y="0"/>
                  </a:lnTo>
                  <a:lnTo>
                    <a:pt x="0" y="0"/>
                  </a:lnTo>
                  <a:lnTo>
                    <a:pt x="0" y="12"/>
                  </a:lnTo>
                  <a:lnTo>
                    <a:pt x="10" y="21"/>
                  </a:lnTo>
                  <a:lnTo>
                    <a:pt x="10" y="33"/>
                  </a:lnTo>
                  <a:lnTo>
                    <a:pt x="19" y="33"/>
                  </a:lnTo>
                  <a:lnTo>
                    <a:pt x="31" y="51"/>
                  </a:lnTo>
                  <a:lnTo>
                    <a:pt x="55" y="42"/>
                  </a:lnTo>
                  <a:lnTo>
                    <a:pt x="55" y="51"/>
                  </a:lnTo>
                  <a:lnTo>
                    <a:pt x="76" y="64"/>
                  </a:lnTo>
                  <a:lnTo>
                    <a:pt x="64" y="51"/>
                  </a:lnTo>
                  <a:lnTo>
                    <a:pt x="76" y="51"/>
                  </a:lnTo>
                  <a:lnTo>
                    <a:pt x="76" y="33"/>
                  </a:lnTo>
                  <a:lnTo>
                    <a:pt x="86" y="21"/>
                  </a:lnTo>
                  <a:lnTo>
                    <a:pt x="64" y="12"/>
                  </a:lnTo>
                  <a:lnTo>
                    <a:pt x="55"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24" name="Freeform 823"/>
            <p:cNvSpPr>
              <a:spLocks/>
            </p:cNvSpPr>
            <p:nvPr/>
          </p:nvSpPr>
          <p:spPr bwMode="auto">
            <a:xfrm>
              <a:off x="5442719" y="3187386"/>
              <a:ext cx="637354" cy="277757"/>
            </a:xfrm>
            <a:custGeom>
              <a:avLst/>
              <a:gdLst>
                <a:gd name="T0" fmla="*/ 631 w 643"/>
                <a:gd name="T1" fmla="*/ 140 h 283"/>
                <a:gd name="T2" fmla="*/ 622 w 643"/>
                <a:gd name="T3" fmla="*/ 161 h 283"/>
                <a:gd name="T4" fmla="*/ 591 w 643"/>
                <a:gd name="T5" fmla="*/ 191 h 283"/>
                <a:gd name="T6" fmla="*/ 576 w 643"/>
                <a:gd name="T7" fmla="*/ 237 h 283"/>
                <a:gd name="T8" fmla="*/ 555 w 643"/>
                <a:gd name="T9" fmla="*/ 246 h 283"/>
                <a:gd name="T10" fmla="*/ 469 w 643"/>
                <a:gd name="T11" fmla="*/ 237 h 283"/>
                <a:gd name="T12" fmla="*/ 457 w 643"/>
                <a:gd name="T13" fmla="*/ 258 h 283"/>
                <a:gd name="T14" fmla="*/ 424 w 643"/>
                <a:gd name="T15" fmla="*/ 258 h 283"/>
                <a:gd name="T16" fmla="*/ 393 w 643"/>
                <a:gd name="T17" fmla="*/ 283 h 283"/>
                <a:gd name="T18" fmla="*/ 360 w 643"/>
                <a:gd name="T19" fmla="*/ 271 h 283"/>
                <a:gd name="T20" fmla="*/ 338 w 643"/>
                <a:gd name="T21" fmla="*/ 246 h 283"/>
                <a:gd name="T22" fmla="*/ 271 w 643"/>
                <a:gd name="T23" fmla="*/ 237 h 283"/>
                <a:gd name="T24" fmla="*/ 162 w 643"/>
                <a:gd name="T25" fmla="*/ 207 h 283"/>
                <a:gd name="T26" fmla="*/ 171 w 643"/>
                <a:gd name="T27" fmla="*/ 283 h 283"/>
                <a:gd name="T28" fmla="*/ 131 w 643"/>
                <a:gd name="T29" fmla="*/ 258 h 283"/>
                <a:gd name="T30" fmla="*/ 119 w 643"/>
                <a:gd name="T31" fmla="*/ 258 h 283"/>
                <a:gd name="T32" fmla="*/ 107 w 643"/>
                <a:gd name="T33" fmla="*/ 246 h 283"/>
                <a:gd name="T34" fmla="*/ 95 w 643"/>
                <a:gd name="T35" fmla="*/ 216 h 283"/>
                <a:gd name="T36" fmla="*/ 95 w 643"/>
                <a:gd name="T37" fmla="*/ 191 h 283"/>
                <a:gd name="T38" fmla="*/ 119 w 643"/>
                <a:gd name="T39" fmla="*/ 173 h 283"/>
                <a:gd name="T40" fmla="*/ 76 w 643"/>
                <a:gd name="T41" fmla="*/ 161 h 283"/>
                <a:gd name="T42" fmla="*/ 31 w 643"/>
                <a:gd name="T43" fmla="*/ 152 h 283"/>
                <a:gd name="T44" fmla="*/ 10 w 643"/>
                <a:gd name="T45" fmla="*/ 140 h 283"/>
                <a:gd name="T46" fmla="*/ 10 w 643"/>
                <a:gd name="T47" fmla="*/ 97 h 283"/>
                <a:gd name="T48" fmla="*/ 31 w 643"/>
                <a:gd name="T49" fmla="*/ 106 h 283"/>
                <a:gd name="T50" fmla="*/ 31 w 643"/>
                <a:gd name="T51" fmla="*/ 85 h 283"/>
                <a:gd name="T52" fmla="*/ 64 w 643"/>
                <a:gd name="T53" fmla="*/ 76 h 283"/>
                <a:gd name="T54" fmla="*/ 95 w 643"/>
                <a:gd name="T55" fmla="*/ 76 h 283"/>
                <a:gd name="T56" fmla="*/ 119 w 643"/>
                <a:gd name="T57" fmla="*/ 85 h 283"/>
                <a:gd name="T58" fmla="*/ 150 w 643"/>
                <a:gd name="T59" fmla="*/ 85 h 283"/>
                <a:gd name="T60" fmla="*/ 195 w 643"/>
                <a:gd name="T61" fmla="*/ 85 h 283"/>
                <a:gd name="T62" fmla="*/ 226 w 643"/>
                <a:gd name="T63" fmla="*/ 76 h 283"/>
                <a:gd name="T64" fmla="*/ 207 w 643"/>
                <a:gd name="T65" fmla="*/ 51 h 283"/>
                <a:gd name="T66" fmla="*/ 207 w 643"/>
                <a:gd name="T67" fmla="*/ 42 h 283"/>
                <a:gd name="T68" fmla="*/ 195 w 643"/>
                <a:gd name="T69" fmla="*/ 30 h 283"/>
                <a:gd name="T70" fmla="*/ 217 w 643"/>
                <a:gd name="T71" fmla="*/ 21 h 283"/>
                <a:gd name="T72" fmla="*/ 302 w 643"/>
                <a:gd name="T73" fmla="*/ 12 h 283"/>
                <a:gd name="T74" fmla="*/ 338 w 643"/>
                <a:gd name="T75" fmla="*/ 0 h 283"/>
                <a:gd name="T76" fmla="*/ 348 w 643"/>
                <a:gd name="T77" fmla="*/ 21 h 283"/>
                <a:gd name="T78" fmla="*/ 393 w 643"/>
                <a:gd name="T79" fmla="*/ 21 h 283"/>
                <a:gd name="T80" fmla="*/ 402 w 643"/>
                <a:gd name="T81" fmla="*/ 30 h 283"/>
                <a:gd name="T82" fmla="*/ 436 w 643"/>
                <a:gd name="T83" fmla="*/ 21 h 283"/>
                <a:gd name="T84" fmla="*/ 512 w 643"/>
                <a:gd name="T85" fmla="*/ 85 h 283"/>
                <a:gd name="T86" fmla="*/ 533 w 643"/>
                <a:gd name="T87" fmla="*/ 85 h 283"/>
                <a:gd name="T88" fmla="*/ 609 w 643"/>
                <a:gd name="T89" fmla="*/ 106 h 283"/>
                <a:gd name="T90" fmla="*/ 631 w 643"/>
                <a:gd name="T91" fmla="*/ 106 h 283"/>
                <a:gd name="T92" fmla="*/ 643 w 643"/>
                <a:gd name="T93" fmla="*/ 131 h 28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43"/>
                <a:gd name="T142" fmla="*/ 0 h 283"/>
                <a:gd name="T143" fmla="*/ 643 w 643"/>
                <a:gd name="T144" fmla="*/ 283 h 28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43" h="283">
                  <a:moveTo>
                    <a:pt x="643" y="131"/>
                  </a:moveTo>
                  <a:lnTo>
                    <a:pt x="631" y="140"/>
                  </a:lnTo>
                  <a:lnTo>
                    <a:pt x="631" y="161"/>
                  </a:lnTo>
                  <a:lnTo>
                    <a:pt x="622" y="161"/>
                  </a:lnTo>
                  <a:lnTo>
                    <a:pt x="591" y="161"/>
                  </a:lnTo>
                  <a:lnTo>
                    <a:pt x="591" y="191"/>
                  </a:lnTo>
                  <a:lnTo>
                    <a:pt x="567" y="207"/>
                  </a:lnTo>
                  <a:lnTo>
                    <a:pt x="576" y="237"/>
                  </a:lnTo>
                  <a:lnTo>
                    <a:pt x="576" y="258"/>
                  </a:lnTo>
                  <a:lnTo>
                    <a:pt x="555" y="246"/>
                  </a:lnTo>
                  <a:lnTo>
                    <a:pt x="491" y="246"/>
                  </a:lnTo>
                  <a:lnTo>
                    <a:pt x="469" y="237"/>
                  </a:lnTo>
                  <a:lnTo>
                    <a:pt x="469" y="246"/>
                  </a:lnTo>
                  <a:lnTo>
                    <a:pt x="457" y="258"/>
                  </a:lnTo>
                  <a:lnTo>
                    <a:pt x="424" y="246"/>
                  </a:lnTo>
                  <a:lnTo>
                    <a:pt x="424" y="258"/>
                  </a:lnTo>
                  <a:lnTo>
                    <a:pt x="415" y="271"/>
                  </a:lnTo>
                  <a:lnTo>
                    <a:pt x="393" y="283"/>
                  </a:lnTo>
                  <a:lnTo>
                    <a:pt x="360" y="283"/>
                  </a:lnTo>
                  <a:lnTo>
                    <a:pt x="360" y="271"/>
                  </a:lnTo>
                  <a:lnTo>
                    <a:pt x="348" y="271"/>
                  </a:lnTo>
                  <a:lnTo>
                    <a:pt x="338" y="246"/>
                  </a:lnTo>
                  <a:lnTo>
                    <a:pt x="317" y="228"/>
                  </a:lnTo>
                  <a:lnTo>
                    <a:pt x="271" y="237"/>
                  </a:lnTo>
                  <a:lnTo>
                    <a:pt x="207" y="191"/>
                  </a:lnTo>
                  <a:lnTo>
                    <a:pt x="162" y="207"/>
                  </a:lnTo>
                  <a:lnTo>
                    <a:pt x="186" y="283"/>
                  </a:lnTo>
                  <a:lnTo>
                    <a:pt x="171" y="283"/>
                  </a:lnTo>
                  <a:lnTo>
                    <a:pt x="140" y="258"/>
                  </a:lnTo>
                  <a:lnTo>
                    <a:pt x="131" y="258"/>
                  </a:lnTo>
                  <a:lnTo>
                    <a:pt x="119" y="271"/>
                  </a:lnTo>
                  <a:lnTo>
                    <a:pt x="119" y="258"/>
                  </a:lnTo>
                  <a:lnTo>
                    <a:pt x="119" y="246"/>
                  </a:lnTo>
                  <a:lnTo>
                    <a:pt x="107" y="246"/>
                  </a:lnTo>
                  <a:lnTo>
                    <a:pt x="86" y="216"/>
                  </a:lnTo>
                  <a:lnTo>
                    <a:pt x="95" y="216"/>
                  </a:lnTo>
                  <a:lnTo>
                    <a:pt x="86" y="207"/>
                  </a:lnTo>
                  <a:lnTo>
                    <a:pt x="95" y="191"/>
                  </a:lnTo>
                  <a:lnTo>
                    <a:pt x="140" y="191"/>
                  </a:lnTo>
                  <a:lnTo>
                    <a:pt x="119" y="173"/>
                  </a:lnTo>
                  <a:lnTo>
                    <a:pt x="95" y="161"/>
                  </a:lnTo>
                  <a:lnTo>
                    <a:pt x="76" y="161"/>
                  </a:lnTo>
                  <a:lnTo>
                    <a:pt x="40" y="173"/>
                  </a:lnTo>
                  <a:lnTo>
                    <a:pt x="31" y="152"/>
                  </a:lnTo>
                  <a:lnTo>
                    <a:pt x="10" y="152"/>
                  </a:lnTo>
                  <a:lnTo>
                    <a:pt x="10" y="140"/>
                  </a:lnTo>
                  <a:lnTo>
                    <a:pt x="0" y="131"/>
                  </a:lnTo>
                  <a:lnTo>
                    <a:pt x="10" y="97"/>
                  </a:lnTo>
                  <a:lnTo>
                    <a:pt x="19" y="106"/>
                  </a:lnTo>
                  <a:lnTo>
                    <a:pt x="31" y="106"/>
                  </a:lnTo>
                  <a:lnTo>
                    <a:pt x="19" y="85"/>
                  </a:lnTo>
                  <a:lnTo>
                    <a:pt x="31" y="85"/>
                  </a:lnTo>
                  <a:lnTo>
                    <a:pt x="55" y="76"/>
                  </a:lnTo>
                  <a:lnTo>
                    <a:pt x="64" y="76"/>
                  </a:lnTo>
                  <a:lnTo>
                    <a:pt x="76" y="67"/>
                  </a:lnTo>
                  <a:lnTo>
                    <a:pt x="95" y="76"/>
                  </a:lnTo>
                  <a:lnTo>
                    <a:pt x="119" y="97"/>
                  </a:lnTo>
                  <a:lnTo>
                    <a:pt x="119" y="85"/>
                  </a:lnTo>
                  <a:lnTo>
                    <a:pt x="131" y="85"/>
                  </a:lnTo>
                  <a:lnTo>
                    <a:pt x="150" y="85"/>
                  </a:lnTo>
                  <a:lnTo>
                    <a:pt x="171" y="85"/>
                  </a:lnTo>
                  <a:lnTo>
                    <a:pt x="195" y="85"/>
                  </a:lnTo>
                  <a:lnTo>
                    <a:pt x="217" y="85"/>
                  </a:lnTo>
                  <a:lnTo>
                    <a:pt x="226" y="76"/>
                  </a:lnTo>
                  <a:lnTo>
                    <a:pt x="195" y="67"/>
                  </a:lnTo>
                  <a:lnTo>
                    <a:pt x="207" y="51"/>
                  </a:lnTo>
                  <a:lnTo>
                    <a:pt x="195" y="51"/>
                  </a:lnTo>
                  <a:lnTo>
                    <a:pt x="207" y="42"/>
                  </a:lnTo>
                  <a:lnTo>
                    <a:pt x="207" y="30"/>
                  </a:lnTo>
                  <a:lnTo>
                    <a:pt x="195" y="30"/>
                  </a:lnTo>
                  <a:lnTo>
                    <a:pt x="195" y="21"/>
                  </a:lnTo>
                  <a:lnTo>
                    <a:pt x="217" y="21"/>
                  </a:lnTo>
                  <a:lnTo>
                    <a:pt x="271" y="12"/>
                  </a:lnTo>
                  <a:lnTo>
                    <a:pt x="302" y="12"/>
                  </a:lnTo>
                  <a:lnTo>
                    <a:pt x="302" y="0"/>
                  </a:lnTo>
                  <a:lnTo>
                    <a:pt x="338" y="0"/>
                  </a:lnTo>
                  <a:lnTo>
                    <a:pt x="348" y="12"/>
                  </a:lnTo>
                  <a:lnTo>
                    <a:pt x="348" y="21"/>
                  </a:lnTo>
                  <a:lnTo>
                    <a:pt x="369" y="21"/>
                  </a:lnTo>
                  <a:lnTo>
                    <a:pt x="393" y="21"/>
                  </a:lnTo>
                  <a:lnTo>
                    <a:pt x="393" y="30"/>
                  </a:lnTo>
                  <a:lnTo>
                    <a:pt x="402" y="30"/>
                  </a:lnTo>
                  <a:lnTo>
                    <a:pt x="424" y="21"/>
                  </a:lnTo>
                  <a:lnTo>
                    <a:pt x="436" y="21"/>
                  </a:lnTo>
                  <a:lnTo>
                    <a:pt x="469" y="42"/>
                  </a:lnTo>
                  <a:lnTo>
                    <a:pt x="512" y="85"/>
                  </a:lnTo>
                  <a:lnTo>
                    <a:pt x="524" y="76"/>
                  </a:lnTo>
                  <a:lnTo>
                    <a:pt x="533" y="85"/>
                  </a:lnTo>
                  <a:lnTo>
                    <a:pt x="567" y="85"/>
                  </a:lnTo>
                  <a:lnTo>
                    <a:pt x="609" y="106"/>
                  </a:lnTo>
                  <a:lnTo>
                    <a:pt x="622" y="115"/>
                  </a:lnTo>
                  <a:lnTo>
                    <a:pt x="631" y="106"/>
                  </a:lnTo>
                  <a:lnTo>
                    <a:pt x="643" y="115"/>
                  </a:lnTo>
                  <a:lnTo>
                    <a:pt x="643" y="131"/>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25" name="Freeform 824"/>
            <p:cNvSpPr>
              <a:spLocks/>
            </p:cNvSpPr>
            <p:nvPr/>
          </p:nvSpPr>
          <p:spPr bwMode="auto">
            <a:xfrm>
              <a:off x="5603858" y="3374485"/>
              <a:ext cx="304274" cy="173598"/>
            </a:xfrm>
            <a:custGeom>
              <a:avLst/>
              <a:gdLst>
                <a:gd name="T0" fmla="*/ 207 w 307"/>
                <a:gd name="T1" fmla="*/ 168 h 177"/>
                <a:gd name="T2" fmla="*/ 207 w 307"/>
                <a:gd name="T3" fmla="*/ 156 h 177"/>
                <a:gd name="T4" fmla="*/ 186 w 307"/>
                <a:gd name="T5" fmla="*/ 144 h 177"/>
                <a:gd name="T6" fmla="*/ 131 w 307"/>
                <a:gd name="T7" fmla="*/ 113 h 177"/>
                <a:gd name="T8" fmla="*/ 122 w 307"/>
                <a:gd name="T9" fmla="*/ 92 h 177"/>
                <a:gd name="T10" fmla="*/ 88 w 307"/>
                <a:gd name="T11" fmla="*/ 92 h 177"/>
                <a:gd name="T12" fmla="*/ 76 w 307"/>
                <a:gd name="T13" fmla="*/ 67 h 177"/>
                <a:gd name="T14" fmla="*/ 55 w 307"/>
                <a:gd name="T15" fmla="*/ 55 h 177"/>
                <a:gd name="T16" fmla="*/ 45 w 307"/>
                <a:gd name="T17" fmla="*/ 55 h 177"/>
                <a:gd name="T18" fmla="*/ 33 w 307"/>
                <a:gd name="T19" fmla="*/ 80 h 177"/>
                <a:gd name="T20" fmla="*/ 33 w 307"/>
                <a:gd name="T21" fmla="*/ 92 h 177"/>
                <a:gd name="T22" fmla="*/ 24 w 307"/>
                <a:gd name="T23" fmla="*/ 92 h 177"/>
                <a:gd name="T24" fmla="*/ 0 w 307"/>
                <a:gd name="T25" fmla="*/ 16 h 177"/>
                <a:gd name="T26" fmla="*/ 45 w 307"/>
                <a:gd name="T27" fmla="*/ 0 h 177"/>
                <a:gd name="T28" fmla="*/ 109 w 307"/>
                <a:gd name="T29" fmla="*/ 46 h 177"/>
                <a:gd name="T30" fmla="*/ 155 w 307"/>
                <a:gd name="T31" fmla="*/ 37 h 177"/>
                <a:gd name="T32" fmla="*/ 176 w 307"/>
                <a:gd name="T33" fmla="*/ 55 h 177"/>
                <a:gd name="T34" fmla="*/ 186 w 307"/>
                <a:gd name="T35" fmla="*/ 80 h 177"/>
                <a:gd name="T36" fmla="*/ 198 w 307"/>
                <a:gd name="T37" fmla="*/ 80 h 177"/>
                <a:gd name="T38" fmla="*/ 198 w 307"/>
                <a:gd name="T39" fmla="*/ 92 h 177"/>
                <a:gd name="T40" fmla="*/ 231 w 307"/>
                <a:gd name="T41" fmla="*/ 92 h 177"/>
                <a:gd name="T42" fmla="*/ 253 w 307"/>
                <a:gd name="T43" fmla="*/ 80 h 177"/>
                <a:gd name="T44" fmla="*/ 274 w 307"/>
                <a:gd name="T45" fmla="*/ 92 h 177"/>
                <a:gd name="T46" fmla="*/ 274 w 307"/>
                <a:gd name="T47" fmla="*/ 80 h 177"/>
                <a:gd name="T48" fmla="*/ 307 w 307"/>
                <a:gd name="T49" fmla="*/ 101 h 177"/>
                <a:gd name="T50" fmla="*/ 283 w 307"/>
                <a:gd name="T51" fmla="*/ 113 h 177"/>
                <a:gd name="T52" fmla="*/ 262 w 307"/>
                <a:gd name="T53" fmla="*/ 113 h 177"/>
                <a:gd name="T54" fmla="*/ 262 w 307"/>
                <a:gd name="T55" fmla="*/ 92 h 177"/>
                <a:gd name="T56" fmla="*/ 240 w 307"/>
                <a:gd name="T57" fmla="*/ 101 h 177"/>
                <a:gd name="T58" fmla="*/ 240 w 307"/>
                <a:gd name="T59" fmla="*/ 122 h 177"/>
                <a:gd name="T60" fmla="*/ 216 w 307"/>
                <a:gd name="T61" fmla="*/ 122 h 177"/>
                <a:gd name="T62" fmla="*/ 231 w 307"/>
                <a:gd name="T63" fmla="*/ 131 h 177"/>
                <a:gd name="T64" fmla="*/ 240 w 307"/>
                <a:gd name="T65" fmla="*/ 156 h 177"/>
                <a:gd name="T66" fmla="*/ 231 w 307"/>
                <a:gd name="T67" fmla="*/ 177 h 177"/>
                <a:gd name="T68" fmla="*/ 207 w 307"/>
                <a:gd name="T69" fmla="*/ 168 h 17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07"/>
                <a:gd name="T106" fmla="*/ 0 h 177"/>
                <a:gd name="T107" fmla="*/ 307 w 307"/>
                <a:gd name="T108" fmla="*/ 177 h 17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07" h="177">
                  <a:moveTo>
                    <a:pt x="207" y="168"/>
                  </a:moveTo>
                  <a:lnTo>
                    <a:pt x="207" y="156"/>
                  </a:lnTo>
                  <a:lnTo>
                    <a:pt x="186" y="144"/>
                  </a:lnTo>
                  <a:lnTo>
                    <a:pt x="131" y="113"/>
                  </a:lnTo>
                  <a:lnTo>
                    <a:pt x="122" y="92"/>
                  </a:lnTo>
                  <a:lnTo>
                    <a:pt x="88" y="92"/>
                  </a:lnTo>
                  <a:lnTo>
                    <a:pt x="76" y="67"/>
                  </a:lnTo>
                  <a:lnTo>
                    <a:pt x="55" y="55"/>
                  </a:lnTo>
                  <a:lnTo>
                    <a:pt x="45" y="55"/>
                  </a:lnTo>
                  <a:lnTo>
                    <a:pt x="33" y="80"/>
                  </a:lnTo>
                  <a:lnTo>
                    <a:pt x="33" y="92"/>
                  </a:lnTo>
                  <a:lnTo>
                    <a:pt x="24" y="92"/>
                  </a:lnTo>
                  <a:lnTo>
                    <a:pt x="0" y="16"/>
                  </a:lnTo>
                  <a:lnTo>
                    <a:pt x="45" y="0"/>
                  </a:lnTo>
                  <a:lnTo>
                    <a:pt x="109" y="46"/>
                  </a:lnTo>
                  <a:lnTo>
                    <a:pt x="155" y="37"/>
                  </a:lnTo>
                  <a:lnTo>
                    <a:pt x="176" y="55"/>
                  </a:lnTo>
                  <a:lnTo>
                    <a:pt x="186" y="80"/>
                  </a:lnTo>
                  <a:lnTo>
                    <a:pt x="198" y="80"/>
                  </a:lnTo>
                  <a:lnTo>
                    <a:pt x="198" y="92"/>
                  </a:lnTo>
                  <a:lnTo>
                    <a:pt x="231" y="92"/>
                  </a:lnTo>
                  <a:lnTo>
                    <a:pt x="253" y="80"/>
                  </a:lnTo>
                  <a:lnTo>
                    <a:pt x="274" y="92"/>
                  </a:lnTo>
                  <a:lnTo>
                    <a:pt x="274" y="80"/>
                  </a:lnTo>
                  <a:lnTo>
                    <a:pt x="307" y="101"/>
                  </a:lnTo>
                  <a:lnTo>
                    <a:pt x="283" y="113"/>
                  </a:lnTo>
                  <a:lnTo>
                    <a:pt x="262" y="113"/>
                  </a:lnTo>
                  <a:lnTo>
                    <a:pt x="262" y="92"/>
                  </a:lnTo>
                  <a:lnTo>
                    <a:pt x="240" y="101"/>
                  </a:lnTo>
                  <a:lnTo>
                    <a:pt x="240" y="122"/>
                  </a:lnTo>
                  <a:lnTo>
                    <a:pt x="216" y="122"/>
                  </a:lnTo>
                  <a:lnTo>
                    <a:pt x="231" y="131"/>
                  </a:lnTo>
                  <a:lnTo>
                    <a:pt x="240" y="156"/>
                  </a:lnTo>
                  <a:lnTo>
                    <a:pt x="231" y="177"/>
                  </a:lnTo>
                  <a:lnTo>
                    <a:pt x="207" y="168"/>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26" name="Freeform 825"/>
            <p:cNvSpPr>
              <a:spLocks/>
            </p:cNvSpPr>
            <p:nvPr/>
          </p:nvSpPr>
          <p:spPr bwMode="auto">
            <a:xfrm>
              <a:off x="5817210" y="3465142"/>
              <a:ext cx="133232" cy="82941"/>
            </a:xfrm>
            <a:custGeom>
              <a:avLst/>
              <a:gdLst>
                <a:gd name="T0" fmla="*/ 24 w 134"/>
                <a:gd name="T1" fmla="*/ 85 h 85"/>
                <a:gd name="T2" fmla="*/ 15 w 134"/>
                <a:gd name="T3" fmla="*/ 85 h 85"/>
                <a:gd name="T4" fmla="*/ 24 w 134"/>
                <a:gd name="T5" fmla="*/ 64 h 85"/>
                <a:gd name="T6" fmla="*/ 15 w 134"/>
                <a:gd name="T7" fmla="*/ 39 h 85"/>
                <a:gd name="T8" fmla="*/ 0 w 134"/>
                <a:gd name="T9" fmla="*/ 30 h 85"/>
                <a:gd name="T10" fmla="*/ 24 w 134"/>
                <a:gd name="T11" fmla="*/ 30 h 85"/>
                <a:gd name="T12" fmla="*/ 24 w 134"/>
                <a:gd name="T13" fmla="*/ 21 h 85"/>
                <a:gd name="T14" fmla="*/ 24 w 134"/>
                <a:gd name="T15" fmla="*/ 9 h 85"/>
                <a:gd name="T16" fmla="*/ 46 w 134"/>
                <a:gd name="T17" fmla="*/ 0 h 85"/>
                <a:gd name="T18" fmla="*/ 46 w 134"/>
                <a:gd name="T19" fmla="*/ 21 h 85"/>
                <a:gd name="T20" fmla="*/ 58 w 134"/>
                <a:gd name="T21" fmla="*/ 21 h 85"/>
                <a:gd name="T22" fmla="*/ 46 w 134"/>
                <a:gd name="T23" fmla="*/ 21 h 85"/>
                <a:gd name="T24" fmla="*/ 37 w 134"/>
                <a:gd name="T25" fmla="*/ 21 h 85"/>
                <a:gd name="T26" fmla="*/ 37 w 134"/>
                <a:gd name="T27" fmla="*/ 30 h 85"/>
                <a:gd name="T28" fmla="*/ 67 w 134"/>
                <a:gd name="T29" fmla="*/ 30 h 85"/>
                <a:gd name="T30" fmla="*/ 79 w 134"/>
                <a:gd name="T31" fmla="*/ 39 h 85"/>
                <a:gd name="T32" fmla="*/ 113 w 134"/>
                <a:gd name="T33" fmla="*/ 30 h 85"/>
                <a:gd name="T34" fmla="*/ 113 w 134"/>
                <a:gd name="T35" fmla="*/ 39 h 85"/>
                <a:gd name="T36" fmla="*/ 122 w 134"/>
                <a:gd name="T37" fmla="*/ 52 h 85"/>
                <a:gd name="T38" fmla="*/ 134 w 134"/>
                <a:gd name="T39" fmla="*/ 52 h 85"/>
                <a:gd name="T40" fmla="*/ 134 w 134"/>
                <a:gd name="T41" fmla="*/ 76 h 85"/>
                <a:gd name="T42" fmla="*/ 113 w 134"/>
                <a:gd name="T43" fmla="*/ 76 h 85"/>
                <a:gd name="T44" fmla="*/ 91 w 134"/>
                <a:gd name="T45" fmla="*/ 85 h 85"/>
                <a:gd name="T46" fmla="*/ 79 w 134"/>
                <a:gd name="T47" fmla="*/ 64 h 85"/>
                <a:gd name="T48" fmla="*/ 67 w 134"/>
                <a:gd name="T49" fmla="*/ 52 h 85"/>
                <a:gd name="T50" fmla="*/ 58 w 134"/>
                <a:gd name="T51" fmla="*/ 76 h 85"/>
                <a:gd name="T52" fmla="*/ 46 w 134"/>
                <a:gd name="T53" fmla="*/ 76 h 85"/>
                <a:gd name="T54" fmla="*/ 24 w 134"/>
                <a:gd name="T55" fmla="*/ 85 h 8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4"/>
                <a:gd name="T85" fmla="*/ 0 h 85"/>
                <a:gd name="T86" fmla="*/ 134 w 134"/>
                <a:gd name="T87" fmla="*/ 85 h 8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4" h="85">
                  <a:moveTo>
                    <a:pt x="24" y="85"/>
                  </a:moveTo>
                  <a:lnTo>
                    <a:pt x="15" y="85"/>
                  </a:lnTo>
                  <a:lnTo>
                    <a:pt x="24" y="64"/>
                  </a:lnTo>
                  <a:lnTo>
                    <a:pt x="15" y="39"/>
                  </a:lnTo>
                  <a:lnTo>
                    <a:pt x="0" y="30"/>
                  </a:lnTo>
                  <a:lnTo>
                    <a:pt x="24" y="30"/>
                  </a:lnTo>
                  <a:lnTo>
                    <a:pt x="24" y="21"/>
                  </a:lnTo>
                  <a:lnTo>
                    <a:pt x="24" y="9"/>
                  </a:lnTo>
                  <a:lnTo>
                    <a:pt x="46" y="0"/>
                  </a:lnTo>
                  <a:lnTo>
                    <a:pt x="46" y="21"/>
                  </a:lnTo>
                  <a:lnTo>
                    <a:pt x="58" y="21"/>
                  </a:lnTo>
                  <a:lnTo>
                    <a:pt x="46" y="21"/>
                  </a:lnTo>
                  <a:lnTo>
                    <a:pt x="37" y="21"/>
                  </a:lnTo>
                  <a:lnTo>
                    <a:pt x="37" y="30"/>
                  </a:lnTo>
                  <a:lnTo>
                    <a:pt x="67" y="30"/>
                  </a:lnTo>
                  <a:lnTo>
                    <a:pt x="79" y="39"/>
                  </a:lnTo>
                  <a:lnTo>
                    <a:pt x="113" y="30"/>
                  </a:lnTo>
                  <a:lnTo>
                    <a:pt x="113" y="39"/>
                  </a:lnTo>
                  <a:lnTo>
                    <a:pt x="122" y="52"/>
                  </a:lnTo>
                  <a:lnTo>
                    <a:pt x="134" y="52"/>
                  </a:lnTo>
                  <a:lnTo>
                    <a:pt x="134" y="76"/>
                  </a:lnTo>
                  <a:lnTo>
                    <a:pt x="113" y="76"/>
                  </a:lnTo>
                  <a:lnTo>
                    <a:pt x="91" y="85"/>
                  </a:lnTo>
                  <a:lnTo>
                    <a:pt x="79" y="64"/>
                  </a:lnTo>
                  <a:lnTo>
                    <a:pt x="67" y="52"/>
                  </a:lnTo>
                  <a:lnTo>
                    <a:pt x="58" y="76"/>
                  </a:lnTo>
                  <a:lnTo>
                    <a:pt x="46" y="76"/>
                  </a:lnTo>
                  <a:lnTo>
                    <a:pt x="24" y="85"/>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27" name="Freeform 826"/>
            <p:cNvSpPr>
              <a:spLocks/>
            </p:cNvSpPr>
            <p:nvPr/>
          </p:nvSpPr>
          <p:spPr bwMode="auto">
            <a:xfrm>
              <a:off x="5854119" y="3419813"/>
              <a:ext cx="159338" cy="82941"/>
            </a:xfrm>
            <a:custGeom>
              <a:avLst/>
              <a:gdLst>
                <a:gd name="T0" fmla="*/ 9 w 161"/>
                <a:gd name="T1" fmla="*/ 67 h 85"/>
                <a:gd name="T2" fmla="*/ 30 w 161"/>
                <a:gd name="T3" fmla="*/ 67 h 85"/>
                <a:gd name="T4" fmla="*/ 54 w 161"/>
                <a:gd name="T5" fmla="*/ 55 h 85"/>
                <a:gd name="T6" fmla="*/ 21 w 161"/>
                <a:gd name="T7" fmla="*/ 34 h 85"/>
                <a:gd name="T8" fmla="*/ 21 w 161"/>
                <a:gd name="T9" fmla="*/ 46 h 85"/>
                <a:gd name="T10" fmla="*/ 0 w 161"/>
                <a:gd name="T11" fmla="*/ 34 h 85"/>
                <a:gd name="T12" fmla="*/ 9 w 161"/>
                <a:gd name="T13" fmla="*/ 21 h 85"/>
                <a:gd name="T14" fmla="*/ 9 w 161"/>
                <a:gd name="T15" fmla="*/ 9 h 85"/>
                <a:gd name="T16" fmla="*/ 21 w 161"/>
                <a:gd name="T17" fmla="*/ 9 h 85"/>
                <a:gd name="T18" fmla="*/ 42 w 161"/>
                <a:gd name="T19" fmla="*/ 21 h 85"/>
                <a:gd name="T20" fmla="*/ 54 w 161"/>
                <a:gd name="T21" fmla="*/ 9 h 85"/>
                <a:gd name="T22" fmla="*/ 54 w 161"/>
                <a:gd name="T23" fmla="*/ 0 h 85"/>
                <a:gd name="T24" fmla="*/ 76 w 161"/>
                <a:gd name="T25" fmla="*/ 9 h 85"/>
                <a:gd name="T26" fmla="*/ 140 w 161"/>
                <a:gd name="T27" fmla="*/ 9 h 85"/>
                <a:gd name="T28" fmla="*/ 161 w 161"/>
                <a:gd name="T29" fmla="*/ 21 h 85"/>
                <a:gd name="T30" fmla="*/ 161 w 161"/>
                <a:gd name="T31" fmla="*/ 34 h 85"/>
                <a:gd name="T32" fmla="*/ 140 w 161"/>
                <a:gd name="T33" fmla="*/ 46 h 85"/>
                <a:gd name="T34" fmla="*/ 118 w 161"/>
                <a:gd name="T35" fmla="*/ 46 h 85"/>
                <a:gd name="T36" fmla="*/ 118 w 161"/>
                <a:gd name="T37" fmla="*/ 55 h 85"/>
                <a:gd name="T38" fmla="*/ 85 w 161"/>
                <a:gd name="T39" fmla="*/ 55 h 85"/>
                <a:gd name="T40" fmla="*/ 76 w 161"/>
                <a:gd name="T41" fmla="*/ 67 h 85"/>
                <a:gd name="T42" fmla="*/ 76 w 161"/>
                <a:gd name="T43" fmla="*/ 76 h 85"/>
                <a:gd name="T44" fmla="*/ 42 w 161"/>
                <a:gd name="T45" fmla="*/ 85 h 85"/>
                <a:gd name="T46" fmla="*/ 30 w 161"/>
                <a:gd name="T47" fmla="*/ 76 h 85"/>
                <a:gd name="T48" fmla="*/ 0 w 161"/>
                <a:gd name="T49" fmla="*/ 76 h 85"/>
                <a:gd name="T50" fmla="*/ 0 w 161"/>
                <a:gd name="T51" fmla="*/ 67 h 85"/>
                <a:gd name="T52" fmla="*/ 9 w 161"/>
                <a:gd name="T53" fmla="*/ 67 h 8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61"/>
                <a:gd name="T82" fmla="*/ 0 h 85"/>
                <a:gd name="T83" fmla="*/ 161 w 161"/>
                <a:gd name="T84" fmla="*/ 85 h 8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61" h="85">
                  <a:moveTo>
                    <a:pt x="9" y="67"/>
                  </a:moveTo>
                  <a:lnTo>
                    <a:pt x="30" y="67"/>
                  </a:lnTo>
                  <a:lnTo>
                    <a:pt x="54" y="55"/>
                  </a:lnTo>
                  <a:lnTo>
                    <a:pt x="21" y="34"/>
                  </a:lnTo>
                  <a:lnTo>
                    <a:pt x="21" y="46"/>
                  </a:lnTo>
                  <a:lnTo>
                    <a:pt x="0" y="34"/>
                  </a:lnTo>
                  <a:lnTo>
                    <a:pt x="9" y="21"/>
                  </a:lnTo>
                  <a:lnTo>
                    <a:pt x="9" y="9"/>
                  </a:lnTo>
                  <a:lnTo>
                    <a:pt x="21" y="9"/>
                  </a:lnTo>
                  <a:lnTo>
                    <a:pt x="42" y="21"/>
                  </a:lnTo>
                  <a:lnTo>
                    <a:pt x="54" y="9"/>
                  </a:lnTo>
                  <a:lnTo>
                    <a:pt x="54" y="0"/>
                  </a:lnTo>
                  <a:lnTo>
                    <a:pt x="76" y="9"/>
                  </a:lnTo>
                  <a:lnTo>
                    <a:pt x="140" y="9"/>
                  </a:lnTo>
                  <a:lnTo>
                    <a:pt x="161" y="21"/>
                  </a:lnTo>
                  <a:lnTo>
                    <a:pt x="161" y="34"/>
                  </a:lnTo>
                  <a:lnTo>
                    <a:pt x="140" y="46"/>
                  </a:lnTo>
                  <a:lnTo>
                    <a:pt x="118" y="46"/>
                  </a:lnTo>
                  <a:lnTo>
                    <a:pt x="118" y="55"/>
                  </a:lnTo>
                  <a:lnTo>
                    <a:pt x="85" y="55"/>
                  </a:lnTo>
                  <a:lnTo>
                    <a:pt x="76" y="67"/>
                  </a:lnTo>
                  <a:lnTo>
                    <a:pt x="76" y="76"/>
                  </a:lnTo>
                  <a:lnTo>
                    <a:pt x="42" y="85"/>
                  </a:lnTo>
                  <a:lnTo>
                    <a:pt x="30" y="76"/>
                  </a:lnTo>
                  <a:lnTo>
                    <a:pt x="0" y="76"/>
                  </a:lnTo>
                  <a:lnTo>
                    <a:pt x="0" y="67"/>
                  </a:lnTo>
                  <a:lnTo>
                    <a:pt x="9" y="67"/>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28" name="Freeform 827"/>
            <p:cNvSpPr>
              <a:spLocks/>
            </p:cNvSpPr>
            <p:nvPr/>
          </p:nvSpPr>
          <p:spPr bwMode="auto">
            <a:xfrm>
              <a:off x="5560649" y="3428493"/>
              <a:ext cx="247559" cy="149487"/>
            </a:xfrm>
            <a:custGeom>
              <a:avLst/>
              <a:gdLst>
                <a:gd name="T0" fmla="*/ 67 w 250"/>
                <a:gd name="T1" fmla="*/ 37 h 153"/>
                <a:gd name="T2" fmla="*/ 52 w 250"/>
                <a:gd name="T3" fmla="*/ 37 h 153"/>
                <a:gd name="T4" fmla="*/ 21 w 250"/>
                <a:gd name="T5" fmla="*/ 12 h 153"/>
                <a:gd name="T6" fmla="*/ 12 w 250"/>
                <a:gd name="T7" fmla="*/ 12 h 153"/>
                <a:gd name="T8" fmla="*/ 0 w 250"/>
                <a:gd name="T9" fmla="*/ 25 h 153"/>
                <a:gd name="T10" fmla="*/ 12 w 250"/>
                <a:gd name="T11" fmla="*/ 37 h 153"/>
                <a:gd name="T12" fmla="*/ 12 w 250"/>
                <a:gd name="T13" fmla="*/ 25 h 153"/>
                <a:gd name="T14" fmla="*/ 21 w 250"/>
                <a:gd name="T15" fmla="*/ 25 h 153"/>
                <a:gd name="T16" fmla="*/ 31 w 250"/>
                <a:gd name="T17" fmla="*/ 37 h 153"/>
                <a:gd name="T18" fmla="*/ 31 w 250"/>
                <a:gd name="T19" fmla="*/ 46 h 153"/>
                <a:gd name="T20" fmla="*/ 12 w 250"/>
                <a:gd name="T21" fmla="*/ 46 h 153"/>
                <a:gd name="T22" fmla="*/ 12 w 250"/>
                <a:gd name="T23" fmla="*/ 58 h 153"/>
                <a:gd name="T24" fmla="*/ 21 w 250"/>
                <a:gd name="T25" fmla="*/ 58 h 153"/>
                <a:gd name="T26" fmla="*/ 31 w 250"/>
                <a:gd name="T27" fmla="*/ 76 h 153"/>
                <a:gd name="T28" fmla="*/ 43 w 250"/>
                <a:gd name="T29" fmla="*/ 113 h 153"/>
                <a:gd name="T30" fmla="*/ 67 w 250"/>
                <a:gd name="T31" fmla="*/ 101 h 153"/>
                <a:gd name="T32" fmla="*/ 88 w 250"/>
                <a:gd name="T33" fmla="*/ 89 h 153"/>
                <a:gd name="T34" fmla="*/ 174 w 250"/>
                <a:gd name="T35" fmla="*/ 131 h 153"/>
                <a:gd name="T36" fmla="*/ 174 w 250"/>
                <a:gd name="T37" fmla="*/ 143 h 153"/>
                <a:gd name="T38" fmla="*/ 198 w 250"/>
                <a:gd name="T39" fmla="*/ 153 h 153"/>
                <a:gd name="T40" fmla="*/ 207 w 250"/>
                <a:gd name="T41" fmla="*/ 143 h 153"/>
                <a:gd name="T42" fmla="*/ 229 w 250"/>
                <a:gd name="T43" fmla="*/ 131 h 153"/>
                <a:gd name="T44" fmla="*/ 229 w 250"/>
                <a:gd name="T45" fmla="*/ 113 h 153"/>
                <a:gd name="T46" fmla="*/ 241 w 250"/>
                <a:gd name="T47" fmla="*/ 113 h 153"/>
                <a:gd name="T48" fmla="*/ 250 w 250"/>
                <a:gd name="T49" fmla="*/ 113 h 153"/>
                <a:gd name="T50" fmla="*/ 250 w 250"/>
                <a:gd name="T51" fmla="*/ 101 h 153"/>
                <a:gd name="T52" fmla="*/ 229 w 250"/>
                <a:gd name="T53" fmla="*/ 89 h 153"/>
                <a:gd name="T54" fmla="*/ 174 w 250"/>
                <a:gd name="T55" fmla="*/ 58 h 153"/>
                <a:gd name="T56" fmla="*/ 165 w 250"/>
                <a:gd name="T57" fmla="*/ 37 h 153"/>
                <a:gd name="T58" fmla="*/ 131 w 250"/>
                <a:gd name="T59" fmla="*/ 37 h 153"/>
                <a:gd name="T60" fmla="*/ 119 w 250"/>
                <a:gd name="T61" fmla="*/ 12 h 153"/>
                <a:gd name="T62" fmla="*/ 98 w 250"/>
                <a:gd name="T63" fmla="*/ 0 h 153"/>
                <a:gd name="T64" fmla="*/ 88 w 250"/>
                <a:gd name="T65" fmla="*/ 0 h 153"/>
                <a:gd name="T66" fmla="*/ 76 w 250"/>
                <a:gd name="T67" fmla="*/ 25 h 153"/>
                <a:gd name="T68" fmla="*/ 76 w 250"/>
                <a:gd name="T69" fmla="*/ 37 h 153"/>
                <a:gd name="T70" fmla="*/ 67 w 250"/>
                <a:gd name="T71" fmla="*/ 37 h 15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50"/>
                <a:gd name="T109" fmla="*/ 0 h 153"/>
                <a:gd name="T110" fmla="*/ 250 w 250"/>
                <a:gd name="T111" fmla="*/ 153 h 15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50" h="153">
                  <a:moveTo>
                    <a:pt x="67" y="37"/>
                  </a:moveTo>
                  <a:lnTo>
                    <a:pt x="52" y="37"/>
                  </a:lnTo>
                  <a:lnTo>
                    <a:pt x="21" y="12"/>
                  </a:lnTo>
                  <a:lnTo>
                    <a:pt x="12" y="12"/>
                  </a:lnTo>
                  <a:lnTo>
                    <a:pt x="0" y="25"/>
                  </a:lnTo>
                  <a:lnTo>
                    <a:pt x="12" y="37"/>
                  </a:lnTo>
                  <a:lnTo>
                    <a:pt x="12" y="25"/>
                  </a:lnTo>
                  <a:lnTo>
                    <a:pt x="21" y="25"/>
                  </a:lnTo>
                  <a:lnTo>
                    <a:pt x="31" y="37"/>
                  </a:lnTo>
                  <a:lnTo>
                    <a:pt x="31" y="46"/>
                  </a:lnTo>
                  <a:lnTo>
                    <a:pt x="12" y="46"/>
                  </a:lnTo>
                  <a:lnTo>
                    <a:pt x="12" y="58"/>
                  </a:lnTo>
                  <a:lnTo>
                    <a:pt x="21" y="58"/>
                  </a:lnTo>
                  <a:lnTo>
                    <a:pt x="31" y="76"/>
                  </a:lnTo>
                  <a:lnTo>
                    <a:pt x="43" y="113"/>
                  </a:lnTo>
                  <a:lnTo>
                    <a:pt x="67" y="101"/>
                  </a:lnTo>
                  <a:lnTo>
                    <a:pt x="88" y="89"/>
                  </a:lnTo>
                  <a:lnTo>
                    <a:pt x="174" y="131"/>
                  </a:lnTo>
                  <a:lnTo>
                    <a:pt x="174" y="143"/>
                  </a:lnTo>
                  <a:lnTo>
                    <a:pt x="198" y="153"/>
                  </a:lnTo>
                  <a:lnTo>
                    <a:pt x="207" y="143"/>
                  </a:lnTo>
                  <a:lnTo>
                    <a:pt x="229" y="131"/>
                  </a:lnTo>
                  <a:lnTo>
                    <a:pt x="229" y="113"/>
                  </a:lnTo>
                  <a:lnTo>
                    <a:pt x="241" y="113"/>
                  </a:lnTo>
                  <a:lnTo>
                    <a:pt x="250" y="113"/>
                  </a:lnTo>
                  <a:lnTo>
                    <a:pt x="250" y="101"/>
                  </a:lnTo>
                  <a:lnTo>
                    <a:pt x="229" y="89"/>
                  </a:lnTo>
                  <a:lnTo>
                    <a:pt x="174" y="58"/>
                  </a:lnTo>
                  <a:lnTo>
                    <a:pt x="165" y="37"/>
                  </a:lnTo>
                  <a:lnTo>
                    <a:pt x="131" y="37"/>
                  </a:lnTo>
                  <a:lnTo>
                    <a:pt x="119" y="12"/>
                  </a:lnTo>
                  <a:lnTo>
                    <a:pt x="98" y="0"/>
                  </a:lnTo>
                  <a:lnTo>
                    <a:pt x="88" y="0"/>
                  </a:lnTo>
                  <a:lnTo>
                    <a:pt x="76" y="25"/>
                  </a:lnTo>
                  <a:lnTo>
                    <a:pt x="76" y="37"/>
                  </a:lnTo>
                  <a:lnTo>
                    <a:pt x="67" y="37"/>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29" name="Freeform 828"/>
            <p:cNvSpPr>
              <a:spLocks/>
            </p:cNvSpPr>
            <p:nvPr/>
          </p:nvSpPr>
          <p:spPr bwMode="auto">
            <a:xfrm>
              <a:off x="4414670" y="4037049"/>
              <a:ext cx="129631" cy="104159"/>
            </a:xfrm>
            <a:custGeom>
              <a:avLst/>
              <a:gdLst>
                <a:gd name="T0" fmla="*/ 106 w 131"/>
                <a:gd name="T1" fmla="*/ 107 h 107"/>
                <a:gd name="T2" fmla="*/ 97 w 131"/>
                <a:gd name="T3" fmla="*/ 107 h 107"/>
                <a:gd name="T4" fmla="*/ 85 w 131"/>
                <a:gd name="T5" fmla="*/ 86 h 107"/>
                <a:gd name="T6" fmla="*/ 76 w 131"/>
                <a:gd name="T7" fmla="*/ 86 h 107"/>
                <a:gd name="T8" fmla="*/ 76 w 131"/>
                <a:gd name="T9" fmla="*/ 76 h 107"/>
                <a:gd name="T10" fmla="*/ 64 w 131"/>
                <a:gd name="T11" fmla="*/ 55 h 107"/>
                <a:gd name="T12" fmla="*/ 43 w 131"/>
                <a:gd name="T13" fmla="*/ 55 h 107"/>
                <a:gd name="T14" fmla="*/ 21 w 131"/>
                <a:gd name="T15" fmla="*/ 64 h 107"/>
                <a:gd name="T16" fmla="*/ 0 w 131"/>
                <a:gd name="T17" fmla="*/ 31 h 107"/>
                <a:gd name="T18" fmla="*/ 0 w 131"/>
                <a:gd name="T19" fmla="*/ 22 h 107"/>
                <a:gd name="T20" fmla="*/ 21 w 131"/>
                <a:gd name="T21" fmla="*/ 22 h 107"/>
                <a:gd name="T22" fmla="*/ 21 w 131"/>
                <a:gd name="T23" fmla="*/ 0 h 107"/>
                <a:gd name="T24" fmla="*/ 64 w 131"/>
                <a:gd name="T25" fmla="*/ 0 h 107"/>
                <a:gd name="T26" fmla="*/ 76 w 131"/>
                <a:gd name="T27" fmla="*/ 10 h 107"/>
                <a:gd name="T28" fmla="*/ 97 w 131"/>
                <a:gd name="T29" fmla="*/ 0 h 107"/>
                <a:gd name="T30" fmla="*/ 116 w 131"/>
                <a:gd name="T31" fmla="*/ 43 h 107"/>
                <a:gd name="T32" fmla="*/ 116 w 131"/>
                <a:gd name="T33" fmla="*/ 64 h 107"/>
                <a:gd name="T34" fmla="*/ 131 w 131"/>
                <a:gd name="T35" fmla="*/ 86 h 107"/>
                <a:gd name="T36" fmla="*/ 116 w 131"/>
                <a:gd name="T37" fmla="*/ 86 h 107"/>
                <a:gd name="T38" fmla="*/ 116 w 131"/>
                <a:gd name="T39" fmla="*/ 98 h 107"/>
                <a:gd name="T40" fmla="*/ 106 w 131"/>
                <a:gd name="T41" fmla="*/ 107 h 10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1"/>
                <a:gd name="T64" fmla="*/ 0 h 107"/>
                <a:gd name="T65" fmla="*/ 131 w 131"/>
                <a:gd name="T66" fmla="*/ 107 h 10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1" h="107">
                  <a:moveTo>
                    <a:pt x="106" y="107"/>
                  </a:moveTo>
                  <a:lnTo>
                    <a:pt x="97" y="107"/>
                  </a:lnTo>
                  <a:lnTo>
                    <a:pt x="85" y="86"/>
                  </a:lnTo>
                  <a:lnTo>
                    <a:pt x="76" y="86"/>
                  </a:lnTo>
                  <a:lnTo>
                    <a:pt x="76" y="76"/>
                  </a:lnTo>
                  <a:lnTo>
                    <a:pt x="64" y="55"/>
                  </a:lnTo>
                  <a:lnTo>
                    <a:pt x="43" y="55"/>
                  </a:lnTo>
                  <a:lnTo>
                    <a:pt x="21" y="64"/>
                  </a:lnTo>
                  <a:lnTo>
                    <a:pt x="0" y="31"/>
                  </a:lnTo>
                  <a:lnTo>
                    <a:pt x="0" y="22"/>
                  </a:lnTo>
                  <a:lnTo>
                    <a:pt x="21" y="22"/>
                  </a:lnTo>
                  <a:lnTo>
                    <a:pt x="21" y="0"/>
                  </a:lnTo>
                  <a:lnTo>
                    <a:pt x="64" y="0"/>
                  </a:lnTo>
                  <a:lnTo>
                    <a:pt x="76" y="10"/>
                  </a:lnTo>
                  <a:lnTo>
                    <a:pt x="97" y="0"/>
                  </a:lnTo>
                  <a:lnTo>
                    <a:pt x="116" y="43"/>
                  </a:lnTo>
                  <a:lnTo>
                    <a:pt x="116" y="64"/>
                  </a:lnTo>
                  <a:lnTo>
                    <a:pt x="131" y="86"/>
                  </a:lnTo>
                  <a:lnTo>
                    <a:pt x="116" y="86"/>
                  </a:lnTo>
                  <a:lnTo>
                    <a:pt x="116" y="98"/>
                  </a:lnTo>
                  <a:lnTo>
                    <a:pt x="106" y="107"/>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30" name="Freeform 829"/>
            <p:cNvSpPr>
              <a:spLocks/>
            </p:cNvSpPr>
            <p:nvPr/>
          </p:nvSpPr>
          <p:spPr bwMode="auto">
            <a:xfrm>
              <a:off x="4585711" y="3984005"/>
              <a:ext cx="139534" cy="115732"/>
            </a:xfrm>
            <a:custGeom>
              <a:avLst/>
              <a:gdLst>
                <a:gd name="T0" fmla="*/ 131 w 141"/>
                <a:gd name="T1" fmla="*/ 54 h 118"/>
                <a:gd name="T2" fmla="*/ 141 w 141"/>
                <a:gd name="T3" fmla="*/ 64 h 118"/>
                <a:gd name="T4" fmla="*/ 131 w 141"/>
                <a:gd name="T5" fmla="*/ 76 h 118"/>
                <a:gd name="T6" fmla="*/ 119 w 141"/>
                <a:gd name="T7" fmla="*/ 76 h 118"/>
                <a:gd name="T8" fmla="*/ 110 w 141"/>
                <a:gd name="T9" fmla="*/ 85 h 118"/>
                <a:gd name="T10" fmla="*/ 86 w 141"/>
                <a:gd name="T11" fmla="*/ 85 h 118"/>
                <a:gd name="T12" fmla="*/ 43 w 141"/>
                <a:gd name="T13" fmla="*/ 85 h 118"/>
                <a:gd name="T14" fmla="*/ 43 w 141"/>
                <a:gd name="T15" fmla="*/ 118 h 118"/>
                <a:gd name="T16" fmla="*/ 34 w 141"/>
                <a:gd name="T17" fmla="*/ 109 h 118"/>
                <a:gd name="T18" fmla="*/ 10 w 141"/>
                <a:gd name="T19" fmla="*/ 109 h 118"/>
                <a:gd name="T20" fmla="*/ 0 w 141"/>
                <a:gd name="T21" fmla="*/ 97 h 118"/>
                <a:gd name="T22" fmla="*/ 0 w 141"/>
                <a:gd name="T23" fmla="*/ 76 h 118"/>
                <a:gd name="T24" fmla="*/ 19 w 141"/>
                <a:gd name="T25" fmla="*/ 42 h 118"/>
                <a:gd name="T26" fmla="*/ 43 w 141"/>
                <a:gd name="T27" fmla="*/ 33 h 118"/>
                <a:gd name="T28" fmla="*/ 77 w 141"/>
                <a:gd name="T29" fmla="*/ 9 h 118"/>
                <a:gd name="T30" fmla="*/ 98 w 141"/>
                <a:gd name="T31" fmla="*/ 0 h 118"/>
                <a:gd name="T32" fmla="*/ 98 w 141"/>
                <a:gd name="T33" fmla="*/ 21 h 118"/>
                <a:gd name="T34" fmla="*/ 119 w 141"/>
                <a:gd name="T35" fmla="*/ 54 h 118"/>
                <a:gd name="T36" fmla="*/ 131 w 141"/>
                <a:gd name="T37" fmla="*/ 54 h 1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1"/>
                <a:gd name="T58" fmla="*/ 0 h 118"/>
                <a:gd name="T59" fmla="*/ 141 w 141"/>
                <a:gd name="T60" fmla="*/ 118 h 11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1" h="118">
                  <a:moveTo>
                    <a:pt x="131" y="54"/>
                  </a:moveTo>
                  <a:lnTo>
                    <a:pt x="141" y="64"/>
                  </a:lnTo>
                  <a:lnTo>
                    <a:pt x="131" y="76"/>
                  </a:lnTo>
                  <a:lnTo>
                    <a:pt x="119" y="76"/>
                  </a:lnTo>
                  <a:lnTo>
                    <a:pt x="110" y="85"/>
                  </a:lnTo>
                  <a:lnTo>
                    <a:pt x="86" y="85"/>
                  </a:lnTo>
                  <a:lnTo>
                    <a:pt x="43" y="85"/>
                  </a:lnTo>
                  <a:lnTo>
                    <a:pt x="43" y="118"/>
                  </a:lnTo>
                  <a:lnTo>
                    <a:pt x="34" y="109"/>
                  </a:lnTo>
                  <a:lnTo>
                    <a:pt x="10" y="109"/>
                  </a:lnTo>
                  <a:lnTo>
                    <a:pt x="0" y="97"/>
                  </a:lnTo>
                  <a:lnTo>
                    <a:pt x="0" y="76"/>
                  </a:lnTo>
                  <a:lnTo>
                    <a:pt x="19" y="42"/>
                  </a:lnTo>
                  <a:lnTo>
                    <a:pt x="43" y="33"/>
                  </a:lnTo>
                  <a:lnTo>
                    <a:pt x="77" y="9"/>
                  </a:lnTo>
                  <a:lnTo>
                    <a:pt x="98" y="0"/>
                  </a:lnTo>
                  <a:lnTo>
                    <a:pt x="98" y="21"/>
                  </a:lnTo>
                  <a:lnTo>
                    <a:pt x="119" y="54"/>
                  </a:lnTo>
                  <a:lnTo>
                    <a:pt x="131" y="54"/>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31" name="Freeform 830"/>
            <p:cNvSpPr>
              <a:spLocks/>
            </p:cNvSpPr>
            <p:nvPr/>
          </p:nvSpPr>
          <p:spPr bwMode="auto">
            <a:xfrm>
              <a:off x="4465982" y="3781475"/>
              <a:ext cx="292571" cy="297045"/>
            </a:xfrm>
            <a:custGeom>
              <a:avLst/>
              <a:gdLst>
                <a:gd name="T0" fmla="*/ 219 w 295"/>
                <a:gd name="T1" fmla="*/ 207 h 304"/>
                <a:gd name="T2" fmla="*/ 198 w 295"/>
                <a:gd name="T3" fmla="*/ 216 h 304"/>
                <a:gd name="T4" fmla="*/ 164 w 295"/>
                <a:gd name="T5" fmla="*/ 240 h 304"/>
                <a:gd name="T6" fmla="*/ 140 w 295"/>
                <a:gd name="T7" fmla="*/ 249 h 304"/>
                <a:gd name="T8" fmla="*/ 121 w 295"/>
                <a:gd name="T9" fmla="*/ 283 h 304"/>
                <a:gd name="T10" fmla="*/ 121 w 295"/>
                <a:gd name="T11" fmla="*/ 304 h 304"/>
                <a:gd name="T12" fmla="*/ 109 w 295"/>
                <a:gd name="T13" fmla="*/ 304 h 304"/>
                <a:gd name="T14" fmla="*/ 100 w 295"/>
                <a:gd name="T15" fmla="*/ 304 h 304"/>
                <a:gd name="T16" fmla="*/ 88 w 295"/>
                <a:gd name="T17" fmla="*/ 304 h 304"/>
                <a:gd name="T18" fmla="*/ 79 w 295"/>
                <a:gd name="T19" fmla="*/ 304 h 304"/>
                <a:gd name="T20" fmla="*/ 64 w 295"/>
                <a:gd name="T21" fmla="*/ 304 h 304"/>
                <a:gd name="T22" fmla="*/ 45 w 295"/>
                <a:gd name="T23" fmla="*/ 261 h 304"/>
                <a:gd name="T24" fmla="*/ 24 w 295"/>
                <a:gd name="T25" fmla="*/ 271 h 304"/>
                <a:gd name="T26" fmla="*/ 12 w 295"/>
                <a:gd name="T27" fmla="*/ 261 h 304"/>
                <a:gd name="T28" fmla="*/ 0 w 295"/>
                <a:gd name="T29" fmla="*/ 216 h 304"/>
                <a:gd name="T30" fmla="*/ 12 w 295"/>
                <a:gd name="T31" fmla="*/ 194 h 304"/>
                <a:gd name="T32" fmla="*/ 24 w 295"/>
                <a:gd name="T33" fmla="*/ 207 h 304"/>
                <a:gd name="T34" fmla="*/ 33 w 295"/>
                <a:gd name="T35" fmla="*/ 194 h 304"/>
                <a:gd name="T36" fmla="*/ 121 w 295"/>
                <a:gd name="T37" fmla="*/ 194 h 304"/>
                <a:gd name="T38" fmla="*/ 100 w 295"/>
                <a:gd name="T39" fmla="*/ 0 h 304"/>
                <a:gd name="T40" fmla="*/ 131 w 295"/>
                <a:gd name="T41" fmla="*/ 0 h 304"/>
                <a:gd name="T42" fmla="*/ 231 w 295"/>
                <a:gd name="T43" fmla="*/ 85 h 304"/>
                <a:gd name="T44" fmla="*/ 252 w 295"/>
                <a:gd name="T45" fmla="*/ 100 h 304"/>
                <a:gd name="T46" fmla="*/ 274 w 295"/>
                <a:gd name="T47" fmla="*/ 109 h 304"/>
                <a:gd name="T48" fmla="*/ 274 w 295"/>
                <a:gd name="T49" fmla="*/ 130 h 304"/>
                <a:gd name="T50" fmla="*/ 295 w 295"/>
                <a:gd name="T51" fmla="*/ 130 h 304"/>
                <a:gd name="T52" fmla="*/ 295 w 295"/>
                <a:gd name="T53" fmla="*/ 185 h 304"/>
                <a:gd name="T54" fmla="*/ 286 w 295"/>
                <a:gd name="T55" fmla="*/ 194 h 304"/>
                <a:gd name="T56" fmla="*/ 219 w 295"/>
                <a:gd name="T57" fmla="*/ 207 h 30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95"/>
                <a:gd name="T88" fmla="*/ 0 h 304"/>
                <a:gd name="T89" fmla="*/ 295 w 295"/>
                <a:gd name="T90" fmla="*/ 304 h 30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95" h="304">
                  <a:moveTo>
                    <a:pt x="219" y="207"/>
                  </a:moveTo>
                  <a:lnTo>
                    <a:pt x="198" y="216"/>
                  </a:lnTo>
                  <a:lnTo>
                    <a:pt x="164" y="240"/>
                  </a:lnTo>
                  <a:lnTo>
                    <a:pt x="140" y="249"/>
                  </a:lnTo>
                  <a:lnTo>
                    <a:pt x="121" y="283"/>
                  </a:lnTo>
                  <a:lnTo>
                    <a:pt x="121" y="304"/>
                  </a:lnTo>
                  <a:lnTo>
                    <a:pt x="109" y="304"/>
                  </a:lnTo>
                  <a:lnTo>
                    <a:pt x="100" y="304"/>
                  </a:lnTo>
                  <a:lnTo>
                    <a:pt x="88" y="304"/>
                  </a:lnTo>
                  <a:lnTo>
                    <a:pt x="79" y="304"/>
                  </a:lnTo>
                  <a:lnTo>
                    <a:pt x="64" y="304"/>
                  </a:lnTo>
                  <a:lnTo>
                    <a:pt x="45" y="261"/>
                  </a:lnTo>
                  <a:lnTo>
                    <a:pt x="24" y="271"/>
                  </a:lnTo>
                  <a:lnTo>
                    <a:pt x="12" y="261"/>
                  </a:lnTo>
                  <a:lnTo>
                    <a:pt x="0" y="216"/>
                  </a:lnTo>
                  <a:lnTo>
                    <a:pt x="12" y="194"/>
                  </a:lnTo>
                  <a:lnTo>
                    <a:pt x="24" y="207"/>
                  </a:lnTo>
                  <a:lnTo>
                    <a:pt x="33" y="194"/>
                  </a:lnTo>
                  <a:lnTo>
                    <a:pt x="121" y="194"/>
                  </a:lnTo>
                  <a:lnTo>
                    <a:pt x="100" y="0"/>
                  </a:lnTo>
                  <a:lnTo>
                    <a:pt x="131" y="0"/>
                  </a:lnTo>
                  <a:lnTo>
                    <a:pt x="231" y="85"/>
                  </a:lnTo>
                  <a:lnTo>
                    <a:pt x="252" y="100"/>
                  </a:lnTo>
                  <a:lnTo>
                    <a:pt x="274" y="109"/>
                  </a:lnTo>
                  <a:lnTo>
                    <a:pt x="274" y="130"/>
                  </a:lnTo>
                  <a:lnTo>
                    <a:pt x="295" y="130"/>
                  </a:lnTo>
                  <a:lnTo>
                    <a:pt x="295" y="185"/>
                  </a:lnTo>
                  <a:lnTo>
                    <a:pt x="286" y="194"/>
                  </a:lnTo>
                  <a:lnTo>
                    <a:pt x="219" y="207"/>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32" name="Freeform 831"/>
            <p:cNvSpPr>
              <a:spLocks/>
            </p:cNvSpPr>
            <p:nvPr/>
          </p:nvSpPr>
          <p:spPr bwMode="auto">
            <a:xfrm>
              <a:off x="5072730" y="3824874"/>
              <a:ext cx="295272" cy="394452"/>
            </a:xfrm>
            <a:custGeom>
              <a:avLst/>
              <a:gdLst>
                <a:gd name="T0" fmla="*/ 253 w 298"/>
                <a:gd name="T1" fmla="*/ 366 h 402"/>
                <a:gd name="T2" fmla="*/ 253 w 298"/>
                <a:gd name="T3" fmla="*/ 378 h 402"/>
                <a:gd name="T4" fmla="*/ 231 w 298"/>
                <a:gd name="T5" fmla="*/ 378 h 402"/>
                <a:gd name="T6" fmla="*/ 222 w 298"/>
                <a:gd name="T7" fmla="*/ 387 h 402"/>
                <a:gd name="T8" fmla="*/ 186 w 298"/>
                <a:gd name="T9" fmla="*/ 402 h 402"/>
                <a:gd name="T10" fmla="*/ 164 w 298"/>
                <a:gd name="T11" fmla="*/ 402 h 402"/>
                <a:gd name="T12" fmla="*/ 146 w 298"/>
                <a:gd name="T13" fmla="*/ 378 h 402"/>
                <a:gd name="T14" fmla="*/ 122 w 298"/>
                <a:gd name="T15" fmla="*/ 378 h 402"/>
                <a:gd name="T16" fmla="*/ 109 w 298"/>
                <a:gd name="T17" fmla="*/ 366 h 402"/>
                <a:gd name="T18" fmla="*/ 55 w 298"/>
                <a:gd name="T19" fmla="*/ 302 h 402"/>
                <a:gd name="T20" fmla="*/ 33 w 298"/>
                <a:gd name="T21" fmla="*/ 292 h 402"/>
                <a:gd name="T22" fmla="*/ 33 w 298"/>
                <a:gd name="T23" fmla="*/ 271 h 402"/>
                <a:gd name="T24" fmla="*/ 12 w 298"/>
                <a:gd name="T25" fmla="*/ 247 h 402"/>
                <a:gd name="T26" fmla="*/ 24 w 298"/>
                <a:gd name="T27" fmla="*/ 238 h 402"/>
                <a:gd name="T28" fmla="*/ 0 w 298"/>
                <a:gd name="T29" fmla="*/ 204 h 402"/>
                <a:gd name="T30" fmla="*/ 24 w 298"/>
                <a:gd name="T31" fmla="*/ 149 h 402"/>
                <a:gd name="T32" fmla="*/ 33 w 298"/>
                <a:gd name="T33" fmla="*/ 149 h 402"/>
                <a:gd name="T34" fmla="*/ 33 w 298"/>
                <a:gd name="T35" fmla="*/ 140 h 402"/>
                <a:gd name="T36" fmla="*/ 33 w 298"/>
                <a:gd name="T37" fmla="*/ 73 h 402"/>
                <a:gd name="T38" fmla="*/ 33 w 298"/>
                <a:gd name="T39" fmla="*/ 64 h 402"/>
                <a:gd name="T40" fmla="*/ 55 w 298"/>
                <a:gd name="T41" fmla="*/ 64 h 402"/>
                <a:gd name="T42" fmla="*/ 55 w 298"/>
                <a:gd name="T43" fmla="*/ 18 h 402"/>
                <a:gd name="T44" fmla="*/ 198 w 298"/>
                <a:gd name="T45" fmla="*/ 18 h 402"/>
                <a:gd name="T46" fmla="*/ 222 w 298"/>
                <a:gd name="T47" fmla="*/ 18 h 402"/>
                <a:gd name="T48" fmla="*/ 240 w 298"/>
                <a:gd name="T49" fmla="*/ 0 h 402"/>
                <a:gd name="T50" fmla="*/ 240 w 298"/>
                <a:gd name="T51" fmla="*/ 9 h 402"/>
                <a:gd name="T52" fmla="*/ 262 w 298"/>
                <a:gd name="T53" fmla="*/ 18 h 402"/>
                <a:gd name="T54" fmla="*/ 286 w 298"/>
                <a:gd name="T55" fmla="*/ 95 h 402"/>
                <a:gd name="T56" fmla="*/ 298 w 298"/>
                <a:gd name="T57" fmla="*/ 107 h 402"/>
                <a:gd name="T58" fmla="*/ 298 w 298"/>
                <a:gd name="T59" fmla="*/ 119 h 402"/>
                <a:gd name="T60" fmla="*/ 274 w 298"/>
                <a:gd name="T61" fmla="*/ 128 h 402"/>
                <a:gd name="T62" fmla="*/ 262 w 298"/>
                <a:gd name="T63" fmla="*/ 204 h 402"/>
                <a:gd name="T64" fmla="*/ 231 w 298"/>
                <a:gd name="T65" fmla="*/ 259 h 402"/>
                <a:gd name="T66" fmla="*/ 222 w 298"/>
                <a:gd name="T67" fmla="*/ 302 h 402"/>
                <a:gd name="T68" fmla="*/ 207 w 298"/>
                <a:gd name="T69" fmla="*/ 302 h 402"/>
                <a:gd name="T70" fmla="*/ 207 w 298"/>
                <a:gd name="T71" fmla="*/ 314 h 402"/>
                <a:gd name="T72" fmla="*/ 222 w 298"/>
                <a:gd name="T73" fmla="*/ 323 h 402"/>
                <a:gd name="T74" fmla="*/ 240 w 298"/>
                <a:gd name="T75" fmla="*/ 356 h 402"/>
                <a:gd name="T76" fmla="*/ 253 w 298"/>
                <a:gd name="T77" fmla="*/ 366 h 40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98"/>
                <a:gd name="T118" fmla="*/ 0 h 402"/>
                <a:gd name="T119" fmla="*/ 298 w 298"/>
                <a:gd name="T120" fmla="*/ 402 h 40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98" h="402">
                  <a:moveTo>
                    <a:pt x="253" y="366"/>
                  </a:moveTo>
                  <a:lnTo>
                    <a:pt x="253" y="378"/>
                  </a:lnTo>
                  <a:lnTo>
                    <a:pt x="231" y="378"/>
                  </a:lnTo>
                  <a:lnTo>
                    <a:pt x="222" y="387"/>
                  </a:lnTo>
                  <a:lnTo>
                    <a:pt x="186" y="402"/>
                  </a:lnTo>
                  <a:lnTo>
                    <a:pt x="164" y="402"/>
                  </a:lnTo>
                  <a:lnTo>
                    <a:pt x="146" y="378"/>
                  </a:lnTo>
                  <a:lnTo>
                    <a:pt x="122" y="378"/>
                  </a:lnTo>
                  <a:lnTo>
                    <a:pt x="109" y="366"/>
                  </a:lnTo>
                  <a:lnTo>
                    <a:pt x="55" y="302"/>
                  </a:lnTo>
                  <a:lnTo>
                    <a:pt x="33" y="292"/>
                  </a:lnTo>
                  <a:lnTo>
                    <a:pt x="33" y="271"/>
                  </a:lnTo>
                  <a:lnTo>
                    <a:pt x="12" y="247"/>
                  </a:lnTo>
                  <a:lnTo>
                    <a:pt x="24" y="238"/>
                  </a:lnTo>
                  <a:lnTo>
                    <a:pt x="0" y="204"/>
                  </a:lnTo>
                  <a:lnTo>
                    <a:pt x="24" y="149"/>
                  </a:lnTo>
                  <a:lnTo>
                    <a:pt x="33" y="149"/>
                  </a:lnTo>
                  <a:lnTo>
                    <a:pt x="33" y="140"/>
                  </a:lnTo>
                  <a:lnTo>
                    <a:pt x="33" y="73"/>
                  </a:lnTo>
                  <a:lnTo>
                    <a:pt x="33" y="64"/>
                  </a:lnTo>
                  <a:lnTo>
                    <a:pt x="55" y="64"/>
                  </a:lnTo>
                  <a:lnTo>
                    <a:pt x="55" y="18"/>
                  </a:lnTo>
                  <a:lnTo>
                    <a:pt x="198" y="18"/>
                  </a:lnTo>
                  <a:lnTo>
                    <a:pt x="222" y="18"/>
                  </a:lnTo>
                  <a:lnTo>
                    <a:pt x="240" y="0"/>
                  </a:lnTo>
                  <a:lnTo>
                    <a:pt x="240" y="9"/>
                  </a:lnTo>
                  <a:lnTo>
                    <a:pt x="262" y="18"/>
                  </a:lnTo>
                  <a:lnTo>
                    <a:pt x="286" y="95"/>
                  </a:lnTo>
                  <a:lnTo>
                    <a:pt x="298" y="107"/>
                  </a:lnTo>
                  <a:lnTo>
                    <a:pt x="298" y="119"/>
                  </a:lnTo>
                  <a:lnTo>
                    <a:pt x="274" y="128"/>
                  </a:lnTo>
                  <a:lnTo>
                    <a:pt x="262" y="204"/>
                  </a:lnTo>
                  <a:lnTo>
                    <a:pt x="231" y="259"/>
                  </a:lnTo>
                  <a:lnTo>
                    <a:pt x="222" y="302"/>
                  </a:lnTo>
                  <a:lnTo>
                    <a:pt x="207" y="302"/>
                  </a:lnTo>
                  <a:lnTo>
                    <a:pt x="207" y="314"/>
                  </a:lnTo>
                  <a:lnTo>
                    <a:pt x="222" y="323"/>
                  </a:lnTo>
                  <a:lnTo>
                    <a:pt x="240" y="356"/>
                  </a:lnTo>
                  <a:lnTo>
                    <a:pt x="253" y="366"/>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33" name="Freeform 832"/>
            <p:cNvSpPr>
              <a:spLocks/>
            </p:cNvSpPr>
            <p:nvPr/>
          </p:nvSpPr>
          <p:spPr bwMode="auto">
            <a:xfrm>
              <a:off x="4845874" y="3622344"/>
              <a:ext cx="280869" cy="273899"/>
            </a:xfrm>
            <a:custGeom>
              <a:avLst/>
              <a:gdLst>
                <a:gd name="T0" fmla="*/ 284 w 284"/>
                <a:gd name="T1" fmla="*/ 225 h 280"/>
                <a:gd name="T2" fmla="*/ 284 w 284"/>
                <a:gd name="T3" fmla="*/ 271 h 280"/>
                <a:gd name="T4" fmla="*/ 262 w 284"/>
                <a:gd name="T5" fmla="*/ 271 h 280"/>
                <a:gd name="T6" fmla="*/ 262 w 284"/>
                <a:gd name="T7" fmla="*/ 280 h 280"/>
                <a:gd name="T8" fmla="*/ 131 w 284"/>
                <a:gd name="T9" fmla="*/ 207 h 280"/>
                <a:gd name="T10" fmla="*/ 98 w 284"/>
                <a:gd name="T11" fmla="*/ 207 h 280"/>
                <a:gd name="T12" fmla="*/ 86 w 284"/>
                <a:gd name="T13" fmla="*/ 195 h 280"/>
                <a:gd name="T14" fmla="*/ 46 w 284"/>
                <a:gd name="T15" fmla="*/ 195 h 280"/>
                <a:gd name="T16" fmla="*/ 34 w 284"/>
                <a:gd name="T17" fmla="*/ 171 h 280"/>
                <a:gd name="T18" fmla="*/ 22 w 284"/>
                <a:gd name="T19" fmla="*/ 171 h 280"/>
                <a:gd name="T20" fmla="*/ 0 w 284"/>
                <a:gd name="T21" fmla="*/ 140 h 280"/>
                <a:gd name="T22" fmla="*/ 10 w 284"/>
                <a:gd name="T23" fmla="*/ 131 h 280"/>
                <a:gd name="T24" fmla="*/ 10 w 284"/>
                <a:gd name="T25" fmla="*/ 107 h 280"/>
                <a:gd name="T26" fmla="*/ 10 w 284"/>
                <a:gd name="T27" fmla="*/ 76 h 280"/>
                <a:gd name="T28" fmla="*/ 0 w 284"/>
                <a:gd name="T29" fmla="*/ 64 h 280"/>
                <a:gd name="T30" fmla="*/ 0 w 284"/>
                <a:gd name="T31" fmla="*/ 55 h 280"/>
                <a:gd name="T32" fmla="*/ 10 w 284"/>
                <a:gd name="T33" fmla="*/ 55 h 280"/>
                <a:gd name="T34" fmla="*/ 10 w 284"/>
                <a:gd name="T35" fmla="*/ 31 h 280"/>
                <a:gd name="T36" fmla="*/ 34 w 284"/>
                <a:gd name="T37" fmla="*/ 21 h 280"/>
                <a:gd name="T38" fmla="*/ 34 w 284"/>
                <a:gd name="T39" fmla="*/ 0 h 280"/>
                <a:gd name="T40" fmla="*/ 55 w 284"/>
                <a:gd name="T41" fmla="*/ 9 h 280"/>
                <a:gd name="T42" fmla="*/ 86 w 284"/>
                <a:gd name="T43" fmla="*/ 9 h 280"/>
                <a:gd name="T44" fmla="*/ 110 w 284"/>
                <a:gd name="T45" fmla="*/ 21 h 280"/>
                <a:gd name="T46" fmla="*/ 110 w 284"/>
                <a:gd name="T47" fmla="*/ 31 h 280"/>
                <a:gd name="T48" fmla="*/ 140 w 284"/>
                <a:gd name="T49" fmla="*/ 46 h 280"/>
                <a:gd name="T50" fmla="*/ 162 w 284"/>
                <a:gd name="T51" fmla="*/ 55 h 280"/>
                <a:gd name="T52" fmla="*/ 177 w 284"/>
                <a:gd name="T53" fmla="*/ 64 h 280"/>
                <a:gd name="T54" fmla="*/ 186 w 284"/>
                <a:gd name="T55" fmla="*/ 55 h 280"/>
                <a:gd name="T56" fmla="*/ 186 w 284"/>
                <a:gd name="T57" fmla="*/ 21 h 280"/>
                <a:gd name="T58" fmla="*/ 220 w 284"/>
                <a:gd name="T59" fmla="*/ 9 h 280"/>
                <a:gd name="T60" fmla="*/ 241 w 284"/>
                <a:gd name="T61" fmla="*/ 9 h 280"/>
                <a:gd name="T62" fmla="*/ 241 w 284"/>
                <a:gd name="T63" fmla="*/ 21 h 280"/>
                <a:gd name="T64" fmla="*/ 274 w 284"/>
                <a:gd name="T65" fmla="*/ 31 h 280"/>
                <a:gd name="T66" fmla="*/ 274 w 284"/>
                <a:gd name="T67" fmla="*/ 64 h 280"/>
                <a:gd name="T68" fmla="*/ 274 w 284"/>
                <a:gd name="T69" fmla="*/ 95 h 280"/>
                <a:gd name="T70" fmla="*/ 284 w 284"/>
                <a:gd name="T71" fmla="*/ 225 h 2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4"/>
                <a:gd name="T109" fmla="*/ 0 h 280"/>
                <a:gd name="T110" fmla="*/ 284 w 284"/>
                <a:gd name="T111" fmla="*/ 280 h 28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4" h="280">
                  <a:moveTo>
                    <a:pt x="284" y="225"/>
                  </a:moveTo>
                  <a:lnTo>
                    <a:pt x="284" y="271"/>
                  </a:lnTo>
                  <a:lnTo>
                    <a:pt x="262" y="271"/>
                  </a:lnTo>
                  <a:lnTo>
                    <a:pt x="262" y="280"/>
                  </a:lnTo>
                  <a:lnTo>
                    <a:pt x="131" y="207"/>
                  </a:lnTo>
                  <a:lnTo>
                    <a:pt x="98" y="207"/>
                  </a:lnTo>
                  <a:lnTo>
                    <a:pt x="86" y="195"/>
                  </a:lnTo>
                  <a:lnTo>
                    <a:pt x="46" y="195"/>
                  </a:lnTo>
                  <a:lnTo>
                    <a:pt x="34" y="171"/>
                  </a:lnTo>
                  <a:lnTo>
                    <a:pt x="22" y="171"/>
                  </a:lnTo>
                  <a:lnTo>
                    <a:pt x="0" y="140"/>
                  </a:lnTo>
                  <a:lnTo>
                    <a:pt x="10" y="131"/>
                  </a:lnTo>
                  <a:lnTo>
                    <a:pt x="10" y="107"/>
                  </a:lnTo>
                  <a:lnTo>
                    <a:pt x="10" y="76"/>
                  </a:lnTo>
                  <a:lnTo>
                    <a:pt x="0" y="64"/>
                  </a:lnTo>
                  <a:lnTo>
                    <a:pt x="0" y="55"/>
                  </a:lnTo>
                  <a:lnTo>
                    <a:pt x="10" y="55"/>
                  </a:lnTo>
                  <a:lnTo>
                    <a:pt x="10" y="31"/>
                  </a:lnTo>
                  <a:lnTo>
                    <a:pt x="34" y="21"/>
                  </a:lnTo>
                  <a:lnTo>
                    <a:pt x="34" y="0"/>
                  </a:lnTo>
                  <a:lnTo>
                    <a:pt x="55" y="9"/>
                  </a:lnTo>
                  <a:lnTo>
                    <a:pt x="86" y="9"/>
                  </a:lnTo>
                  <a:lnTo>
                    <a:pt x="110" y="21"/>
                  </a:lnTo>
                  <a:lnTo>
                    <a:pt x="110" y="31"/>
                  </a:lnTo>
                  <a:lnTo>
                    <a:pt x="140" y="46"/>
                  </a:lnTo>
                  <a:lnTo>
                    <a:pt x="162" y="55"/>
                  </a:lnTo>
                  <a:lnTo>
                    <a:pt x="177" y="64"/>
                  </a:lnTo>
                  <a:lnTo>
                    <a:pt x="186" y="55"/>
                  </a:lnTo>
                  <a:lnTo>
                    <a:pt x="186" y="21"/>
                  </a:lnTo>
                  <a:lnTo>
                    <a:pt x="220" y="9"/>
                  </a:lnTo>
                  <a:lnTo>
                    <a:pt x="241" y="9"/>
                  </a:lnTo>
                  <a:lnTo>
                    <a:pt x="241" y="21"/>
                  </a:lnTo>
                  <a:lnTo>
                    <a:pt x="274" y="31"/>
                  </a:lnTo>
                  <a:lnTo>
                    <a:pt x="274" y="64"/>
                  </a:lnTo>
                  <a:lnTo>
                    <a:pt x="274" y="95"/>
                  </a:lnTo>
                  <a:lnTo>
                    <a:pt x="284" y="225"/>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34" name="Freeform 833"/>
            <p:cNvSpPr>
              <a:spLocks/>
            </p:cNvSpPr>
            <p:nvPr/>
          </p:nvSpPr>
          <p:spPr bwMode="auto">
            <a:xfrm>
              <a:off x="4528997" y="3548083"/>
              <a:ext cx="361888" cy="360698"/>
            </a:xfrm>
            <a:custGeom>
              <a:avLst/>
              <a:gdLst>
                <a:gd name="T0" fmla="*/ 298 w 365"/>
                <a:gd name="T1" fmla="*/ 0 h 368"/>
                <a:gd name="T2" fmla="*/ 307 w 365"/>
                <a:gd name="T3" fmla="*/ 0 h 368"/>
                <a:gd name="T4" fmla="*/ 307 w 365"/>
                <a:gd name="T5" fmla="*/ 9 h 368"/>
                <a:gd name="T6" fmla="*/ 307 w 365"/>
                <a:gd name="T7" fmla="*/ 46 h 368"/>
                <a:gd name="T8" fmla="*/ 289 w 365"/>
                <a:gd name="T9" fmla="*/ 64 h 368"/>
                <a:gd name="T10" fmla="*/ 298 w 365"/>
                <a:gd name="T11" fmla="*/ 85 h 368"/>
                <a:gd name="T12" fmla="*/ 319 w 365"/>
                <a:gd name="T13" fmla="*/ 97 h 368"/>
                <a:gd name="T14" fmla="*/ 319 w 365"/>
                <a:gd name="T15" fmla="*/ 131 h 368"/>
                <a:gd name="T16" fmla="*/ 319 w 365"/>
                <a:gd name="T17" fmla="*/ 140 h 368"/>
                <a:gd name="T18" fmla="*/ 329 w 365"/>
                <a:gd name="T19" fmla="*/ 152 h 368"/>
                <a:gd name="T20" fmla="*/ 329 w 365"/>
                <a:gd name="T21" fmla="*/ 183 h 368"/>
                <a:gd name="T22" fmla="*/ 329 w 365"/>
                <a:gd name="T23" fmla="*/ 207 h 368"/>
                <a:gd name="T24" fmla="*/ 319 w 365"/>
                <a:gd name="T25" fmla="*/ 216 h 368"/>
                <a:gd name="T26" fmla="*/ 341 w 365"/>
                <a:gd name="T27" fmla="*/ 247 h 368"/>
                <a:gd name="T28" fmla="*/ 353 w 365"/>
                <a:gd name="T29" fmla="*/ 247 h 368"/>
                <a:gd name="T30" fmla="*/ 365 w 365"/>
                <a:gd name="T31" fmla="*/ 271 h 368"/>
                <a:gd name="T32" fmla="*/ 252 w 365"/>
                <a:gd name="T33" fmla="*/ 356 h 368"/>
                <a:gd name="T34" fmla="*/ 231 w 365"/>
                <a:gd name="T35" fmla="*/ 368 h 368"/>
                <a:gd name="T36" fmla="*/ 210 w 365"/>
                <a:gd name="T37" fmla="*/ 368 h 368"/>
                <a:gd name="T38" fmla="*/ 210 w 365"/>
                <a:gd name="T39" fmla="*/ 347 h 368"/>
                <a:gd name="T40" fmla="*/ 188 w 365"/>
                <a:gd name="T41" fmla="*/ 338 h 368"/>
                <a:gd name="T42" fmla="*/ 167 w 365"/>
                <a:gd name="T43" fmla="*/ 323 h 368"/>
                <a:gd name="T44" fmla="*/ 67 w 365"/>
                <a:gd name="T45" fmla="*/ 238 h 368"/>
                <a:gd name="T46" fmla="*/ 0 w 365"/>
                <a:gd name="T47" fmla="*/ 195 h 368"/>
                <a:gd name="T48" fmla="*/ 0 w 365"/>
                <a:gd name="T49" fmla="*/ 183 h 368"/>
                <a:gd name="T50" fmla="*/ 0 w 365"/>
                <a:gd name="T51" fmla="*/ 161 h 368"/>
                <a:gd name="T52" fmla="*/ 15 w 365"/>
                <a:gd name="T53" fmla="*/ 152 h 368"/>
                <a:gd name="T54" fmla="*/ 67 w 365"/>
                <a:gd name="T55" fmla="*/ 140 h 368"/>
                <a:gd name="T56" fmla="*/ 91 w 365"/>
                <a:gd name="T57" fmla="*/ 122 h 368"/>
                <a:gd name="T58" fmla="*/ 91 w 365"/>
                <a:gd name="T59" fmla="*/ 107 h 368"/>
                <a:gd name="T60" fmla="*/ 134 w 365"/>
                <a:gd name="T61" fmla="*/ 97 h 368"/>
                <a:gd name="T62" fmla="*/ 134 w 365"/>
                <a:gd name="T63" fmla="*/ 46 h 368"/>
                <a:gd name="T64" fmla="*/ 121 w 365"/>
                <a:gd name="T65" fmla="*/ 31 h 368"/>
                <a:gd name="T66" fmla="*/ 176 w 365"/>
                <a:gd name="T67" fmla="*/ 9 h 368"/>
                <a:gd name="T68" fmla="*/ 231 w 365"/>
                <a:gd name="T69" fmla="*/ 0 h 368"/>
                <a:gd name="T70" fmla="*/ 252 w 365"/>
                <a:gd name="T71" fmla="*/ 0 h 368"/>
                <a:gd name="T72" fmla="*/ 265 w 365"/>
                <a:gd name="T73" fmla="*/ 0 h 368"/>
                <a:gd name="T74" fmla="*/ 298 w 365"/>
                <a:gd name="T75" fmla="*/ 0 h 3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65"/>
                <a:gd name="T115" fmla="*/ 0 h 368"/>
                <a:gd name="T116" fmla="*/ 365 w 365"/>
                <a:gd name="T117" fmla="*/ 368 h 3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65" h="368">
                  <a:moveTo>
                    <a:pt x="298" y="0"/>
                  </a:moveTo>
                  <a:lnTo>
                    <a:pt x="307" y="0"/>
                  </a:lnTo>
                  <a:lnTo>
                    <a:pt x="307" y="9"/>
                  </a:lnTo>
                  <a:lnTo>
                    <a:pt x="307" y="46"/>
                  </a:lnTo>
                  <a:lnTo>
                    <a:pt x="289" y="64"/>
                  </a:lnTo>
                  <a:lnTo>
                    <a:pt x="298" y="85"/>
                  </a:lnTo>
                  <a:lnTo>
                    <a:pt x="319" y="97"/>
                  </a:lnTo>
                  <a:lnTo>
                    <a:pt x="319" y="131"/>
                  </a:lnTo>
                  <a:lnTo>
                    <a:pt x="319" y="140"/>
                  </a:lnTo>
                  <a:lnTo>
                    <a:pt x="329" y="152"/>
                  </a:lnTo>
                  <a:lnTo>
                    <a:pt x="329" y="183"/>
                  </a:lnTo>
                  <a:lnTo>
                    <a:pt x="329" y="207"/>
                  </a:lnTo>
                  <a:lnTo>
                    <a:pt x="319" y="216"/>
                  </a:lnTo>
                  <a:lnTo>
                    <a:pt x="341" y="247"/>
                  </a:lnTo>
                  <a:lnTo>
                    <a:pt x="353" y="247"/>
                  </a:lnTo>
                  <a:lnTo>
                    <a:pt x="365" y="271"/>
                  </a:lnTo>
                  <a:lnTo>
                    <a:pt x="252" y="356"/>
                  </a:lnTo>
                  <a:lnTo>
                    <a:pt x="231" y="368"/>
                  </a:lnTo>
                  <a:lnTo>
                    <a:pt x="210" y="368"/>
                  </a:lnTo>
                  <a:lnTo>
                    <a:pt x="210" y="347"/>
                  </a:lnTo>
                  <a:lnTo>
                    <a:pt x="188" y="338"/>
                  </a:lnTo>
                  <a:lnTo>
                    <a:pt x="167" y="323"/>
                  </a:lnTo>
                  <a:lnTo>
                    <a:pt x="67" y="238"/>
                  </a:lnTo>
                  <a:lnTo>
                    <a:pt x="0" y="195"/>
                  </a:lnTo>
                  <a:lnTo>
                    <a:pt x="0" y="183"/>
                  </a:lnTo>
                  <a:lnTo>
                    <a:pt x="0" y="161"/>
                  </a:lnTo>
                  <a:lnTo>
                    <a:pt x="15" y="152"/>
                  </a:lnTo>
                  <a:lnTo>
                    <a:pt x="67" y="140"/>
                  </a:lnTo>
                  <a:lnTo>
                    <a:pt x="91" y="122"/>
                  </a:lnTo>
                  <a:lnTo>
                    <a:pt x="91" y="107"/>
                  </a:lnTo>
                  <a:lnTo>
                    <a:pt x="134" y="97"/>
                  </a:lnTo>
                  <a:lnTo>
                    <a:pt x="134" y="46"/>
                  </a:lnTo>
                  <a:lnTo>
                    <a:pt x="121" y="31"/>
                  </a:lnTo>
                  <a:lnTo>
                    <a:pt x="176" y="9"/>
                  </a:lnTo>
                  <a:lnTo>
                    <a:pt x="231" y="0"/>
                  </a:lnTo>
                  <a:lnTo>
                    <a:pt x="252" y="0"/>
                  </a:lnTo>
                  <a:lnTo>
                    <a:pt x="265" y="0"/>
                  </a:lnTo>
                  <a:lnTo>
                    <a:pt x="298"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35" name="Freeform 834"/>
            <p:cNvSpPr>
              <a:spLocks/>
            </p:cNvSpPr>
            <p:nvPr/>
          </p:nvSpPr>
          <p:spPr bwMode="auto">
            <a:xfrm>
              <a:off x="5442719" y="3929997"/>
              <a:ext cx="184545" cy="107052"/>
            </a:xfrm>
            <a:custGeom>
              <a:avLst/>
              <a:gdLst>
                <a:gd name="T0" fmla="*/ 0 w 186"/>
                <a:gd name="T1" fmla="*/ 33 h 109"/>
                <a:gd name="T2" fmla="*/ 19 w 186"/>
                <a:gd name="T3" fmla="*/ 109 h 109"/>
                <a:gd name="T4" fmla="*/ 40 w 186"/>
                <a:gd name="T5" fmla="*/ 109 h 109"/>
                <a:gd name="T6" fmla="*/ 55 w 186"/>
                <a:gd name="T7" fmla="*/ 97 h 109"/>
                <a:gd name="T8" fmla="*/ 86 w 186"/>
                <a:gd name="T9" fmla="*/ 97 h 109"/>
                <a:gd name="T10" fmla="*/ 131 w 186"/>
                <a:gd name="T11" fmla="*/ 64 h 109"/>
                <a:gd name="T12" fmla="*/ 171 w 186"/>
                <a:gd name="T13" fmla="*/ 42 h 109"/>
                <a:gd name="T14" fmla="*/ 171 w 186"/>
                <a:gd name="T15" fmla="*/ 33 h 109"/>
                <a:gd name="T16" fmla="*/ 186 w 186"/>
                <a:gd name="T17" fmla="*/ 33 h 109"/>
                <a:gd name="T18" fmla="*/ 186 w 186"/>
                <a:gd name="T19" fmla="*/ 21 h 109"/>
                <a:gd name="T20" fmla="*/ 171 w 186"/>
                <a:gd name="T21" fmla="*/ 0 h 109"/>
                <a:gd name="T22" fmla="*/ 119 w 186"/>
                <a:gd name="T23" fmla="*/ 12 h 109"/>
                <a:gd name="T24" fmla="*/ 55 w 186"/>
                <a:gd name="T25" fmla="*/ 64 h 109"/>
                <a:gd name="T26" fmla="*/ 19 w 186"/>
                <a:gd name="T27" fmla="*/ 21 h 109"/>
                <a:gd name="T28" fmla="*/ 0 w 186"/>
                <a:gd name="T29" fmla="*/ 33 h 1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6"/>
                <a:gd name="T46" fmla="*/ 0 h 109"/>
                <a:gd name="T47" fmla="*/ 186 w 186"/>
                <a:gd name="T48" fmla="*/ 109 h 10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6" h="109">
                  <a:moveTo>
                    <a:pt x="0" y="33"/>
                  </a:moveTo>
                  <a:lnTo>
                    <a:pt x="19" y="109"/>
                  </a:lnTo>
                  <a:lnTo>
                    <a:pt x="40" y="109"/>
                  </a:lnTo>
                  <a:lnTo>
                    <a:pt x="55" y="97"/>
                  </a:lnTo>
                  <a:lnTo>
                    <a:pt x="86" y="97"/>
                  </a:lnTo>
                  <a:lnTo>
                    <a:pt x="131" y="64"/>
                  </a:lnTo>
                  <a:lnTo>
                    <a:pt x="171" y="42"/>
                  </a:lnTo>
                  <a:lnTo>
                    <a:pt x="171" y="33"/>
                  </a:lnTo>
                  <a:lnTo>
                    <a:pt x="186" y="33"/>
                  </a:lnTo>
                  <a:lnTo>
                    <a:pt x="186" y="21"/>
                  </a:lnTo>
                  <a:lnTo>
                    <a:pt x="171" y="0"/>
                  </a:lnTo>
                  <a:lnTo>
                    <a:pt x="119" y="12"/>
                  </a:lnTo>
                  <a:lnTo>
                    <a:pt x="55" y="64"/>
                  </a:lnTo>
                  <a:lnTo>
                    <a:pt x="19" y="21"/>
                  </a:lnTo>
                  <a:lnTo>
                    <a:pt x="0" y="33"/>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36" name="Freeform 835"/>
            <p:cNvSpPr>
              <a:spLocks/>
            </p:cNvSpPr>
            <p:nvPr/>
          </p:nvSpPr>
          <p:spPr bwMode="auto">
            <a:xfrm>
              <a:off x="5612860" y="3790154"/>
              <a:ext cx="129631" cy="160096"/>
            </a:xfrm>
            <a:custGeom>
              <a:avLst/>
              <a:gdLst>
                <a:gd name="T0" fmla="*/ 36 w 131"/>
                <a:gd name="T1" fmla="*/ 164 h 164"/>
                <a:gd name="T2" fmla="*/ 15 w 131"/>
                <a:gd name="T3" fmla="*/ 164 h 164"/>
                <a:gd name="T4" fmla="*/ 0 w 131"/>
                <a:gd name="T5" fmla="*/ 143 h 164"/>
                <a:gd name="T6" fmla="*/ 46 w 131"/>
                <a:gd name="T7" fmla="*/ 109 h 164"/>
                <a:gd name="T8" fmla="*/ 67 w 131"/>
                <a:gd name="T9" fmla="*/ 67 h 164"/>
                <a:gd name="T10" fmla="*/ 67 w 131"/>
                <a:gd name="T11" fmla="*/ 45 h 164"/>
                <a:gd name="T12" fmla="*/ 55 w 131"/>
                <a:gd name="T13" fmla="*/ 36 h 164"/>
                <a:gd name="T14" fmla="*/ 46 w 131"/>
                <a:gd name="T15" fmla="*/ 24 h 164"/>
                <a:gd name="T16" fmla="*/ 55 w 131"/>
                <a:gd name="T17" fmla="*/ 24 h 164"/>
                <a:gd name="T18" fmla="*/ 55 w 131"/>
                <a:gd name="T19" fmla="*/ 15 h 164"/>
                <a:gd name="T20" fmla="*/ 67 w 131"/>
                <a:gd name="T21" fmla="*/ 0 h 164"/>
                <a:gd name="T22" fmla="*/ 79 w 131"/>
                <a:gd name="T23" fmla="*/ 15 h 164"/>
                <a:gd name="T24" fmla="*/ 113 w 131"/>
                <a:gd name="T25" fmla="*/ 24 h 164"/>
                <a:gd name="T26" fmla="*/ 131 w 131"/>
                <a:gd name="T27" fmla="*/ 45 h 164"/>
                <a:gd name="T28" fmla="*/ 122 w 131"/>
                <a:gd name="T29" fmla="*/ 67 h 164"/>
                <a:gd name="T30" fmla="*/ 100 w 131"/>
                <a:gd name="T31" fmla="*/ 100 h 164"/>
                <a:gd name="T32" fmla="*/ 100 w 131"/>
                <a:gd name="T33" fmla="*/ 121 h 164"/>
                <a:gd name="T34" fmla="*/ 91 w 131"/>
                <a:gd name="T35" fmla="*/ 121 h 164"/>
                <a:gd name="T36" fmla="*/ 79 w 131"/>
                <a:gd name="T37" fmla="*/ 143 h 164"/>
                <a:gd name="T38" fmla="*/ 55 w 131"/>
                <a:gd name="T39" fmla="*/ 143 h 164"/>
                <a:gd name="T40" fmla="*/ 46 w 131"/>
                <a:gd name="T41" fmla="*/ 164 h 164"/>
                <a:gd name="T42" fmla="*/ 36 w 131"/>
                <a:gd name="T43" fmla="*/ 164 h 16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1"/>
                <a:gd name="T67" fmla="*/ 0 h 164"/>
                <a:gd name="T68" fmla="*/ 131 w 131"/>
                <a:gd name="T69" fmla="*/ 164 h 16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1" h="164">
                  <a:moveTo>
                    <a:pt x="36" y="164"/>
                  </a:moveTo>
                  <a:lnTo>
                    <a:pt x="15" y="164"/>
                  </a:lnTo>
                  <a:lnTo>
                    <a:pt x="0" y="143"/>
                  </a:lnTo>
                  <a:lnTo>
                    <a:pt x="46" y="109"/>
                  </a:lnTo>
                  <a:lnTo>
                    <a:pt x="67" y="67"/>
                  </a:lnTo>
                  <a:lnTo>
                    <a:pt x="67" y="45"/>
                  </a:lnTo>
                  <a:lnTo>
                    <a:pt x="55" y="36"/>
                  </a:lnTo>
                  <a:lnTo>
                    <a:pt x="46" y="24"/>
                  </a:lnTo>
                  <a:lnTo>
                    <a:pt x="55" y="24"/>
                  </a:lnTo>
                  <a:lnTo>
                    <a:pt x="55" y="15"/>
                  </a:lnTo>
                  <a:lnTo>
                    <a:pt x="67" y="0"/>
                  </a:lnTo>
                  <a:lnTo>
                    <a:pt x="79" y="15"/>
                  </a:lnTo>
                  <a:lnTo>
                    <a:pt x="113" y="24"/>
                  </a:lnTo>
                  <a:lnTo>
                    <a:pt x="131" y="45"/>
                  </a:lnTo>
                  <a:lnTo>
                    <a:pt x="122" y="67"/>
                  </a:lnTo>
                  <a:lnTo>
                    <a:pt x="100" y="100"/>
                  </a:lnTo>
                  <a:lnTo>
                    <a:pt x="100" y="121"/>
                  </a:lnTo>
                  <a:lnTo>
                    <a:pt x="91" y="121"/>
                  </a:lnTo>
                  <a:lnTo>
                    <a:pt x="79" y="143"/>
                  </a:lnTo>
                  <a:lnTo>
                    <a:pt x="55" y="143"/>
                  </a:lnTo>
                  <a:lnTo>
                    <a:pt x="46" y="164"/>
                  </a:lnTo>
                  <a:lnTo>
                    <a:pt x="36" y="164"/>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37" name="Freeform 836"/>
            <p:cNvSpPr>
              <a:spLocks/>
            </p:cNvSpPr>
            <p:nvPr/>
          </p:nvSpPr>
          <p:spPr bwMode="auto">
            <a:xfrm>
              <a:off x="5292383" y="3643561"/>
              <a:ext cx="386193" cy="349124"/>
            </a:xfrm>
            <a:custGeom>
              <a:avLst/>
              <a:gdLst>
                <a:gd name="T0" fmla="*/ 171 w 390"/>
                <a:gd name="T1" fmla="*/ 64 h 357"/>
                <a:gd name="T2" fmla="*/ 152 w 390"/>
                <a:gd name="T3" fmla="*/ 55 h 357"/>
                <a:gd name="T4" fmla="*/ 152 w 390"/>
                <a:gd name="T5" fmla="*/ 34 h 357"/>
                <a:gd name="T6" fmla="*/ 140 w 390"/>
                <a:gd name="T7" fmla="*/ 34 h 357"/>
                <a:gd name="T8" fmla="*/ 95 w 390"/>
                <a:gd name="T9" fmla="*/ 10 h 357"/>
                <a:gd name="T10" fmla="*/ 76 w 390"/>
                <a:gd name="T11" fmla="*/ 0 h 357"/>
                <a:gd name="T12" fmla="*/ 31 w 390"/>
                <a:gd name="T13" fmla="*/ 10 h 357"/>
                <a:gd name="T14" fmla="*/ 52 w 390"/>
                <a:gd name="T15" fmla="*/ 34 h 357"/>
                <a:gd name="T16" fmla="*/ 40 w 390"/>
                <a:gd name="T17" fmla="*/ 43 h 357"/>
                <a:gd name="T18" fmla="*/ 31 w 390"/>
                <a:gd name="T19" fmla="*/ 43 h 357"/>
                <a:gd name="T20" fmla="*/ 18 w 390"/>
                <a:gd name="T21" fmla="*/ 55 h 357"/>
                <a:gd name="T22" fmla="*/ 0 w 390"/>
                <a:gd name="T23" fmla="*/ 55 h 357"/>
                <a:gd name="T24" fmla="*/ 0 w 390"/>
                <a:gd name="T25" fmla="*/ 86 h 357"/>
                <a:gd name="T26" fmla="*/ 9 w 390"/>
                <a:gd name="T27" fmla="*/ 86 h 357"/>
                <a:gd name="T28" fmla="*/ 52 w 390"/>
                <a:gd name="T29" fmla="*/ 165 h 357"/>
                <a:gd name="T30" fmla="*/ 76 w 390"/>
                <a:gd name="T31" fmla="*/ 174 h 357"/>
                <a:gd name="T32" fmla="*/ 85 w 390"/>
                <a:gd name="T33" fmla="*/ 195 h 357"/>
                <a:gd name="T34" fmla="*/ 85 w 390"/>
                <a:gd name="T35" fmla="*/ 226 h 357"/>
                <a:gd name="T36" fmla="*/ 95 w 390"/>
                <a:gd name="T37" fmla="*/ 250 h 357"/>
                <a:gd name="T38" fmla="*/ 116 w 390"/>
                <a:gd name="T39" fmla="*/ 259 h 357"/>
                <a:gd name="T40" fmla="*/ 152 w 390"/>
                <a:gd name="T41" fmla="*/ 314 h 357"/>
                <a:gd name="T42" fmla="*/ 152 w 390"/>
                <a:gd name="T43" fmla="*/ 326 h 357"/>
                <a:gd name="T44" fmla="*/ 171 w 390"/>
                <a:gd name="T45" fmla="*/ 314 h 357"/>
                <a:gd name="T46" fmla="*/ 207 w 390"/>
                <a:gd name="T47" fmla="*/ 357 h 357"/>
                <a:gd name="T48" fmla="*/ 271 w 390"/>
                <a:gd name="T49" fmla="*/ 305 h 357"/>
                <a:gd name="T50" fmla="*/ 323 w 390"/>
                <a:gd name="T51" fmla="*/ 293 h 357"/>
                <a:gd name="T52" fmla="*/ 369 w 390"/>
                <a:gd name="T53" fmla="*/ 259 h 357"/>
                <a:gd name="T54" fmla="*/ 390 w 390"/>
                <a:gd name="T55" fmla="*/ 217 h 357"/>
                <a:gd name="T56" fmla="*/ 390 w 390"/>
                <a:gd name="T57" fmla="*/ 195 h 357"/>
                <a:gd name="T58" fmla="*/ 378 w 390"/>
                <a:gd name="T59" fmla="*/ 186 h 357"/>
                <a:gd name="T60" fmla="*/ 369 w 390"/>
                <a:gd name="T61" fmla="*/ 174 h 357"/>
                <a:gd name="T62" fmla="*/ 359 w 390"/>
                <a:gd name="T63" fmla="*/ 174 h 357"/>
                <a:gd name="T64" fmla="*/ 359 w 390"/>
                <a:gd name="T65" fmla="*/ 186 h 357"/>
                <a:gd name="T66" fmla="*/ 347 w 390"/>
                <a:gd name="T67" fmla="*/ 186 h 357"/>
                <a:gd name="T68" fmla="*/ 338 w 390"/>
                <a:gd name="T69" fmla="*/ 186 h 357"/>
                <a:gd name="T70" fmla="*/ 323 w 390"/>
                <a:gd name="T71" fmla="*/ 186 h 357"/>
                <a:gd name="T72" fmla="*/ 314 w 390"/>
                <a:gd name="T73" fmla="*/ 186 h 357"/>
                <a:gd name="T74" fmla="*/ 302 w 390"/>
                <a:gd name="T75" fmla="*/ 186 h 357"/>
                <a:gd name="T76" fmla="*/ 292 w 390"/>
                <a:gd name="T77" fmla="*/ 186 h 357"/>
                <a:gd name="T78" fmla="*/ 292 w 390"/>
                <a:gd name="T79" fmla="*/ 174 h 357"/>
                <a:gd name="T80" fmla="*/ 292 w 390"/>
                <a:gd name="T81" fmla="*/ 165 h 357"/>
                <a:gd name="T82" fmla="*/ 283 w 390"/>
                <a:gd name="T83" fmla="*/ 141 h 357"/>
                <a:gd name="T84" fmla="*/ 271 w 390"/>
                <a:gd name="T85" fmla="*/ 110 h 357"/>
                <a:gd name="T86" fmla="*/ 238 w 390"/>
                <a:gd name="T87" fmla="*/ 74 h 357"/>
                <a:gd name="T88" fmla="*/ 207 w 390"/>
                <a:gd name="T89" fmla="*/ 64 h 357"/>
                <a:gd name="T90" fmla="*/ 183 w 390"/>
                <a:gd name="T91" fmla="*/ 64 h 357"/>
                <a:gd name="T92" fmla="*/ 171 w 390"/>
                <a:gd name="T93" fmla="*/ 64 h 35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0"/>
                <a:gd name="T142" fmla="*/ 0 h 357"/>
                <a:gd name="T143" fmla="*/ 390 w 390"/>
                <a:gd name="T144" fmla="*/ 357 h 35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0" h="357">
                  <a:moveTo>
                    <a:pt x="171" y="64"/>
                  </a:moveTo>
                  <a:lnTo>
                    <a:pt x="152" y="55"/>
                  </a:lnTo>
                  <a:lnTo>
                    <a:pt x="152" y="34"/>
                  </a:lnTo>
                  <a:lnTo>
                    <a:pt x="140" y="34"/>
                  </a:lnTo>
                  <a:lnTo>
                    <a:pt x="95" y="10"/>
                  </a:lnTo>
                  <a:lnTo>
                    <a:pt x="76" y="0"/>
                  </a:lnTo>
                  <a:lnTo>
                    <a:pt x="31" y="10"/>
                  </a:lnTo>
                  <a:lnTo>
                    <a:pt x="52" y="34"/>
                  </a:lnTo>
                  <a:lnTo>
                    <a:pt x="40" y="43"/>
                  </a:lnTo>
                  <a:lnTo>
                    <a:pt x="31" y="43"/>
                  </a:lnTo>
                  <a:lnTo>
                    <a:pt x="18" y="55"/>
                  </a:lnTo>
                  <a:lnTo>
                    <a:pt x="0" y="55"/>
                  </a:lnTo>
                  <a:lnTo>
                    <a:pt x="0" y="86"/>
                  </a:lnTo>
                  <a:lnTo>
                    <a:pt x="9" y="86"/>
                  </a:lnTo>
                  <a:lnTo>
                    <a:pt x="52" y="165"/>
                  </a:lnTo>
                  <a:lnTo>
                    <a:pt x="76" y="174"/>
                  </a:lnTo>
                  <a:lnTo>
                    <a:pt x="85" y="195"/>
                  </a:lnTo>
                  <a:lnTo>
                    <a:pt x="85" y="226"/>
                  </a:lnTo>
                  <a:lnTo>
                    <a:pt x="95" y="250"/>
                  </a:lnTo>
                  <a:lnTo>
                    <a:pt x="116" y="259"/>
                  </a:lnTo>
                  <a:lnTo>
                    <a:pt x="152" y="314"/>
                  </a:lnTo>
                  <a:lnTo>
                    <a:pt x="152" y="326"/>
                  </a:lnTo>
                  <a:lnTo>
                    <a:pt x="171" y="314"/>
                  </a:lnTo>
                  <a:lnTo>
                    <a:pt x="207" y="357"/>
                  </a:lnTo>
                  <a:lnTo>
                    <a:pt x="271" y="305"/>
                  </a:lnTo>
                  <a:lnTo>
                    <a:pt x="323" y="293"/>
                  </a:lnTo>
                  <a:lnTo>
                    <a:pt x="369" y="259"/>
                  </a:lnTo>
                  <a:lnTo>
                    <a:pt x="390" y="217"/>
                  </a:lnTo>
                  <a:lnTo>
                    <a:pt x="390" y="195"/>
                  </a:lnTo>
                  <a:lnTo>
                    <a:pt x="378" y="186"/>
                  </a:lnTo>
                  <a:lnTo>
                    <a:pt x="369" y="174"/>
                  </a:lnTo>
                  <a:lnTo>
                    <a:pt x="359" y="174"/>
                  </a:lnTo>
                  <a:lnTo>
                    <a:pt x="359" y="186"/>
                  </a:lnTo>
                  <a:lnTo>
                    <a:pt x="347" y="186"/>
                  </a:lnTo>
                  <a:lnTo>
                    <a:pt x="338" y="186"/>
                  </a:lnTo>
                  <a:lnTo>
                    <a:pt x="323" y="186"/>
                  </a:lnTo>
                  <a:lnTo>
                    <a:pt x="314" y="186"/>
                  </a:lnTo>
                  <a:lnTo>
                    <a:pt x="302" y="186"/>
                  </a:lnTo>
                  <a:lnTo>
                    <a:pt x="292" y="186"/>
                  </a:lnTo>
                  <a:lnTo>
                    <a:pt x="292" y="174"/>
                  </a:lnTo>
                  <a:lnTo>
                    <a:pt x="292" y="165"/>
                  </a:lnTo>
                  <a:lnTo>
                    <a:pt x="283" y="141"/>
                  </a:lnTo>
                  <a:lnTo>
                    <a:pt x="271" y="110"/>
                  </a:lnTo>
                  <a:lnTo>
                    <a:pt x="238" y="74"/>
                  </a:lnTo>
                  <a:lnTo>
                    <a:pt x="207" y="64"/>
                  </a:lnTo>
                  <a:lnTo>
                    <a:pt x="183" y="64"/>
                  </a:lnTo>
                  <a:lnTo>
                    <a:pt x="171" y="64"/>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38" name="Freeform 837"/>
            <p:cNvSpPr>
              <a:spLocks/>
            </p:cNvSpPr>
            <p:nvPr/>
          </p:nvSpPr>
          <p:spPr bwMode="auto">
            <a:xfrm>
              <a:off x="5572350" y="3767973"/>
              <a:ext cx="18905" cy="36648"/>
            </a:xfrm>
            <a:custGeom>
              <a:avLst/>
              <a:gdLst>
                <a:gd name="T0" fmla="*/ 0 w 19"/>
                <a:gd name="T1" fmla="*/ 13 h 37"/>
                <a:gd name="T2" fmla="*/ 9 w 19"/>
                <a:gd name="T3" fmla="*/ 37 h 37"/>
                <a:gd name="T4" fmla="*/ 19 w 19"/>
                <a:gd name="T5" fmla="*/ 22 h 37"/>
                <a:gd name="T6" fmla="*/ 19 w 19"/>
                <a:gd name="T7" fmla="*/ 0 h 37"/>
                <a:gd name="T8" fmla="*/ 9 w 19"/>
                <a:gd name="T9" fmla="*/ 0 h 37"/>
                <a:gd name="T10" fmla="*/ 0 w 19"/>
                <a:gd name="T11" fmla="*/ 13 h 37"/>
                <a:gd name="T12" fmla="*/ 0 60000 65536"/>
                <a:gd name="T13" fmla="*/ 0 60000 65536"/>
                <a:gd name="T14" fmla="*/ 0 60000 65536"/>
                <a:gd name="T15" fmla="*/ 0 60000 65536"/>
                <a:gd name="T16" fmla="*/ 0 60000 65536"/>
                <a:gd name="T17" fmla="*/ 0 60000 65536"/>
                <a:gd name="T18" fmla="*/ 0 w 19"/>
                <a:gd name="T19" fmla="*/ 0 h 37"/>
                <a:gd name="T20" fmla="*/ 19 w 19"/>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19" h="37">
                  <a:moveTo>
                    <a:pt x="0" y="13"/>
                  </a:moveTo>
                  <a:lnTo>
                    <a:pt x="9" y="37"/>
                  </a:lnTo>
                  <a:lnTo>
                    <a:pt x="19" y="22"/>
                  </a:lnTo>
                  <a:lnTo>
                    <a:pt x="19" y="0"/>
                  </a:lnTo>
                  <a:lnTo>
                    <a:pt x="9" y="0"/>
                  </a:lnTo>
                  <a:lnTo>
                    <a:pt x="0" y="13"/>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39" name="Freeform 838"/>
            <p:cNvSpPr>
              <a:spLocks/>
            </p:cNvSpPr>
            <p:nvPr/>
          </p:nvSpPr>
          <p:spPr bwMode="auto">
            <a:xfrm>
              <a:off x="5581353" y="3767973"/>
              <a:ext cx="97224" cy="56901"/>
            </a:xfrm>
            <a:custGeom>
              <a:avLst/>
              <a:gdLst>
                <a:gd name="T0" fmla="*/ 98 w 98"/>
                <a:gd name="T1" fmla="*/ 13 h 58"/>
                <a:gd name="T2" fmla="*/ 86 w 98"/>
                <a:gd name="T3" fmla="*/ 0 h 58"/>
                <a:gd name="T4" fmla="*/ 55 w 98"/>
                <a:gd name="T5" fmla="*/ 37 h 58"/>
                <a:gd name="T6" fmla="*/ 31 w 98"/>
                <a:gd name="T7" fmla="*/ 37 h 58"/>
                <a:gd name="T8" fmla="*/ 22 w 98"/>
                <a:gd name="T9" fmla="*/ 46 h 58"/>
                <a:gd name="T10" fmla="*/ 0 w 98"/>
                <a:gd name="T11" fmla="*/ 37 h 58"/>
                <a:gd name="T12" fmla="*/ 0 w 98"/>
                <a:gd name="T13" fmla="*/ 46 h 58"/>
                <a:gd name="T14" fmla="*/ 0 w 98"/>
                <a:gd name="T15" fmla="*/ 58 h 58"/>
                <a:gd name="T16" fmla="*/ 10 w 98"/>
                <a:gd name="T17" fmla="*/ 58 h 58"/>
                <a:gd name="T18" fmla="*/ 22 w 98"/>
                <a:gd name="T19" fmla="*/ 58 h 58"/>
                <a:gd name="T20" fmla="*/ 31 w 98"/>
                <a:gd name="T21" fmla="*/ 58 h 58"/>
                <a:gd name="T22" fmla="*/ 46 w 98"/>
                <a:gd name="T23" fmla="*/ 58 h 58"/>
                <a:gd name="T24" fmla="*/ 55 w 98"/>
                <a:gd name="T25" fmla="*/ 58 h 58"/>
                <a:gd name="T26" fmla="*/ 67 w 98"/>
                <a:gd name="T27" fmla="*/ 58 h 58"/>
                <a:gd name="T28" fmla="*/ 67 w 98"/>
                <a:gd name="T29" fmla="*/ 46 h 58"/>
                <a:gd name="T30" fmla="*/ 77 w 98"/>
                <a:gd name="T31" fmla="*/ 46 h 58"/>
                <a:gd name="T32" fmla="*/ 86 w 98"/>
                <a:gd name="T33" fmla="*/ 46 h 58"/>
                <a:gd name="T34" fmla="*/ 86 w 98"/>
                <a:gd name="T35" fmla="*/ 37 h 58"/>
                <a:gd name="T36" fmla="*/ 98 w 98"/>
                <a:gd name="T37" fmla="*/ 22 h 58"/>
                <a:gd name="T38" fmla="*/ 98 w 98"/>
                <a:gd name="T39" fmla="*/ 13 h 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8"/>
                <a:gd name="T61" fmla="*/ 0 h 58"/>
                <a:gd name="T62" fmla="*/ 98 w 98"/>
                <a:gd name="T63" fmla="*/ 58 h 5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8" h="58">
                  <a:moveTo>
                    <a:pt x="98" y="13"/>
                  </a:moveTo>
                  <a:lnTo>
                    <a:pt x="86" y="0"/>
                  </a:lnTo>
                  <a:lnTo>
                    <a:pt x="55" y="37"/>
                  </a:lnTo>
                  <a:lnTo>
                    <a:pt x="31" y="37"/>
                  </a:lnTo>
                  <a:lnTo>
                    <a:pt x="22" y="46"/>
                  </a:lnTo>
                  <a:lnTo>
                    <a:pt x="0" y="37"/>
                  </a:lnTo>
                  <a:lnTo>
                    <a:pt x="0" y="46"/>
                  </a:lnTo>
                  <a:lnTo>
                    <a:pt x="0" y="58"/>
                  </a:lnTo>
                  <a:lnTo>
                    <a:pt x="10" y="58"/>
                  </a:lnTo>
                  <a:lnTo>
                    <a:pt x="22" y="58"/>
                  </a:lnTo>
                  <a:lnTo>
                    <a:pt x="31" y="58"/>
                  </a:lnTo>
                  <a:lnTo>
                    <a:pt x="46" y="58"/>
                  </a:lnTo>
                  <a:lnTo>
                    <a:pt x="55" y="58"/>
                  </a:lnTo>
                  <a:lnTo>
                    <a:pt x="67" y="58"/>
                  </a:lnTo>
                  <a:lnTo>
                    <a:pt x="67" y="46"/>
                  </a:lnTo>
                  <a:lnTo>
                    <a:pt x="77" y="46"/>
                  </a:lnTo>
                  <a:lnTo>
                    <a:pt x="86" y="46"/>
                  </a:lnTo>
                  <a:lnTo>
                    <a:pt x="86" y="37"/>
                  </a:lnTo>
                  <a:lnTo>
                    <a:pt x="98" y="22"/>
                  </a:lnTo>
                  <a:lnTo>
                    <a:pt x="98" y="13"/>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40" name="Freeform 839"/>
            <p:cNvSpPr>
              <a:spLocks/>
            </p:cNvSpPr>
            <p:nvPr/>
          </p:nvSpPr>
          <p:spPr bwMode="auto">
            <a:xfrm>
              <a:off x="7045106" y="4293588"/>
              <a:ext cx="181844" cy="179384"/>
            </a:xfrm>
            <a:custGeom>
              <a:avLst/>
              <a:gdLst>
                <a:gd name="T0" fmla="*/ 183 w 183"/>
                <a:gd name="T1" fmla="*/ 183 h 183"/>
                <a:gd name="T2" fmla="*/ 183 w 183"/>
                <a:gd name="T3" fmla="*/ 52 h 183"/>
                <a:gd name="T4" fmla="*/ 131 w 183"/>
                <a:gd name="T5" fmla="*/ 31 h 183"/>
                <a:gd name="T6" fmla="*/ 107 w 183"/>
                <a:gd name="T7" fmla="*/ 40 h 183"/>
                <a:gd name="T8" fmla="*/ 86 w 183"/>
                <a:gd name="T9" fmla="*/ 61 h 183"/>
                <a:gd name="T10" fmla="*/ 77 w 183"/>
                <a:gd name="T11" fmla="*/ 61 h 183"/>
                <a:gd name="T12" fmla="*/ 64 w 183"/>
                <a:gd name="T13" fmla="*/ 40 h 183"/>
                <a:gd name="T14" fmla="*/ 52 w 183"/>
                <a:gd name="T15" fmla="*/ 9 h 183"/>
                <a:gd name="T16" fmla="*/ 43 w 183"/>
                <a:gd name="T17" fmla="*/ 9 h 183"/>
                <a:gd name="T18" fmla="*/ 43 w 183"/>
                <a:gd name="T19" fmla="*/ 0 h 183"/>
                <a:gd name="T20" fmla="*/ 22 w 183"/>
                <a:gd name="T21" fmla="*/ 0 h 183"/>
                <a:gd name="T22" fmla="*/ 0 w 183"/>
                <a:gd name="T23" fmla="*/ 18 h 183"/>
                <a:gd name="T24" fmla="*/ 22 w 183"/>
                <a:gd name="T25" fmla="*/ 31 h 183"/>
                <a:gd name="T26" fmla="*/ 22 w 183"/>
                <a:gd name="T27" fmla="*/ 40 h 183"/>
                <a:gd name="T28" fmla="*/ 52 w 183"/>
                <a:gd name="T29" fmla="*/ 40 h 183"/>
                <a:gd name="T30" fmla="*/ 52 w 183"/>
                <a:gd name="T31" fmla="*/ 52 h 183"/>
                <a:gd name="T32" fmla="*/ 22 w 183"/>
                <a:gd name="T33" fmla="*/ 52 h 183"/>
                <a:gd name="T34" fmla="*/ 31 w 183"/>
                <a:gd name="T35" fmla="*/ 61 h 183"/>
                <a:gd name="T36" fmla="*/ 31 w 183"/>
                <a:gd name="T37" fmla="*/ 73 h 183"/>
                <a:gd name="T38" fmla="*/ 43 w 183"/>
                <a:gd name="T39" fmla="*/ 73 h 183"/>
                <a:gd name="T40" fmla="*/ 52 w 183"/>
                <a:gd name="T41" fmla="*/ 61 h 183"/>
                <a:gd name="T42" fmla="*/ 77 w 183"/>
                <a:gd name="T43" fmla="*/ 85 h 183"/>
                <a:gd name="T44" fmla="*/ 119 w 183"/>
                <a:gd name="T45" fmla="*/ 95 h 183"/>
                <a:gd name="T46" fmla="*/ 131 w 183"/>
                <a:gd name="T47" fmla="*/ 107 h 183"/>
                <a:gd name="T48" fmla="*/ 141 w 183"/>
                <a:gd name="T49" fmla="*/ 149 h 183"/>
                <a:gd name="T50" fmla="*/ 131 w 183"/>
                <a:gd name="T51" fmla="*/ 149 h 183"/>
                <a:gd name="T52" fmla="*/ 119 w 183"/>
                <a:gd name="T53" fmla="*/ 171 h 183"/>
                <a:gd name="T54" fmla="*/ 162 w 183"/>
                <a:gd name="T55" fmla="*/ 162 h 183"/>
                <a:gd name="T56" fmla="*/ 183 w 183"/>
                <a:gd name="T57" fmla="*/ 183 h 18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3"/>
                <a:gd name="T88" fmla="*/ 0 h 183"/>
                <a:gd name="T89" fmla="*/ 183 w 183"/>
                <a:gd name="T90" fmla="*/ 183 h 18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3" h="183">
                  <a:moveTo>
                    <a:pt x="183" y="183"/>
                  </a:moveTo>
                  <a:lnTo>
                    <a:pt x="183" y="52"/>
                  </a:lnTo>
                  <a:lnTo>
                    <a:pt x="131" y="31"/>
                  </a:lnTo>
                  <a:lnTo>
                    <a:pt x="107" y="40"/>
                  </a:lnTo>
                  <a:lnTo>
                    <a:pt x="86" y="61"/>
                  </a:lnTo>
                  <a:lnTo>
                    <a:pt x="77" y="61"/>
                  </a:lnTo>
                  <a:lnTo>
                    <a:pt x="64" y="40"/>
                  </a:lnTo>
                  <a:lnTo>
                    <a:pt x="52" y="9"/>
                  </a:lnTo>
                  <a:lnTo>
                    <a:pt x="43" y="9"/>
                  </a:lnTo>
                  <a:lnTo>
                    <a:pt x="43" y="0"/>
                  </a:lnTo>
                  <a:lnTo>
                    <a:pt x="22" y="0"/>
                  </a:lnTo>
                  <a:lnTo>
                    <a:pt x="0" y="18"/>
                  </a:lnTo>
                  <a:lnTo>
                    <a:pt x="22" y="31"/>
                  </a:lnTo>
                  <a:lnTo>
                    <a:pt x="22" y="40"/>
                  </a:lnTo>
                  <a:lnTo>
                    <a:pt x="52" y="40"/>
                  </a:lnTo>
                  <a:lnTo>
                    <a:pt x="52" y="52"/>
                  </a:lnTo>
                  <a:lnTo>
                    <a:pt x="22" y="52"/>
                  </a:lnTo>
                  <a:lnTo>
                    <a:pt x="31" y="61"/>
                  </a:lnTo>
                  <a:lnTo>
                    <a:pt x="31" y="73"/>
                  </a:lnTo>
                  <a:lnTo>
                    <a:pt x="43" y="73"/>
                  </a:lnTo>
                  <a:lnTo>
                    <a:pt x="52" y="61"/>
                  </a:lnTo>
                  <a:lnTo>
                    <a:pt x="77" y="85"/>
                  </a:lnTo>
                  <a:lnTo>
                    <a:pt x="119" y="95"/>
                  </a:lnTo>
                  <a:lnTo>
                    <a:pt x="131" y="107"/>
                  </a:lnTo>
                  <a:lnTo>
                    <a:pt x="141" y="149"/>
                  </a:lnTo>
                  <a:lnTo>
                    <a:pt x="131" y="149"/>
                  </a:lnTo>
                  <a:lnTo>
                    <a:pt x="119" y="171"/>
                  </a:lnTo>
                  <a:lnTo>
                    <a:pt x="162" y="162"/>
                  </a:lnTo>
                  <a:lnTo>
                    <a:pt x="183" y="183"/>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41" name="Freeform 840"/>
            <p:cNvSpPr>
              <a:spLocks/>
            </p:cNvSpPr>
            <p:nvPr/>
          </p:nvSpPr>
          <p:spPr bwMode="auto">
            <a:xfrm>
              <a:off x="7226951" y="4344703"/>
              <a:ext cx="165640" cy="160096"/>
            </a:xfrm>
            <a:custGeom>
              <a:avLst/>
              <a:gdLst>
                <a:gd name="T0" fmla="*/ 0 w 168"/>
                <a:gd name="T1" fmla="*/ 0 h 164"/>
                <a:gd name="T2" fmla="*/ 0 w 168"/>
                <a:gd name="T3" fmla="*/ 131 h 164"/>
                <a:gd name="T4" fmla="*/ 25 w 168"/>
                <a:gd name="T5" fmla="*/ 131 h 164"/>
                <a:gd name="T6" fmla="*/ 34 w 168"/>
                <a:gd name="T7" fmla="*/ 119 h 164"/>
                <a:gd name="T8" fmla="*/ 55 w 168"/>
                <a:gd name="T9" fmla="*/ 97 h 164"/>
                <a:gd name="T10" fmla="*/ 67 w 168"/>
                <a:gd name="T11" fmla="*/ 97 h 164"/>
                <a:gd name="T12" fmla="*/ 92 w 168"/>
                <a:gd name="T13" fmla="*/ 110 h 164"/>
                <a:gd name="T14" fmla="*/ 110 w 168"/>
                <a:gd name="T15" fmla="*/ 149 h 164"/>
                <a:gd name="T16" fmla="*/ 143 w 168"/>
                <a:gd name="T17" fmla="*/ 149 h 164"/>
                <a:gd name="T18" fmla="*/ 155 w 168"/>
                <a:gd name="T19" fmla="*/ 164 h 164"/>
                <a:gd name="T20" fmla="*/ 168 w 168"/>
                <a:gd name="T21" fmla="*/ 164 h 164"/>
                <a:gd name="T22" fmla="*/ 168 w 168"/>
                <a:gd name="T23" fmla="*/ 149 h 164"/>
                <a:gd name="T24" fmla="*/ 155 w 168"/>
                <a:gd name="T25" fmla="*/ 140 h 164"/>
                <a:gd name="T26" fmla="*/ 143 w 168"/>
                <a:gd name="T27" fmla="*/ 140 h 164"/>
                <a:gd name="T28" fmla="*/ 143 w 168"/>
                <a:gd name="T29" fmla="*/ 131 h 164"/>
                <a:gd name="T30" fmla="*/ 131 w 168"/>
                <a:gd name="T31" fmla="*/ 131 h 164"/>
                <a:gd name="T32" fmla="*/ 122 w 168"/>
                <a:gd name="T33" fmla="*/ 110 h 164"/>
                <a:gd name="T34" fmla="*/ 110 w 168"/>
                <a:gd name="T35" fmla="*/ 97 h 164"/>
                <a:gd name="T36" fmla="*/ 110 w 168"/>
                <a:gd name="T37" fmla="*/ 88 h 164"/>
                <a:gd name="T38" fmla="*/ 122 w 168"/>
                <a:gd name="T39" fmla="*/ 73 h 164"/>
                <a:gd name="T40" fmla="*/ 122 w 168"/>
                <a:gd name="T41" fmla="*/ 64 h 164"/>
                <a:gd name="T42" fmla="*/ 110 w 168"/>
                <a:gd name="T43" fmla="*/ 64 h 164"/>
                <a:gd name="T44" fmla="*/ 92 w 168"/>
                <a:gd name="T45" fmla="*/ 55 h 164"/>
                <a:gd name="T46" fmla="*/ 76 w 168"/>
                <a:gd name="T47" fmla="*/ 33 h 164"/>
                <a:gd name="T48" fmla="*/ 46 w 168"/>
                <a:gd name="T49" fmla="*/ 9 h 164"/>
                <a:gd name="T50" fmla="*/ 0 w 168"/>
                <a:gd name="T51" fmla="*/ 0 h 16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8"/>
                <a:gd name="T79" fmla="*/ 0 h 164"/>
                <a:gd name="T80" fmla="*/ 168 w 168"/>
                <a:gd name="T81" fmla="*/ 164 h 16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8" h="164">
                  <a:moveTo>
                    <a:pt x="0" y="0"/>
                  </a:moveTo>
                  <a:lnTo>
                    <a:pt x="0" y="131"/>
                  </a:lnTo>
                  <a:lnTo>
                    <a:pt x="25" y="131"/>
                  </a:lnTo>
                  <a:lnTo>
                    <a:pt x="34" y="119"/>
                  </a:lnTo>
                  <a:lnTo>
                    <a:pt x="55" y="97"/>
                  </a:lnTo>
                  <a:lnTo>
                    <a:pt x="67" y="97"/>
                  </a:lnTo>
                  <a:lnTo>
                    <a:pt x="92" y="110"/>
                  </a:lnTo>
                  <a:lnTo>
                    <a:pt x="110" y="149"/>
                  </a:lnTo>
                  <a:lnTo>
                    <a:pt x="143" y="149"/>
                  </a:lnTo>
                  <a:lnTo>
                    <a:pt x="155" y="164"/>
                  </a:lnTo>
                  <a:lnTo>
                    <a:pt x="168" y="164"/>
                  </a:lnTo>
                  <a:lnTo>
                    <a:pt x="168" y="149"/>
                  </a:lnTo>
                  <a:lnTo>
                    <a:pt x="155" y="140"/>
                  </a:lnTo>
                  <a:lnTo>
                    <a:pt x="143" y="140"/>
                  </a:lnTo>
                  <a:lnTo>
                    <a:pt x="143" y="131"/>
                  </a:lnTo>
                  <a:lnTo>
                    <a:pt x="131" y="131"/>
                  </a:lnTo>
                  <a:lnTo>
                    <a:pt x="122" y="110"/>
                  </a:lnTo>
                  <a:lnTo>
                    <a:pt x="110" y="97"/>
                  </a:lnTo>
                  <a:lnTo>
                    <a:pt x="110" y="88"/>
                  </a:lnTo>
                  <a:lnTo>
                    <a:pt x="122" y="73"/>
                  </a:lnTo>
                  <a:lnTo>
                    <a:pt x="122" y="64"/>
                  </a:lnTo>
                  <a:lnTo>
                    <a:pt x="110" y="64"/>
                  </a:lnTo>
                  <a:lnTo>
                    <a:pt x="92" y="55"/>
                  </a:lnTo>
                  <a:lnTo>
                    <a:pt x="76" y="33"/>
                  </a:lnTo>
                  <a:lnTo>
                    <a:pt x="46" y="9"/>
                  </a:lnTo>
                  <a:lnTo>
                    <a:pt x="0"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42" name="Freeform 841"/>
            <p:cNvSpPr>
              <a:spLocks/>
            </p:cNvSpPr>
            <p:nvPr/>
          </p:nvSpPr>
          <p:spPr bwMode="auto">
            <a:xfrm>
              <a:off x="6653512" y="4203896"/>
              <a:ext cx="171942" cy="172633"/>
            </a:xfrm>
            <a:custGeom>
              <a:avLst/>
              <a:gdLst>
                <a:gd name="T0" fmla="*/ 134 w 173"/>
                <a:gd name="T1" fmla="*/ 0 h 176"/>
                <a:gd name="T2" fmla="*/ 152 w 173"/>
                <a:gd name="T3" fmla="*/ 0 h 176"/>
                <a:gd name="T4" fmla="*/ 152 w 173"/>
                <a:gd name="T5" fmla="*/ 24 h 176"/>
                <a:gd name="T6" fmla="*/ 164 w 173"/>
                <a:gd name="T7" fmla="*/ 33 h 176"/>
                <a:gd name="T8" fmla="*/ 152 w 173"/>
                <a:gd name="T9" fmla="*/ 46 h 176"/>
                <a:gd name="T10" fmla="*/ 173 w 173"/>
                <a:gd name="T11" fmla="*/ 67 h 176"/>
                <a:gd name="T12" fmla="*/ 164 w 173"/>
                <a:gd name="T13" fmla="*/ 67 h 176"/>
                <a:gd name="T14" fmla="*/ 143 w 173"/>
                <a:gd name="T15" fmla="*/ 109 h 176"/>
                <a:gd name="T16" fmla="*/ 134 w 173"/>
                <a:gd name="T17" fmla="*/ 122 h 176"/>
                <a:gd name="T18" fmla="*/ 134 w 173"/>
                <a:gd name="T19" fmla="*/ 131 h 176"/>
                <a:gd name="T20" fmla="*/ 134 w 173"/>
                <a:gd name="T21" fmla="*/ 152 h 176"/>
                <a:gd name="T22" fmla="*/ 109 w 173"/>
                <a:gd name="T23" fmla="*/ 164 h 176"/>
                <a:gd name="T24" fmla="*/ 97 w 173"/>
                <a:gd name="T25" fmla="*/ 176 h 176"/>
                <a:gd name="T26" fmla="*/ 88 w 173"/>
                <a:gd name="T27" fmla="*/ 152 h 176"/>
                <a:gd name="T28" fmla="*/ 76 w 173"/>
                <a:gd name="T29" fmla="*/ 152 h 176"/>
                <a:gd name="T30" fmla="*/ 42 w 173"/>
                <a:gd name="T31" fmla="*/ 152 h 176"/>
                <a:gd name="T32" fmla="*/ 42 w 173"/>
                <a:gd name="T33" fmla="*/ 143 h 176"/>
                <a:gd name="T34" fmla="*/ 21 w 173"/>
                <a:gd name="T35" fmla="*/ 143 h 176"/>
                <a:gd name="T36" fmla="*/ 12 w 173"/>
                <a:gd name="T37" fmla="*/ 109 h 176"/>
                <a:gd name="T38" fmla="*/ 0 w 173"/>
                <a:gd name="T39" fmla="*/ 100 h 176"/>
                <a:gd name="T40" fmla="*/ 0 w 173"/>
                <a:gd name="T41" fmla="*/ 67 h 176"/>
                <a:gd name="T42" fmla="*/ 12 w 173"/>
                <a:gd name="T43" fmla="*/ 46 h 176"/>
                <a:gd name="T44" fmla="*/ 21 w 173"/>
                <a:gd name="T45" fmla="*/ 67 h 176"/>
                <a:gd name="T46" fmla="*/ 42 w 173"/>
                <a:gd name="T47" fmla="*/ 67 h 176"/>
                <a:gd name="T48" fmla="*/ 57 w 173"/>
                <a:gd name="T49" fmla="*/ 55 h 176"/>
                <a:gd name="T50" fmla="*/ 76 w 173"/>
                <a:gd name="T51" fmla="*/ 67 h 176"/>
                <a:gd name="T52" fmla="*/ 97 w 173"/>
                <a:gd name="T53" fmla="*/ 55 h 176"/>
                <a:gd name="T54" fmla="*/ 121 w 173"/>
                <a:gd name="T55" fmla="*/ 0 h 176"/>
                <a:gd name="T56" fmla="*/ 134 w 173"/>
                <a:gd name="T57" fmla="*/ 0 h 17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3"/>
                <a:gd name="T88" fmla="*/ 0 h 176"/>
                <a:gd name="T89" fmla="*/ 173 w 173"/>
                <a:gd name="T90" fmla="*/ 176 h 17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3" h="176">
                  <a:moveTo>
                    <a:pt x="134" y="0"/>
                  </a:moveTo>
                  <a:lnTo>
                    <a:pt x="152" y="0"/>
                  </a:lnTo>
                  <a:lnTo>
                    <a:pt x="152" y="24"/>
                  </a:lnTo>
                  <a:lnTo>
                    <a:pt x="164" y="33"/>
                  </a:lnTo>
                  <a:lnTo>
                    <a:pt x="152" y="46"/>
                  </a:lnTo>
                  <a:lnTo>
                    <a:pt x="173" y="67"/>
                  </a:lnTo>
                  <a:lnTo>
                    <a:pt x="164" y="67"/>
                  </a:lnTo>
                  <a:lnTo>
                    <a:pt x="143" y="109"/>
                  </a:lnTo>
                  <a:lnTo>
                    <a:pt x="134" y="122"/>
                  </a:lnTo>
                  <a:lnTo>
                    <a:pt x="134" y="131"/>
                  </a:lnTo>
                  <a:lnTo>
                    <a:pt x="134" y="152"/>
                  </a:lnTo>
                  <a:lnTo>
                    <a:pt x="109" y="164"/>
                  </a:lnTo>
                  <a:lnTo>
                    <a:pt x="97" y="176"/>
                  </a:lnTo>
                  <a:lnTo>
                    <a:pt x="88" y="152"/>
                  </a:lnTo>
                  <a:lnTo>
                    <a:pt x="76" y="152"/>
                  </a:lnTo>
                  <a:lnTo>
                    <a:pt x="42" y="152"/>
                  </a:lnTo>
                  <a:lnTo>
                    <a:pt x="42" y="143"/>
                  </a:lnTo>
                  <a:lnTo>
                    <a:pt x="21" y="143"/>
                  </a:lnTo>
                  <a:lnTo>
                    <a:pt x="12" y="109"/>
                  </a:lnTo>
                  <a:lnTo>
                    <a:pt x="0" y="100"/>
                  </a:lnTo>
                  <a:lnTo>
                    <a:pt x="0" y="67"/>
                  </a:lnTo>
                  <a:lnTo>
                    <a:pt x="12" y="46"/>
                  </a:lnTo>
                  <a:lnTo>
                    <a:pt x="21" y="67"/>
                  </a:lnTo>
                  <a:lnTo>
                    <a:pt x="42" y="67"/>
                  </a:lnTo>
                  <a:lnTo>
                    <a:pt x="57" y="55"/>
                  </a:lnTo>
                  <a:lnTo>
                    <a:pt x="76" y="67"/>
                  </a:lnTo>
                  <a:lnTo>
                    <a:pt x="97" y="55"/>
                  </a:lnTo>
                  <a:lnTo>
                    <a:pt x="121" y="0"/>
                  </a:lnTo>
                  <a:lnTo>
                    <a:pt x="134" y="0"/>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43" name="Freeform 842"/>
            <p:cNvSpPr>
              <a:spLocks/>
            </p:cNvSpPr>
            <p:nvPr/>
          </p:nvSpPr>
          <p:spPr bwMode="auto">
            <a:xfrm>
              <a:off x="6666116" y="4153746"/>
              <a:ext cx="173741" cy="115732"/>
            </a:xfrm>
            <a:custGeom>
              <a:avLst/>
              <a:gdLst>
                <a:gd name="T0" fmla="*/ 161 w 176"/>
                <a:gd name="T1" fmla="*/ 43 h 119"/>
                <a:gd name="T2" fmla="*/ 140 w 176"/>
                <a:gd name="T3" fmla="*/ 52 h 119"/>
                <a:gd name="T4" fmla="*/ 122 w 176"/>
                <a:gd name="T5" fmla="*/ 52 h 119"/>
                <a:gd name="T6" fmla="*/ 109 w 176"/>
                <a:gd name="T7" fmla="*/ 52 h 119"/>
                <a:gd name="T8" fmla="*/ 85 w 176"/>
                <a:gd name="T9" fmla="*/ 107 h 119"/>
                <a:gd name="T10" fmla="*/ 64 w 176"/>
                <a:gd name="T11" fmla="*/ 119 h 119"/>
                <a:gd name="T12" fmla="*/ 45 w 176"/>
                <a:gd name="T13" fmla="*/ 107 h 119"/>
                <a:gd name="T14" fmla="*/ 30 w 176"/>
                <a:gd name="T15" fmla="*/ 119 h 119"/>
                <a:gd name="T16" fmla="*/ 9 w 176"/>
                <a:gd name="T17" fmla="*/ 119 h 119"/>
                <a:gd name="T18" fmla="*/ 0 w 176"/>
                <a:gd name="T19" fmla="*/ 98 h 119"/>
                <a:gd name="T20" fmla="*/ 21 w 176"/>
                <a:gd name="T21" fmla="*/ 107 h 119"/>
                <a:gd name="T22" fmla="*/ 30 w 176"/>
                <a:gd name="T23" fmla="*/ 76 h 119"/>
                <a:gd name="T24" fmla="*/ 55 w 176"/>
                <a:gd name="T25" fmla="*/ 76 h 119"/>
                <a:gd name="T26" fmla="*/ 76 w 176"/>
                <a:gd name="T27" fmla="*/ 43 h 119"/>
                <a:gd name="T28" fmla="*/ 85 w 176"/>
                <a:gd name="T29" fmla="*/ 52 h 119"/>
                <a:gd name="T30" fmla="*/ 97 w 176"/>
                <a:gd name="T31" fmla="*/ 52 h 119"/>
                <a:gd name="T32" fmla="*/ 97 w 176"/>
                <a:gd name="T33" fmla="*/ 43 h 119"/>
                <a:gd name="T34" fmla="*/ 97 w 176"/>
                <a:gd name="T35" fmla="*/ 31 h 119"/>
                <a:gd name="T36" fmla="*/ 131 w 176"/>
                <a:gd name="T37" fmla="*/ 0 h 119"/>
                <a:gd name="T38" fmla="*/ 140 w 176"/>
                <a:gd name="T39" fmla="*/ 12 h 119"/>
                <a:gd name="T40" fmla="*/ 140 w 176"/>
                <a:gd name="T41" fmla="*/ 21 h 119"/>
                <a:gd name="T42" fmla="*/ 176 w 176"/>
                <a:gd name="T43" fmla="*/ 31 h 119"/>
                <a:gd name="T44" fmla="*/ 152 w 176"/>
                <a:gd name="T45" fmla="*/ 43 h 119"/>
                <a:gd name="T46" fmla="*/ 161 w 176"/>
                <a:gd name="T47" fmla="*/ 43 h 11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6"/>
                <a:gd name="T73" fmla="*/ 0 h 119"/>
                <a:gd name="T74" fmla="*/ 176 w 176"/>
                <a:gd name="T75" fmla="*/ 119 h 11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6" h="119">
                  <a:moveTo>
                    <a:pt x="161" y="43"/>
                  </a:moveTo>
                  <a:lnTo>
                    <a:pt x="140" y="52"/>
                  </a:lnTo>
                  <a:lnTo>
                    <a:pt x="122" y="52"/>
                  </a:lnTo>
                  <a:lnTo>
                    <a:pt x="109" y="52"/>
                  </a:lnTo>
                  <a:lnTo>
                    <a:pt x="85" y="107"/>
                  </a:lnTo>
                  <a:lnTo>
                    <a:pt x="64" y="119"/>
                  </a:lnTo>
                  <a:lnTo>
                    <a:pt x="45" y="107"/>
                  </a:lnTo>
                  <a:lnTo>
                    <a:pt x="30" y="119"/>
                  </a:lnTo>
                  <a:lnTo>
                    <a:pt x="9" y="119"/>
                  </a:lnTo>
                  <a:lnTo>
                    <a:pt x="0" y="98"/>
                  </a:lnTo>
                  <a:lnTo>
                    <a:pt x="21" y="107"/>
                  </a:lnTo>
                  <a:lnTo>
                    <a:pt x="30" y="76"/>
                  </a:lnTo>
                  <a:lnTo>
                    <a:pt x="55" y="76"/>
                  </a:lnTo>
                  <a:lnTo>
                    <a:pt x="76" y="43"/>
                  </a:lnTo>
                  <a:lnTo>
                    <a:pt x="85" y="52"/>
                  </a:lnTo>
                  <a:lnTo>
                    <a:pt x="97" y="52"/>
                  </a:lnTo>
                  <a:lnTo>
                    <a:pt x="97" y="43"/>
                  </a:lnTo>
                  <a:lnTo>
                    <a:pt x="97" y="31"/>
                  </a:lnTo>
                  <a:lnTo>
                    <a:pt x="131" y="0"/>
                  </a:lnTo>
                  <a:lnTo>
                    <a:pt x="140" y="12"/>
                  </a:lnTo>
                  <a:lnTo>
                    <a:pt x="140" y="21"/>
                  </a:lnTo>
                  <a:lnTo>
                    <a:pt x="176" y="31"/>
                  </a:lnTo>
                  <a:lnTo>
                    <a:pt x="152" y="43"/>
                  </a:lnTo>
                  <a:lnTo>
                    <a:pt x="161" y="43"/>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44" name="Freeform 843"/>
            <p:cNvSpPr>
              <a:spLocks/>
            </p:cNvSpPr>
            <p:nvPr/>
          </p:nvSpPr>
          <p:spPr bwMode="auto">
            <a:xfrm>
              <a:off x="6318631" y="3727467"/>
              <a:ext cx="162939" cy="372271"/>
            </a:xfrm>
            <a:custGeom>
              <a:avLst/>
              <a:gdLst>
                <a:gd name="T0" fmla="*/ 152 w 164"/>
                <a:gd name="T1" fmla="*/ 326 h 380"/>
                <a:gd name="T2" fmla="*/ 130 w 164"/>
                <a:gd name="T3" fmla="*/ 380 h 380"/>
                <a:gd name="T4" fmla="*/ 143 w 164"/>
                <a:gd name="T5" fmla="*/ 347 h 380"/>
                <a:gd name="T6" fmla="*/ 130 w 164"/>
                <a:gd name="T7" fmla="*/ 326 h 380"/>
                <a:gd name="T8" fmla="*/ 143 w 164"/>
                <a:gd name="T9" fmla="*/ 316 h 380"/>
                <a:gd name="T10" fmla="*/ 109 w 164"/>
                <a:gd name="T11" fmla="*/ 240 h 380"/>
                <a:gd name="T12" fmla="*/ 97 w 164"/>
                <a:gd name="T13" fmla="*/ 228 h 380"/>
                <a:gd name="T14" fmla="*/ 76 w 164"/>
                <a:gd name="T15" fmla="*/ 249 h 380"/>
                <a:gd name="T16" fmla="*/ 42 w 164"/>
                <a:gd name="T17" fmla="*/ 240 h 380"/>
                <a:gd name="T18" fmla="*/ 54 w 164"/>
                <a:gd name="T19" fmla="*/ 219 h 380"/>
                <a:gd name="T20" fmla="*/ 42 w 164"/>
                <a:gd name="T21" fmla="*/ 185 h 380"/>
                <a:gd name="T22" fmla="*/ 33 w 164"/>
                <a:gd name="T23" fmla="*/ 185 h 380"/>
                <a:gd name="T24" fmla="*/ 21 w 164"/>
                <a:gd name="T25" fmla="*/ 164 h 380"/>
                <a:gd name="T26" fmla="*/ 0 w 164"/>
                <a:gd name="T27" fmla="*/ 140 h 380"/>
                <a:gd name="T28" fmla="*/ 0 w 164"/>
                <a:gd name="T29" fmla="*/ 118 h 380"/>
                <a:gd name="T30" fmla="*/ 12 w 164"/>
                <a:gd name="T31" fmla="*/ 118 h 380"/>
                <a:gd name="T32" fmla="*/ 12 w 164"/>
                <a:gd name="T33" fmla="*/ 88 h 380"/>
                <a:gd name="T34" fmla="*/ 21 w 164"/>
                <a:gd name="T35" fmla="*/ 88 h 380"/>
                <a:gd name="T36" fmla="*/ 33 w 164"/>
                <a:gd name="T37" fmla="*/ 33 h 380"/>
                <a:gd name="T38" fmla="*/ 54 w 164"/>
                <a:gd name="T39" fmla="*/ 12 h 380"/>
                <a:gd name="T40" fmla="*/ 67 w 164"/>
                <a:gd name="T41" fmla="*/ 12 h 380"/>
                <a:gd name="T42" fmla="*/ 67 w 164"/>
                <a:gd name="T43" fmla="*/ 0 h 380"/>
                <a:gd name="T44" fmla="*/ 88 w 164"/>
                <a:gd name="T45" fmla="*/ 0 h 380"/>
                <a:gd name="T46" fmla="*/ 97 w 164"/>
                <a:gd name="T47" fmla="*/ 24 h 380"/>
                <a:gd name="T48" fmla="*/ 88 w 164"/>
                <a:gd name="T49" fmla="*/ 88 h 380"/>
                <a:gd name="T50" fmla="*/ 109 w 164"/>
                <a:gd name="T51" fmla="*/ 79 h 380"/>
                <a:gd name="T52" fmla="*/ 109 w 164"/>
                <a:gd name="T53" fmla="*/ 100 h 380"/>
                <a:gd name="T54" fmla="*/ 121 w 164"/>
                <a:gd name="T55" fmla="*/ 100 h 380"/>
                <a:gd name="T56" fmla="*/ 121 w 164"/>
                <a:gd name="T57" fmla="*/ 118 h 380"/>
                <a:gd name="T58" fmla="*/ 143 w 164"/>
                <a:gd name="T59" fmla="*/ 131 h 380"/>
                <a:gd name="T60" fmla="*/ 164 w 164"/>
                <a:gd name="T61" fmla="*/ 131 h 380"/>
                <a:gd name="T62" fmla="*/ 143 w 164"/>
                <a:gd name="T63" fmla="*/ 155 h 380"/>
                <a:gd name="T64" fmla="*/ 109 w 164"/>
                <a:gd name="T65" fmla="*/ 173 h 380"/>
                <a:gd name="T66" fmla="*/ 109 w 164"/>
                <a:gd name="T67" fmla="*/ 195 h 380"/>
                <a:gd name="T68" fmla="*/ 130 w 164"/>
                <a:gd name="T69" fmla="*/ 240 h 380"/>
                <a:gd name="T70" fmla="*/ 121 w 164"/>
                <a:gd name="T71" fmla="*/ 271 h 380"/>
                <a:gd name="T72" fmla="*/ 143 w 164"/>
                <a:gd name="T73" fmla="*/ 283 h 380"/>
                <a:gd name="T74" fmla="*/ 152 w 164"/>
                <a:gd name="T75" fmla="*/ 326 h 38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4"/>
                <a:gd name="T115" fmla="*/ 0 h 380"/>
                <a:gd name="T116" fmla="*/ 164 w 164"/>
                <a:gd name="T117" fmla="*/ 380 h 38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4" h="380">
                  <a:moveTo>
                    <a:pt x="152" y="326"/>
                  </a:moveTo>
                  <a:lnTo>
                    <a:pt x="130" y="380"/>
                  </a:lnTo>
                  <a:lnTo>
                    <a:pt x="143" y="347"/>
                  </a:lnTo>
                  <a:lnTo>
                    <a:pt x="130" y="326"/>
                  </a:lnTo>
                  <a:lnTo>
                    <a:pt x="143" y="316"/>
                  </a:lnTo>
                  <a:lnTo>
                    <a:pt x="109" y="240"/>
                  </a:lnTo>
                  <a:lnTo>
                    <a:pt x="97" y="228"/>
                  </a:lnTo>
                  <a:lnTo>
                    <a:pt x="76" y="249"/>
                  </a:lnTo>
                  <a:lnTo>
                    <a:pt x="42" y="240"/>
                  </a:lnTo>
                  <a:lnTo>
                    <a:pt x="54" y="219"/>
                  </a:lnTo>
                  <a:lnTo>
                    <a:pt x="42" y="185"/>
                  </a:lnTo>
                  <a:lnTo>
                    <a:pt x="33" y="185"/>
                  </a:lnTo>
                  <a:lnTo>
                    <a:pt x="21" y="164"/>
                  </a:lnTo>
                  <a:lnTo>
                    <a:pt x="0" y="140"/>
                  </a:lnTo>
                  <a:lnTo>
                    <a:pt x="0" y="118"/>
                  </a:lnTo>
                  <a:lnTo>
                    <a:pt x="12" y="118"/>
                  </a:lnTo>
                  <a:lnTo>
                    <a:pt x="12" y="88"/>
                  </a:lnTo>
                  <a:lnTo>
                    <a:pt x="21" y="88"/>
                  </a:lnTo>
                  <a:lnTo>
                    <a:pt x="33" y="33"/>
                  </a:lnTo>
                  <a:lnTo>
                    <a:pt x="54" y="12"/>
                  </a:lnTo>
                  <a:lnTo>
                    <a:pt x="67" y="12"/>
                  </a:lnTo>
                  <a:lnTo>
                    <a:pt x="67" y="0"/>
                  </a:lnTo>
                  <a:lnTo>
                    <a:pt x="88" y="0"/>
                  </a:lnTo>
                  <a:lnTo>
                    <a:pt x="97" y="24"/>
                  </a:lnTo>
                  <a:lnTo>
                    <a:pt x="88" y="88"/>
                  </a:lnTo>
                  <a:lnTo>
                    <a:pt x="109" y="79"/>
                  </a:lnTo>
                  <a:lnTo>
                    <a:pt x="109" y="100"/>
                  </a:lnTo>
                  <a:lnTo>
                    <a:pt x="121" y="100"/>
                  </a:lnTo>
                  <a:lnTo>
                    <a:pt x="121" y="118"/>
                  </a:lnTo>
                  <a:lnTo>
                    <a:pt x="143" y="131"/>
                  </a:lnTo>
                  <a:lnTo>
                    <a:pt x="164" y="131"/>
                  </a:lnTo>
                  <a:lnTo>
                    <a:pt x="143" y="155"/>
                  </a:lnTo>
                  <a:lnTo>
                    <a:pt x="109" y="173"/>
                  </a:lnTo>
                  <a:lnTo>
                    <a:pt x="109" y="195"/>
                  </a:lnTo>
                  <a:lnTo>
                    <a:pt x="130" y="240"/>
                  </a:lnTo>
                  <a:lnTo>
                    <a:pt x="121" y="271"/>
                  </a:lnTo>
                  <a:lnTo>
                    <a:pt x="143" y="283"/>
                  </a:lnTo>
                  <a:lnTo>
                    <a:pt x="152" y="326"/>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45" name="Freeform 844"/>
            <p:cNvSpPr>
              <a:spLocks/>
            </p:cNvSpPr>
            <p:nvPr/>
          </p:nvSpPr>
          <p:spPr bwMode="auto">
            <a:xfrm>
              <a:off x="6426657" y="3878882"/>
              <a:ext cx="142234" cy="295116"/>
            </a:xfrm>
            <a:custGeom>
              <a:avLst/>
              <a:gdLst>
                <a:gd name="T0" fmla="*/ 64 w 143"/>
                <a:gd name="T1" fmla="*/ 280 h 301"/>
                <a:gd name="T2" fmla="*/ 64 w 143"/>
                <a:gd name="T3" fmla="*/ 292 h 301"/>
                <a:gd name="T4" fmla="*/ 34 w 143"/>
                <a:gd name="T5" fmla="*/ 247 h 301"/>
                <a:gd name="T6" fmla="*/ 34 w 143"/>
                <a:gd name="T7" fmla="*/ 259 h 301"/>
                <a:gd name="T8" fmla="*/ 21 w 143"/>
                <a:gd name="T9" fmla="*/ 237 h 301"/>
                <a:gd name="T10" fmla="*/ 21 w 143"/>
                <a:gd name="T11" fmla="*/ 225 h 301"/>
                <a:gd name="T12" fmla="*/ 43 w 143"/>
                <a:gd name="T13" fmla="*/ 171 h 301"/>
                <a:gd name="T14" fmla="*/ 34 w 143"/>
                <a:gd name="T15" fmla="*/ 128 h 301"/>
                <a:gd name="T16" fmla="*/ 12 w 143"/>
                <a:gd name="T17" fmla="*/ 116 h 301"/>
                <a:gd name="T18" fmla="*/ 21 w 143"/>
                <a:gd name="T19" fmla="*/ 85 h 301"/>
                <a:gd name="T20" fmla="*/ 0 w 143"/>
                <a:gd name="T21" fmla="*/ 40 h 301"/>
                <a:gd name="T22" fmla="*/ 0 w 143"/>
                <a:gd name="T23" fmla="*/ 18 h 301"/>
                <a:gd name="T24" fmla="*/ 34 w 143"/>
                <a:gd name="T25" fmla="*/ 0 h 301"/>
                <a:gd name="T26" fmla="*/ 43 w 143"/>
                <a:gd name="T27" fmla="*/ 9 h 301"/>
                <a:gd name="T28" fmla="*/ 55 w 143"/>
                <a:gd name="T29" fmla="*/ 18 h 301"/>
                <a:gd name="T30" fmla="*/ 55 w 143"/>
                <a:gd name="T31" fmla="*/ 52 h 301"/>
                <a:gd name="T32" fmla="*/ 79 w 143"/>
                <a:gd name="T33" fmla="*/ 40 h 301"/>
                <a:gd name="T34" fmla="*/ 88 w 143"/>
                <a:gd name="T35" fmla="*/ 52 h 301"/>
                <a:gd name="T36" fmla="*/ 98 w 143"/>
                <a:gd name="T37" fmla="*/ 40 h 301"/>
                <a:gd name="T38" fmla="*/ 119 w 143"/>
                <a:gd name="T39" fmla="*/ 64 h 301"/>
                <a:gd name="T40" fmla="*/ 131 w 143"/>
                <a:gd name="T41" fmla="*/ 85 h 301"/>
                <a:gd name="T42" fmla="*/ 143 w 143"/>
                <a:gd name="T43" fmla="*/ 107 h 301"/>
                <a:gd name="T44" fmla="*/ 143 w 143"/>
                <a:gd name="T45" fmla="*/ 128 h 301"/>
                <a:gd name="T46" fmla="*/ 98 w 143"/>
                <a:gd name="T47" fmla="*/ 128 h 301"/>
                <a:gd name="T48" fmla="*/ 88 w 143"/>
                <a:gd name="T49" fmla="*/ 149 h 301"/>
                <a:gd name="T50" fmla="*/ 98 w 143"/>
                <a:gd name="T51" fmla="*/ 171 h 301"/>
                <a:gd name="T52" fmla="*/ 88 w 143"/>
                <a:gd name="T53" fmla="*/ 161 h 301"/>
                <a:gd name="T54" fmla="*/ 64 w 143"/>
                <a:gd name="T55" fmla="*/ 161 h 301"/>
                <a:gd name="T56" fmla="*/ 64 w 143"/>
                <a:gd name="T57" fmla="*/ 149 h 301"/>
                <a:gd name="T58" fmla="*/ 43 w 143"/>
                <a:gd name="T59" fmla="*/ 149 h 301"/>
                <a:gd name="T60" fmla="*/ 55 w 143"/>
                <a:gd name="T61" fmla="*/ 171 h 301"/>
                <a:gd name="T62" fmla="*/ 43 w 143"/>
                <a:gd name="T63" fmla="*/ 204 h 301"/>
                <a:gd name="T64" fmla="*/ 43 w 143"/>
                <a:gd name="T65" fmla="*/ 225 h 301"/>
                <a:gd name="T66" fmla="*/ 55 w 143"/>
                <a:gd name="T67" fmla="*/ 225 h 301"/>
                <a:gd name="T68" fmla="*/ 64 w 143"/>
                <a:gd name="T69" fmla="*/ 268 h 301"/>
                <a:gd name="T70" fmla="*/ 88 w 143"/>
                <a:gd name="T71" fmla="*/ 280 h 301"/>
                <a:gd name="T72" fmla="*/ 98 w 143"/>
                <a:gd name="T73" fmla="*/ 292 h 301"/>
                <a:gd name="T74" fmla="*/ 88 w 143"/>
                <a:gd name="T75" fmla="*/ 301 h 301"/>
                <a:gd name="T76" fmla="*/ 79 w 143"/>
                <a:gd name="T77" fmla="*/ 301 h 301"/>
                <a:gd name="T78" fmla="*/ 79 w 143"/>
                <a:gd name="T79" fmla="*/ 292 h 301"/>
                <a:gd name="T80" fmla="*/ 64 w 143"/>
                <a:gd name="T81" fmla="*/ 280 h 30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3"/>
                <a:gd name="T124" fmla="*/ 0 h 301"/>
                <a:gd name="T125" fmla="*/ 143 w 143"/>
                <a:gd name="T126" fmla="*/ 301 h 30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3" h="301">
                  <a:moveTo>
                    <a:pt x="64" y="280"/>
                  </a:moveTo>
                  <a:lnTo>
                    <a:pt x="64" y="292"/>
                  </a:lnTo>
                  <a:lnTo>
                    <a:pt x="34" y="247"/>
                  </a:lnTo>
                  <a:lnTo>
                    <a:pt x="34" y="259"/>
                  </a:lnTo>
                  <a:lnTo>
                    <a:pt x="21" y="237"/>
                  </a:lnTo>
                  <a:lnTo>
                    <a:pt x="21" y="225"/>
                  </a:lnTo>
                  <a:lnTo>
                    <a:pt x="43" y="171"/>
                  </a:lnTo>
                  <a:lnTo>
                    <a:pt x="34" y="128"/>
                  </a:lnTo>
                  <a:lnTo>
                    <a:pt x="12" y="116"/>
                  </a:lnTo>
                  <a:lnTo>
                    <a:pt x="21" y="85"/>
                  </a:lnTo>
                  <a:lnTo>
                    <a:pt x="0" y="40"/>
                  </a:lnTo>
                  <a:lnTo>
                    <a:pt x="0" y="18"/>
                  </a:lnTo>
                  <a:lnTo>
                    <a:pt x="34" y="0"/>
                  </a:lnTo>
                  <a:lnTo>
                    <a:pt x="43" y="9"/>
                  </a:lnTo>
                  <a:lnTo>
                    <a:pt x="55" y="18"/>
                  </a:lnTo>
                  <a:lnTo>
                    <a:pt x="55" y="52"/>
                  </a:lnTo>
                  <a:lnTo>
                    <a:pt x="79" y="40"/>
                  </a:lnTo>
                  <a:lnTo>
                    <a:pt x="88" y="52"/>
                  </a:lnTo>
                  <a:lnTo>
                    <a:pt x="98" y="40"/>
                  </a:lnTo>
                  <a:lnTo>
                    <a:pt x="119" y="64"/>
                  </a:lnTo>
                  <a:lnTo>
                    <a:pt x="131" y="85"/>
                  </a:lnTo>
                  <a:lnTo>
                    <a:pt x="143" y="107"/>
                  </a:lnTo>
                  <a:lnTo>
                    <a:pt x="143" y="128"/>
                  </a:lnTo>
                  <a:lnTo>
                    <a:pt x="98" y="128"/>
                  </a:lnTo>
                  <a:lnTo>
                    <a:pt x="88" y="149"/>
                  </a:lnTo>
                  <a:lnTo>
                    <a:pt x="98" y="171"/>
                  </a:lnTo>
                  <a:lnTo>
                    <a:pt x="88" y="161"/>
                  </a:lnTo>
                  <a:lnTo>
                    <a:pt x="64" y="161"/>
                  </a:lnTo>
                  <a:lnTo>
                    <a:pt x="64" y="149"/>
                  </a:lnTo>
                  <a:lnTo>
                    <a:pt x="43" y="149"/>
                  </a:lnTo>
                  <a:lnTo>
                    <a:pt x="55" y="171"/>
                  </a:lnTo>
                  <a:lnTo>
                    <a:pt x="43" y="204"/>
                  </a:lnTo>
                  <a:lnTo>
                    <a:pt x="43" y="225"/>
                  </a:lnTo>
                  <a:lnTo>
                    <a:pt x="55" y="225"/>
                  </a:lnTo>
                  <a:lnTo>
                    <a:pt x="64" y="268"/>
                  </a:lnTo>
                  <a:lnTo>
                    <a:pt x="88" y="280"/>
                  </a:lnTo>
                  <a:lnTo>
                    <a:pt x="98" y="292"/>
                  </a:lnTo>
                  <a:lnTo>
                    <a:pt x="88" y="301"/>
                  </a:lnTo>
                  <a:lnTo>
                    <a:pt x="79" y="301"/>
                  </a:lnTo>
                  <a:lnTo>
                    <a:pt x="79" y="292"/>
                  </a:lnTo>
                  <a:lnTo>
                    <a:pt x="64" y="28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46" name="Freeform 845"/>
            <p:cNvSpPr>
              <a:spLocks/>
            </p:cNvSpPr>
            <p:nvPr/>
          </p:nvSpPr>
          <p:spPr bwMode="auto">
            <a:xfrm>
              <a:off x="6490573" y="4174422"/>
              <a:ext cx="78319" cy="104159"/>
            </a:xfrm>
            <a:custGeom>
              <a:avLst/>
              <a:gdLst>
                <a:gd name="T0" fmla="*/ 0 w 79"/>
                <a:gd name="T1" fmla="*/ 12 h 107"/>
                <a:gd name="T2" fmla="*/ 0 w 79"/>
                <a:gd name="T3" fmla="*/ 52 h 107"/>
                <a:gd name="T4" fmla="*/ 24 w 79"/>
                <a:gd name="T5" fmla="*/ 76 h 107"/>
                <a:gd name="T6" fmla="*/ 55 w 79"/>
                <a:gd name="T7" fmla="*/ 107 h 107"/>
                <a:gd name="T8" fmla="*/ 79 w 79"/>
                <a:gd name="T9" fmla="*/ 107 h 107"/>
                <a:gd name="T10" fmla="*/ 55 w 79"/>
                <a:gd name="T11" fmla="*/ 76 h 107"/>
                <a:gd name="T12" fmla="*/ 55 w 79"/>
                <a:gd name="T13" fmla="*/ 43 h 107"/>
                <a:gd name="T14" fmla="*/ 34 w 79"/>
                <a:gd name="T15" fmla="*/ 12 h 107"/>
                <a:gd name="T16" fmla="*/ 24 w 79"/>
                <a:gd name="T17" fmla="*/ 21 h 107"/>
                <a:gd name="T18" fmla="*/ 15 w 79"/>
                <a:gd name="T19" fmla="*/ 21 h 107"/>
                <a:gd name="T20" fmla="*/ 15 w 79"/>
                <a:gd name="T21" fmla="*/ 12 h 107"/>
                <a:gd name="T22" fmla="*/ 0 w 79"/>
                <a:gd name="T23" fmla="*/ 0 h 107"/>
                <a:gd name="T24" fmla="*/ 0 w 79"/>
                <a:gd name="T25" fmla="*/ 12 h 1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9"/>
                <a:gd name="T40" fmla="*/ 0 h 107"/>
                <a:gd name="T41" fmla="*/ 79 w 79"/>
                <a:gd name="T42" fmla="*/ 107 h 1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9" h="107">
                  <a:moveTo>
                    <a:pt x="0" y="12"/>
                  </a:moveTo>
                  <a:lnTo>
                    <a:pt x="0" y="52"/>
                  </a:lnTo>
                  <a:lnTo>
                    <a:pt x="24" y="76"/>
                  </a:lnTo>
                  <a:lnTo>
                    <a:pt x="55" y="107"/>
                  </a:lnTo>
                  <a:lnTo>
                    <a:pt x="79" y="107"/>
                  </a:lnTo>
                  <a:lnTo>
                    <a:pt x="55" y="76"/>
                  </a:lnTo>
                  <a:lnTo>
                    <a:pt x="55" y="43"/>
                  </a:lnTo>
                  <a:lnTo>
                    <a:pt x="34" y="12"/>
                  </a:lnTo>
                  <a:lnTo>
                    <a:pt x="24" y="21"/>
                  </a:lnTo>
                  <a:lnTo>
                    <a:pt x="15" y="21"/>
                  </a:lnTo>
                  <a:lnTo>
                    <a:pt x="15" y="12"/>
                  </a:lnTo>
                  <a:lnTo>
                    <a:pt x="0" y="0"/>
                  </a:lnTo>
                  <a:lnTo>
                    <a:pt x="0" y="12"/>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47" name="Freeform 846"/>
            <p:cNvSpPr>
              <a:spLocks/>
            </p:cNvSpPr>
            <p:nvPr/>
          </p:nvSpPr>
          <p:spPr bwMode="auto">
            <a:xfrm>
              <a:off x="6490573" y="3824874"/>
              <a:ext cx="153037" cy="286437"/>
            </a:xfrm>
            <a:custGeom>
              <a:avLst/>
              <a:gdLst>
                <a:gd name="T0" fmla="*/ 0 w 155"/>
                <a:gd name="T1" fmla="*/ 9 h 292"/>
                <a:gd name="T2" fmla="*/ 15 w 155"/>
                <a:gd name="T3" fmla="*/ 9 h 292"/>
                <a:gd name="T4" fmla="*/ 55 w 155"/>
                <a:gd name="T5" fmla="*/ 0 h 292"/>
                <a:gd name="T6" fmla="*/ 79 w 155"/>
                <a:gd name="T7" fmla="*/ 9 h 292"/>
                <a:gd name="T8" fmla="*/ 91 w 155"/>
                <a:gd name="T9" fmla="*/ 18 h 292"/>
                <a:gd name="T10" fmla="*/ 110 w 155"/>
                <a:gd name="T11" fmla="*/ 31 h 292"/>
                <a:gd name="T12" fmla="*/ 91 w 155"/>
                <a:gd name="T13" fmla="*/ 40 h 292"/>
                <a:gd name="T14" fmla="*/ 79 w 155"/>
                <a:gd name="T15" fmla="*/ 64 h 292"/>
                <a:gd name="T16" fmla="*/ 67 w 155"/>
                <a:gd name="T17" fmla="*/ 85 h 292"/>
                <a:gd name="T18" fmla="*/ 79 w 155"/>
                <a:gd name="T19" fmla="*/ 95 h 292"/>
                <a:gd name="T20" fmla="*/ 146 w 155"/>
                <a:gd name="T21" fmla="*/ 162 h 292"/>
                <a:gd name="T22" fmla="*/ 155 w 155"/>
                <a:gd name="T23" fmla="*/ 195 h 292"/>
                <a:gd name="T24" fmla="*/ 155 w 155"/>
                <a:gd name="T25" fmla="*/ 238 h 292"/>
                <a:gd name="T26" fmla="*/ 122 w 155"/>
                <a:gd name="T27" fmla="*/ 259 h 292"/>
                <a:gd name="T28" fmla="*/ 110 w 155"/>
                <a:gd name="T29" fmla="*/ 259 h 292"/>
                <a:gd name="T30" fmla="*/ 110 w 155"/>
                <a:gd name="T31" fmla="*/ 280 h 292"/>
                <a:gd name="T32" fmla="*/ 79 w 155"/>
                <a:gd name="T33" fmla="*/ 292 h 292"/>
                <a:gd name="T34" fmla="*/ 79 w 155"/>
                <a:gd name="T35" fmla="*/ 271 h 292"/>
                <a:gd name="T36" fmla="*/ 67 w 155"/>
                <a:gd name="T37" fmla="*/ 259 h 292"/>
                <a:gd name="T38" fmla="*/ 91 w 155"/>
                <a:gd name="T39" fmla="*/ 247 h 292"/>
                <a:gd name="T40" fmla="*/ 101 w 155"/>
                <a:gd name="T41" fmla="*/ 238 h 292"/>
                <a:gd name="T42" fmla="*/ 122 w 155"/>
                <a:gd name="T43" fmla="*/ 216 h 292"/>
                <a:gd name="T44" fmla="*/ 122 w 155"/>
                <a:gd name="T45" fmla="*/ 171 h 292"/>
                <a:gd name="T46" fmla="*/ 110 w 155"/>
                <a:gd name="T47" fmla="*/ 149 h 292"/>
                <a:gd name="T48" fmla="*/ 91 w 155"/>
                <a:gd name="T49" fmla="*/ 128 h 292"/>
                <a:gd name="T50" fmla="*/ 91 w 155"/>
                <a:gd name="T51" fmla="*/ 119 h 292"/>
                <a:gd name="T52" fmla="*/ 46 w 155"/>
                <a:gd name="T53" fmla="*/ 73 h 292"/>
                <a:gd name="T54" fmla="*/ 55 w 155"/>
                <a:gd name="T55" fmla="*/ 64 h 292"/>
                <a:gd name="T56" fmla="*/ 46 w 155"/>
                <a:gd name="T57" fmla="*/ 55 h 292"/>
                <a:gd name="T58" fmla="*/ 24 w 155"/>
                <a:gd name="T59" fmla="*/ 40 h 292"/>
                <a:gd name="T60" fmla="*/ 0 w 155"/>
                <a:gd name="T61" fmla="*/ 9 h 29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5"/>
                <a:gd name="T94" fmla="*/ 0 h 292"/>
                <a:gd name="T95" fmla="*/ 155 w 155"/>
                <a:gd name="T96" fmla="*/ 292 h 29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5" h="292">
                  <a:moveTo>
                    <a:pt x="0" y="9"/>
                  </a:moveTo>
                  <a:lnTo>
                    <a:pt x="15" y="9"/>
                  </a:lnTo>
                  <a:lnTo>
                    <a:pt x="55" y="0"/>
                  </a:lnTo>
                  <a:lnTo>
                    <a:pt x="79" y="9"/>
                  </a:lnTo>
                  <a:lnTo>
                    <a:pt x="91" y="18"/>
                  </a:lnTo>
                  <a:lnTo>
                    <a:pt x="110" y="31"/>
                  </a:lnTo>
                  <a:lnTo>
                    <a:pt x="91" y="40"/>
                  </a:lnTo>
                  <a:lnTo>
                    <a:pt x="79" y="64"/>
                  </a:lnTo>
                  <a:lnTo>
                    <a:pt x="67" y="85"/>
                  </a:lnTo>
                  <a:lnTo>
                    <a:pt x="79" y="95"/>
                  </a:lnTo>
                  <a:lnTo>
                    <a:pt x="146" y="162"/>
                  </a:lnTo>
                  <a:lnTo>
                    <a:pt x="155" y="195"/>
                  </a:lnTo>
                  <a:lnTo>
                    <a:pt x="155" y="238"/>
                  </a:lnTo>
                  <a:lnTo>
                    <a:pt x="122" y="259"/>
                  </a:lnTo>
                  <a:lnTo>
                    <a:pt x="110" y="259"/>
                  </a:lnTo>
                  <a:lnTo>
                    <a:pt x="110" y="280"/>
                  </a:lnTo>
                  <a:lnTo>
                    <a:pt x="79" y="292"/>
                  </a:lnTo>
                  <a:lnTo>
                    <a:pt x="79" y="271"/>
                  </a:lnTo>
                  <a:lnTo>
                    <a:pt x="67" y="259"/>
                  </a:lnTo>
                  <a:lnTo>
                    <a:pt x="91" y="247"/>
                  </a:lnTo>
                  <a:lnTo>
                    <a:pt x="101" y="238"/>
                  </a:lnTo>
                  <a:lnTo>
                    <a:pt x="122" y="216"/>
                  </a:lnTo>
                  <a:lnTo>
                    <a:pt x="122" y="171"/>
                  </a:lnTo>
                  <a:lnTo>
                    <a:pt x="110" y="149"/>
                  </a:lnTo>
                  <a:lnTo>
                    <a:pt x="91" y="128"/>
                  </a:lnTo>
                  <a:lnTo>
                    <a:pt x="91" y="119"/>
                  </a:lnTo>
                  <a:lnTo>
                    <a:pt x="46" y="73"/>
                  </a:lnTo>
                  <a:lnTo>
                    <a:pt x="55" y="64"/>
                  </a:lnTo>
                  <a:lnTo>
                    <a:pt x="46" y="55"/>
                  </a:lnTo>
                  <a:lnTo>
                    <a:pt x="24" y="40"/>
                  </a:lnTo>
                  <a:lnTo>
                    <a:pt x="0" y="9"/>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48" name="Freeform 847"/>
            <p:cNvSpPr>
              <a:spLocks/>
            </p:cNvSpPr>
            <p:nvPr/>
          </p:nvSpPr>
          <p:spPr bwMode="auto">
            <a:xfrm>
              <a:off x="6513979" y="3992685"/>
              <a:ext cx="98124" cy="85835"/>
            </a:xfrm>
            <a:custGeom>
              <a:avLst/>
              <a:gdLst>
                <a:gd name="T0" fmla="*/ 0 w 98"/>
                <a:gd name="T1" fmla="*/ 33 h 88"/>
                <a:gd name="T2" fmla="*/ 10 w 98"/>
                <a:gd name="T3" fmla="*/ 55 h 88"/>
                <a:gd name="T4" fmla="*/ 22 w 98"/>
                <a:gd name="T5" fmla="*/ 76 h 88"/>
                <a:gd name="T6" fmla="*/ 43 w 98"/>
                <a:gd name="T7" fmla="*/ 88 h 88"/>
                <a:gd name="T8" fmla="*/ 75 w 98"/>
                <a:gd name="T9" fmla="*/ 76 h 88"/>
                <a:gd name="T10" fmla="*/ 85 w 98"/>
                <a:gd name="T11" fmla="*/ 67 h 88"/>
                <a:gd name="T12" fmla="*/ 106 w 98"/>
                <a:gd name="T13" fmla="*/ 45 h 88"/>
                <a:gd name="T14" fmla="*/ 106 w 98"/>
                <a:gd name="T15" fmla="*/ 0 h 88"/>
                <a:gd name="T16" fmla="*/ 85 w 98"/>
                <a:gd name="T17" fmla="*/ 12 h 88"/>
                <a:gd name="T18" fmla="*/ 75 w 98"/>
                <a:gd name="T19" fmla="*/ 12 h 88"/>
                <a:gd name="T20" fmla="*/ 63 w 98"/>
                <a:gd name="T21" fmla="*/ 12 h 88"/>
                <a:gd name="T22" fmla="*/ 10 w 98"/>
                <a:gd name="T23" fmla="*/ 12 h 88"/>
                <a:gd name="T24" fmla="*/ 0 w 98"/>
                <a:gd name="T25" fmla="*/ 33 h 8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8"/>
                <a:gd name="T40" fmla="*/ 0 h 88"/>
                <a:gd name="T41" fmla="*/ 98 w 98"/>
                <a:gd name="T42" fmla="*/ 88 h 8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8" h="88">
                  <a:moveTo>
                    <a:pt x="0" y="33"/>
                  </a:moveTo>
                  <a:lnTo>
                    <a:pt x="10" y="55"/>
                  </a:lnTo>
                  <a:lnTo>
                    <a:pt x="22" y="76"/>
                  </a:lnTo>
                  <a:lnTo>
                    <a:pt x="43" y="88"/>
                  </a:lnTo>
                  <a:lnTo>
                    <a:pt x="67" y="76"/>
                  </a:lnTo>
                  <a:lnTo>
                    <a:pt x="77" y="67"/>
                  </a:lnTo>
                  <a:lnTo>
                    <a:pt x="98" y="45"/>
                  </a:lnTo>
                  <a:lnTo>
                    <a:pt x="98" y="0"/>
                  </a:lnTo>
                  <a:lnTo>
                    <a:pt x="77" y="12"/>
                  </a:lnTo>
                  <a:lnTo>
                    <a:pt x="67" y="12"/>
                  </a:lnTo>
                  <a:lnTo>
                    <a:pt x="55" y="12"/>
                  </a:lnTo>
                  <a:lnTo>
                    <a:pt x="10" y="12"/>
                  </a:lnTo>
                  <a:lnTo>
                    <a:pt x="0" y="33"/>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49" name="Freeform 848"/>
            <p:cNvSpPr>
              <a:spLocks/>
            </p:cNvSpPr>
            <p:nvPr/>
          </p:nvSpPr>
          <p:spPr bwMode="auto">
            <a:xfrm>
              <a:off x="6460865" y="3834519"/>
              <a:ext cx="151237" cy="169740"/>
            </a:xfrm>
            <a:custGeom>
              <a:avLst/>
              <a:gdLst>
                <a:gd name="T0" fmla="*/ 160 w 152"/>
                <a:gd name="T1" fmla="*/ 162 h 174"/>
                <a:gd name="T2" fmla="*/ 139 w 152"/>
                <a:gd name="T3" fmla="*/ 174 h 174"/>
                <a:gd name="T4" fmla="*/ 129 w 152"/>
                <a:gd name="T5" fmla="*/ 174 h 174"/>
                <a:gd name="T6" fmla="*/ 117 w 152"/>
                <a:gd name="T7" fmla="*/ 174 h 174"/>
                <a:gd name="T8" fmla="*/ 117 w 152"/>
                <a:gd name="T9" fmla="*/ 153 h 174"/>
                <a:gd name="T10" fmla="*/ 105 w 152"/>
                <a:gd name="T11" fmla="*/ 131 h 174"/>
                <a:gd name="T12" fmla="*/ 93 w 152"/>
                <a:gd name="T13" fmla="*/ 110 h 174"/>
                <a:gd name="T14" fmla="*/ 64 w 152"/>
                <a:gd name="T15" fmla="*/ 86 h 174"/>
                <a:gd name="T16" fmla="*/ 54 w 152"/>
                <a:gd name="T17" fmla="*/ 98 h 174"/>
                <a:gd name="T18" fmla="*/ 45 w 152"/>
                <a:gd name="T19" fmla="*/ 86 h 174"/>
                <a:gd name="T20" fmla="*/ 21 w 152"/>
                <a:gd name="T21" fmla="*/ 98 h 174"/>
                <a:gd name="T22" fmla="*/ 21 w 152"/>
                <a:gd name="T23" fmla="*/ 64 h 174"/>
                <a:gd name="T24" fmla="*/ 9 w 152"/>
                <a:gd name="T25" fmla="*/ 55 h 174"/>
                <a:gd name="T26" fmla="*/ 0 w 152"/>
                <a:gd name="T27" fmla="*/ 46 h 174"/>
                <a:gd name="T28" fmla="*/ 21 w 152"/>
                <a:gd name="T29" fmla="*/ 22 h 174"/>
                <a:gd name="T30" fmla="*/ 21 w 152"/>
                <a:gd name="T31" fmla="*/ 0 h 174"/>
                <a:gd name="T32" fmla="*/ 30 w 152"/>
                <a:gd name="T33" fmla="*/ 0 h 174"/>
                <a:gd name="T34" fmla="*/ 54 w 152"/>
                <a:gd name="T35" fmla="*/ 31 h 174"/>
                <a:gd name="T36" fmla="*/ 84 w 152"/>
                <a:gd name="T37" fmla="*/ 46 h 174"/>
                <a:gd name="T38" fmla="*/ 93 w 152"/>
                <a:gd name="T39" fmla="*/ 55 h 174"/>
                <a:gd name="T40" fmla="*/ 84 w 152"/>
                <a:gd name="T41" fmla="*/ 64 h 174"/>
                <a:gd name="T42" fmla="*/ 129 w 152"/>
                <a:gd name="T43" fmla="*/ 110 h 174"/>
                <a:gd name="T44" fmla="*/ 129 w 152"/>
                <a:gd name="T45" fmla="*/ 119 h 174"/>
                <a:gd name="T46" fmla="*/ 148 w 152"/>
                <a:gd name="T47" fmla="*/ 140 h 174"/>
                <a:gd name="T48" fmla="*/ 160 w 152"/>
                <a:gd name="T49" fmla="*/ 162 h 1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52"/>
                <a:gd name="T76" fmla="*/ 0 h 174"/>
                <a:gd name="T77" fmla="*/ 152 w 152"/>
                <a:gd name="T78" fmla="*/ 174 h 1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52" h="174">
                  <a:moveTo>
                    <a:pt x="152" y="162"/>
                  </a:moveTo>
                  <a:lnTo>
                    <a:pt x="131" y="174"/>
                  </a:lnTo>
                  <a:lnTo>
                    <a:pt x="121" y="174"/>
                  </a:lnTo>
                  <a:lnTo>
                    <a:pt x="109" y="174"/>
                  </a:lnTo>
                  <a:lnTo>
                    <a:pt x="109" y="153"/>
                  </a:lnTo>
                  <a:lnTo>
                    <a:pt x="97" y="131"/>
                  </a:lnTo>
                  <a:lnTo>
                    <a:pt x="85" y="110"/>
                  </a:lnTo>
                  <a:lnTo>
                    <a:pt x="64" y="86"/>
                  </a:lnTo>
                  <a:lnTo>
                    <a:pt x="54" y="98"/>
                  </a:lnTo>
                  <a:lnTo>
                    <a:pt x="45" y="86"/>
                  </a:lnTo>
                  <a:lnTo>
                    <a:pt x="21" y="98"/>
                  </a:lnTo>
                  <a:lnTo>
                    <a:pt x="21" y="64"/>
                  </a:lnTo>
                  <a:lnTo>
                    <a:pt x="9" y="55"/>
                  </a:lnTo>
                  <a:lnTo>
                    <a:pt x="0" y="46"/>
                  </a:lnTo>
                  <a:lnTo>
                    <a:pt x="21" y="22"/>
                  </a:lnTo>
                  <a:lnTo>
                    <a:pt x="21" y="0"/>
                  </a:lnTo>
                  <a:lnTo>
                    <a:pt x="30" y="0"/>
                  </a:lnTo>
                  <a:lnTo>
                    <a:pt x="54" y="31"/>
                  </a:lnTo>
                  <a:lnTo>
                    <a:pt x="76" y="46"/>
                  </a:lnTo>
                  <a:lnTo>
                    <a:pt x="85" y="55"/>
                  </a:lnTo>
                  <a:lnTo>
                    <a:pt x="76" y="64"/>
                  </a:lnTo>
                  <a:lnTo>
                    <a:pt x="121" y="110"/>
                  </a:lnTo>
                  <a:lnTo>
                    <a:pt x="121" y="119"/>
                  </a:lnTo>
                  <a:lnTo>
                    <a:pt x="140" y="140"/>
                  </a:lnTo>
                  <a:lnTo>
                    <a:pt x="152" y="162"/>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50" name="Freeform 849"/>
            <p:cNvSpPr>
              <a:spLocks/>
            </p:cNvSpPr>
            <p:nvPr/>
          </p:nvSpPr>
          <p:spPr bwMode="auto">
            <a:xfrm>
              <a:off x="5929737" y="3217282"/>
              <a:ext cx="932625" cy="661600"/>
            </a:xfrm>
            <a:custGeom>
              <a:avLst/>
              <a:gdLst>
                <a:gd name="T0" fmla="*/ 140 w 941"/>
                <a:gd name="T1" fmla="*/ 131 h 676"/>
                <a:gd name="T2" fmla="*/ 100 w 941"/>
                <a:gd name="T3" fmla="*/ 161 h 676"/>
                <a:gd name="T4" fmla="*/ 85 w 941"/>
                <a:gd name="T5" fmla="*/ 228 h 676"/>
                <a:gd name="T6" fmla="*/ 42 w 941"/>
                <a:gd name="T7" fmla="*/ 253 h 676"/>
                <a:gd name="T8" fmla="*/ 0 w 941"/>
                <a:gd name="T9" fmla="*/ 274 h 676"/>
                <a:gd name="T10" fmla="*/ 9 w 941"/>
                <a:gd name="T11" fmla="*/ 305 h 676"/>
                <a:gd name="T12" fmla="*/ 21 w 941"/>
                <a:gd name="T13" fmla="*/ 338 h 676"/>
                <a:gd name="T14" fmla="*/ 85 w 941"/>
                <a:gd name="T15" fmla="*/ 369 h 676"/>
                <a:gd name="T16" fmla="*/ 131 w 941"/>
                <a:gd name="T17" fmla="*/ 384 h 676"/>
                <a:gd name="T18" fmla="*/ 109 w 941"/>
                <a:gd name="T19" fmla="*/ 423 h 676"/>
                <a:gd name="T20" fmla="*/ 161 w 941"/>
                <a:gd name="T21" fmla="*/ 478 h 676"/>
                <a:gd name="T22" fmla="*/ 216 w 941"/>
                <a:gd name="T23" fmla="*/ 490 h 676"/>
                <a:gd name="T24" fmla="*/ 307 w 941"/>
                <a:gd name="T25" fmla="*/ 521 h 676"/>
                <a:gd name="T26" fmla="*/ 359 w 941"/>
                <a:gd name="T27" fmla="*/ 521 h 676"/>
                <a:gd name="T28" fmla="*/ 426 w 941"/>
                <a:gd name="T29" fmla="*/ 490 h 676"/>
                <a:gd name="T30" fmla="*/ 490 w 941"/>
                <a:gd name="T31" fmla="*/ 545 h 676"/>
                <a:gd name="T32" fmla="*/ 502 w 941"/>
                <a:gd name="T33" fmla="*/ 621 h 676"/>
                <a:gd name="T34" fmla="*/ 536 w 941"/>
                <a:gd name="T35" fmla="*/ 652 h 676"/>
                <a:gd name="T36" fmla="*/ 566 w 941"/>
                <a:gd name="T37" fmla="*/ 630 h 676"/>
                <a:gd name="T38" fmla="*/ 645 w 941"/>
                <a:gd name="T39" fmla="*/ 630 h 676"/>
                <a:gd name="T40" fmla="*/ 712 w 941"/>
                <a:gd name="T41" fmla="*/ 652 h 676"/>
                <a:gd name="T42" fmla="*/ 721 w 941"/>
                <a:gd name="T43" fmla="*/ 661 h 676"/>
                <a:gd name="T44" fmla="*/ 773 w 941"/>
                <a:gd name="T45" fmla="*/ 639 h 676"/>
                <a:gd name="T46" fmla="*/ 788 w 941"/>
                <a:gd name="T47" fmla="*/ 630 h 676"/>
                <a:gd name="T48" fmla="*/ 840 w 941"/>
                <a:gd name="T49" fmla="*/ 585 h 676"/>
                <a:gd name="T50" fmla="*/ 865 w 941"/>
                <a:gd name="T51" fmla="*/ 545 h 676"/>
                <a:gd name="T52" fmla="*/ 883 w 941"/>
                <a:gd name="T53" fmla="*/ 478 h 676"/>
                <a:gd name="T54" fmla="*/ 865 w 941"/>
                <a:gd name="T55" fmla="*/ 445 h 676"/>
                <a:gd name="T56" fmla="*/ 828 w 941"/>
                <a:gd name="T57" fmla="*/ 393 h 676"/>
                <a:gd name="T58" fmla="*/ 828 w 941"/>
                <a:gd name="T59" fmla="*/ 338 h 676"/>
                <a:gd name="T60" fmla="*/ 807 w 941"/>
                <a:gd name="T61" fmla="*/ 317 h 676"/>
                <a:gd name="T62" fmla="*/ 743 w 941"/>
                <a:gd name="T63" fmla="*/ 305 h 676"/>
                <a:gd name="T64" fmla="*/ 764 w 941"/>
                <a:gd name="T65" fmla="*/ 283 h 676"/>
                <a:gd name="T66" fmla="*/ 798 w 941"/>
                <a:gd name="T67" fmla="*/ 262 h 676"/>
                <a:gd name="T68" fmla="*/ 807 w 941"/>
                <a:gd name="T69" fmla="*/ 292 h 676"/>
                <a:gd name="T70" fmla="*/ 840 w 941"/>
                <a:gd name="T71" fmla="*/ 283 h 676"/>
                <a:gd name="T72" fmla="*/ 895 w 941"/>
                <a:gd name="T73" fmla="*/ 241 h 676"/>
                <a:gd name="T74" fmla="*/ 928 w 941"/>
                <a:gd name="T75" fmla="*/ 216 h 676"/>
                <a:gd name="T76" fmla="*/ 919 w 941"/>
                <a:gd name="T77" fmla="*/ 161 h 676"/>
                <a:gd name="T78" fmla="*/ 928 w 941"/>
                <a:gd name="T79" fmla="*/ 122 h 676"/>
                <a:gd name="T80" fmla="*/ 874 w 941"/>
                <a:gd name="T81" fmla="*/ 122 h 676"/>
                <a:gd name="T82" fmla="*/ 788 w 941"/>
                <a:gd name="T83" fmla="*/ 76 h 676"/>
                <a:gd name="T84" fmla="*/ 676 w 941"/>
                <a:gd name="T85" fmla="*/ 0 h 676"/>
                <a:gd name="T86" fmla="*/ 657 w 941"/>
                <a:gd name="T87" fmla="*/ 37 h 676"/>
                <a:gd name="T88" fmla="*/ 633 w 941"/>
                <a:gd name="T89" fmla="*/ 76 h 676"/>
                <a:gd name="T90" fmla="*/ 621 w 941"/>
                <a:gd name="T91" fmla="*/ 122 h 676"/>
                <a:gd name="T92" fmla="*/ 676 w 941"/>
                <a:gd name="T93" fmla="*/ 122 h 676"/>
                <a:gd name="T94" fmla="*/ 645 w 941"/>
                <a:gd name="T95" fmla="*/ 152 h 676"/>
                <a:gd name="T96" fmla="*/ 600 w 941"/>
                <a:gd name="T97" fmla="*/ 177 h 676"/>
                <a:gd name="T98" fmla="*/ 581 w 941"/>
                <a:gd name="T99" fmla="*/ 216 h 676"/>
                <a:gd name="T100" fmla="*/ 426 w 941"/>
                <a:gd name="T101" fmla="*/ 216 h 676"/>
                <a:gd name="T102" fmla="*/ 240 w 941"/>
                <a:gd name="T103" fmla="*/ 161 h 676"/>
                <a:gd name="T104" fmla="*/ 185 w 941"/>
                <a:gd name="T105" fmla="*/ 110 h 67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41"/>
                <a:gd name="T160" fmla="*/ 0 h 676"/>
                <a:gd name="T161" fmla="*/ 941 w 941"/>
                <a:gd name="T162" fmla="*/ 676 h 67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41" h="676">
                  <a:moveTo>
                    <a:pt x="152" y="101"/>
                  </a:moveTo>
                  <a:lnTo>
                    <a:pt x="140" y="110"/>
                  </a:lnTo>
                  <a:lnTo>
                    <a:pt x="140" y="131"/>
                  </a:lnTo>
                  <a:lnTo>
                    <a:pt x="131" y="131"/>
                  </a:lnTo>
                  <a:lnTo>
                    <a:pt x="100" y="131"/>
                  </a:lnTo>
                  <a:lnTo>
                    <a:pt x="100" y="161"/>
                  </a:lnTo>
                  <a:lnTo>
                    <a:pt x="76" y="177"/>
                  </a:lnTo>
                  <a:lnTo>
                    <a:pt x="85" y="207"/>
                  </a:lnTo>
                  <a:lnTo>
                    <a:pt x="85" y="228"/>
                  </a:lnTo>
                  <a:lnTo>
                    <a:pt x="85" y="241"/>
                  </a:lnTo>
                  <a:lnTo>
                    <a:pt x="64" y="253"/>
                  </a:lnTo>
                  <a:lnTo>
                    <a:pt x="42" y="253"/>
                  </a:lnTo>
                  <a:lnTo>
                    <a:pt x="42" y="262"/>
                  </a:lnTo>
                  <a:lnTo>
                    <a:pt x="9" y="262"/>
                  </a:lnTo>
                  <a:lnTo>
                    <a:pt x="0" y="274"/>
                  </a:lnTo>
                  <a:lnTo>
                    <a:pt x="0" y="283"/>
                  </a:lnTo>
                  <a:lnTo>
                    <a:pt x="0" y="292"/>
                  </a:lnTo>
                  <a:lnTo>
                    <a:pt x="9" y="305"/>
                  </a:lnTo>
                  <a:lnTo>
                    <a:pt x="21" y="305"/>
                  </a:lnTo>
                  <a:lnTo>
                    <a:pt x="21" y="329"/>
                  </a:lnTo>
                  <a:lnTo>
                    <a:pt x="21" y="338"/>
                  </a:lnTo>
                  <a:lnTo>
                    <a:pt x="42" y="338"/>
                  </a:lnTo>
                  <a:lnTo>
                    <a:pt x="54" y="359"/>
                  </a:lnTo>
                  <a:lnTo>
                    <a:pt x="85" y="369"/>
                  </a:lnTo>
                  <a:lnTo>
                    <a:pt x="109" y="359"/>
                  </a:lnTo>
                  <a:lnTo>
                    <a:pt x="131" y="369"/>
                  </a:lnTo>
                  <a:lnTo>
                    <a:pt x="131" y="384"/>
                  </a:lnTo>
                  <a:lnTo>
                    <a:pt x="118" y="402"/>
                  </a:lnTo>
                  <a:lnTo>
                    <a:pt x="131" y="423"/>
                  </a:lnTo>
                  <a:lnTo>
                    <a:pt x="109" y="423"/>
                  </a:lnTo>
                  <a:lnTo>
                    <a:pt x="109" y="435"/>
                  </a:lnTo>
                  <a:lnTo>
                    <a:pt x="131" y="460"/>
                  </a:lnTo>
                  <a:lnTo>
                    <a:pt x="161" y="478"/>
                  </a:lnTo>
                  <a:lnTo>
                    <a:pt x="185" y="478"/>
                  </a:lnTo>
                  <a:lnTo>
                    <a:pt x="207" y="499"/>
                  </a:lnTo>
                  <a:lnTo>
                    <a:pt x="216" y="490"/>
                  </a:lnTo>
                  <a:lnTo>
                    <a:pt x="262" y="521"/>
                  </a:lnTo>
                  <a:lnTo>
                    <a:pt x="292" y="521"/>
                  </a:lnTo>
                  <a:lnTo>
                    <a:pt x="307" y="521"/>
                  </a:lnTo>
                  <a:lnTo>
                    <a:pt x="316" y="533"/>
                  </a:lnTo>
                  <a:lnTo>
                    <a:pt x="329" y="509"/>
                  </a:lnTo>
                  <a:lnTo>
                    <a:pt x="359" y="521"/>
                  </a:lnTo>
                  <a:lnTo>
                    <a:pt x="383" y="509"/>
                  </a:lnTo>
                  <a:lnTo>
                    <a:pt x="405" y="490"/>
                  </a:lnTo>
                  <a:lnTo>
                    <a:pt x="426" y="490"/>
                  </a:lnTo>
                  <a:lnTo>
                    <a:pt x="460" y="521"/>
                  </a:lnTo>
                  <a:lnTo>
                    <a:pt x="481" y="521"/>
                  </a:lnTo>
                  <a:lnTo>
                    <a:pt x="490" y="545"/>
                  </a:lnTo>
                  <a:lnTo>
                    <a:pt x="481" y="609"/>
                  </a:lnTo>
                  <a:lnTo>
                    <a:pt x="502" y="600"/>
                  </a:lnTo>
                  <a:lnTo>
                    <a:pt x="502" y="621"/>
                  </a:lnTo>
                  <a:lnTo>
                    <a:pt x="514" y="621"/>
                  </a:lnTo>
                  <a:lnTo>
                    <a:pt x="514" y="639"/>
                  </a:lnTo>
                  <a:lnTo>
                    <a:pt x="536" y="652"/>
                  </a:lnTo>
                  <a:lnTo>
                    <a:pt x="557" y="652"/>
                  </a:lnTo>
                  <a:lnTo>
                    <a:pt x="557" y="630"/>
                  </a:lnTo>
                  <a:lnTo>
                    <a:pt x="566" y="630"/>
                  </a:lnTo>
                  <a:lnTo>
                    <a:pt x="581" y="630"/>
                  </a:lnTo>
                  <a:lnTo>
                    <a:pt x="621" y="621"/>
                  </a:lnTo>
                  <a:lnTo>
                    <a:pt x="645" y="630"/>
                  </a:lnTo>
                  <a:lnTo>
                    <a:pt x="657" y="639"/>
                  </a:lnTo>
                  <a:lnTo>
                    <a:pt x="676" y="652"/>
                  </a:lnTo>
                  <a:lnTo>
                    <a:pt x="712" y="652"/>
                  </a:lnTo>
                  <a:lnTo>
                    <a:pt x="712" y="676"/>
                  </a:lnTo>
                  <a:lnTo>
                    <a:pt x="721" y="676"/>
                  </a:lnTo>
                  <a:lnTo>
                    <a:pt x="721" y="661"/>
                  </a:lnTo>
                  <a:lnTo>
                    <a:pt x="764" y="639"/>
                  </a:lnTo>
                  <a:lnTo>
                    <a:pt x="764" y="630"/>
                  </a:lnTo>
                  <a:lnTo>
                    <a:pt x="773" y="639"/>
                  </a:lnTo>
                  <a:lnTo>
                    <a:pt x="773" y="630"/>
                  </a:lnTo>
                  <a:lnTo>
                    <a:pt x="788" y="639"/>
                  </a:lnTo>
                  <a:lnTo>
                    <a:pt x="788" y="630"/>
                  </a:lnTo>
                  <a:lnTo>
                    <a:pt x="819" y="621"/>
                  </a:lnTo>
                  <a:lnTo>
                    <a:pt x="840" y="600"/>
                  </a:lnTo>
                  <a:lnTo>
                    <a:pt x="840" y="585"/>
                  </a:lnTo>
                  <a:lnTo>
                    <a:pt x="852" y="585"/>
                  </a:lnTo>
                  <a:lnTo>
                    <a:pt x="865" y="563"/>
                  </a:lnTo>
                  <a:lnTo>
                    <a:pt x="865" y="545"/>
                  </a:lnTo>
                  <a:lnTo>
                    <a:pt x="874" y="521"/>
                  </a:lnTo>
                  <a:lnTo>
                    <a:pt x="883" y="509"/>
                  </a:lnTo>
                  <a:lnTo>
                    <a:pt x="883" y="478"/>
                  </a:lnTo>
                  <a:lnTo>
                    <a:pt x="852" y="469"/>
                  </a:lnTo>
                  <a:lnTo>
                    <a:pt x="874" y="460"/>
                  </a:lnTo>
                  <a:lnTo>
                    <a:pt x="865" y="445"/>
                  </a:lnTo>
                  <a:lnTo>
                    <a:pt x="874" y="445"/>
                  </a:lnTo>
                  <a:lnTo>
                    <a:pt x="852" y="423"/>
                  </a:lnTo>
                  <a:lnTo>
                    <a:pt x="828" y="393"/>
                  </a:lnTo>
                  <a:lnTo>
                    <a:pt x="798" y="384"/>
                  </a:lnTo>
                  <a:lnTo>
                    <a:pt x="819" y="347"/>
                  </a:lnTo>
                  <a:lnTo>
                    <a:pt x="828" y="338"/>
                  </a:lnTo>
                  <a:lnTo>
                    <a:pt x="840" y="338"/>
                  </a:lnTo>
                  <a:lnTo>
                    <a:pt x="840" y="329"/>
                  </a:lnTo>
                  <a:lnTo>
                    <a:pt x="807" y="317"/>
                  </a:lnTo>
                  <a:lnTo>
                    <a:pt x="798" y="338"/>
                  </a:lnTo>
                  <a:lnTo>
                    <a:pt x="788" y="338"/>
                  </a:lnTo>
                  <a:lnTo>
                    <a:pt x="743" y="305"/>
                  </a:lnTo>
                  <a:lnTo>
                    <a:pt x="743" y="292"/>
                  </a:lnTo>
                  <a:lnTo>
                    <a:pt x="764" y="292"/>
                  </a:lnTo>
                  <a:lnTo>
                    <a:pt x="764" y="283"/>
                  </a:lnTo>
                  <a:lnTo>
                    <a:pt x="773" y="274"/>
                  </a:lnTo>
                  <a:lnTo>
                    <a:pt x="788" y="253"/>
                  </a:lnTo>
                  <a:lnTo>
                    <a:pt x="798" y="262"/>
                  </a:lnTo>
                  <a:lnTo>
                    <a:pt x="807" y="262"/>
                  </a:lnTo>
                  <a:lnTo>
                    <a:pt x="798" y="283"/>
                  </a:lnTo>
                  <a:lnTo>
                    <a:pt x="807" y="292"/>
                  </a:lnTo>
                  <a:lnTo>
                    <a:pt x="807" y="305"/>
                  </a:lnTo>
                  <a:lnTo>
                    <a:pt x="828" y="283"/>
                  </a:lnTo>
                  <a:lnTo>
                    <a:pt x="840" y="283"/>
                  </a:lnTo>
                  <a:lnTo>
                    <a:pt x="874" y="241"/>
                  </a:lnTo>
                  <a:lnTo>
                    <a:pt x="895" y="253"/>
                  </a:lnTo>
                  <a:lnTo>
                    <a:pt x="895" y="241"/>
                  </a:lnTo>
                  <a:lnTo>
                    <a:pt x="904" y="228"/>
                  </a:lnTo>
                  <a:lnTo>
                    <a:pt x="904" y="216"/>
                  </a:lnTo>
                  <a:lnTo>
                    <a:pt x="928" y="216"/>
                  </a:lnTo>
                  <a:lnTo>
                    <a:pt x="928" y="207"/>
                  </a:lnTo>
                  <a:lnTo>
                    <a:pt x="904" y="177"/>
                  </a:lnTo>
                  <a:lnTo>
                    <a:pt x="919" y="161"/>
                  </a:lnTo>
                  <a:lnTo>
                    <a:pt x="941" y="177"/>
                  </a:lnTo>
                  <a:lnTo>
                    <a:pt x="928" y="131"/>
                  </a:lnTo>
                  <a:lnTo>
                    <a:pt x="928" y="122"/>
                  </a:lnTo>
                  <a:lnTo>
                    <a:pt x="919" y="101"/>
                  </a:lnTo>
                  <a:lnTo>
                    <a:pt x="883" y="122"/>
                  </a:lnTo>
                  <a:lnTo>
                    <a:pt x="874" y="122"/>
                  </a:lnTo>
                  <a:lnTo>
                    <a:pt x="852" y="101"/>
                  </a:lnTo>
                  <a:lnTo>
                    <a:pt x="819" y="85"/>
                  </a:lnTo>
                  <a:lnTo>
                    <a:pt x="788" y="76"/>
                  </a:lnTo>
                  <a:lnTo>
                    <a:pt x="764" y="55"/>
                  </a:lnTo>
                  <a:lnTo>
                    <a:pt x="721" y="12"/>
                  </a:lnTo>
                  <a:lnTo>
                    <a:pt x="676" y="0"/>
                  </a:lnTo>
                  <a:lnTo>
                    <a:pt x="645" y="12"/>
                  </a:lnTo>
                  <a:lnTo>
                    <a:pt x="633" y="21"/>
                  </a:lnTo>
                  <a:lnTo>
                    <a:pt x="657" y="37"/>
                  </a:lnTo>
                  <a:lnTo>
                    <a:pt x="645" y="46"/>
                  </a:lnTo>
                  <a:lnTo>
                    <a:pt x="657" y="67"/>
                  </a:lnTo>
                  <a:lnTo>
                    <a:pt x="633" y="76"/>
                  </a:lnTo>
                  <a:lnTo>
                    <a:pt x="612" y="76"/>
                  </a:lnTo>
                  <a:lnTo>
                    <a:pt x="600" y="85"/>
                  </a:lnTo>
                  <a:lnTo>
                    <a:pt x="621" y="122"/>
                  </a:lnTo>
                  <a:lnTo>
                    <a:pt x="645" y="122"/>
                  </a:lnTo>
                  <a:lnTo>
                    <a:pt x="667" y="110"/>
                  </a:lnTo>
                  <a:lnTo>
                    <a:pt x="676" y="122"/>
                  </a:lnTo>
                  <a:lnTo>
                    <a:pt x="688" y="143"/>
                  </a:lnTo>
                  <a:lnTo>
                    <a:pt x="657" y="143"/>
                  </a:lnTo>
                  <a:lnTo>
                    <a:pt x="645" y="152"/>
                  </a:lnTo>
                  <a:lnTo>
                    <a:pt x="633" y="161"/>
                  </a:lnTo>
                  <a:lnTo>
                    <a:pt x="621" y="177"/>
                  </a:lnTo>
                  <a:lnTo>
                    <a:pt x="600" y="177"/>
                  </a:lnTo>
                  <a:lnTo>
                    <a:pt x="590" y="186"/>
                  </a:lnTo>
                  <a:lnTo>
                    <a:pt x="600" y="198"/>
                  </a:lnTo>
                  <a:lnTo>
                    <a:pt x="581" y="216"/>
                  </a:lnTo>
                  <a:lnTo>
                    <a:pt x="545" y="228"/>
                  </a:lnTo>
                  <a:lnTo>
                    <a:pt x="502" y="241"/>
                  </a:lnTo>
                  <a:lnTo>
                    <a:pt x="426" y="216"/>
                  </a:lnTo>
                  <a:lnTo>
                    <a:pt x="359" y="216"/>
                  </a:lnTo>
                  <a:lnTo>
                    <a:pt x="316" y="186"/>
                  </a:lnTo>
                  <a:lnTo>
                    <a:pt x="240" y="161"/>
                  </a:lnTo>
                  <a:lnTo>
                    <a:pt x="228" y="131"/>
                  </a:lnTo>
                  <a:lnTo>
                    <a:pt x="207" y="122"/>
                  </a:lnTo>
                  <a:lnTo>
                    <a:pt x="185" y="110"/>
                  </a:lnTo>
                  <a:lnTo>
                    <a:pt x="161" y="85"/>
                  </a:lnTo>
                  <a:lnTo>
                    <a:pt x="152" y="101"/>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51" name="Freeform 850"/>
            <p:cNvSpPr>
              <a:spLocks/>
            </p:cNvSpPr>
            <p:nvPr/>
          </p:nvSpPr>
          <p:spPr bwMode="auto">
            <a:xfrm>
              <a:off x="6234011" y="3759293"/>
              <a:ext cx="84620" cy="105124"/>
            </a:xfrm>
            <a:custGeom>
              <a:avLst/>
              <a:gdLst>
                <a:gd name="T0" fmla="*/ 9 w 86"/>
                <a:gd name="T1" fmla="*/ 46 h 107"/>
                <a:gd name="T2" fmla="*/ 22 w 86"/>
                <a:gd name="T3" fmla="*/ 98 h 107"/>
                <a:gd name="T4" fmla="*/ 52 w 86"/>
                <a:gd name="T5" fmla="*/ 98 h 107"/>
                <a:gd name="T6" fmla="*/ 61 w 86"/>
                <a:gd name="T7" fmla="*/ 76 h 107"/>
                <a:gd name="T8" fmla="*/ 86 w 86"/>
                <a:gd name="T9" fmla="*/ 107 h 107"/>
                <a:gd name="T10" fmla="*/ 86 w 86"/>
                <a:gd name="T11" fmla="*/ 85 h 107"/>
                <a:gd name="T12" fmla="*/ 76 w 86"/>
                <a:gd name="T13" fmla="*/ 55 h 107"/>
                <a:gd name="T14" fmla="*/ 76 w 86"/>
                <a:gd name="T15" fmla="*/ 67 h 107"/>
                <a:gd name="T16" fmla="*/ 52 w 86"/>
                <a:gd name="T17" fmla="*/ 55 h 107"/>
                <a:gd name="T18" fmla="*/ 52 w 86"/>
                <a:gd name="T19" fmla="*/ 46 h 107"/>
                <a:gd name="T20" fmla="*/ 76 w 86"/>
                <a:gd name="T21" fmla="*/ 22 h 107"/>
                <a:gd name="T22" fmla="*/ 31 w 86"/>
                <a:gd name="T23" fmla="*/ 22 h 107"/>
                <a:gd name="T24" fmla="*/ 22 w 86"/>
                <a:gd name="T25" fmla="*/ 0 h 107"/>
                <a:gd name="T26" fmla="*/ 9 w 86"/>
                <a:gd name="T27" fmla="*/ 0 h 107"/>
                <a:gd name="T28" fmla="*/ 0 w 86"/>
                <a:gd name="T29" fmla="*/ 0 h 107"/>
                <a:gd name="T30" fmla="*/ 0 w 86"/>
                <a:gd name="T31" fmla="*/ 9 h 107"/>
                <a:gd name="T32" fmla="*/ 9 w 86"/>
                <a:gd name="T33" fmla="*/ 22 h 107"/>
                <a:gd name="T34" fmla="*/ 0 w 86"/>
                <a:gd name="T35" fmla="*/ 31 h 107"/>
                <a:gd name="T36" fmla="*/ 9 w 86"/>
                <a:gd name="T37" fmla="*/ 46 h 10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6"/>
                <a:gd name="T58" fmla="*/ 0 h 107"/>
                <a:gd name="T59" fmla="*/ 86 w 86"/>
                <a:gd name="T60" fmla="*/ 107 h 10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6" h="107">
                  <a:moveTo>
                    <a:pt x="9" y="46"/>
                  </a:moveTo>
                  <a:lnTo>
                    <a:pt x="22" y="98"/>
                  </a:lnTo>
                  <a:lnTo>
                    <a:pt x="52" y="98"/>
                  </a:lnTo>
                  <a:lnTo>
                    <a:pt x="61" y="76"/>
                  </a:lnTo>
                  <a:lnTo>
                    <a:pt x="86" y="107"/>
                  </a:lnTo>
                  <a:lnTo>
                    <a:pt x="86" y="85"/>
                  </a:lnTo>
                  <a:lnTo>
                    <a:pt x="76" y="55"/>
                  </a:lnTo>
                  <a:lnTo>
                    <a:pt x="76" y="67"/>
                  </a:lnTo>
                  <a:lnTo>
                    <a:pt x="52" y="55"/>
                  </a:lnTo>
                  <a:lnTo>
                    <a:pt x="52" y="46"/>
                  </a:lnTo>
                  <a:lnTo>
                    <a:pt x="76" y="22"/>
                  </a:lnTo>
                  <a:lnTo>
                    <a:pt x="31" y="22"/>
                  </a:lnTo>
                  <a:lnTo>
                    <a:pt x="22" y="0"/>
                  </a:lnTo>
                  <a:lnTo>
                    <a:pt x="9" y="0"/>
                  </a:lnTo>
                  <a:lnTo>
                    <a:pt x="0" y="0"/>
                  </a:lnTo>
                  <a:lnTo>
                    <a:pt x="0" y="9"/>
                  </a:lnTo>
                  <a:lnTo>
                    <a:pt x="9" y="22"/>
                  </a:lnTo>
                  <a:lnTo>
                    <a:pt x="0" y="31"/>
                  </a:lnTo>
                  <a:lnTo>
                    <a:pt x="9" y="46"/>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52" name="Freeform 851"/>
            <p:cNvSpPr>
              <a:spLocks/>
            </p:cNvSpPr>
            <p:nvPr/>
          </p:nvSpPr>
          <p:spPr bwMode="auto">
            <a:xfrm>
              <a:off x="6243013" y="3715894"/>
              <a:ext cx="51312" cy="34720"/>
            </a:xfrm>
            <a:custGeom>
              <a:avLst/>
              <a:gdLst>
                <a:gd name="T0" fmla="*/ 43 w 52"/>
                <a:gd name="T1" fmla="*/ 12 h 36"/>
                <a:gd name="T2" fmla="*/ 52 w 52"/>
                <a:gd name="T3" fmla="*/ 24 h 36"/>
                <a:gd name="T4" fmla="*/ 52 w 52"/>
                <a:gd name="T5" fmla="*/ 36 h 36"/>
                <a:gd name="T6" fmla="*/ 13 w 52"/>
                <a:gd name="T7" fmla="*/ 36 h 36"/>
                <a:gd name="T8" fmla="*/ 0 w 52"/>
                <a:gd name="T9" fmla="*/ 36 h 36"/>
                <a:gd name="T10" fmla="*/ 0 w 52"/>
                <a:gd name="T11" fmla="*/ 24 h 36"/>
                <a:gd name="T12" fmla="*/ 13 w 52"/>
                <a:gd name="T13" fmla="*/ 0 h 36"/>
                <a:gd name="T14" fmla="*/ 43 w 52"/>
                <a:gd name="T15" fmla="*/ 12 h 36"/>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36"/>
                <a:gd name="T26" fmla="*/ 52 w 52"/>
                <a:gd name="T27" fmla="*/ 36 h 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36">
                  <a:moveTo>
                    <a:pt x="43" y="12"/>
                  </a:moveTo>
                  <a:lnTo>
                    <a:pt x="52" y="24"/>
                  </a:lnTo>
                  <a:lnTo>
                    <a:pt x="52" y="36"/>
                  </a:lnTo>
                  <a:lnTo>
                    <a:pt x="13" y="36"/>
                  </a:lnTo>
                  <a:lnTo>
                    <a:pt x="0" y="36"/>
                  </a:lnTo>
                  <a:lnTo>
                    <a:pt x="0" y="24"/>
                  </a:lnTo>
                  <a:lnTo>
                    <a:pt x="13" y="0"/>
                  </a:lnTo>
                  <a:lnTo>
                    <a:pt x="43" y="12"/>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53" name="Freeform 852"/>
            <p:cNvSpPr>
              <a:spLocks/>
            </p:cNvSpPr>
            <p:nvPr/>
          </p:nvSpPr>
          <p:spPr bwMode="auto">
            <a:xfrm>
              <a:off x="5883826" y="3568336"/>
              <a:ext cx="501422" cy="564193"/>
            </a:xfrm>
            <a:custGeom>
              <a:avLst/>
              <a:gdLst>
                <a:gd name="T0" fmla="*/ 338 w 506"/>
                <a:gd name="T1" fmla="*/ 162 h 576"/>
                <a:gd name="T2" fmla="*/ 353 w 506"/>
                <a:gd name="T3" fmla="*/ 195 h 576"/>
                <a:gd name="T4" fmla="*/ 298 w 506"/>
                <a:gd name="T5" fmla="*/ 186 h 576"/>
                <a:gd name="T6" fmla="*/ 253 w 506"/>
                <a:gd name="T7" fmla="*/ 174 h 576"/>
                <a:gd name="T8" fmla="*/ 207 w 506"/>
                <a:gd name="T9" fmla="*/ 119 h 576"/>
                <a:gd name="T10" fmla="*/ 155 w 506"/>
                <a:gd name="T11" fmla="*/ 76 h 576"/>
                <a:gd name="T12" fmla="*/ 177 w 506"/>
                <a:gd name="T13" fmla="*/ 64 h 576"/>
                <a:gd name="T14" fmla="*/ 177 w 506"/>
                <a:gd name="T15" fmla="*/ 25 h 576"/>
                <a:gd name="T16" fmla="*/ 155 w 506"/>
                <a:gd name="T17" fmla="*/ 0 h 576"/>
                <a:gd name="T18" fmla="*/ 122 w 506"/>
                <a:gd name="T19" fmla="*/ 25 h 576"/>
                <a:gd name="T20" fmla="*/ 67 w 506"/>
                <a:gd name="T21" fmla="*/ 25 h 576"/>
                <a:gd name="T22" fmla="*/ 79 w 506"/>
                <a:gd name="T23" fmla="*/ 55 h 576"/>
                <a:gd name="T24" fmla="*/ 88 w 506"/>
                <a:gd name="T25" fmla="*/ 76 h 576"/>
                <a:gd name="T26" fmla="*/ 55 w 506"/>
                <a:gd name="T27" fmla="*/ 162 h 576"/>
                <a:gd name="T28" fmla="*/ 33 w 506"/>
                <a:gd name="T29" fmla="*/ 162 h 576"/>
                <a:gd name="T30" fmla="*/ 24 w 506"/>
                <a:gd name="T31" fmla="*/ 186 h 576"/>
                <a:gd name="T32" fmla="*/ 33 w 506"/>
                <a:gd name="T33" fmla="*/ 204 h 576"/>
                <a:gd name="T34" fmla="*/ 46 w 506"/>
                <a:gd name="T35" fmla="*/ 226 h 576"/>
                <a:gd name="T36" fmla="*/ 12 w 506"/>
                <a:gd name="T37" fmla="*/ 241 h 576"/>
                <a:gd name="T38" fmla="*/ 24 w 506"/>
                <a:gd name="T39" fmla="*/ 271 h 576"/>
                <a:gd name="T40" fmla="*/ 46 w 506"/>
                <a:gd name="T41" fmla="*/ 271 h 576"/>
                <a:gd name="T42" fmla="*/ 55 w 506"/>
                <a:gd name="T43" fmla="*/ 317 h 576"/>
                <a:gd name="T44" fmla="*/ 79 w 506"/>
                <a:gd name="T45" fmla="*/ 302 h 576"/>
                <a:gd name="T46" fmla="*/ 88 w 506"/>
                <a:gd name="T47" fmla="*/ 280 h 576"/>
                <a:gd name="T48" fmla="*/ 131 w 506"/>
                <a:gd name="T49" fmla="*/ 433 h 576"/>
                <a:gd name="T50" fmla="*/ 198 w 506"/>
                <a:gd name="T51" fmla="*/ 576 h 576"/>
                <a:gd name="T52" fmla="*/ 222 w 506"/>
                <a:gd name="T53" fmla="*/ 542 h 576"/>
                <a:gd name="T54" fmla="*/ 231 w 506"/>
                <a:gd name="T55" fmla="*/ 500 h 576"/>
                <a:gd name="T56" fmla="*/ 231 w 506"/>
                <a:gd name="T57" fmla="*/ 424 h 576"/>
                <a:gd name="T58" fmla="*/ 253 w 506"/>
                <a:gd name="T59" fmla="*/ 411 h 576"/>
                <a:gd name="T60" fmla="*/ 262 w 506"/>
                <a:gd name="T61" fmla="*/ 402 h 576"/>
                <a:gd name="T62" fmla="*/ 308 w 506"/>
                <a:gd name="T63" fmla="*/ 357 h 576"/>
                <a:gd name="T64" fmla="*/ 338 w 506"/>
                <a:gd name="T65" fmla="*/ 326 h 576"/>
                <a:gd name="T66" fmla="*/ 362 w 506"/>
                <a:gd name="T67" fmla="*/ 293 h 576"/>
                <a:gd name="T68" fmla="*/ 375 w 506"/>
                <a:gd name="T69" fmla="*/ 293 h 576"/>
                <a:gd name="T70" fmla="*/ 353 w 506"/>
                <a:gd name="T71" fmla="*/ 226 h 576"/>
                <a:gd name="T72" fmla="*/ 353 w 506"/>
                <a:gd name="T73" fmla="*/ 204 h 576"/>
                <a:gd name="T74" fmla="*/ 362 w 506"/>
                <a:gd name="T75" fmla="*/ 195 h 576"/>
                <a:gd name="T76" fmla="*/ 384 w 506"/>
                <a:gd name="T77" fmla="*/ 217 h 576"/>
                <a:gd name="T78" fmla="*/ 405 w 506"/>
                <a:gd name="T79" fmla="*/ 241 h 576"/>
                <a:gd name="T80" fmla="*/ 429 w 506"/>
                <a:gd name="T81" fmla="*/ 262 h 576"/>
                <a:gd name="T82" fmla="*/ 439 w 506"/>
                <a:gd name="T83" fmla="*/ 280 h 576"/>
                <a:gd name="T84" fmla="*/ 451 w 506"/>
                <a:gd name="T85" fmla="*/ 250 h 576"/>
                <a:gd name="T86" fmla="*/ 472 w 506"/>
                <a:gd name="T87" fmla="*/ 195 h 576"/>
                <a:gd name="T88" fmla="*/ 506 w 506"/>
                <a:gd name="T89" fmla="*/ 174 h 576"/>
                <a:gd name="T90" fmla="*/ 472 w 506"/>
                <a:gd name="T91" fmla="*/ 131 h 576"/>
                <a:gd name="T92" fmla="*/ 429 w 506"/>
                <a:gd name="T93" fmla="*/ 150 h 576"/>
                <a:gd name="T94" fmla="*/ 414 w 506"/>
                <a:gd name="T95" fmla="*/ 174 h 576"/>
                <a:gd name="T96" fmla="*/ 375 w 506"/>
                <a:gd name="T97" fmla="*/ 186 h 576"/>
                <a:gd name="T98" fmla="*/ 362 w 506"/>
                <a:gd name="T99" fmla="*/ 174 h 57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06"/>
                <a:gd name="T151" fmla="*/ 0 h 576"/>
                <a:gd name="T152" fmla="*/ 506 w 506"/>
                <a:gd name="T153" fmla="*/ 576 h 57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06" h="576">
                  <a:moveTo>
                    <a:pt x="353" y="162"/>
                  </a:moveTo>
                  <a:lnTo>
                    <a:pt x="338" y="162"/>
                  </a:lnTo>
                  <a:lnTo>
                    <a:pt x="338" y="186"/>
                  </a:lnTo>
                  <a:lnTo>
                    <a:pt x="353" y="195"/>
                  </a:lnTo>
                  <a:lnTo>
                    <a:pt x="329" y="195"/>
                  </a:lnTo>
                  <a:lnTo>
                    <a:pt x="298" y="186"/>
                  </a:lnTo>
                  <a:lnTo>
                    <a:pt x="274" y="174"/>
                  </a:lnTo>
                  <a:lnTo>
                    <a:pt x="253" y="174"/>
                  </a:lnTo>
                  <a:lnTo>
                    <a:pt x="198" y="140"/>
                  </a:lnTo>
                  <a:lnTo>
                    <a:pt x="207" y="119"/>
                  </a:lnTo>
                  <a:lnTo>
                    <a:pt x="177" y="101"/>
                  </a:lnTo>
                  <a:lnTo>
                    <a:pt x="155" y="76"/>
                  </a:lnTo>
                  <a:lnTo>
                    <a:pt x="155" y="64"/>
                  </a:lnTo>
                  <a:lnTo>
                    <a:pt x="177" y="64"/>
                  </a:lnTo>
                  <a:lnTo>
                    <a:pt x="164" y="43"/>
                  </a:lnTo>
                  <a:lnTo>
                    <a:pt x="177" y="25"/>
                  </a:lnTo>
                  <a:lnTo>
                    <a:pt x="177" y="10"/>
                  </a:lnTo>
                  <a:lnTo>
                    <a:pt x="155" y="0"/>
                  </a:lnTo>
                  <a:lnTo>
                    <a:pt x="131" y="10"/>
                  </a:lnTo>
                  <a:lnTo>
                    <a:pt x="122" y="25"/>
                  </a:lnTo>
                  <a:lnTo>
                    <a:pt x="100" y="25"/>
                  </a:lnTo>
                  <a:lnTo>
                    <a:pt x="67" y="25"/>
                  </a:lnTo>
                  <a:lnTo>
                    <a:pt x="79" y="34"/>
                  </a:lnTo>
                  <a:lnTo>
                    <a:pt x="79" y="55"/>
                  </a:lnTo>
                  <a:lnTo>
                    <a:pt x="100" y="76"/>
                  </a:lnTo>
                  <a:lnTo>
                    <a:pt x="88" y="76"/>
                  </a:lnTo>
                  <a:lnTo>
                    <a:pt x="100" y="101"/>
                  </a:lnTo>
                  <a:lnTo>
                    <a:pt x="55" y="162"/>
                  </a:lnTo>
                  <a:lnTo>
                    <a:pt x="46" y="162"/>
                  </a:lnTo>
                  <a:lnTo>
                    <a:pt x="33" y="162"/>
                  </a:lnTo>
                  <a:lnTo>
                    <a:pt x="24" y="174"/>
                  </a:lnTo>
                  <a:lnTo>
                    <a:pt x="24" y="186"/>
                  </a:lnTo>
                  <a:lnTo>
                    <a:pt x="33" y="195"/>
                  </a:lnTo>
                  <a:lnTo>
                    <a:pt x="33" y="204"/>
                  </a:lnTo>
                  <a:lnTo>
                    <a:pt x="46" y="204"/>
                  </a:lnTo>
                  <a:lnTo>
                    <a:pt x="46" y="226"/>
                  </a:lnTo>
                  <a:lnTo>
                    <a:pt x="46" y="241"/>
                  </a:lnTo>
                  <a:lnTo>
                    <a:pt x="12" y="241"/>
                  </a:lnTo>
                  <a:lnTo>
                    <a:pt x="0" y="250"/>
                  </a:lnTo>
                  <a:lnTo>
                    <a:pt x="24" y="271"/>
                  </a:lnTo>
                  <a:lnTo>
                    <a:pt x="46" y="262"/>
                  </a:lnTo>
                  <a:lnTo>
                    <a:pt x="46" y="271"/>
                  </a:lnTo>
                  <a:lnTo>
                    <a:pt x="24" y="280"/>
                  </a:lnTo>
                  <a:lnTo>
                    <a:pt x="55" y="317"/>
                  </a:lnTo>
                  <a:lnTo>
                    <a:pt x="67" y="302"/>
                  </a:lnTo>
                  <a:lnTo>
                    <a:pt x="79" y="302"/>
                  </a:lnTo>
                  <a:lnTo>
                    <a:pt x="79" y="280"/>
                  </a:lnTo>
                  <a:lnTo>
                    <a:pt x="88" y="280"/>
                  </a:lnTo>
                  <a:lnTo>
                    <a:pt x="110" y="402"/>
                  </a:lnTo>
                  <a:lnTo>
                    <a:pt x="131" y="433"/>
                  </a:lnTo>
                  <a:lnTo>
                    <a:pt x="177" y="554"/>
                  </a:lnTo>
                  <a:lnTo>
                    <a:pt x="198" y="576"/>
                  </a:lnTo>
                  <a:lnTo>
                    <a:pt x="207" y="554"/>
                  </a:lnTo>
                  <a:lnTo>
                    <a:pt x="222" y="542"/>
                  </a:lnTo>
                  <a:lnTo>
                    <a:pt x="231" y="521"/>
                  </a:lnTo>
                  <a:lnTo>
                    <a:pt x="231" y="500"/>
                  </a:lnTo>
                  <a:lnTo>
                    <a:pt x="241" y="466"/>
                  </a:lnTo>
                  <a:lnTo>
                    <a:pt x="231" y="424"/>
                  </a:lnTo>
                  <a:lnTo>
                    <a:pt x="241" y="411"/>
                  </a:lnTo>
                  <a:lnTo>
                    <a:pt x="253" y="411"/>
                  </a:lnTo>
                  <a:lnTo>
                    <a:pt x="253" y="402"/>
                  </a:lnTo>
                  <a:lnTo>
                    <a:pt x="262" y="402"/>
                  </a:lnTo>
                  <a:lnTo>
                    <a:pt x="274" y="390"/>
                  </a:lnTo>
                  <a:lnTo>
                    <a:pt x="308" y="357"/>
                  </a:lnTo>
                  <a:lnTo>
                    <a:pt x="317" y="335"/>
                  </a:lnTo>
                  <a:lnTo>
                    <a:pt x="338" y="326"/>
                  </a:lnTo>
                  <a:lnTo>
                    <a:pt x="338" y="293"/>
                  </a:lnTo>
                  <a:lnTo>
                    <a:pt x="362" y="293"/>
                  </a:lnTo>
                  <a:lnTo>
                    <a:pt x="362" y="280"/>
                  </a:lnTo>
                  <a:lnTo>
                    <a:pt x="375" y="293"/>
                  </a:lnTo>
                  <a:lnTo>
                    <a:pt x="362" y="241"/>
                  </a:lnTo>
                  <a:lnTo>
                    <a:pt x="353" y="226"/>
                  </a:lnTo>
                  <a:lnTo>
                    <a:pt x="362" y="217"/>
                  </a:lnTo>
                  <a:lnTo>
                    <a:pt x="353" y="204"/>
                  </a:lnTo>
                  <a:lnTo>
                    <a:pt x="353" y="195"/>
                  </a:lnTo>
                  <a:lnTo>
                    <a:pt x="362" y="195"/>
                  </a:lnTo>
                  <a:lnTo>
                    <a:pt x="375" y="195"/>
                  </a:lnTo>
                  <a:lnTo>
                    <a:pt x="384" y="217"/>
                  </a:lnTo>
                  <a:lnTo>
                    <a:pt x="429" y="217"/>
                  </a:lnTo>
                  <a:lnTo>
                    <a:pt x="405" y="241"/>
                  </a:lnTo>
                  <a:lnTo>
                    <a:pt x="405" y="250"/>
                  </a:lnTo>
                  <a:lnTo>
                    <a:pt x="429" y="262"/>
                  </a:lnTo>
                  <a:lnTo>
                    <a:pt x="429" y="250"/>
                  </a:lnTo>
                  <a:lnTo>
                    <a:pt x="439" y="280"/>
                  </a:lnTo>
                  <a:lnTo>
                    <a:pt x="451" y="280"/>
                  </a:lnTo>
                  <a:lnTo>
                    <a:pt x="451" y="250"/>
                  </a:lnTo>
                  <a:lnTo>
                    <a:pt x="460" y="250"/>
                  </a:lnTo>
                  <a:lnTo>
                    <a:pt x="472" y="195"/>
                  </a:lnTo>
                  <a:lnTo>
                    <a:pt x="493" y="174"/>
                  </a:lnTo>
                  <a:lnTo>
                    <a:pt x="506" y="174"/>
                  </a:lnTo>
                  <a:lnTo>
                    <a:pt x="506" y="162"/>
                  </a:lnTo>
                  <a:lnTo>
                    <a:pt x="472" y="131"/>
                  </a:lnTo>
                  <a:lnTo>
                    <a:pt x="451" y="131"/>
                  </a:lnTo>
                  <a:lnTo>
                    <a:pt x="429" y="150"/>
                  </a:lnTo>
                  <a:lnTo>
                    <a:pt x="405" y="162"/>
                  </a:lnTo>
                  <a:lnTo>
                    <a:pt x="414" y="174"/>
                  </a:lnTo>
                  <a:lnTo>
                    <a:pt x="414" y="186"/>
                  </a:lnTo>
                  <a:lnTo>
                    <a:pt x="375" y="186"/>
                  </a:lnTo>
                  <a:lnTo>
                    <a:pt x="362" y="186"/>
                  </a:lnTo>
                  <a:lnTo>
                    <a:pt x="362" y="174"/>
                  </a:lnTo>
                  <a:lnTo>
                    <a:pt x="353" y="162"/>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54" name="Freeform 853"/>
            <p:cNvSpPr>
              <a:spLocks/>
            </p:cNvSpPr>
            <p:nvPr/>
          </p:nvSpPr>
          <p:spPr bwMode="auto">
            <a:xfrm>
              <a:off x="6080073" y="3685032"/>
              <a:ext cx="153938" cy="74261"/>
            </a:xfrm>
            <a:custGeom>
              <a:avLst/>
              <a:gdLst>
                <a:gd name="T0" fmla="*/ 140 w 155"/>
                <a:gd name="T1" fmla="*/ 67 h 76"/>
                <a:gd name="T2" fmla="*/ 155 w 155"/>
                <a:gd name="T3" fmla="*/ 76 h 76"/>
                <a:gd name="T4" fmla="*/ 131 w 155"/>
                <a:gd name="T5" fmla="*/ 76 h 76"/>
                <a:gd name="T6" fmla="*/ 100 w 155"/>
                <a:gd name="T7" fmla="*/ 67 h 76"/>
                <a:gd name="T8" fmla="*/ 76 w 155"/>
                <a:gd name="T9" fmla="*/ 55 h 76"/>
                <a:gd name="T10" fmla="*/ 55 w 155"/>
                <a:gd name="T11" fmla="*/ 55 h 76"/>
                <a:gd name="T12" fmla="*/ 0 w 155"/>
                <a:gd name="T13" fmla="*/ 21 h 76"/>
                <a:gd name="T14" fmla="*/ 9 w 155"/>
                <a:gd name="T15" fmla="*/ 0 h 76"/>
                <a:gd name="T16" fmla="*/ 33 w 155"/>
                <a:gd name="T17" fmla="*/ 0 h 76"/>
                <a:gd name="T18" fmla="*/ 55 w 155"/>
                <a:gd name="T19" fmla="*/ 21 h 76"/>
                <a:gd name="T20" fmla="*/ 64 w 155"/>
                <a:gd name="T21" fmla="*/ 12 h 76"/>
                <a:gd name="T22" fmla="*/ 110 w 155"/>
                <a:gd name="T23" fmla="*/ 43 h 76"/>
                <a:gd name="T24" fmla="*/ 140 w 155"/>
                <a:gd name="T25" fmla="*/ 43 h 76"/>
                <a:gd name="T26" fmla="*/ 140 w 155"/>
                <a:gd name="T27" fmla="*/ 67 h 7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5"/>
                <a:gd name="T43" fmla="*/ 0 h 76"/>
                <a:gd name="T44" fmla="*/ 155 w 155"/>
                <a:gd name="T45" fmla="*/ 76 h 7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5" h="76">
                  <a:moveTo>
                    <a:pt x="140" y="67"/>
                  </a:moveTo>
                  <a:lnTo>
                    <a:pt x="155" y="76"/>
                  </a:lnTo>
                  <a:lnTo>
                    <a:pt x="131" y="76"/>
                  </a:lnTo>
                  <a:lnTo>
                    <a:pt x="100" y="67"/>
                  </a:lnTo>
                  <a:lnTo>
                    <a:pt x="76" y="55"/>
                  </a:lnTo>
                  <a:lnTo>
                    <a:pt x="55" y="55"/>
                  </a:lnTo>
                  <a:lnTo>
                    <a:pt x="0" y="21"/>
                  </a:lnTo>
                  <a:lnTo>
                    <a:pt x="9" y="0"/>
                  </a:lnTo>
                  <a:lnTo>
                    <a:pt x="33" y="0"/>
                  </a:lnTo>
                  <a:lnTo>
                    <a:pt x="55" y="21"/>
                  </a:lnTo>
                  <a:lnTo>
                    <a:pt x="64" y="12"/>
                  </a:lnTo>
                  <a:lnTo>
                    <a:pt x="110" y="43"/>
                  </a:lnTo>
                  <a:lnTo>
                    <a:pt x="140" y="43"/>
                  </a:lnTo>
                  <a:lnTo>
                    <a:pt x="140" y="67"/>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55" name="Freeform 854"/>
            <p:cNvSpPr>
              <a:spLocks/>
            </p:cNvSpPr>
            <p:nvPr/>
          </p:nvSpPr>
          <p:spPr bwMode="auto">
            <a:xfrm>
              <a:off x="5431017" y="3485394"/>
              <a:ext cx="356486" cy="296080"/>
            </a:xfrm>
            <a:custGeom>
              <a:avLst/>
              <a:gdLst>
                <a:gd name="T0" fmla="*/ 262 w 360"/>
                <a:gd name="T1" fmla="*/ 289 h 302"/>
                <a:gd name="T2" fmla="*/ 338 w 360"/>
                <a:gd name="T3" fmla="*/ 302 h 302"/>
                <a:gd name="T4" fmla="*/ 338 w 360"/>
                <a:gd name="T5" fmla="*/ 280 h 302"/>
                <a:gd name="T6" fmla="*/ 360 w 360"/>
                <a:gd name="T7" fmla="*/ 271 h 302"/>
                <a:gd name="T8" fmla="*/ 360 w 360"/>
                <a:gd name="T9" fmla="*/ 259 h 302"/>
                <a:gd name="T10" fmla="*/ 350 w 360"/>
                <a:gd name="T11" fmla="*/ 235 h 302"/>
                <a:gd name="T12" fmla="*/ 338 w 360"/>
                <a:gd name="T13" fmla="*/ 235 h 302"/>
                <a:gd name="T14" fmla="*/ 314 w 360"/>
                <a:gd name="T15" fmla="*/ 204 h 302"/>
                <a:gd name="T16" fmla="*/ 329 w 360"/>
                <a:gd name="T17" fmla="*/ 186 h 302"/>
                <a:gd name="T18" fmla="*/ 329 w 360"/>
                <a:gd name="T19" fmla="*/ 171 h 302"/>
                <a:gd name="T20" fmla="*/ 305 w 360"/>
                <a:gd name="T21" fmla="*/ 171 h 302"/>
                <a:gd name="T22" fmla="*/ 296 w 360"/>
                <a:gd name="T23" fmla="*/ 128 h 302"/>
                <a:gd name="T24" fmla="*/ 296 w 360"/>
                <a:gd name="T25" fmla="*/ 119 h 302"/>
                <a:gd name="T26" fmla="*/ 305 w 360"/>
                <a:gd name="T27" fmla="*/ 110 h 302"/>
                <a:gd name="T28" fmla="*/ 305 w 360"/>
                <a:gd name="T29" fmla="*/ 85 h 302"/>
                <a:gd name="T30" fmla="*/ 305 w 360"/>
                <a:gd name="T31" fmla="*/ 73 h 302"/>
                <a:gd name="T32" fmla="*/ 219 w 360"/>
                <a:gd name="T33" fmla="*/ 31 h 302"/>
                <a:gd name="T34" fmla="*/ 198 w 360"/>
                <a:gd name="T35" fmla="*/ 43 h 302"/>
                <a:gd name="T36" fmla="*/ 174 w 360"/>
                <a:gd name="T37" fmla="*/ 55 h 302"/>
                <a:gd name="T38" fmla="*/ 174 w 360"/>
                <a:gd name="T39" fmla="*/ 64 h 302"/>
                <a:gd name="T40" fmla="*/ 131 w 360"/>
                <a:gd name="T41" fmla="*/ 73 h 302"/>
                <a:gd name="T42" fmla="*/ 88 w 360"/>
                <a:gd name="T43" fmla="*/ 55 h 302"/>
                <a:gd name="T44" fmla="*/ 88 w 360"/>
                <a:gd name="T45" fmla="*/ 31 h 302"/>
                <a:gd name="T46" fmla="*/ 67 w 360"/>
                <a:gd name="T47" fmla="*/ 18 h 302"/>
                <a:gd name="T48" fmla="*/ 67 w 360"/>
                <a:gd name="T49" fmla="*/ 9 h 302"/>
                <a:gd name="T50" fmla="*/ 43 w 360"/>
                <a:gd name="T51" fmla="*/ 18 h 302"/>
                <a:gd name="T52" fmla="*/ 31 w 360"/>
                <a:gd name="T53" fmla="*/ 18 h 302"/>
                <a:gd name="T54" fmla="*/ 22 w 360"/>
                <a:gd name="T55" fmla="*/ 18 h 302"/>
                <a:gd name="T56" fmla="*/ 12 w 360"/>
                <a:gd name="T57" fmla="*/ 0 h 302"/>
                <a:gd name="T58" fmla="*/ 0 w 360"/>
                <a:gd name="T59" fmla="*/ 9 h 302"/>
                <a:gd name="T60" fmla="*/ 22 w 360"/>
                <a:gd name="T61" fmla="*/ 55 h 302"/>
                <a:gd name="T62" fmla="*/ 43 w 360"/>
                <a:gd name="T63" fmla="*/ 95 h 302"/>
                <a:gd name="T64" fmla="*/ 31 w 360"/>
                <a:gd name="T65" fmla="*/ 119 h 302"/>
                <a:gd name="T66" fmla="*/ 43 w 360"/>
                <a:gd name="T67" fmla="*/ 140 h 302"/>
                <a:gd name="T68" fmla="*/ 76 w 360"/>
                <a:gd name="T69" fmla="*/ 149 h 302"/>
                <a:gd name="T70" fmla="*/ 76 w 360"/>
                <a:gd name="T71" fmla="*/ 186 h 302"/>
                <a:gd name="T72" fmla="*/ 98 w 360"/>
                <a:gd name="T73" fmla="*/ 204 h 302"/>
                <a:gd name="T74" fmla="*/ 107 w 360"/>
                <a:gd name="T75" fmla="*/ 195 h 302"/>
                <a:gd name="T76" fmla="*/ 131 w 360"/>
                <a:gd name="T77" fmla="*/ 204 h 302"/>
                <a:gd name="T78" fmla="*/ 152 w 360"/>
                <a:gd name="T79" fmla="*/ 247 h 302"/>
                <a:gd name="T80" fmla="*/ 198 w 360"/>
                <a:gd name="T81" fmla="*/ 280 h 302"/>
                <a:gd name="T82" fmla="*/ 219 w 360"/>
                <a:gd name="T83" fmla="*/ 280 h 302"/>
                <a:gd name="T84" fmla="*/ 250 w 360"/>
                <a:gd name="T85" fmla="*/ 271 h 302"/>
                <a:gd name="T86" fmla="*/ 262 w 360"/>
                <a:gd name="T87" fmla="*/ 289 h 3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60"/>
                <a:gd name="T133" fmla="*/ 0 h 302"/>
                <a:gd name="T134" fmla="*/ 360 w 360"/>
                <a:gd name="T135" fmla="*/ 302 h 30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60" h="302">
                  <a:moveTo>
                    <a:pt x="262" y="289"/>
                  </a:moveTo>
                  <a:lnTo>
                    <a:pt x="338" y="302"/>
                  </a:lnTo>
                  <a:lnTo>
                    <a:pt x="338" y="280"/>
                  </a:lnTo>
                  <a:lnTo>
                    <a:pt x="360" y="271"/>
                  </a:lnTo>
                  <a:lnTo>
                    <a:pt x="360" y="259"/>
                  </a:lnTo>
                  <a:lnTo>
                    <a:pt x="350" y="235"/>
                  </a:lnTo>
                  <a:lnTo>
                    <a:pt x="338" y="235"/>
                  </a:lnTo>
                  <a:lnTo>
                    <a:pt x="314" y="204"/>
                  </a:lnTo>
                  <a:lnTo>
                    <a:pt x="329" y="186"/>
                  </a:lnTo>
                  <a:lnTo>
                    <a:pt x="329" y="171"/>
                  </a:lnTo>
                  <a:lnTo>
                    <a:pt x="305" y="171"/>
                  </a:lnTo>
                  <a:lnTo>
                    <a:pt x="296" y="128"/>
                  </a:lnTo>
                  <a:lnTo>
                    <a:pt x="296" y="119"/>
                  </a:lnTo>
                  <a:lnTo>
                    <a:pt x="305" y="110"/>
                  </a:lnTo>
                  <a:lnTo>
                    <a:pt x="305" y="85"/>
                  </a:lnTo>
                  <a:lnTo>
                    <a:pt x="305" y="73"/>
                  </a:lnTo>
                  <a:lnTo>
                    <a:pt x="219" y="31"/>
                  </a:lnTo>
                  <a:lnTo>
                    <a:pt x="198" y="43"/>
                  </a:lnTo>
                  <a:lnTo>
                    <a:pt x="174" y="55"/>
                  </a:lnTo>
                  <a:lnTo>
                    <a:pt x="174" y="64"/>
                  </a:lnTo>
                  <a:lnTo>
                    <a:pt x="131" y="73"/>
                  </a:lnTo>
                  <a:lnTo>
                    <a:pt x="88" y="55"/>
                  </a:lnTo>
                  <a:lnTo>
                    <a:pt x="88" y="31"/>
                  </a:lnTo>
                  <a:lnTo>
                    <a:pt x="67" y="18"/>
                  </a:lnTo>
                  <a:lnTo>
                    <a:pt x="67" y="9"/>
                  </a:lnTo>
                  <a:lnTo>
                    <a:pt x="43" y="18"/>
                  </a:lnTo>
                  <a:lnTo>
                    <a:pt x="31" y="18"/>
                  </a:lnTo>
                  <a:lnTo>
                    <a:pt x="22" y="18"/>
                  </a:lnTo>
                  <a:lnTo>
                    <a:pt x="12" y="0"/>
                  </a:lnTo>
                  <a:lnTo>
                    <a:pt x="0" y="9"/>
                  </a:lnTo>
                  <a:lnTo>
                    <a:pt x="22" y="55"/>
                  </a:lnTo>
                  <a:lnTo>
                    <a:pt x="43" y="95"/>
                  </a:lnTo>
                  <a:lnTo>
                    <a:pt x="31" y="119"/>
                  </a:lnTo>
                  <a:lnTo>
                    <a:pt x="43" y="140"/>
                  </a:lnTo>
                  <a:lnTo>
                    <a:pt x="76" y="149"/>
                  </a:lnTo>
                  <a:lnTo>
                    <a:pt x="76" y="186"/>
                  </a:lnTo>
                  <a:lnTo>
                    <a:pt x="98" y="204"/>
                  </a:lnTo>
                  <a:lnTo>
                    <a:pt x="107" y="195"/>
                  </a:lnTo>
                  <a:lnTo>
                    <a:pt x="131" y="204"/>
                  </a:lnTo>
                  <a:lnTo>
                    <a:pt x="152" y="247"/>
                  </a:lnTo>
                  <a:lnTo>
                    <a:pt x="198" y="280"/>
                  </a:lnTo>
                  <a:lnTo>
                    <a:pt x="219" y="280"/>
                  </a:lnTo>
                  <a:lnTo>
                    <a:pt x="250" y="271"/>
                  </a:lnTo>
                  <a:lnTo>
                    <a:pt x="262" y="289"/>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56" name="Freeform 855"/>
            <p:cNvSpPr>
              <a:spLocks/>
            </p:cNvSpPr>
            <p:nvPr/>
          </p:nvSpPr>
          <p:spPr bwMode="auto">
            <a:xfrm>
              <a:off x="5742492" y="3548083"/>
              <a:ext cx="270965" cy="265218"/>
            </a:xfrm>
            <a:custGeom>
              <a:avLst/>
              <a:gdLst>
                <a:gd name="T0" fmla="*/ 155 w 274"/>
                <a:gd name="T1" fmla="*/ 262 h 271"/>
                <a:gd name="T2" fmla="*/ 143 w 274"/>
                <a:gd name="T3" fmla="*/ 271 h 271"/>
                <a:gd name="T4" fmla="*/ 134 w 274"/>
                <a:gd name="T5" fmla="*/ 271 h 271"/>
                <a:gd name="T6" fmla="*/ 113 w 274"/>
                <a:gd name="T7" fmla="*/ 238 h 271"/>
                <a:gd name="T8" fmla="*/ 76 w 274"/>
                <a:gd name="T9" fmla="*/ 238 h 271"/>
                <a:gd name="T10" fmla="*/ 67 w 274"/>
                <a:gd name="T11" fmla="*/ 238 h 271"/>
                <a:gd name="T12" fmla="*/ 24 w 274"/>
                <a:gd name="T13" fmla="*/ 238 h 271"/>
                <a:gd name="T14" fmla="*/ 24 w 274"/>
                <a:gd name="T15" fmla="*/ 216 h 271"/>
                <a:gd name="T16" fmla="*/ 46 w 274"/>
                <a:gd name="T17" fmla="*/ 207 h 271"/>
                <a:gd name="T18" fmla="*/ 46 w 274"/>
                <a:gd name="T19" fmla="*/ 195 h 271"/>
                <a:gd name="T20" fmla="*/ 36 w 274"/>
                <a:gd name="T21" fmla="*/ 171 h 271"/>
                <a:gd name="T22" fmla="*/ 24 w 274"/>
                <a:gd name="T23" fmla="*/ 171 h 271"/>
                <a:gd name="T24" fmla="*/ 0 w 274"/>
                <a:gd name="T25" fmla="*/ 140 h 271"/>
                <a:gd name="T26" fmla="*/ 24 w 274"/>
                <a:gd name="T27" fmla="*/ 152 h 271"/>
                <a:gd name="T28" fmla="*/ 100 w 274"/>
                <a:gd name="T29" fmla="*/ 140 h 271"/>
                <a:gd name="T30" fmla="*/ 100 w 274"/>
                <a:gd name="T31" fmla="*/ 122 h 271"/>
                <a:gd name="T32" fmla="*/ 143 w 274"/>
                <a:gd name="T33" fmla="*/ 107 h 271"/>
                <a:gd name="T34" fmla="*/ 143 w 274"/>
                <a:gd name="T35" fmla="*/ 76 h 271"/>
                <a:gd name="T36" fmla="*/ 155 w 274"/>
                <a:gd name="T37" fmla="*/ 64 h 271"/>
                <a:gd name="T38" fmla="*/ 143 w 274"/>
                <a:gd name="T39" fmla="*/ 55 h 271"/>
                <a:gd name="T40" fmla="*/ 167 w 274"/>
                <a:gd name="T41" fmla="*/ 55 h 271"/>
                <a:gd name="T42" fmla="*/ 167 w 274"/>
                <a:gd name="T43" fmla="*/ 46 h 271"/>
                <a:gd name="T44" fmla="*/ 167 w 274"/>
                <a:gd name="T45" fmla="*/ 9 h 271"/>
                <a:gd name="T46" fmla="*/ 189 w 274"/>
                <a:gd name="T47" fmla="*/ 0 h 271"/>
                <a:gd name="T48" fmla="*/ 198 w 274"/>
                <a:gd name="T49" fmla="*/ 0 h 271"/>
                <a:gd name="T50" fmla="*/ 210 w 274"/>
                <a:gd name="T51" fmla="*/ 0 h 271"/>
                <a:gd name="T52" fmla="*/ 231 w 274"/>
                <a:gd name="T53" fmla="*/ 0 h 271"/>
                <a:gd name="T54" fmla="*/ 243 w 274"/>
                <a:gd name="T55" fmla="*/ 21 h 271"/>
                <a:gd name="T56" fmla="*/ 274 w 274"/>
                <a:gd name="T57" fmla="*/ 31 h 271"/>
                <a:gd name="T58" fmla="*/ 265 w 274"/>
                <a:gd name="T59" fmla="*/ 46 h 271"/>
                <a:gd name="T60" fmla="*/ 243 w 274"/>
                <a:gd name="T61" fmla="*/ 46 h 271"/>
                <a:gd name="T62" fmla="*/ 210 w 274"/>
                <a:gd name="T63" fmla="*/ 46 h 271"/>
                <a:gd name="T64" fmla="*/ 222 w 274"/>
                <a:gd name="T65" fmla="*/ 55 h 271"/>
                <a:gd name="T66" fmla="*/ 222 w 274"/>
                <a:gd name="T67" fmla="*/ 76 h 271"/>
                <a:gd name="T68" fmla="*/ 243 w 274"/>
                <a:gd name="T69" fmla="*/ 97 h 271"/>
                <a:gd name="T70" fmla="*/ 231 w 274"/>
                <a:gd name="T71" fmla="*/ 97 h 271"/>
                <a:gd name="T72" fmla="*/ 243 w 274"/>
                <a:gd name="T73" fmla="*/ 122 h 271"/>
                <a:gd name="T74" fmla="*/ 198 w 274"/>
                <a:gd name="T75" fmla="*/ 183 h 271"/>
                <a:gd name="T76" fmla="*/ 189 w 274"/>
                <a:gd name="T77" fmla="*/ 183 h 271"/>
                <a:gd name="T78" fmla="*/ 176 w 274"/>
                <a:gd name="T79" fmla="*/ 183 h 271"/>
                <a:gd name="T80" fmla="*/ 167 w 274"/>
                <a:gd name="T81" fmla="*/ 195 h 271"/>
                <a:gd name="T82" fmla="*/ 167 w 274"/>
                <a:gd name="T83" fmla="*/ 207 h 271"/>
                <a:gd name="T84" fmla="*/ 176 w 274"/>
                <a:gd name="T85" fmla="*/ 216 h 271"/>
                <a:gd name="T86" fmla="*/ 176 w 274"/>
                <a:gd name="T87" fmla="*/ 225 h 271"/>
                <a:gd name="T88" fmla="*/ 189 w 274"/>
                <a:gd name="T89" fmla="*/ 225 h 271"/>
                <a:gd name="T90" fmla="*/ 189 w 274"/>
                <a:gd name="T91" fmla="*/ 247 h 271"/>
                <a:gd name="T92" fmla="*/ 189 w 274"/>
                <a:gd name="T93" fmla="*/ 262 h 271"/>
                <a:gd name="T94" fmla="*/ 155 w 274"/>
                <a:gd name="T95" fmla="*/ 262 h 27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4"/>
                <a:gd name="T145" fmla="*/ 0 h 271"/>
                <a:gd name="T146" fmla="*/ 274 w 274"/>
                <a:gd name="T147" fmla="*/ 271 h 27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4" h="271">
                  <a:moveTo>
                    <a:pt x="155" y="262"/>
                  </a:moveTo>
                  <a:lnTo>
                    <a:pt x="143" y="271"/>
                  </a:lnTo>
                  <a:lnTo>
                    <a:pt x="134" y="271"/>
                  </a:lnTo>
                  <a:lnTo>
                    <a:pt x="113" y="238"/>
                  </a:lnTo>
                  <a:lnTo>
                    <a:pt x="76" y="238"/>
                  </a:lnTo>
                  <a:lnTo>
                    <a:pt x="67" y="238"/>
                  </a:lnTo>
                  <a:lnTo>
                    <a:pt x="24" y="238"/>
                  </a:lnTo>
                  <a:lnTo>
                    <a:pt x="24" y="216"/>
                  </a:lnTo>
                  <a:lnTo>
                    <a:pt x="46" y="207"/>
                  </a:lnTo>
                  <a:lnTo>
                    <a:pt x="46" y="195"/>
                  </a:lnTo>
                  <a:lnTo>
                    <a:pt x="36" y="171"/>
                  </a:lnTo>
                  <a:lnTo>
                    <a:pt x="24" y="171"/>
                  </a:lnTo>
                  <a:lnTo>
                    <a:pt x="0" y="140"/>
                  </a:lnTo>
                  <a:lnTo>
                    <a:pt x="24" y="152"/>
                  </a:lnTo>
                  <a:lnTo>
                    <a:pt x="100" y="140"/>
                  </a:lnTo>
                  <a:lnTo>
                    <a:pt x="100" y="122"/>
                  </a:lnTo>
                  <a:lnTo>
                    <a:pt x="143" y="107"/>
                  </a:lnTo>
                  <a:lnTo>
                    <a:pt x="143" y="76"/>
                  </a:lnTo>
                  <a:lnTo>
                    <a:pt x="155" y="64"/>
                  </a:lnTo>
                  <a:lnTo>
                    <a:pt x="143" y="55"/>
                  </a:lnTo>
                  <a:lnTo>
                    <a:pt x="167" y="55"/>
                  </a:lnTo>
                  <a:lnTo>
                    <a:pt x="167" y="46"/>
                  </a:lnTo>
                  <a:lnTo>
                    <a:pt x="167" y="9"/>
                  </a:lnTo>
                  <a:lnTo>
                    <a:pt x="189" y="0"/>
                  </a:lnTo>
                  <a:lnTo>
                    <a:pt x="198" y="0"/>
                  </a:lnTo>
                  <a:lnTo>
                    <a:pt x="210" y="0"/>
                  </a:lnTo>
                  <a:lnTo>
                    <a:pt x="231" y="0"/>
                  </a:lnTo>
                  <a:lnTo>
                    <a:pt x="243" y="21"/>
                  </a:lnTo>
                  <a:lnTo>
                    <a:pt x="274" y="31"/>
                  </a:lnTo>
                  <a:lnTo>
                    <a:pt x="265" y="46"/>
                  </a:lnTo>
                  <a:lnTo>
                    <a:pt x="243" y="46"/>
                  </a:lnTo>
                  <a:lnTo>
                    <a:pt x="210" y="46"/>
                  </a:lnTo>
                  <a:lnTo>
                    <a:pt x="222" y="55"/>
                  </a:lnTo>
                  <a:lnTo>
                    <a:pt x="222" y="76"/>
                  </a:lnTo>
                  <a:lnTo>
                    <a:pt x="243" y="97"/>
                  </a:lnTo>
                  <a:lnTo>
                    <a:pt x="231" y="97"/>
                  </a:lnTo>
                  <a:lnTo>
                    <a:pt x="243" y="122"/>
                  </a:lnTo>
                  <a:lnTo>
                    <a:pt x="198" y="183"/>
                  </a:lnTo>
                  <a:lnTo>
                    <a:pt x="189" y="183"/>
                  </a:lnTo>
                  <a:lnTo>
                    <a:pt x="176" y="183"/>
                  </a:lnTo>
                  <a:lnTo>
                    <a:pt x="167" y="195"/>
                  </a:lnTo>
                  <a:lnTo>
                    <a:pt x="167" y="207"/>
                  </a:lnTo>
                  <a:lnTo>
                    <a:pt x="176" y="216"/>
                  </a:lnTo>
                  <a:lnTo>
                    <a:pt x="176" y="225"/>
                  </a:lnTo>
                  <a:lnTo>
                    <a:pt x="189" y="225"/>
                  </a:lnTo>
                  <a:lnTo>
                    <a:pt x="189" y="247"/>
                  </a:lnTo>
                  <a:lnTo>
                    <a:pt x="189" y="262"/>
                  </a:lnTo>
                  <a:lnTo>
                    <a:pt x="155" y="262"/>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57" name="Freeform 856"/>
            <p:cNvSpPr>
              <a:spLocks/>
            </p:cNvSpPr>
            <p:nvPr/>
          </p:nvSpPr>
          <p:spPr bwMode="auto">
            <a:xfrm>
              <a:off x="5724488" y="3516256"/>
              <a:ext cx="225955" cy="180349"/>
            </a:xfrm>
            <a:custGeom>
              <a:avLst/>
              <a:gdLst>
                <a:gd name="T0" fmla="*/ 85 w 228"/>
                <a:gd name="T1" fmla="*/ 24 h 185"/>
                <a:gd name="T2" fmla="*/ 76 w 228"/>
                <a:gd name="T3" fmla="*/ 24 h 185"/>
                <a:gd name="T4" fmla="*/ 64 w 228"/>
                <a:gd name="T5" fmla="*/ 24 h 185"/>
                <a:gd name="T6" fmla="*/ 64 w 228"/>
                <a:gd name="T7" fmla="*/ 42 h 185"/>
                <a:gd name="T8" fmla="*/ 42 w 228"/>
                <a:gd name="T9" fmla="*/ 54 h 185"/>
                <a:gd name="T10" fmla="*/ 33 w 228"/>
                <a:gd name="T11" fmla="*/ 64 h 185"/>
                <a:gd name="T12" fmla="*/ 9 w 228"/>
                <a:gd name="T13" fmla="*/ 54 h 185"/>
                <a:gd name="T14" fmla="*/ 9 w 228"/>
                <a:gd name="T15" fmla="*/ 79 h 185"/>
                <a:gd name="T16" fmla="*/ 0 w 228"/>
                <a:gd name="T17" fmla="*/ 88 h 185"/>
                <a:gd name="T18" fmla="*/ 0 w 228"/>
                <a:gd name="T19" fmla="*/ 97 h 185"/>
                <a:gd name="T20" fmla="*/ 9 w 228"/>
                <a:gd name="T21" fmla="*/ 140 h 185"/>
                <a:gd name="T22" fmla="*/ 33 w 228"/>
                <a:gd name="T23" fmla="*/ 140 h 185"/>
                <a:gd name="T24" fmla="*/ 33 w 228"/>
                <a:gd name="T25" fmla="*/ 155 h 185"/>
                <a:gd name="T26" fmla="*/ 18 w 228"/>
                <a:gd name="T27" fmla="*/ 173 h 185"/>
                <a:gd name="T28" fmla="*/ 42 w 228"/>
                <a:gd name="T29" fmla="*/ 185 h 185"/>
                <a:gd name="T30" fmla="*/ 118 w 228"/>
                <a:gd name="T31" fmla="*/ 173 h 185"/>
                <a:gd name="T32" fmla="*/ 118 w 228"/>
                <a:gd name="T33" fmla="*/ 155 h 185"/>
                <a:gd name="T34" fmla="*/ 161 w 228"/>
                <a:gd name="T35" fmla="*/ 140 h 185"/>
                <a:gd name="T36" fmla="*/ 161 w 228"/>
                <a:gd name="T37" fmla="*/ 109 h 185"/>
                <a:gd name="T38" fmla="*/ 173 w 228"/>
                <a:gd name="T39" fmla="*/ 97 h 185"/>
                <a:gd name="T40" fmla="*/ 161 w 228"/>
                <a:gd name="T41" fmla="*/ 88 h 185"/>
                <a:gd name="T42" fmla="*/ 185 w 228"/>
                <a:gd name="T43" fmla="*/ 88 h 185"/>
                <a:gd name="T44" fmla="*/ 185 w 228"/>
                <a:gd name="T45" fmla="*/ 79 h 185"/>
                <a:gd name="T46" fmla="*/ 185 w 228"/>
                <a:gd name="T47" fmla="*/ 42 h 185"/>
                <a:gd name="T48" fmla="*/ 207 w 228"/>
                <a:gd name="T49" fmla="*/ 33 h 185"/>
                <a:gd name="T50" fmla="*/ 216 w 228"/>
                <a:gd name="T51" fmla="*/ 33 h 185"/>
                <a:gd name="T52" fmla="*/ 228 w 228"/>
                <a:gd name="T53" fmla="*/ 33 h 185"/>
                <a:gd name="T54" fmla="*/ 228 w 228"/>
                <a:gd name="T55" fmla="*/ 24 h 185"/>
                <a:gd name="T56" fmla="*/ 207 w 228"/>
                <a:gd name="T57" fmla="*/ 24 h 185"/>
                <a:gd name="T58" fmla="*/ 185 w 228"/>
                <a:gd name="T59" fmla="*/ 33 h 185"/>
                <a:gd name="T60" fmla="*/ 173 w 228"/>
                <a:gd name="T61" fmla="*/ 12 h 185"/>
                <a:gd name="T62" fmla="*/ 161 w 228"/>
                <a:gd name="T63" fmla="*/ 0 h 185"/>
                <a:gd name="T64" fmla="*/ 152 w 228"/>
                <a:gd name="T65" fmla="*/ 24 h 185"/>
                <a:gd name="T66" fmla="*/ 140 w 228"/>
                <a:gd name="T67" fmla="*/ 24 h 185"/>
                <a:gd name="T68" fmla="*/ 118 w 228"/>
                <a:gd name="T69" fmla="*/ 33 h 185"/>
                <a:gd name="T70" fmla="*/ 109 w 228"/>
                <a:gd name="T71" fmla="*/ 33 h 185"/>
                <a:gd name="T72" fmla="*/ 85 w 228"/>
                <a:gd name="T73" fmla="*/ 24 h 18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28"/>
                <a:gd name="T112" fmla="*/ 0 h 185"/>
                <a:gd name="T113" fmla="*/ 228 w 228"/>
                <a:gd name="T114" fmla="*/ 185 h 18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28" h="185">
                  <a:moveTo>
                    <a:pt x="85" y="24"/>
                  </a:moveTo>
                  <a:lnTo>
                    <a:pt x="76" y="24"/>
                  </a:lnTo>
                  <a:lnTo>
                    <a:pt x="64" y="24"/>
                  </a:lnTo>
                  <a:lnTo>
                    <a:pt x="64" y="42"/>
                  </a:lnTo>
                  <a:lnTo>
                    <a:pt x="42" y="54"/>
                  </a:lnTo>
                  <a:lnTo>
                    <a:pt x="33" y="64"/>
                  </a:lnTo>
                  <a:lnTo>
                    <a:pt x="9" y="54"/>
                  </a:lnTo>
                  <a:lnTo>
                    <a:pt x="9" y="79"/>
                  </a:lnTo>
                  <a:lnTo>
                    <a:pt x="0" y="88"/>
                  </a:lnTo>
                  <a:lnTo>
                    <a:pt x="0" y="97"/>
                  </a:lnTo>
                  <a:lnTo>
                    <a:pt x="9" y="140"/>
                  </a:lnTo>
                  <a:lnTo>
                    <a:pt x="33" y="140"/>
                  </a:lnTo>
                  <a:lnTo>
                    <a:pt x="33" y="155"/>
                  </a:lnTo>
                  <a:lnTo>
                    <a:pt x="18" y="173"/>
                  </a:lnTo>
                  <a:lnTo>
                    <a:pt x="42" y="185"/>
                  </a:lnTo>
                  <a:lnTo>
                    <a:pt x="118" y="173"/>
                  </a:lnTo>
                  <a:lnTo>
                    <a:pt x="118" y="155"/>
                  </a:lnTo>
                  <a:lnTo>
                    <a:pt x="161" y="140"/>
                  </a:lnTo>
                  <a:lnTo>
                    <a:pt x="161" y="109"/>
                  </a:lnTo>
                  <a:lnTo>
                    <a:pt x="173" y="97"/>
                  </a:lnTo>
                  <a:lnTo>
                    <a:pt x="161" y="88"/>
                  </a:lnTo>
                  <a:lnTo>
                    <a:pt x="185" y="88"/>
                  </a:lnTo>
                  <a:lnTo>
                    <a:pt x="185" y="79"/>
                  </a:lnTo>
                  <a:lnTo>
                    <a:pt x="185" y="42"/>
                  </a:lnTo>
                  <a:lnTo>
                    <a:pt x="207" y="33"/>
                  </a:lnTo>
                  <a:lnTo>
                    <a:pt x="216" y="33"/>
                  </a:lnTo>
                  <a:lnTo>
                    <a:pt x="228" y="33"/>
                  </a:lnTo>
                  <a:lnTo>
                    <a:pt x="228" y="24"/>
                  </a:lnTo>
                  <a:lnTo>
                    <a:pt x="207" y="24"/>
                  </a:lnTo>
                  <a:lnTo>
                    <a:pt x="185" y="33"/>
                  </a:lnTo>
                  <a:lnTo>
                    <a:pt x="173" y="12"/>
                  </a:lnTo>
                  <a:lnTo>
                    <a:pt x="161" y="0"/>
                  </a:lnTo>
                  <a:lnTo>
                    <a:pt x="152" y="24"/>
                  </a:lnTo>
                  <a:lnTo>
                    <a:pt x="140" y="24"/>
                  </a:lnTo>
                  <a:lnTo>
                    <a:pt x="118" y="33"/>
                  </a:lnTo>
                  <a:lnTo>
                    <a:pt x="109" y="33"/>
                  </a:lnTo>
                  <a:lnTo>
                    <a:pt x="85" y="24"/>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58" name="Freeform 857"/>
            <p:cNvSpPr>
              <a:spLocks/>
            </p:cNvSpPr>
            <p:nvPr/>
          </p:nvSpPr>
          <p:spPr bwMode="auto">
            <a:xfrm>
              <a:off x="6761539" y="3428493"/>
              <a:ext cx="87320" cy="99337"/>
            </a:xfrm>
            <a:custGeom>
              <a:avLst/>
              <a:gdLst>
                <a:gd name="T0" fmla="*/ 64 w 88"/>
                <a:gd name="T1" fmla="*/ 0 h 101"/>
                <a:gd name="T2" fmla="*/ 88 w 88"/>
                <a:gd name="T3" fmla="*/ 0 h 101"/>
                <a:gd name="T4" fmla="*/ 79 w 88"/>
                <a:gd name="T5" fmla="*/ 25 h 101"/>
                <a:gd name="T6" fmla="*/ 88 w 88"/>
                <a:gd name="T7" fmla="*/ 46 h 101"/>
                <a:gd name="T8" fmla="*/ 55 w 88"/>
                <a:gd name="T9" fmla="*/ 58 h 101"/>
                <a:gd name="T10" fmla="*/ 64 w 88"/>
                <a:gd name="T11" fmla="*/ 76 h 101"/>
                <a:gd name="T12" fmla="*/ 88 w 88"/>
                <a:gd name="T13" fmla="*/ 89 h 101"/>
                <a:gd name="T14" fmla="*/ 79 w 88"/>
                <a:gd name="T15" fmla="*/ 101 h 101"/>
                <a:gd name="T16" fmla="*/ 64 w 88"/>
                <a:gd name="T17" fmla="*/ 101 h 101"/>
                <a:gd name="T18" fmla="*/ 34 w 88"/>
                <a:gd name="T19" fmla="*/ 101 h 101"/>
                <a:gd name="T20" fmla="*/ 34 w 88"/>
                <a:gd name="T21" fmla="*/ 67 h 101"/>
                <a:gd name="T22" fmla="*/ 0 w 88"/>
                <a:gd name="T23" fmla="*/ 67 h 101"/>
                <a:gd name="T24" fmla="*/ 34 w 88"/>
                <a:gd name="T25" fmla="*/ 25 h 101"/>
                <a:gd name="T26" fmla="*/ 55 w 88"/>
                <a:gd name="T27" fmla="*/ 37 h 101"/>
                <a:gd name="T28" fmla="*/ 55 w 88"/>
                <a:gd name="T29" fmla="*/ 25 h 101"/>
                <a:gd name="T30" fmla="*/ 64 w 88"/>
                <a:gd name="T31" fmla="*/ 12 h 101"/>
                <a:gd name="T32" fmla="*/ 64 w 88"/>
                <a:gd name="T33" fmla="*/ 0 h 10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8"/>
                <a:gd name="T52" fmla="*/ 0 h 101"/>
                <a:gd name="T53" fmla="*/ 88 w 88"/>
                <a:gd name="T54" fmla="*/ 101 h 10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8" h="101">
                  <a:moveTo>
                    <a:pt x="64" y="0"/>
                  </a:moveTo>
                  <a:lnTo>
                    <a:pt x="88" y="0"/>
                  </a:lnTo>
                  <a:lnTo>
                    <a:pt x="79" y="25"/>
                  </a:lnTo>
                  <a:lnTo>
                    <a:pt x="88" y="46"/>
                  </a:lnTo>
                  <a:lnTo>
                    <a:pt x="55" y="58"/>
                  </a:lnTo>
                  <a:lnTo>
                    <a:pt x="64" y="76"/>
                  </a:lnTo>
                  <a:lnTo>
                    <a:pt x="88" y="89"/>
                  </a:lnTo>
                  <a:lnTo>
                    <a:pt x="79" y="101"/>
                  </a:lnTo>
                  <a:lnTo>
                    <a:pt x="64" y="101"/>
                  </a:lnTo>
                  <a:lnTo>
                    <a:pt x="34" y="101"/>
                  </a:lnTo>
                  <a:lnTo>
                    <a:pt x="34" y="67"/>
                  </a:lnTo>
                  <a:lnTo>
                    <a:pt x="0" y="67"/>
                  </a:lnTo>
                  <a:lnTo>
                    <a:pt x="34" y="25"/>
                  </a:lnTo>
                  <a:lnTo>
                    <a:pt x="55" y="37"/>
                  </a:lnTo>
                  <a:lnTo>
                    <a:pt x="55" y="25"/>
                  </a:lnTo>
                  <a:lnTo>
                    <a:pt x="64" y="12"/>
                  </a:lnTo>
                  <a:lnTo>
                    <a:pt x="64"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59" name="Freeform 858"/>
            <p:cNvSpPr>
              <a:spLocks/>
            </p:cNvSpPr>
            <p:nvPr/>
          </p:nvSpPr>
          <p:spPr bwMode="auto">
            <a:xfrm>
              <a:off x="6825453" y="3516256"/>
              <a:ext cx="66616" cy="85835"/>
            </a:xfrm>
            <a:custGeom>
              <a:avLst/>
              <a:gdLst>
                <a:gd name="T0" fmla="*/ 0 w 67"/>
                <a:gd name="T1" fmla="*/ 12 h 88"/>
                <a:gd name="T2" fmla="*/ 0 w 67"/>
                <a:gd name="T3" fmla="*/ 24 h 88"/>
                <a:gd name="T4" fmla="*/ 15 w 67"/>
                <a:gd name="T5" fmla="*/ 33 h 88"/>
                <a:gd name="T6" fmla="*/ 0 w 67"/>
                <a:gd name="T7" fmla="*/ 33 h 88"/>
                <a:gd name="T8" fmla="*/ 24 w 67"/>
                <a:gd name="T9" fmla="*/ 54 h 88"/>
                <a:gd name="T10" fmla="*/ 15 w 67"/>
                <a:gd name="T11" fmla="*/ 64 h 88"/>
                <a:gd name="T12" fmla="*/ 37 w 67"/>
                <a:gd name="T13" fmla="*/ 88 h 88"/>
                <a:gd name="T14" fmla="*/ 67 w 67"/>
                <a:gd name="T15" fmla="*/ 64 h 88"/>
                <a:gd name="T16" fmla="*/ 67 w 67"/>
                <a:gd name="T17" fmla="*/ 54 h 88"/>
                <a:gd name="T18" fmla="*/ 46 w 67"/>
                <a:gd name="T19" fmla="*/ 24 h 88"/>
                <a:gd name="T20" fmla="*/ 24 w 67"/>
                <a:gd name="T21" fmla="*/ 0 h 88"/>
                <a:gd name="T22" fmla="*/ 15 w 67"/>
                <a:gd name="T23" fmla="*/ 12 h 88"/>
                <a:gd name="T24" fmla="*/ 0 w 67"/>
                <a:gd name="T25" fmla="*/ 12 h 8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7"/>
                <a:gd name="T40" fmla="*/ 0 h 88"/>
                <a:gd name="T41" fmla="*/ 67 w 67"/>
                <a:gd name="T42" fmla="*/ 88 h 8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7" h="88">
                  <a:moveTo>
                    <a:pt x="0" y="12"/>
                  </a:moveTo>
                  <a:lnTo>
                    <a:pt x="0" y="24"/>
                  </a:lnTo>
                  <a:lnTo>
                    <a:pt x="15" y="33"/>
                  </a:lnTo>
                  <a:lnTo>
                    <a:pt x="0" y="33"/>
                  </a:lnTo>
                  <a:lnTo>
                    <a:pt x="24" y="54"/>
                  </a:lnTo>
                  <a:lnTo>
                    <a:pt x="15" y="64"/>
                  </a:lnTo>
                  <a:lnTo>
                    <a:pt x="37" y="88"/>
                  </a:lnTo>
                  <a:lnTo>
                    <a:pt x="67" y="64"/>
                  </a:lnTo>
                  <a:lnTo>
                    <a:pt x="67" y="54"/>
                  </a:lnTo>
                  <a:lnTo>
                    <a:pt x="46" y="24"/>
                  </a:lnTo>
                  <a:lnTo>
                    <a:pt x="24" y="0"/>
                  </a:lnTo>
                  <a:lnTo>
                    <a:pt x="15" y="12"/>
                  </a:lnTo>
                  <a:lnTo>
                    <a:pt x="0" y="12"/>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60" name="Freeform 859"/>
            <p:cNvSpPr>
              <a:spLocks/>
            </p:cNvSpPr>
            <p:nvPr/>
          </p:nvSpPr>
          <p:spPr bwMode="auto">
            <a:xfrm>
              <a:off x="6089075" y="3252967"/>
              <a:ext cx="523027" cy="200601"/>
            </a:xfrm>
            <a:custGeom>
              <a:avLst/>
              <a:gdLst>
                <a:gd name="T0" fmla="*/ 447 w 527"/>
                <a:gd name="T1" fmla="*/ 48 h 204"/>
                <a:gd name="T2" fmla="*/ 459 w 527"/>
                <a:gd name="T3" fmla="*/ 39 h 204"/>
                <a:gd name="T4" fmla="*/ 428 w 527"/>
                <a:gd name="T5" fmla="*/ 30 h 204"/>
                <a:gd name="T6" fmla="*/ 404 w 527"/>
                <a:gd name="T7" fmla="*/ 39 h 204"/>
                <a:gd name="T8" fmla="*/ 361 w 527"/>
                <a:gd name="T9" fmla="*/ 48 h 204"/>
                <a:gd name="T10" fmla="*/ 282 w 527"/>
                <a:gd name="T11" fmla="*/ 30 h 204"/>
                <a:gd name="T12" fmla="*/ 232 w 527"/>
                <a:gd name="T13" fmla="*/ 30 h 204"/>
                <a:gd name="T14" fmla="*/ 198 w 527"/>
                <a:gd name="T15" fmla="*/ 9 h 204"/>
                <a:gd name="T16" fmla="*/ 155 w 527"/>
                <a:gd name="T17" fmla="*/ 0 h 204"/>
                <a:gd name="T18" fmla="*/ 146 w 527"/>
                <a:gd name="T19" fmla="*/ 9 h 204"/>
                <a:gd name="T20" fmla="*/ 155 w 527"/>
                <a:gd name="T21" fmla="*/ 18 h 204"/>
                <a:gd name="T22" fmla="*/ 155 w 527"/>
                <a:gd name="T23" fmla="*/ 39 h 204"/>
                <a:gd name="T24" fmla="*/ 110 w 527"/>
                <a:gd name="T25" fmla="*/ 39 h 204"/>
                <a:gd name="T26" fmla="*/ 91 w 527"/>
                <a:gd name="T27" fmla="*/ 30 h 204"/>
                <a:gd name="T28" fmla="*/ 55 w 527"/>
                <a:gd name="T29" fmla="*/ 18 h 204"/>
                <a:gd name="T30" fmla="*/ 0 w 527"/>
                <a:gd name="T31" fmla="*/ 48 h 204"/>
                <a:gd name="T32" fmla="*/ 24 w 527"/>
                <a:gd name="T33" fmla="*/ 73 h 204"/>
                <a:gd name="T34" fmla="*/ 46 w 527"/>
                <a:gd name="T35" fmla="*/ 85 h 204"/>
                <a:gd name="T36" fmla="*/ 67 w 527"/>
                <a:gd name="T37" fmla="*/ 94 h 204"/>
                <a:gd name="T38" fmla="*/ 79 w 527"/>
                <a:gd name="T39" fmla="*/ 124 h 204"/>
                <a:gd name="T40" fmla="*/ 155 w 527"/>
                <a:gd name="T41" fmla="*/ 149 h 204"/>
                <a:gd name="T42" fmla="*/ 198 w 527"/>
                <a:gd name="T43" fmla="*/ 179 h 204"/>
                <a:gd name="T44" fmla="*/ 273 w 527"/>
                <a:gd name="T45" fmla="*/ 179 h 204"/>
                <a:gd name="T46" fmla="*/ 349 w 527"/>
                <a:gd name="T47" fmla="*/ 204 h 204"/>
                <a:gd name="T48" fmla="*/ 392 w 527"/>
                <a:gd name="T49" fmla="*/ 191 h 204"/>
                <a:gd name="T50" fmla="*/ 428 w 527"/>
                <a:gd name="T51" fmla="*/ 179 h 204"/>
                <a:gd name="T52" fmla="*/ 447 w 527"/>
                <a:gd name="T53" fmla="*/ 161 h 204"/>
                <a:gd name="T54" fmla="*/ 437 w 527"/>
                <a:gd name="T55" fmla="*/ 149 h 204"/>
                <a:gd name="T56" fmla="*/ 447 w 527"/>
                <a:gd name="T57" fmla="*/ 140 h 204"/>
                <a:gd name="T58" fmla="*/ 468 w 527"/>
                <a:gd name="T59" fmla="*/ 140 h 204"/>
                <a:gd name="T60" fmla="*/ 480 w 527"/>
                <a:gd name="T61" fmla="*/ 124 h 204"/>
                <a:gd name="T62" fmla="*/ 492 w 527"/>
                <a:gd name="T63" fmla="*/ 115 h 204"/>
                <a:gd name="T64" fmla="*/ 504 w 527"/>
                <a:gd name="T65" fmla="*/ 106 h 204"/>
                <a:gd name="T66" fmla="*/ 535 w 527"/>
                <a:gd name="T67" fmla="*/ 106 h 204"/>
                <a:gd name="T68" fmla="*/ 523 w 527"/>
                <a:gd name="T69" fmla="*/ 85 h 204"/>
                <a:gd name="T70" fmla="*/ 514 w 527"/>
                <a:gd name="T71" fmla="*/ 73 h 204"/>
                <a:gd name="T72" fmla="*/ 492 w 527"/>
                <a:gd name="T73" fmla="*/ 85 h 204"/>
                <a:gd name="T74" fmla="*/ 468 w 527"/>
                <a:gd name="T75" fmla="*/ 85 h 204"/>
                <a:gd name="T76" fmla="*/ 447 w 527"/>
                <a:gd name="T77" fmla="*/ 48 h 20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27"/>
                <a:gd name="T118" fmla="*/ 0 h 204"/>
                <a:gd name="T119" fmla="*/ 527 w 527"/>
                <a:gd name="T120" fmla="*/ 204 h 20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27" h="204">
                  <a:moveTo>
                    <a:pt x="439" y="48"/>
                  </a:moveTo>
                  <a:lnTo>
                    <a:pt x="451" y="39"/>
                  </a:lnTo>
                  <a:lnTo>
                    <a:pt x="420" y="30"/>
                  </a:lnTo>
                  <a:lnTo>
                    <a:pt x="396" y="39"/>
                  </a:lnTo>
                  <a:lnTo>
                    <a:pt x="353" y="48"/>
                  </a:lnTo>
                  <a:lnTo>
                    <a:pt x="274" y="30"/>
                  </a:lnTo>
                  <a:lnTo>
                    <a:pt x="232" y="30"/>
                  </a:lnTo>
                  <a:lnTo>
                    <a:pt x="198" y="9"/>
                  </a:lnTo>
                  <a:lnTo>
                    <a:pt x="155" y="0"/>
                  </a:lnTo>
                  <a:lnTo>
                    <a:pt x="146" y="9"/>
                  </a:lnTo>
                  <a:lnTo>
                    <a:pt x="155" y="18"/>
                  </a:lnTo>
                  <a:lnTo>
                    <a:pt x="155" y="39"/>
                  </a:lnTo>
                  <a:lnTo>
                    <a:pt x="110" y="39"/>
                  </a:lnTo>
                  <a:lnTo>
                    <a:pt x="91" y="30"/>
                  </a:lnTo>
                  <a:lnTo>
                    <a:pt x="55" y="18"/>
                  </a:lnTo>
                  <a:lnTo>
                    <a:pt x="0" y="48"/>
                  </a:lnTo>
                  <a:lnTo>
                    <a:pt x="24" y="73"/>
                  </a:lnTo>
                  <a:lnTo>
                    <a:pt x="46" y="85"/>
                  </a:lnTo>
                  <a:lnTo>
                    <a:pt x="67" y="94"/>
                  </a:lnTo>
                  <a:lnTo>
                    <a:pt x="79" y="124"/>
                  </a:lnTo>
                  <a:lnTo>
                    <a:pt x="155" y="149"/>
                  </a:lnTo>
                  <a:lnTo>
                    <a:pt x="198" y="179"/>
                  </a:lnTo>
                  <a:lnTo>
                    <a:pt x="265" y="179"/>
                  </a:lnTo>
                  <a:lnTo>
                    <a:pt x="341" y="204"/>
                  </a:lnTo>
                  <a:lnTo>
                    <a:pt x="384" y="191"/>
                  </a:lnTo>
                  <a:lnTo>
                    <a:pt x="420" y="179"/>
                  </a:lnTo>
                  <a:lnTo>
                    <a:pt x="439" y="161"/>
                  </a:lnTo>
                  <a:lnTo>
                    <a:pt x="429" y="149"/>
                  </a:lnTo>
                  <a:lnTo>
                    <a:pt x="439" y="140"/>
                  </a:lnTo>
                  <a:lnTo>
                    <a:pt x="460" y="140"/>
                  </a:lnTo>
                  <a:lnTo>
                    <a:pt x="472" y="124"/>
                  </a:lnTo>
                  <a:lnTo>
                    <a:pt x="484" y="115"/>
                  </a:lnTo>
                  <a:lnTo>
                    <a:pt x="496" y="106"/>
                  </a:lnTo>
                  <a:lnTo>
                    <a:pt x="527" y="106"/>
                  </a:lnTo>
                  <a:lnTo>
                    <a:pt x="515" y="85"/>
                  </a:lnTo>
                  <a:lnTo>
                    <a:pt x="506" y="73"/>
                  </a:lnTo>
                  <a:lnTo>
                    <a:pt x="484" y="85"/>
                  </a:lnTo>
                  <a:lnTo>
                    <a:pt x="460" y="85"/>
                  </a:lnTo>
                  <a:lnTo>
                    <a:pt x="439" y="48"/>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61" name="Freeform 860"/>
            <p:cNvSpPr>
              <a:spLocks/>
            </p:cNvSpPr>
            <p:nvPr/>
          </p:nvSpPr>
          <p:spPr bwMode="auto">
            <a:xfrm>
              <a:off x="5126743" y="3440066"/>
              <a:ext cx="325878" cy="128269"/>
            </a:xfrm>
            <a:custGeom>
              <a:avLst/>
              <a:gdLst>
                <a:gd name="T0" fmla="*/ 283 w 329"/>
                <a:gd name="T1" fmla="*/ 25 h 131"/>
                <a:gd name="T2" fmla="*/ 298 w 329"/>
                <a:gd name="T3" fmla="*/ 46 h 131"/>
                <a:gd name="T4" fmla="*/ 319 w 329"/>
                <a:gd name="T5" fmla="*/ 46 h 131"/>
                <a:gd name="T6" fmla="*/ 307 w 329"/>
                <a:gd name="T7" fmla="*/ 55 h 131"/>
                <a:gd name="T8" fmla="*/ 329 w 329"/>
                <a:gd name="T9" fmla="*/ 101 h 131"/>
                <a:gd name="T10" fmla="*/ 298 w 329"/>
                <a:gd name="T11" fmla="*/ 101 h 131"/>
                <a:gd name="T12" fmla="*/ 283 w 329"/>
                <a:gd name="T13" fmla="*/ 101 h 131"/>
                <a:gd name="T14" fmla="*/ 252 w 329"/>
                <a:gd name="T15" fmla="*/ 110 h 131"/>
                <a:gd name="T16" fmla="*/ 231 w 329"/>
                <a:gd name="T17" fmla="*/ 110 h 131"/>
                <a:gd name="T18" fmla="*/ 219 w 329"/>
                <a:gd name="T19" fmla="*/ 110 h 131"/>
                <a:gd name="T20" fmla="*/ 185 w 329"/>
                <a:gd name="T21" fmla="*/ 110 h 131"/>
                <a:gd name="T22" fmla="*/ 185 w 329"/>
                <a:gd name="T23" fmla="*/ 119 h 131"/>
                <a:gd name="T24" fmla="*/ 176 w 329"/>
                <a:gd name="T25" fmla="*/ 131 h 131"/>
                <a:gd name="T26" fmla="*/ 176 w 329"/>
                <a:gd name="T27" fmla="*/ 110 h 131"/>
                <a:gd name="T28" fmla="*/ 167 w 329"/>
                <a:gd name="T29" fmla="*/ 119 h 131"/>
                <a:gd name="T30" fmla="*/ 152 w 329"/>
                <a:gd name="T31" fmla="*/ 110 h 131"/>
                <a:gd name="T32" fmla="*/ 131 w 329"/>
                <a:gd name="T33" fmla="*/ 119 h 131"/>
                <a:gd name="T34" fmla="*/ 121 w 329"/>
                <a:gd name="T35" fmla="*/ 131 h 131"/>
                <a:gd name="T36" fmla="*/ 100 w 329"/>
                <a:gd name="T37" fmla="*/ 110 h 131"/>
                <a:gd name="T38" fmla="*/ 91 w 329"/>
                <a:gd name="T39" fmla="*/ 110 h 131"/>
                <a:gd name="T40" fmla="*/ 76 w 329"/>
                <a:gd name="T41" fmla="*/ 119 h 131"/>
                <a:gd name="T42" fmla="*/ 67 w 329"/>
                <a:gd name="T43" fmla="*/ 119 h 131"/>
                <a:gd name="T44" fmla="*/ 33 w 329"/>
                <a:gd name="T45" fmla="*/ 110 h 131"/>
                <a:gd name="T46" fmla="*/ 45 w 329"/>
                <a:gd name="T47" fmla="*/ 110 h 131"/>
                <a:gd name="T48" fmla="*/ 24 w 329"/>
                <a:gd name="T49" fmla="*/ 110 h 131"/>
                <a:gd name="T50" fmla="*/ 33 w 329"/>
                <a:gd name="T51" fmla="*/ 101 h 131"/>
                <a:gd name="T52" fmla="*/ 24 w 329"/>
                <a:gd name="T53" fmla="*/ 101 h 131"/>
                <a:gd name="T54" fmla="*/ 24 w 329"/>
                <a:gd name="T55" fmla="*/ 89 h 131"/>
                <a:gd name="T56" fmla="*/ 12 w 329"/>
                <a:gd name="T57" fmla="*/ 77 h 131"/>
                <a:gd name="T58" fmla="*/ 24 w 329"/>
                <a:gd name="T59" fmla="*/ 77 h 131"/>
                <a:gd name="T60" fmla="*/ 12 w 329"/>
                <a:gd name="T61" fmla="*/ 55 h 131"/>
                <a:gd name="T62" fmla="*/ 0 w 329"/>
                <a:gd name="T63" fmla="*/ 55 h 131"/>
                <a:gd name="T64" fmla="*/ 0 w 329"/>
                <a:gd name="T65" fmla="*/ 46 h 131"/>
                <a:gd name="T66" fmla="*/ 12 w 329"/>
                <a:gd name="T67" fmla="*/ 46 h 131"/>
                <a:gd name="T68" fmla="*/ 54 w 329"/>
                <a:gd name="T69" fmla="*/ 46 h 131"/>
                <a:gd name="T70" fmla="*/ 45 w 329"/>
                <a:gd name="T71" fmla="*/ 34 h 131"/>
                <a:gd name="T72" fmla="*/ 54 w 329"/>
                <a:gd name="T73" fmla="*/ 34 h 131"/>
                <a:gd name="T74" fmla="*/ 45 w 329"/>
                <a:gd name="T75" fmla="*/ 25 h 131"/>
                <a:gd name="T76" fmla="*/ 24 w 329"/>
                <a:gd name="T77" fmla="*/ 25 h 131"/>
                <a:gd name="T78" fmla="*/ 0 w 329"/>
                <a:gd name="T79" fmla="*/ 46 h 131"/>
                <a:gd name="T80" fmla="*/ 12 w 329"/>
                <a:gd name="T81" fmla="*/ 34 h 131"/>
                <a:gd name="T82" fmla="*/ 0 w 329"/>
                <a:gd name="T83" fmla="*/ 34 h 131"/>
                <a:gd name="T84" fmla="*/ 0 w 329"/>
                <a:gd name="T85" fmla="*/ 13 h 131"/>
                <a:gd name="T86" fmla="*/ 33 w 329"/>
                <a:gd name="T87" fmla="*/ 13 h 131"/>
                <a:gd name="T88" fmla="*/ 45 w 329"/>
                <a:gd name="T89" fmla="*/ 25 h 131"/>
                <a:gd name="T90" fmla="*/ 67 w 329"/>
                <a:gd name="T91" fmla="*/ 25 h 131"/>
                <a:gd name="T92" fmla="*/ 91 w 329"/>
                <a:gd name="T93" fmla="*/ 25 h 131"/>
                <a:gd name="T94" fmla="*/ 121 w 329"/>
                <a:gd name="T95" fmla="*/ 0 h 131"/>
                <a:gd name="T96" fmla="*/ 143 w 329"/>
                <a:gd name="T97" fmla="*/ 0 h 131"/>
                <a:gd name="T98" fmla="*/ 185 w 329"/>
                <a:gd name="T99" fmla="*/ 25 h 131"/>
                <a:gd name="T100" fmla="*/ 231 w 329"/>
                <a:gd name="T101" fmla="*/ 25 h 131"/>
                <a:gd name="T102" fmla="*/ 262 w 329"/>
                <a:gd name="T103" fmla="*/ 13 h 131"/>
                <a:gd name="T104" fmla="*/ 283 w 329"/>
                <a:gd name="T105" fmla="*/ 13 h 131"/>
                <a:gd name="T106" fmla="*/ 283 w 329"/>
                <a:gd name="T107" fmla="*/ 25 h 13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29"/>
                <a:gd name="T163" fmla="*/ 0 h 131"/>
                <a:gd name="T164" fmla="*/ 329 w 329"/>
                <a:gd name="T165" fmla="*/ 131 h 13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29" h="131">
                  <a:moveTo>
                    <a:pt x="283" y="25"/>
                  </a:moveTo>
                  <a:lnTo>
                    <a:pt x="298" y="46"/>
                  </a:lnTo>
                  <a:lnTo>
                    <a:pt x="319" y="46"/>
                  </a:lnTo>
                  <a:lnTo>
                    <a:pt x="307" y="55"/>
                  </a:lnTo>
                  <a:lnTo>
                    <a:pt x="329" y="101"/>
                  </a:lnTo>
                  <a:lnTo>
                    <a:pt x="298" y="101"/>
                  </a:lnTo>
                  <a:lnTo>
                    <a:pt x="283" y="101"/>
                  </a:lnTo>
                  <a:lnTo>
                    <a:pt x="252" y="110"/>
                  </a:lnTo>
                  <a:lnTo>
                    <a:pt x="231" y="110"/>
                  </a:lnTo>
                  <a:lnTo>
                    <a:pt x="219" y="110"/>
                  </a:lnTo>
                  <a:lnTo>
                    <a:pt x="185" y="110"/>
                  </a:lnTo>
                  <a:lnTo>
                    <a:pt x="185" y="119"/>
                  </a:lnTo>
                  <a:lnTo>
                    <a:pt x="176" y="131"/>
                  </a:lnTo>
                  <a:lnTo>
                    <a:pt x="176" y="110"/>
                  </a:lnTo>
                  <a:lnTo>
                    <a:pt x="167" y="119"/>
                  </a:lnTo>
                  <a:lnTo>
                    <a:pt x="152" y="110"/>
                  </a:lnTo>
                  <a:lnTo>
                    <a:pt x="131" y="119"/>
                  </a:lnTo>
                  <a:lnTo>
                    <a:pt x="121" y="131"/>
                  </a:lnTo>
                  <a:lnTo>
                    <a:pt x="100" y="110"/>
                  </a:lnTo>
                  <a:lnTo>
                    <a:pt x="91" y="110"/>
                  </a:lnTo>
                  <a:lnTo>
                    <a:pt x="76" y="119"/>
                  </a:lnTo>
                  <a:lnTo>
                    <a:pt x="67" y="119"/>
                  </a:lnTo>
                  <a:lnTo>
                    <a:pt x="33" y="110"/>
                  </a:lnTo>
                  <a:lnTo>
                    <a:pt x="45" y="110"/>
                  </a:lnTo>
                  <a:lnTo>
                    <a:pt x="24" y="110"/>
                  </a:lnTo>
                  <a:lnTo>
                    <a:pt x="33" y="101"/>
                  </a:lnTo>
                  <a:lnTo>
                    <a:pt x="24" y="101"/>
                  </a:lnTo>
                  <a:lnTo>
                    <a:pt x="24" y="89"/>
                  </a:lnTo>
                  <a:lnTo>
                    <a:pt x="12" y="77"/>
                  </a:lnTo>
                  <a:lnTo>
                    <a:pt x="24" y="77"/>
                  </a:lnTo>
                  <a:lnTo>
                    <a:pt x="12" y="55"/>
                  </a:lnTo>
                  <a:lnTo>
                    <a:pt x="0" y="55"/>
                  </a:lnTo>
                  <a:lnTo>
                    <a:pt x="0" y="46"/>
                  </a:lnTo>
                  <a:lnTo>
                    <a:pt x="12" y="46"/>
                  </a:lnTo>
                  <a:lnTo>
                    <a:pt x="54" y="46"/>
                  </a:lnTo>
                  <a:lnTo>
                    <a:pt x="45" y="34"/>
                  </a:lnTo>
                  <a:lnTo>
                    <a:pt x="54" y="34"/>
                  </a:lnTo>
                  <a:lnTo>
                    <a:pt x="45" y="25"/>
                  </a:lnTo>
                  <a:lnTo>
                    <a:pt x="24" y="25"/>
                  </a:lnTo>
                  <a:lnTo>
                    <a:pt x="0" y="46"/>
                  </a:lnTo>
                  <a:lnTo>
                    <a:pt x="12" y="34"/>
                  </a:lnTo>
                  <a:lnTo>
                    <a:pt x="0" y="34"/>
                  </a:lnTo>
                  <a:lnTo>
                    <a:pt x="0" y="13"/>
                  </a:lnTo>
                  <a:lnTo>
                    <a:pt x="33" y="13"/>
                  </a:lnTo>
                  <a:lnTo>
                    <a:pt x="45" y="25"/>
                  </a:lnTo>
                  <a:lnTo>
                    <a:pt x="67" y="25"/>
                  </a:lnTo>
                  <a:lnTo>
                    <a:pt x="91" y="25"/>
                  </a:lnTo>
                  <a:lnTo>
                    <a:pt x="121" y="0"/>
                  </a:lnTo>
                  <a:lnTo>
                    <a:pt x="143" y="0"/>
                  </a:lnTo>
                  <a:lnTo>
                    <a:pt x="185" y="25"/>
                  </a:lnTo>
                  <a:lnTo>
                    <a:pt x="231" y="25"/>
                  </a:lnTo>
                  <a:lnTo>
                    <a:pt x="262" y="13"/>
                  </a:lnTo>
                  <a:lnTo>
                    <a:pt x="283" y="13"/>
                  </a:lnTo>
                  <a:lnTo>
                    <a:pt x="283" y="25"/>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62" name="Freeform 861"/>
            <p:cNvSpPr>
              <a:spLocks/>
            </p:cNvSpPr>
            <p:nvPr/>
          </p:nvSpPr>
          <p:spPr bwMode="auto">
            <a:xfrm>
              <a:off x="5301385" y="3539403"/>
              <a:ext cx="106226" cy="104159"/>
            </a:xfrm>
            <a:custGeom>
              <a:avLst/>
              <a:gdLst>
                <a:gd name="T0" fmla="*/ 107 w 107"/>
                <a:gd name="T1" fmla="*/ 0 h 106"/>
                <a:gd name="T2" fmla="*/ 86 w 107"/>
                <a:gd name="T3" fmla="*/ 18 h 106"/>
                <a:gd name="T4" fmla="*/ 86 w 107"/>
                <a:gd name="T5" fmla="*/ 64 h 106"/>
                <a:gd name="T6" fmla="*/ 55 w 107"/>
                <a:gd name="T7" fmla="*/ 85 h 106"/>
                <a:gd name="T8" fmla="*/ 9 w 107"/>
                <a:gd name="T9" fmla="*/ 106 h 106"/>
                <a:gd name="T10" fmla="*/ 0 w 107"/>
                <a:gd name="T11" fmla="*/ 94 h 106"/>
                <a:gd name="T12" fmla="*/ 0 w 107"/>
                <a:gd name="T13" fmla="*/ 85 h 106"/>
                <a:gd name="T14" fmla="*/ 9 w 107"/>
                <a:gd name="T15" fmla="*/ 64 h 106"/>
                <a:gd name="T16" fmla="*/ 0 w 107"/>
                <a:gd name="T17" fmla="*/ 64 h 106"/>
                <a:gd name="T18" fmla="*/ 0 w 107"/>
                <a:gd name="T19" fmla="*/ 30 h 106"/>
                <a:gd name="T20" fmla="*/ 9 w 107"/>
                <a:gd name="T21" fmla="*/ 18 h 106"/>
                <a:gd name="T22" fmla="*/ 9 w 107"/>
                <a:gd name="T23" fmla="*/ 9 h 106"/>
                <a:gd name="T24" fmla="*/ 43 w 107"/>
                <a:gd name="T25" fmla="*/ 9 h 106"/>
                <a:gd name="T26" fmla="*/ 55 w 107"/>
                <a:gd name="T27" fmla="*/ 9 h 106"/>
                <a:gd name="T28" fmla="*/ 76 w 107"/>
                <a:gd name="T29" fmla="*/ 9 h 106"/>
                <a:gd name="T30" fmla="*/ 107 w 107"/>
                <a:gd name="T31" fmla="*/ 0 h 10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7"/>
                <a:gd name="T49" fmla="*/ 0 h 106"/>
                <a:gd name="T50" fmla="*/ 107 w 107"/>
                <a:gd name="T51" fmla="*/ 106 h 10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7" h="106">
                  <a:moveTo>
                    <a:pt x="107" y="0"/>
                  </a:moveTo>
                  <a:lnTo>
                    <a:pt x="86" y="18"/>
                  </a:lnTo>
                  <a:lnTo>
                    <a:pt x="86" y="64"/>
                  </a:lnTo>
                  <a:lnTo>
                    <a:pt x="55" y="85"/>
                  </a:lnTo>
                  <a:lnTo>
                    <a:pt x="9" y="106"/>
                  </a:lnTo>
                  <a:lnTo>
                    <a:pt x="0" y="94"/>
                  </a:lnTo>
                  <a:lnTo>
                    <a:pt x="0" y="85"/>
                  </a:lnTo>
                  <a:lnTo>
                    <a:pt x="9" y="64"/>
                  </a:lnTo>
                  <a:lnTo>
                    <a:pt x="0" y="64"/>
                  </a:lnTo>
                  <a:lnTo>
                    <a:pt x="0" y="30"/>
                  </a:lnTo>
                  <a:lnTo>
                    <a:pt x="9" y="18"/>
                  </a:lnTo>
                  <a:lnTo>
                    <a:pt x="9" y="9"/>
                  </a:lnTo>
                  <a:lnTo>
                    <a:pt x="43" y="9"/>
                  </a:lnTo>
                  <a:lnTo>
                    <a:pt x="55" y="9"/>
                  </a:lnTo>
                  <a:lnTo>
                    <a:pt x="76" y="9"/>
                  </a:lnTo>
                  <a:lnTo>
                    <a:pt x="107"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63" name="Freeform 862"/>
            <p:cNvSpPr>
              <a:spLocks/>
            </p:cNvSpPr>
            <p:nvPr/>
          </p:nvSpPr>
          <p:spPr bwMode="auto">
            <a:xfrm>
              <a:off x="5292383" y="3622344"/>
              <a:ext cx="75618" cy="74261"/>
            </a:xfrm>
            <a:custGeom>
              <a:avLst/>
              <a:gdLst>
                <a:gd name="T0" fmla="*/ 9 w 76"/>
                <a:gd name="T1" fmla="*/ 9 h 76"/>
                <a:gd name="T2" fmla="*/ 0 w 76"/>
                <a:gd name="T3" fmla="*/ 21 h 76"/>
                <a:gd name="T4" fmla="*/ 9 w 76"/>
                <a:gd name="T5" fmla="*/ 46 h 76"/>
                <a:gd name="T6" fmla="*/ 0 w 76"/>
                <a:gd name="T7" fmla="*/ 76 h 76"/>
                <a:gd name="T8" fmla="*/ 18 w 76"/>
                <a:gd name="T9" fmla="*/ 76 h 76"/>
                <a:gd name="T10" fmla="*/ 31 w 76"/>
                <a:gd name="T11" fmla="*/ 64 h 76"/>
                <a:gd name="T12" fmla="*/ 40 w 76"/>
                <a:gd name="T13" fmla="*/ 64 h 76"/>
                <a:gd name="T14" fmla="*/ 52 w 76"/>
                <a:gd name="T15" fmla="*/ 55 h 76"/>
                <a:gd name="T16" fmla="*/ 31 w 76"/>
                <a:gd name="T17" fmla="*/ 31 h 76"/>
                <a:gd name="T18" fmla="*/ 76 w 76"/>
                <a:gd name="T19" fmla="*/ 21 h 76"/>
                <a:gd name="T20" fmla="*/ 64 w 76"/>
                <a:gd name="T21" fmla="*/ 0 h 76"/>
                <a:gd name="T22" fmla="*/ 18 w 76"/>
                <a:gd name="T23" fmla="*/ 21 h 76"/>
                <a:gd name="T24" fmla="*/ 9 w 76"/>
                <a:gd name="T25" fmla="*/ 9 h 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6"/>
                <a:gd name="T40" fmla="*/ 0 h 76"/>
                <a:gd name="T41" fmla="*/ 76 w 76"/>
                <a:gd name="T42" fmla="*/ 76 h 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6" h="76">
                  <a:moveTo>
                    <a:pt x="9" y="9"/>
                  </a:moveTo>
                  <a:lnTo>
                    <a:pt x="0" y="21"/>
                  </a:lnTo>
                  <a:lnTo>
                    <a:pt x="9" y="46"/>
                  </a:lnTo>
                  <a:lnTo>
                    <a:pt x="0" y="76"/>
                  </a:lnTo>
                  <a:lnTo>
                    <a:pt x="18" y="76"/>
                  </a:lnTo>
                  <a:lnTo>
                    <a:pt x="31" y="64"/>
                  </a:lnTo>
                  <a:lnTo>
                    <a:pt x="40" y="64"/>
                  </a:lnTo>
                  <a:lnTo>
                    <a:pt x="52" y="55"/>
                  </a:lnTo>
                  <a:lnTo>
                    <a:pt x="31" y="31"/>
                  </a:lnTo>
                  <a:lnTo>
                    <a:pt x="76" y="21"/>
                  </a:lnTo>
                  <a:lnTo>
                    <a:pt x="64" y="0"/>
                  </a:lnTo>
                  <a:lnTo>
                    <a:pt x="18" y="21"/>
                  </a:lnTo>
                  <a:lnTo>
                    <a:pt x="9" y="9"/>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64" name="Freeform 863"/>
            <p:cNvSpPr>
              <a:spLocks/>
            </p:cNvSpPr>
            <p:nvPr/>
          </p:nvSpPr>
          <p:spPr bwMode="auto">
            <a:xfrm>
              <a:off x="5355398" y="3539403"/>
              <a:ext cx="172842" cy="165883"/>
            </a:xfrm>
            <a:custGeom>
              <a:avLst/>
              <a:gdLst>
                <a:gd name="T0" fmla="*/ 98 w 174"/>
                <a:gd name="T1" fmla="*/ 0 h 170"/>
                <a:gd name="T2" fmla="*/ 67 w 174"/>
                <a:gd name="T3" fmla="*/ 0 h 170"/>
                <a:gd name="T4" fmla="*/ 52 w 174"/>
                <a:gd name="T5" fmla="*/ 0 h 170"/>
                <a:gd name="T6" fmla="*/ 31 w 174"/>
                <a:gd name="T7" fmla="*/ 18 h 170"/>
                <a:gd name="T8" fmla="*/ 31 w 174"/>
                <a:gd name="T9" fmla="*/ 64 h 170"/>
                <a:gd name="T10" fmla="*/ 0 w 174"/>
                <a:gd name="T11" fmla="*/ 85 h 170"/>
                <a:gd name="T12" fmla="*/ 12 w 174"/>
                <a:gd name="T13" fmla="*/ 106 h 170"/>
                <a:gd name="T14" fmla="*/ 31 w 174"/>
                <a:gd name="T15" fmla="*/ 116 h 170"/>
                <a:gd name="T16" fmla="*/ 76 w 174"/>
                <a:gd name="T17" fmla="*/ 140 h 170"/>
                <a:gd name="T18" fmla="*/ 88 w 174"/>
                <a:gd name="T19" fmla="*/ 140 h 170"/>
                <a:gd name="T20" fmla="*/ 88 w 174"/>
                <a:gd name="T21" fmla="*/ 161 h 170"/>
                <a:gd name="T22" fmla="*/ 107 w 174"/>
                <a:gd name="T23" fmla="*/ 170 h 170"/>
                <a:gd name="T24" fmla="*/ 119 w 174"/>
                <a:gd name="T25" fmla="*/ 161 h 170"/>
                <a:gd name="T26" fmla="*/ 143 w 174"/>
                <a:gd name="T27" fmla="*/ 170 h 170"/>
                <a:gd name="T28" fmla="*/ 152 w 174"/>
                <a:gd name="T29" fmla="*/ 149 h 170"/>
                <a:gd name="T30" fmla="*/ 174 w 174"/>
                <a:gd name="T31" fmla="*/ 149 h 170"/>
                <a:gd name="T32" fmla="*/ 152 w 174"/>
                <a:gd name="T33" fmla="*/ 131 h 170"/>
                <a:gd name="T34" fmla="*/ 152 w 174"/>
                <a:gd name="T35" fmla="*/ 94 h 170"/>
                <a:gd name="T36" fmla="*/ 119 w 174"/>
                <a:gd name="T37" fmla="*/ 85 h 170"/>
                <a:gd name="T38" fmla="*/ 107 w 174"/>
                <a:gd name="T39" fmla="*/ 64 h 170"/>
                <a:gd name="T40" fmla="*/ 119 w 174"/>
                <a:gd name="T41" fmla="*/ 40 h 170"/>
                <a:gd name="T42" fmla="*/ 98 w 174"/>
                <a:gd name="T43" fmla="*/ 0 h 17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4"/>
                <a:gd name="T67" fmla="*/ 0 h 170"/>
                <a:gd name="T68" fmla="*/ 174 w 174"/>
                <a:gd name="T69" fmla="*/ 170 h 17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4" h="170">
                  <a:moveTo>
                    <a:pt x="98" y="0"/>
                  </a:moveTo>
                  <a:lnTo>
                    <a:pt x="67" y="0"/>
                  </a:lnTo>
                  <a:lnTo>
                    <a:pt x="52" y="0"/>
                  </a:lnTo>
                  <a:lnTo>
                    <a:pt x="31" y="18"/>
                  </a:lnTo>
                  <a:lnTo>
                    <a:pt x="31" y="64"/>
                  </a:lnTo>
                  <a:lnTo>
                    <a:pt x="0" y="85"/>
                  </a:lnTo>
                  <a:lnTo>
                    <a:pt x="12" y="106"/>
                  </a:lnTo>
                  <a:lnTo>
                    <a:pt x="31" y="116"/>
                  </a:lnTo>
                  <a:lnTo>
                    <a:pt x="76" y="140"/>
                  </a:lnTo>
                  <a:lnTo>
                    <a:pt x="88" y="140"/>
                  </a:lnTo>
                  <a:lnTo>
                    <a:pt x="88" y="161"/>
                  </a:lnTo>
                  <a:lnTo>
                    <a:pt x="107" y="170"/>
                  </a:lnTo>
                  <a:lnTo>
                    <a:pt x="119" y="161"/>
                  </a:lnTo>
                  <a:lnTo>
                    <a:pt x="143" y="170"/>
                  </a:lnTo>
                  <a:lnTo>
                    <a:pt x="152" y="149"/>
                  </a:lnTo>
                  <a:lnTo>
                    <a:pt x="174" y="149"/>
                  </a:lnTo>
                  <a:lnTo>
                    <a:pt x="152" y="131"/>
                  </a:lnTo>
                  <a:lnTo>
                    <a:pt x="152" y="94"/>
                  </a:lnTo>
                  <a:lnTo>
                    <a:pt x="119" y="85"/>
                  </a:lnTo>
                  <a:lnTo>
                    <a:pt x="107" y="64"/>
                  </a:lnTo>
                  <a:lnTo>
                    <a:pt x="119" y="40"/>
                  </a:lnTo>
                  <a:lnTo>
                    <a:pt x="98"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65" name="Freeform 864"/>
            <p:cNvSpPr>
              <a:spLocks/>
            </p:cNvSpPr>
            <p:nvPr/>
          </p:nvSpPr>
          <p:spPr bwMode="auto">
            <a:xfrm>
              <a:off x="5277079" y="3622344"/>
              <a:ext cx="24306" cy="74261"/>
            </a:xfrm>
            <a:custGeom>
              <a:avLst/>
              <a:gdLst>
                <a:gd name="T0" fmla="*/ 24 w 24"/>
                <a:gd name="T1" fmla="*/ 9 h 76"/>
                <a:gd name="T2" fmla="*/ 24 w 24"/>
                <a:gd name="T3" fmla="*/ 0 h 76"/>
                <a:gd name="T4" fmla="*/ 15 w 24"/>
                <a:gd name="T5" fmla="*/ 0 h 76"/>
                <a:gd name="T6" fmla="*/ 0 w 24"/>
                <a:gd name="T7" fmla="*/ 31 h 76"/>
                <a:gd name="T8" fmla="*/ 0 w 24"/>
                <a:gd name="T9" fmla="*/ 46 h 76"/>
                <a:gd name="T10" fmla="*/ 15 w 24"/>
                <a:gd name="T11" fmla="*/ 76 h 76"/>
                <a:gd name="T12" fmla="*/ 24 w 24"/>
                <a:gd name="T13" fmla="*/ 46 h 76"/>
                <a:gd name="T14" fmla="*/ 15 w 24"/>
                <a:gd name="T15" fmla="*/ 21 h 76"/>
                <a:gd name="T16" fmla="*/ 24 w 24"/>
                <a:gd name="T17" fmla="*/ 9 h 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76"/>
                <a:gd name="T29" fmla="*/ 24 w 24"/>
                <a:gd name="T30" fmla="*/ 76 h 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76">
                  <a:moveTo>
                    <a:pt x="24" y="9"/>
                  </a:moveTo>
                  <a:lnTo>
                    <a:pt x="24" y="0"/>
                  </a:lnTo>
                  <a:lnTo>
                    <a:pt x="15" y="0"/>
                  </a:lnTo>
                  <a:lnTo>
                    <a:pt x="0" y="31"/>
                  </a:lnTo>
                  <a:lnTo>
                    <a:pt x="0" y="46"/>
                  </a:lnTo>
                  <a:lnTo>
                    <a:pt x="15" y="76"/>
                  </a:lnTo>
                  <a:lnTo>
                    <a:pt x="24" y="46"/>
                  </a:lnTo>
                  <a:lnTo>
                    <a:pt x="15" y="21"/>
                  </a:lnTo>
                  <a:lnTo>
                    <a:pt x="24" y="9"/>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66" name="Freeform 865"/>
            <p:cNvSpPr>
              <a:spLocks/>
            </p:cNvSpPr>
            <p:nvPr/>
          </p:nvSpPr>
          <p:spPr bwMode="auto">
            <a:xfrm>
              <a:off x="5117740" y="3653206"/>
              <a:ext cx="193546" cy="189993"/>
            </a:xfrm>
            <a:custGeom>
              <a:avLst/>
              <a:gdLst>
                <a:gd name="T0" fmla="*/ 162 w 195"/>
                <a:gd name="T1" fmla="*/ 15 h 194"/>
                <a:gd name="T2" fmla="*/ 177 w 195"/>
                <a:gd name="T3" fmla="*/ 45 h 194"/>
                <a:gd name="T4" fmla="*/ 162 w 195"/>
                <a:gd name="T5" fmla="*/ 76 h 194"/>
                <a:gd name="T6" fmla="*/ 153 w 195"/>
                <a:gd name="T7" fmla="*/ 64 h 194"/>
                <a:gd name="T8" fmla="*/ 131 w 195"/>
                <a:gd name="T9" fmla="*/ 33 h 194"/>
                <a:gd name="T10" fmla="*/ 141 w 195"/>
                <a:gd name="T11" fmla="*/ 54 h 194"/>
                <a:gd name="T12" fmla="*/ 195 w 195"/>
                <a:gd name="T13" fmla="*/ 155 h 194"/>
                <a:gd name="T14" fmla="*/ 195 w 195"/>
                <a:gd name="T15" fmla="*/ 176 h 194"/>
                <a:gd name="T16" fmla="*/ 177 w 195"/>
                <a:gd name="T17" fmla="*/ 194 h 194"/>
                <a:gd name="T18" fmla="*/ 153 w 195"/>
                <a:gd name="T19" fmla="*/ 194 h 194"/>
                <a:gd name="T20" fmla="*/ 10 w 195"/>
                <a:gd name="T21" fmla="*/ 194 h 194"/>
                <a:gd name="T22" fmla="*/ 0 w 195"/>
                <a:gd name="T23" fmla="*/ 64 h 194"/>
                <a:gd name="T24" fmla="*/ 0 w 195"/>
                <a:gd name="T25" fmla="*/ 33 h 194"/>
                <a:gd name="T26" fmla="*/ 0 w 195"/>
                <a:gd name="T27" fmla="*/ 0 h 194"/>
                <a:gd name="T28" fmla="*/ 34 w 195"/>
                <a:gd name="T29" fmla="*/ 0 h 194"/>
                <a:gd name="T30" fmla="*/ 77 w 195"/>
                <a:gd name="T31" fmla="*/ 15 h 194"/>
                <a:gd name="T32" fmla="*/ 110 w 195"/>
                <a:gd name="T33" fmla="*/ 0 h 194"/>
                <a:gd name="T34" fmla="*/ 119 w 195"/>
                <a:gd name="T35" fmla="*/ 0 h 194"/>
                <a:gd name="T36" fmla="*/ 119 w 195"/>
                <a:gd name="T37" fmla="*/ 15 h 194"/>
                <a:gd name="T38" fmla="*/ 131 w 195"/>
                <a:gd name="T39" fmla="*/ 15 h 194"/>
                <a:gd name="T40" fmla="*/ 141 w 195"/>
                <a:gd name="T41" fmla="*/ 15 h 194"/>
                <a:gd name="T42" fmla="*/ 162 w 195"/>
                <a:gd name="T43" fmla="*/ 15 h 19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5"/>
                <a:gd name="T67" fmla="*/ 0 h 194"/>
                <a:gd name="T68" fmla="*/ 195 w 195"/>
                <a:gd name="T69" fmla="*/ 194 h 19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5" h="194">
                  <a:moveTo>
                    <a:pt x="162" y="15"/>
                  </a:moveTo>
                  <a:lnTo>
                    <a:pt x="177" y="45"/>
                  </a:lnTo>
                  <a:lnTo>
                    <a:pt x="162" y="76"/>
                  </a:lnTo>
                  <a:lnTo>
                    <a:pt x="153" y="64"/>
                  </a:lnTo>
                  <a:lnTo>
                    <a:pt x="131" y="33"/>
                  </a:lnTo>
                  <a:lnTo>
                    <a:pt x="141" y="54"/>
                  </a:lnTo>
                  <a:lnTo>
                    <a:pt x="195" y="155"/>
                  </a:lnTo>
                  <a:lnTo>
                    <a:pt x="195" y="176"/>
                  </a:lnTo>
                  <a:lnTo>
                    <a:pt x="177" y="194"/>
                  </a:lnTo>
                  <a:lnTo>
                    <a:pt x="153" y="194"/>
                  </a:lnTo>
                  <a:lnTo>
                    <a:pt x="10" y="194"/>
                  </a:lnTo>
                  <a:lnTo>
                    <a:pt x="0" y="64"/>
                  </a:lnTo>
                  <a:lnTo>
                    <a:pt x="0" y="33"/>
                  </a:lnTo>
                  <a:lnTo>
                    <a:pt x="0" y="0"/>
                  </a:lnTo>
                  <a:lnTo>
                    <a:pt x="34" y="0"/>
                  </a:lnTo>
                  <a:lnTo>
                    <a:pt x="77" y="15"/>
                  </a:lnTo>
                  <a:lnTo>
                    <a:pt x="110" y="0"/>
                  </a:lnTo>
                  <a:lnTo>
                    <a:pt x="119" y="0"/>
                  </a:lnTo>
                  <a:lnTo>
                    <a:pt x="119" y="15"/>
                  </a:lnTo>
                  <a:lnTo>
                    <a:pt x="131" y="15"/>
                  </a:lnTo>
                  <a:lnTo>
                    <a:pt x="141" y="15"/>
                  </a:lnTo>
                  <a:lnTo>
                    <a:pt x="162" y="15"/>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67" name="Freeform 866"/>
            <p:cNvSpPr>
              <a:spLocks/>
            </p:cNvSpPr>
            <p:nvPr/>
          </p:nvSpPr>
          <p:spPr bwMode="auto">
            <a:xfrm>
              <a:off x="5277079" y="3929997"/>
              <a:ext cx="260163" cy="289330"/>
            </a:xfrm>
            <a:custGeom>
              <a:avLst/>
              <a:gdLst>
                <a:gd name="T0" fmla="*/ 67 w 262"/>
                <a:gd name="T1" fmla="*/ 271 h 295"/>
                <a:gd name="T2" fmla="*/ 46 w 262"/>
                <a:gd name="T3" fmla="*/ 271 h 295"/>
                <a:gd name="T4" fmla="*/ 46 w 262"/>
                <a:gd name="T5" fmla="*/ 259 h 295"/>
                <a:gd name="T6" fmla="*/ 33 w 262"/>
                <a:gd name="T7" fmla="*/ 249 h 295"/>
                <a:gd name="T8" fmla="*/ 15 w 262"/>
                <a:gd name="T9" fmla="*/ 216 h 295"/>
                <a:gd name="T10" fmla="*/ 0 w 262"/>
                <a:gd name="T11" fmla="*/ 207 h 295"/>
                <a:gd name="T12" fmla="*/ 0 w 262"/>
                <a:gd name="T13" fmla="*/ 195 h 295"/>
                <a:gd name="T14" fmla="*/ 15 w 262"/>
                <a:gd name="T15" fmla="*/ 195 h 295"/>
                <a:gd name="T16" fmla="*/ 24 w 262"/>
                <a:gd name="T17" fmla="*/ 152 h 295"/>
                <a:gd name="T18" fmla="*/ 55 w 262"/>
                <a:gd name="T19" fmla="*/ 97 h 295"/>
                <a:gd name="T20" fmla="*/ 67 w 262"/>
                <a:gd name="T21" fmla="*/ 21 h 295"/>
                <a:gd name="T22" fmla="*/ 91 w 262"/>
                <a:gd name="T23" fmla="*/ 12 h 295"/>
                <a:gd name="T24" fmla="*/ 91 w 262"/>
                <a:gd name="T25" fmla="*/ 0 h 295"/>
                <a:gd name="T26" fmla="*/ 110 w 262"/>
                <a:gd name="T27" fmla="*/ 42 h 295"/>
                <a:gd name="T28" fmla="*/ 146 w 262"/>
                <a:gd name="T29" fmla="*/ 64 h 295"/>
                <a:gd name="T30" fmla="*/ 177 w 262"/>
                <a:gd name="T31" fmla="*/ 109 h 295"/>
                <a:gd name="T32" fmla="*/ 167 w 262"/>
                <a:gd name="T33" fmla="*/ 119 h 295"/>
                <a:gd name="T34" fmla="*/ 155 w 262"/>
                <a:gd name="T35" fmla="*/ 140 h 295"/>
                <a:gd name="T36" fmla="*/ 177 w 262"/>
                <a:gd name="T37" fmla="*/ 140 h 295"/>
                <a:gd name="T38" fmla="*/ 177 w 262"/>
                <a:gd name="T39" fmla="*/ 152 h 295"/>
                <a:gd name="T40" fmla="*/ 198 w 262"/>
                <a:gd name="T41" fmla="*/ 185 h 295"/>
                <a:gd name="T42" fmla="*/ 253 w 262"/>
                <a:gd name="T43" fmla="*/ 207 h 295"/>
                <a:gd name="T44" fmla="*/ 262 w 262"/>
                <a:gd name="T45" fmla="*/ 207 h 295"/>
                <a:gd name="T46" fmla="*/ 222 w 262"/>
                <a:gd name="T47" fmla="*/ 259 h 295"/>
                <a:gd name="T48" fmla="*/ 186 w 262"/>
                <a:gd name="T49" fmla="*/ 271 h 295"/>
                <a:gd name="T50" fmla="*/ 155 w 262"/>
                <a:gd name="T51" fmla="*/ 280 h 295"/>
                <a:gd name="T52" fmla="*/ 146 w 262"/>
                <a:gd name="T53" fmla="*/ 280 h 295"/>
                <a:gd name="T54" fmla="*/ 110 w 262"/>
                <a:gd name="T55" fmla="*/ 295 h 295"/>
                <a:gd name="T56" fmla="*/ 91 w 262"/>
                <a:gd name="T57" fmla="*/ 295 h 295"/>
                <a:gd name="T58" fmla="*/ 67 w 262"/>
                <a:gd name="T59" fmla="*/ 271 h 29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62"/>
                <a:gd name="T91" fmla="*/ 0 h 295"/>
                <a:gd name="T92" fmla="*/ 262 w 262"/>
                <a:gd name="T93" fmla="*/ 295 h 29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62" h="295">
                  <a:moveTo>
                    <a:pt x="67" y="271"/>
                  </a:moveTo>
                  <a:lnTo>
                    <a:pt x="46" y="271"/>
                  </a:lnTo>
                  <a:lnTo>
                    <a:pt x="46" y="259"/>
                  </a:lnTo>
                  <a:lnTo>
                    <a:pt x="33" y="249"/>
                  </a:lnTo>
                  <a:lnTo>
                    <a:pt x="15" y="216"/>
                  </a:lnTo>
                  <a:lnTo>
                    <a:pt x="0" y="207"/>
                  </a:lnTo>
                  <a:lnTo>
                    <a:pt x="0" y="195"/>
                  </a:lnTo>
                  <a:lnTo>
                    <a:pt x="15" y="195"/>
                  </a:lnTo>
                  <a:lnTo>
                    <a:pt x="24" y="152"/>
                  </a:lnTo>
                  <a:lnTo>
                    <a:pt x="55" y="97"/>
                  </a:lnTo>
                  <a:lnTo>
                    <a:pt x="67" y="21"/>
                  </a:lnTo>
                  <a:lnTo>
                    <a:pt x="91" y="12"/>
                  </a:lnTo>
                  <a:lnTo>
                    <a:pt x="91" y="0"/>
                  </a:lnTo>
                  <a:lnTo>
                    <a:pt x="110" y="42"/>
                  </a:lnTo>
                  <a:lnTo>
                    <a:pt x="146" y="64"/>
                  </a:lnTo>
                  <a:lnTo>
                    <a:pt x="177" y="109"/>
                  </a:lnTo>
                  <a:lnTo>
                    <a:pt x="167" y="119"/>
                  </a:lnTo>
                  <a:lnTo>
                    <a:pt x="155" y="140"/>
                  </a:lnTo>
                  <a:lnTo>
                    <a:pt x="177" y="140"/>
                  </a:lnTo>
                  <a:lnTo>
                    <a:pt x="177" y="152"/>
                  </a:lnTo>
                  <a:lnTo>
                    <a:pt x="198" y="185"/>
                  </a:lnTo>
                  <a:lnTo>
                    <a:pt x="253" y="207"/>
                  </a:lnTo>
                  <a:lnTo>
                    <a:pt x="262" y="207"/>
                  </a:lnTo>
                  <a:lnTo>
                    <a:pt x="222" y="259"/>
                  </a:lnTo>
                  <a:lnTo>
                    <a:pt x="186" y="271"/>
                  </a:lnTo>
                  <a:lnTo>
                    <a:pt x="155" y="280"/>
                  </a:lnTo>
                  <a:lnTo>
                    <a:pt x="146" y="280"/>
                  </a:lnTo>
                  <a:lnTo>
                    <a:pt x="110" y="295"/>
                  </a:lnTo>
                  <a:lnTo>
                    <a:pt x="91" y="295"/>
                  </a:lnTo>
                  <a:lnTo>
                    <a:pt x="67" y="271"/>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68" name="Freeform 867"/>
            <p:cNvSpPr>
              <a:spLocks/>
            </p:cNvSpPr>
            <p:nvPr/>
          </p:nvSpPr>
          <p:spPr bwMode="auto">
            <a:xfrm>
              <a:off x="5216765" y="4203896"/>
              <a:ext cx="94523" cy="107052"/>
            </a:xfrm>
            <a:custGeom>
              <a:avLst/>
              <a:gdLst>
                <a:gd name="T0" fmla="*/ 84 w 94"/>
                <a:gd name="T1" fmla="*/ 0 h 109"/>
                <a:gd name="T2" fmla="*/ 93 w 94"/>
                <a:gd name="T3" fmla="*/ 0 h 109"/>
                <a:gd name="T4" fmla="*/ 102 w 94"/>
                <a:gd name="T5" fmla="*/ 46 h 109"/>
                <a:gd name="T6" fmla="*/ 84 w 94"/>
                <a:gd name="T7" fmla="*/ 76 h 109"/>
                <a:gd name="T8" fmla="*/ 84 w 94"/>
                <a:gd name="T9" fmla="*/ 109 h 109"/>
                <a:gd name="T10" fmla="*/ 40 w 94"/>
                <a:gd name="T11" fmla="*/ 109 h 109"/>
                <a:gd name="T12" fmla="*/ 9 w 94"/>
                <a:gd name="T13" fmla="*/ 109 h 109"/>
                <a:gd name="T14" fmla="*/ 0 w 94"/>
                <a:gd name="T15" fmla="*/ 109 h 109"/>
                <a:gd name="T16" fmla="*/ 9 w 94"/>
                <a:gd name="T17" fmla="*/ 76 h 109"/>
                <a:gd name="T18" fmla="*/ 18 w 94"/>
                <a:gd name="T19" fmla="*/ 55 h 109"/>
                <a:gd name="T20" fmla="*/ 30 w 94"/>
                <a:gd name="T21" fmla="*/ 46 h 109"/>
                <a:gd name="T22" fmla="*/ 18 w 94"/>
                <a:gd name="T23" fmla="*/ 33 h 109"/>
                <a:gd name="T24" fmla="*/ 18 w 94"/>
                <a:gd name="T25" fmla="*/ 15 h 109"/>
                <a:gd name="T26" fmla="*/ 40 w 94"/>
                <a:gd name="T27" fmla="*/ 15 h 109"/>
                <a:gd name="T28" fmla="*/ 84 w 94"/>
                <a:gd name="T29" fmla="*/ 0 h 1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4"/>
                <a:gd name="T46" fmla="*/ 0 h 109"/>
                <a:gd name="T47" fmla="*/ 94 w 94"/>
                <a:gd name="T48" fmla="*/ 109 h 10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4" h="109">
                  <a:moveTo>
                    <a:pt x="76" y="0"/>
                  </a:moveTo>
                  <a:lnTo>
                    <a:pt x="85" y="0"/>
                  </a:lnTo>
                  <a:lnTo>
                    <a:pt x="94" y="46"/>
                  </a:lnTo>
                  <a:lnTo>
                    <a:pt x="76" y="76"/>
                  </a:lnTo>
                  <a:lnTo>
                    <a:pt x="76" y="109"/>
                  </a:lnTo>
                  <a:lnTo>
                    <a:pt x="40" y="109"/>
                  </a:lnTo>
                  <a:lnTo>
                    <a:pt x="9" y="109"/>
                  </a:lnTo>
                  <a:lnTo>
                    <a:pt x="0" y="109"/>
                  </a:lnTo>
                  <a:lnTo>
                    <a:pt x="9" y="76"/>
                  </a:lnTo>
                  <a:lnTo>
                    <a:pt x="18" y="55"/>
                  </a:lnTo>
                  <a:lnTo>
                    <a:pt x="30" y="46"/>
                  </a:lnTo>
                  <a:lnTo>
                    <a:pt x="18" y="33"/>
                  </a:lnTo>
                  <a:lnTo>
                    <a:pt x="18" y="15"/>
                  </a:lnTo>
                  <a:lnTo>
                    <a:pt x="40" y="15"/>
                  </a:lnTo>
                  <a:lnTo>
                    <a:pt x="76"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69" name="Freeform 868"/>
            <p:cNvSpPr>
              <a:spLocks/>
            </p:cNvSpPr>
            <p:nvPr/>
          </p:nvSpPr>
          <p:spPr bwMode="auto">
            <a:xfrm>
              <a:off x="5292383" y="4195217"/>
              <a:ext cx="138634" cy="190958"/>
            </a:xfrm>
            <a:custGeom>
              <a:avLst/>
              <a:gdLst>
                <a:gd name="T0" fmla="*/ 76 w 140"/>
                <a:gd name="T1" fmla="*/ 173 h 195"/>
                <a:gd name="T2" fmla="*/ 95 w 140"/>
                <a:gd name="T3" fmla="*/ 195 h 195"/>
                <a:gd name="T4" fmla="*/ 116 w 140"/>
                <a:gd name="T5" fmla="*/ 161 h 195"/>
                <a:gd name="T6" fmla="*/ 116 w 140"/>
                <a:gd name="T7" fmla="*/ 140 h 195"/>
                <a:gd name="T8" fmla="*/ 116 w 140"/>
                <a:gd name="T9" fmla="*/ 152 h 195"/>
                <a:gd name="T10" fmla="*/ 140 w 140"/>
                <a:gd name="T11" fmla="*/ 131 h 195"/>
                <a:gd name="T12" fmla="*/ 131 w 140"/>
                <a:gd name="T13" fmla="*/ 109 h 195"/>
                <a:gd name="T14" fmla="*/ 131 w 140"/>
                <a:gd name="T15" fmla="*/ 42 h 195"/>
                <a:gd name="T16" fmla="*/ 140 w 140"/>
                <a:gd name="T17" fmla="*/ 9 h 195"/>
                <a:gd name="T18" fmla="*/ 131 w 140"/>
                <a:gd name="T19" fmla="*/ 9 h 195"/>
                <a:gd name="T20" fmla="*/ 95 w 140"/>
                <a:gd name="T21" fmla="*/ 24 h 195"/>
                <a:gd name="T22" fmla="*/ 76 w 140"/>
                <a:gd name="T23" fmla="*/ 24 h 195"/>
                <a:gd name="T24" fmla="*/ 52 w 140"/>
                <a:gd name="T25" fmla="*/ 0 h 195"/>
                <a:gd name="T26" fmla="*/ 31 w 140"/>
                <a:gd name="T27" fmla="*/ 0 h 195"/>
                <a:gd name="T28" fmla="*/ 9 w 140"/>
                <a:gd name="T29" fmla="*/ 0 h 195"/>
                <a:gd name="T30" fmla="*/ 0 w 140"/>
                <a:gd name="T31" fmla="*/ 9 h 195"/>
                <a:gd name="T32" fmla="*/ 9 w 140"/>
                <a:gd name="T33" fmla="*/ 9 h 195"/>
                <a:gd name="T34" fmla="*/ 18 w 140"/>
                <a:gd name="T35" fmla="*/ 55 h 195"/>
                <a:gd name="T36" fmla="*/ 0 w 140"/>
                <a:gd name="T37" fmla="*/ 85 h 195"/>
                <a:gd name="T38" fmla="*/ 0 w 140"/>
                <a:gd name="T39" fmla="*/ 118 h 195"/>
                <a:gd name="T40" fmla="*/ 9 w 140"/>
                <a:gd name="T41" fmla="*/ 118 h 195"/>
                <a:gd name="T42" fmla="*/ 64 w 140"/>
                <a:gd name="T43" fmla="*/ 152 h 195"/>
                <a:gd name="T44" fmla="*/ 76 w 140"/>
                <a:gd name="T45" fmla="*/ 173 h 19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0"/>
                <a:gd name="T70" fmla="*/ 0 h 195"/>
                <a:gd name="T71" fmla="*/ 140 w 140"/>
                <a:gd name="T72" fmla="*/ 195 h 19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0" h="195">
                  <a:moveTo>
                    <a:pt x="76" y="173"/>
                  </a:moveTo>
                  <a:lnTo>
                    <a:pt x="95" y="195"/>
                  </a:lnTo>
                  <a:lnTo>
                    <a:pt x="116" y="161"/>
                  </a:lnTo>
                  <a:lnTo>
                    <a:pt x="116" y="140"/>
                  </a:lnTo>
                  <a:lnTo>
                    <a:pt x="116" y="152"/>
                  </a:lnTo>
                  <a:lnTo>
                    <a:pt x="140" y="131"/>
                  </a:lnTo>
                  <a:lnTo>
                    <a:pt x="131" y="109"/>
                  </a:lnTo>
                  <a:lnTo>
                    <a:pt x="131" y="42"/>
                  </a:lnTo>
                  <a:lnTo>
                    <a:pt x="140" y="9"/>
                  </a:lnTo>
                  <a:lnTo>
                    <a:pt x="131" y="9"/>
                  </a:lnTo>
                  <a:lnTo>
                    <a:pt x="95" y="24"/>
                  </a:lnTo>
                  <a:lnTo>
                    <a:pt x="76" y="24"/>
                  </a:lnTo>
                  <a:lnTo>
                    <a:pt x="52" y="0"/>
                  </a:lnTo>
                  <a:lnTo>
                    <a:pt x="31" y="0"/>
                  </a:lnTo>
                  <a:lnTo>
                    <a:pt x="9" y="0"/>
                  </a:lnTo>
                  <a:lnTo>
                    <a:pt x="0" y="9"/>
                  </a:lnTo>
                  <a:lnTo>
                    <a:pt x="9" y="9"/>
                  </a:lnTo>
                  <a:lnTo>
                    <a:pt x="18" y="55"/>
                  </a:lnTo>
                  <a:lnTo>
                    <a:pt x="0" y="85"/>
                  </a:lnTo>
                  <a:lnTo>
                    <a:pt x="0" y="118"/>
                  </a:lnTo>
                  <a:lnTo>
                    <a:pt x="9" y="118"/>
                  </a:lnTo>
                  <a:lnTo>
                    <a:pt x="64" y="152"/>
                  </a:lnTo>
                  <a:lnTo>
                    <a:pt x="76" y="173"/>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70" name="Freeform 869"/>
            <p:cNvSpPr>
              <a:spLocks/>
            </p:cNvSpPr>
            <p:nvPr/>
          </p:nvSpPr>
          <p:spPr bwMode="auto">
            <a:xfrm>
              <a:off x="5216765" y="4310948"/>
              <a:ext cx="190846" cy="212175"/>
            </a:xfrm>
            <a:custGeom>
              <a:avLst/>
              <a:gdLst>
                <a:gd name="T0" fmla="*/ 9 w 192"/>
                <a:gd name="T1" fmla="*/ 0 h 217"/>
                <a:gd name="T2" fmla="*/ 40 w 192"/>
                <a:gd name="T3" fmla="*/ 0 h 217"/>
                <a:gd name="T4" fmla="*/ 76 w 192"/>
                <a:gd name="T5" fmla="*/ 0 h 217"/>
                <a:gd name="T6" fmla="*/ 85 w 192"/>
                <a:gd name="T7" fmla="*/ 0 h 217"/>
                <a:gd name="T8" fmla="*/ 140 w 192"/>
                <a:gd name="T9" fmla="*/ 34 h 217"/>
                <a:gd name="T10" fmla="*/ 152 w 192"/>
                <a:gd name="T11" fmla="*/ 55 h 217"/>
                <a:gd name="T12" fmla="*/ 171 w 192"/>
                <a:gd name="T13" fmla="*/ 77 h 217"/>
                <a:gd name="T14" fmla="*/ 161 w 192"/>
                <a:gd name="T15" fmla="*/ 98 h 217"/>
                <a:gd name="T16" fmla="*/ 183 w 192"/>
                <a:gd name="T17" fmla="*/ 122 h 217"/>
                <a:gd name="T18" fmla="*/ 171 w 192"/>
                <a:gd name="T19" fmla="*/ 165 h 217"/>
                <a:gd name="T20" fmla="*/ 183 w 192"/>
                <a:gd name="T21" fmla="*/ 183 h 217"/>
                <a:gd name="T22" fmla="*/ 192 w 192"/>
                <a:gd name="T23" fmla="*/ 198 h 217"/>
                <a:gd name="T24" fmla="*/ 171 w 192"/>
                <a:gd name="T25" fmla="*/ 208 h 217"/>
                <a:gd name="T26" fmla="*/ 116 w 192"/>
                <a:gd name="T27" fmla="*/ 217 h 217"/>
                <a:gd name="T28" fmla="*/ 94 w 192"/>
                <a:gd name="T29" fmla="*/ 217 h 217"/>
                <a:gd name="T30" fmla="*/ 85 w 192"/>
                <a:gd name="T31" fmla="*/ 183 h 217"/>
                <a:gd name="T32" fmla="*/ 76 w 192"/>
                <a:gd name="T33" fmla="*/ 174 h 217"/>
                <a:gd name="T34" fmla="*/ 61 w 192"/>
                <a:gd name="T35" fmla="*/ 174 h 217"/>
                <a:gd name="T36" fmla="*/ 30 w 192"/>
                <a:gd name="T37" fmla="*/ 153 h 217"/>
                <a:gd name="T38" fmla="*/ 18 w 192"/>
                <a:gd name="T39" fmla="*/ 153 h 217"/>
                <a:gd name="T40" fmla="*/ 18 w 192"/>
                <a:gd name="T41" fmla="*/ 144 h 217"/>
                <a:gd name="T42" fmla="*/ 0 w 192"/>
                <a:gd name="T43" fmla="*/ 107 h 217"/>
                <a:gd name="T44" fmla="*/ 0 w 192"/>
                <a:gd name="T45" fmla="*/ 67 h 217"/>
                <a:gd name="T46" fmla="*/ 18 w 192"/>
                <a:gd name="T47" fmla="*/ 43 h 217"/>
                <a:gd name="T48" fmla="*/ 18 w 192"/>
                <a:gd name="T49" fmla="*/ 22 h 217"/>
                <a:gd name="T50" fmla="*/ 18 w 192"/>
                <a:gd name="T51" fmla="*/ 13 h 217"/>
                <a:gd name="T52" fmla="*/ 9 w 192"/>
                <a:gd name="T53" fmla="*/ 0 h 21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92"/>
                <a:gd name="T82" fmla="*/ 0 h 217"/>
                <a:gd name="T83" fmla="*/ 192 w 192"/>
                <a:gd name="T84" fmla="*/ 217 h 21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92" h="217">
                  <a:moveTo>
                    <a:pt x="9" y="0"/>
                  </a:moveTo>
                  <a:lnTo>
                    <a:pt x="40" y="0"/>
                  </a:lnTo>
                  <a:lnTo>
                    <a:pt x="76" y="0"/>
                  </a:lnTo>
                  <a:lnTo>
                    <a:pt x="85" y="0"/>
                  </a:lnTo>
                  <a:lnTo>
                    <a:pt x="140" y="34"/>
                  </a:lnTo>
                  <a:lnTo>
                    <a:pt x="152" y="55"/>
                  </a:lnTo>
                  <a:lnTo>
                    <a:pt x="171" y="77"/>
                  </a:lnTo>
                  <a:lnTo>
                    <a:pt x="161" y="98"/>
                  </a:lnTo>
                  <a:lnTo>
                    <a:pt x="183" y="122"/>
                  </a:lnTo>
                  <a:lnTo>
                    <a:pt x="171" y="165"/>
                  </a:lnTo>
                  <a:lnTo>
                    <a:pt x="183" y="183"/>
                  </a:lnTo>
                  <a:lnTo>
                    <a:pt x="192" y="198"/>
                  </a:lnTo>
                  <a:lnTo>
                    <a:pt x="171" y="208"/>
                  </a:lnTo>
                  <a:lnTo>
                    <a:pt x="116" y="217"/>
                  </a:lnTo>
                  <a:lnTo>
                    <a:pt x="94" y="217"/>
                  </a:lnTo>
                  <a:lnTo>
                    <a:pt x="85" y="183"/>
                  </a:lnTo>
                  <a:lnTo>
                    <a:pt x="76" y="174"/>
                  </a:lnTo>
                  <a:lnTo>
                    <a:pt x="61" y="174"/>
                  </a:lnTo>
                  <a:lnTo>
                    <a:pt x="30" y="153"/>
                  </a:lnTo>
                  <a:lnTo>
                    <a:pt x="18" y="153"/>
                  </a:lnTo>
                  <a:lnTo>
                    <a:pt x="18" y="144"/>
                  </a:lnTo>
                  <a:lnTo>
                    <a:pt x="0" y="107"/>
                  </a:lnTo>
                  <a:lnTo>
                    <a:pt x="0" y="67"/>
                  </a:lnTo>
                  <a:lnTo>
                    <a:pt x="18" y="43"/>
                  </a:lnTo>
                  <a:lnTo>
                    <a:pt x="18" y="22"/>
                  </a:lnTo>
                  <a:lnTo>
                    <a:pt x="18" y="13"/>
                  </a:lnTo>
                  <a:lnTo>
                    <a:pt x="9"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71" name="Freeform 870"/>
            <p:cNvSpPr>
              <a:spLocks/>
            </p:cNvSpPr>
            <p:nvPr/>
          </p:nvSpPr>
          <p:spPr bwMode="auto">
            <a:xfrm>
              <a:off x="5072730" y="4451755"/>
              <a:ext cx="219653" cy="199638"/>
            </a:xfrm>
            <a:custGeom>
              <a:avLst/>
              <a:gdLst>
                <a:gd name="T0" fmla="*/ 131 w 222"/>
                <a:gd name="T1" fmla="*/ 161 h 204"/>
                <a:gd name="T2" fmla="*/ 155 w 222"/>
                <a:gd name="T3" fmla="*/ 152 h 204"/>
                <a:gd name="T4" fmla="*/ 155 w 222"/>
                <a:gd name="T5" fmla="*/ 140 h 204"/>
                <a:gd name="T6" fmla="*/ 207 w 222"/>
                <a:gd name="T7" fmla="*/ 118 h 204"/>
                <a:gd name="T8" fmla="*/ 198 w 222"/>
                <a:gd name="T9" fmla="*/ 118 h 204"/>
                <a:gd name="T10" fmla="*/ 207 w 222"/>
                <a:gd name="T11" fmla="*/ 85 h 204"/>
                <a:gd name="T12" fmla="*/ 207 w 222"/>
                <a:gd name="T13" fmla="*/ 73 h 204"/>
                <a:gd name="T14" fmla="*/ 222 w 222"/>
                <a:gd name="T15" fmla="*/ 54 h 204"/>
                <a:gd name="T16" fmla="*/ 207 w 222"/>
                <a:gd name="T17" fmla="*/ 30 h 204"/>
                <a:gd name="T18" fmla="*/ 176 w 222"/>
                <a:gd name="T19" fmla="*/ 9 h 204"/>
                <a:gd name="T20" fmla="*/ 164 w 222"/>
                <a:gd name="T21" fmla="*/ 9 h 204"/>
                <a:gd name="T22" fmla="*/ 164 w 222"/>
                <a:gd name="T23" fmla="*/ 0 h 204"/>
                <a:gd name="T24" fmla="*/ 155 w 222"/>
                <a:gd name="T25" fmla="*/ 0 h 204"/>
                <a:gd name="T26" fmla="*/ 131 w 222"/>
                <a:gd name="T27" fmla="*/ 9 h 204"/>
                <a:gd name="T28" fmla="*/ 131 w 222"/>
                <a:gd name="T29" fmla="*/ 21 h 204"/>
                <a:gd name="T30" fmla="*/ 122 w 222"/>
                <a:gd name="T31" fmla="*/ 73 h 204"/>
                <a:gd name="T32" fmla="*/ 131 w 222"/>
                <a:gd name="T33" fmla="*/ 85 h 204"/>
                <a:gd name="T34" fmla="*/ 146 w 222"/>
                <a:gd name="T35" fmla="*/ 85 h 204"/>
                <a:gd name="T36" fmla="*/ 146 w 222"/>
                <a:gd name="T37" fmla="*/ 106 h 204"/>
                <a:gd name="T38" fmla="*/ 122 w 222"/>
                <a:gd name="T39" fmla="*/ 94 h 204"/>
                <a:gd name="T40" fmla="*/ 88 w 222"/>
                <a:gd name="T41" fmla="*/ 73 h 204"/>
                <a:gd name="T42" fmla="*/ 79 w 222"/>
                <a:gd name="T43" fmla="*/ 73 h 204"/>
                <a:gd name="T44" fmla="*/ 45 w 222"/>
                <a:gd name="T45" fmla="*/ 54 h 204"/>
                <a:gd name="T46" fmla="*/ 33 w 222"/>
                <a:gd name="T47" fmla="*/ 94 h 204"/>
                <a:gd name="T48" fmla="*/ 45 w 222"/>
                <a:gd name="T49" fmla="*/ 94 h 204"/>
                <a:gd name="T50" fmla="*/ 0 w 222"/>
                <a:gd name="T51" fmla="*/ 106 h 204"/>
                <a:gd name="T52" fmla="*/ 0 w 222"/>
                <a:gd name="T53" fmla="*/ 170 h 204"/>
                <a:gd name="T54" fmla="*/ 24 w 222"/>
                <a:gd name="T55" fmla="*/ 194 h 204"/>
                <a:gd name="T56" fmla="*/ 33 w 222"/>
                <a:gd name="T57" fmla="*/ 194 h 204"/>
                <a:gd name="T58" fmla="*/ 55 w 222"/>
                <a:gd name="T59" fmla="*/ 204 h 204"/>
                <a:gd name="T60" fmla="*/ 88 w 222"/>
                <a:gd name="T61" fmla="*/ 204 h 204"/>
                <a:gd name="T62" fmla="*/ 122 w 222"/>
                <a:gd name="T63" fmla="*/ 170 h 204"/>
                <a:gd name="T64" fmla="*/ 131 w 222"/>
                <a:gd name="T65" fmla="*/ 161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2"/>
                <a:gd name="T100" fmla="*/ 0 h 204"/>
                <a:gd name="T101" fmla="*/ 222 w 222"/>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2" h="204">
                  <a:moveTo>
                    <a:pt x="131" y="161"/>
                  </a:moveTo>
                  <a:lnTo>
                    <a:pt x="155" y="152"/>
                  </a:lnTo>
                  <a:lnTo>
                    <a:pt x="155" y="140"/>
                  </a:lnTo>
                  <a:lnTo>
                    <a:pt x="207" y="118"/>
                  </a:lnTo>
                  <a:lnTo>
                    <a:pt x="198" y="118"/>
                  </a:lnTo>
                  <a:lnTo>
                    <a:pt x="207" y="85"/>
                  </a:lnTo>
                  <a:lnTo>
                    <a:pt x="207" y="73"/>
                  </a:lnTo>
                  <a:lnTo>
                    <a:pt x="222" y="54"/>
                  </a:lnTo>
                  <a:lnTo>
                    <a:pt x="207" y="30"/>
                  </a:lnTo>
                  <a:lnTo>
                    <a:pt x="176" y="9"/>
                  </a:lnTo>
                  <a:lnTo>
                    <a:pt x="164" y="9"/>
                  </a:lnTo>
                  <a:lnTo>
                    <a:pt x="164" y="0"/>
                  </a:lnTo>
                  <a:lnTo>
                    <a:pt x="155" y="0"/>
                  </a:lnTo>
                  <a:lnTo>
                    <a:pt x="131" y="9"/>
                  </a:lnTo>
                  <a:lnTo>
                    <a:pt x="131" y="21"/>
                  </a:lnTo>
                  <a:lnTo>
                    <a:pt x="122" y="73"/>
                  </a:lnTo>
                  <a:lnTo>
                    <a:pt x="131" y="85"/>
                  </a:lnTo>
                  <a:lnTo>
                    <a:pt x="146" y="85"/>
                  </a:lnTo>
                  <a:lnTo>
                    <a:pt x="146" y="106"/>
                  </a:lnTo>
                  <a:lnTo>
                    <a:pt x="122" y="94"/>
                  </a:lnTo>
                  <a:lnTo>
                    <a:pt x="88" y="73"/>
                  </a:lnTo>
                  <a:lnTo>
                    <a:pt x="79" y="73"/>
                  </a:lnTo>
                  <a:lnTo>
                    <a:pt x="45" y="54"/>
                  </a:lnTo>
                  <a:lnTo>
                    <a:pt x="33" y="94"/>
                  </a:lnTo>
                  <a:lnTo>
                    <a:pt x="45" y="94"/>
                  </a:lnTo>
                  <a:lnTo>
                    <a:pt x="0" y="106"/>
                  </a:lnTo>
                  <a:lnTo>
                    <a:pt x="0" y="170"/>
                  </a:lnTo>
                  <a:lnTo>
                    <a:pt x="24" y="194"/>
                  </a:lnTo>
                  <a:lnTo>
                    <a:pt x="33" y="194"/>
                  </a:lnTo>
                  <a:lnTo>
                    <a:pt x="55" y="204"/>
                  </a:lnTo>
                  <a:lnTo>
                    <a:pt x="88" y="204"/>
                  </a:lnTo>
                  <a:lnTo>
                    <a:pt x="122" y="170"/>
                  </a:lnTo>
                  <a:lnTo>
                    <a:pt x="131" y="161"/>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72" name="Freeform 871"/>
            <p:cNvSpPr>
              <a:spLocks/>
            </p:cNvSpPr>
            <p:nvPr/>
          </p:nvSpPr>
          <p:spPr bwMode="auto">
            <a:xfrm>
              <a:off x="5225767" y="4504799"/>
              <a:ext cx="181844" cy="316334"/>
            </a:xfrm>
            <a:custGeom>
              <a:avLst/>
              <a:gdLst>
                <a:gd name="T0" fmla="*/ 21 w 183"/>
                <a:gd name="T1" fmla="*/ 323 h 323"/>
                <a:gd name="T2" fmla="*/ 21 w 183"/>
                <a:gd name="T3" fmla="*/ 314 h 323"/>
                <a:gd name="T4" fmla="*/ 9 w 183"/>
                <a:gd name="T5" fmla="*/ 247 h 323"/>
                <a:gd name="T6" fmla="*/ 43 w 183"/>
                <a:gd name="T7" fmla="*/ 192 h 323"/>
                <a:gd name="T8" fmla="*/ 43 w 183"/>
                <a:gd name="T9" fmla="*/ 140 h 323"/>
                <a:gd name="T10" fmla="*/ 43 w 183"/>
                <a:gd name="T11" fmla="*/ 116 h 323"/>
                <a:gd name="T12" fmla="*/ 9 w 183"/>
                <a:gd name="T13" fmla="*/ 107 h 323"/>
                <a:gd name="T14" fmla="*/ 0 w 183"/>
                <a:gd name="T15" fmla="*/ 107 h 323"/>
                <a:gd name="T16" fmla="*/ 0 w 183"/>
                <a:gd name="T17" fmla="*/ 98 h 323"/>
                <a:gd name="T18" fmla="*/ 0 w 183"/>
                <a:gd name="T19" fmla="*/ 86 h 323"/>
                <a:gd name="T20" fmla="*/ 52 w 183"/>
                <a:gd name="T21" fmla="*/ 64 h 323"/>
                <a:gd name="T22" fmla="*/ 52 w 183"/>
                <a:gd name="T23" fmla="*/ 76 h 323"/>
                <a:gd name="T24" fmla="*/ 76 w 183"/>
                <a:gd name="T25" fmla="*/ 76 h 323"/>
                <a:gd name="T26" fmla="*/ 67 w 183"/>
                <a:gd name="T27" fmla="*/ 107 h 323"/>
                <a:gd name="T28" fmla="*/ 85 w 183"/>
                <a:gd name="T29" fmla="*/ 128 h 323"/>
                <a:gd name="T30" fmla="*/ 98 w 183"/>
                <a:gd name="T31" fmla="*/ 107 h 323"/>
                <a:gd name="T32" fmla="*/ 98 w 183"/>
                <a:gd name="T33" fmla="*/ 86 h 323"/>
                <a:gd name="T34" fmla="*/ 76 w 183"/>
                <a:gd name="T35" fmla="*/ 52 h 323"/>
                <a:gd name="T36" fmla="*/ 76 w 183"/>
                <a:gd name="T37" fmla="*/ 31 h 323"/>
                <a:gd name="T38" fmla="*/ 85 w 183"/>
                <a:gd name="T39" fmla="*/ 19 h 323"/>
                <a:gd name="T40" fmla="*/ 107 w 183"/>
                <a:gd name="T41" fmla="*/ 19 h 323"/>
                <a:gd name="T42" fmla="*/ 162 w 183"/>
                <a:gd name="T43" fmla="*/ 10 h 323"/>
                <a:gd name="T44" fmla="*/ 183 w 183"/>
                <a:gd name="T45" fmla="*/ 0 h 323"/>
                <a:gd name="T46" fmla="*/ 183 w 183"/>
                <a:gd name="T47" fmla="*/ 98 h 323"/>
                <a:gd name="T48" fmla="*/ 152 w 183"/>
                <a:gd name="T49" fmla="*/ 128 h 323"/>
                <a:gd name="T50" fmla="*/ 119 w 183"/>
                <a:gd name="T51" fmla="*/ 140 h 323"/>
                <a:gd name="T52" fmla="*/ 76 w 183"/>
                <a:gd name="T53" fmla="*/ 192 h 323"/>
                <a:gd name="T54" fmla="*/ 76 w 183"/>
                <a:gd name="T55" fmla="*/ 201 h 323"/>
                <a:gd name="T56" fmla="*/ 85 w 183"/>
                <a:gd name="T57" fmla="*/ 238 h 323"/>
                <a:gd name="T58" fmla="*/ 76 w 183"/>
                <a:gd name="T59" fmla="*/ 280 h 323"/>
                <a:gd name="T60" fmla="*/ 31 w 183"/>
                <a:gd name="T61" fmla="*/ 302 h 323"/>
                <a:gd name="T62" fmla="*/ 31 w 183"/>
                <a:gd name="T63" fmla="*/ 314 h 323"/>
                <a:gd name="T64" fmla="*/ 31 w 183"/>
                <a:gd name="T65" fmla="*/ 323 h 323"/>
                <a:gd name="T66" fmla="*/ 21 w 183"/>
                <a:gd name="T67" fmla="*/ 323 h 32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323"/>
                <a:gd name="T104" fmla="*/ 183 w 183"/>
                <a:gd name="T105" fmla="*/ 323 h 32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323">
                  <a:moveTo>
                    <a:pt x="21" y="323"/>
                  </a:moveTo>
                  <a:lnTo>
                    <a:pt x="21" y="314"/>
                  </a:lnTo>
                  <a:lnTo>
                    <a:pt x="9" y="247"/>
                  </a:lnTo>
                  <a:lnTo>
                    <a:pt x="43" y="192"/>
                  </a:lnTo>
                  <a:lnTo>
                    <a:pt x="43" y="140"/>
                  </a:lnTo>
                  <a:lnTo>
                    <a:pt x="43" y="116"/>
                  </a:lnTo>
                  <a:lnTo>
                    <a:pt x="9" y="107"/>
                  </a:lnTo>
                  <a:lnTo>
                    <a:pt x="0" y="107"/>
                  </a:lnTo>
                  <a:lnTo>
                    <a:pt x="0" y="98"/>
                  </a:lnTo>
                  <a:lnTo>
                    <a:pt x="0" y="86"/>
                  </a:lnTo>
                  <a:lnTo>
                    <a:pt x="52" y="64"/>
                  </a:lnTo>
                  <a:lnTo>
                    <a:pt x="52" y="76"/>
                  </a:lnTo>
                  <a:lnTo>
                    <a:pt x="76" y="76"/>
                  </a:lnTo>
                  <a:lnTo>
                    <a:pt x="67" y="107"/>
                  </a:lnTo>
                  <a:lnTo>
                    <a:pt x="85" y="128"/>
                  </a:lnTo>
                  <a:lnTo>
                    <a:pt x="98" y="107"/>
                  </a:lnTo>
                  <a:lnTo>
                    <a:pt x="98" y="86"/>
                  </a:lnTo>
                  <a:lnTo>
                    <a:pt x="76" y="52"/>
                  </a:lnTo>
                  <a:lnTo>
                    <a:pt x="76" y="31"/>
                  </a:lnTo>
                  <a:lnTo>
                    <a:pt x="85" y="19"/>
                  </a:lnTo>
                  <a:lnTo>
                    <a:pt x="107" y="19"/>
                  </a:lnTo>
                  <a:lnTo>
                    <a:pt x="162" y="10"/>
                  </a:lnTo>
                  <a:lnTo>
                    <a:pt x="183" y="0"/>
                  </a:lnTo>
                  <a:lnTo>
                    <a:pt x="183" y="98"/>
                  </a:lnTo>
                  <a:lnTo>
                    <a:pt x="152" y="128"/>
                  </a:lnTo>
                  <a:lnTo>
                    <a:pt x="119" y="140"/>
                  </a:lnTo>
                  <a:lnTo>
                    <a:pt x="76" y="192"/>
                  </a:lnTo>
                  <a:lnTo>
                    <a:pt x="76" y="201"/>
                  </a:lnTo>
                  <a:lnTo>
                    <a:pt x="85" y="238"/>
                  </a:lnTo>
                  <a:lnTo>
                    <a:pt x="76" y="280"/>
                  </a:lnTo>
                  <a:lnTo>
                    <a:pt x="31" y="302"/>
                  </a:lnTo>
                  <a:lnTo>
                    <a:pt x="31" y="314"/>
                  </a:lnTo>
                  <a:lnTo>
                    <a:pt x="31" y="323"/>
                  </a:lnTo>
                  <a:lnTo>
                    <a:pt x="21" y="323"/>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73" name="Freeform 872"/>
            <p:cNvSpPr>
              <a:spLocks/>
            </p:cNvSpPr>
            <p:nvPr/>
          </p:nvSpPr>
          <p:spPr bwMode="auto">
            <a:xfrm>
              <a:off x="5268977" y="4481653"/>
              <a:ext cx="54913" cy="148523"/>
            </a:xfrm>
            <a:custGeom>
              <a:avLst/>
              <a:gdLst>
                <a:gd name="T0" fmla="*/ 9 w 55"/>
                <a:gd name="T1" fmla="*/ 0 h 152"/>
                <a:gd name="T2" fmla="*/ 24 w 55"/>
                <a:gd name="T3" fmla="*/ 0 h 152"/>
                <a:gd name="T4" fmla="*/ 41 w 55"/>
                <a:gd name="T5" fmla="*/ 9 h 152"/>
                <a:gd name="T6" fmla="*/ 50 w 55"/>
                <a:gd name="T7" fmla="*/ 43 h 152"/>
                <a:gd name="T8" fmla="*/ 41 w 55"/>
                <a:gd name="T9" fmla="*/ 55 h 152"/>
                <a:gd name="T10" fmla="*/ 41 w 55"/>
                <a:gd name="T11" fmla="*/ 76 h 152"/>
                <a:gd name="T12" fmla="*/ 63 w 55"/>
                <a:gd name="T13" fmla="*/ 110 h 152"/>
                <a:gd name="T14" fmla="*/ 63 w 55"/>
                <a:gd name="T15" fmla="*/ 131 h 152"/>
                <a:gd name="T16" fmla="*/ 50 w 55"/>
                <a:gd name="T17" fmla="*/ 152 h 152"/>
                <a:gd name="T18" fmla="*/ 24 w 55"/>
                <a:gd name="T19" fmla="*/ 131 h 152"/>
                <a:gd name="T20" fmla="*/ 41 w 55"/>
                <a:gd name="T21" fmla="*/ 100 h 152"/>
                <a:gd name="T22" fmla="*/ 9 w 55"/>
                <a:gd name="T23" fmla="*/ 100 h 152"/>
                <a:gd name="T24" fmla="*/ 9 w 55"/>
                <a:gd name="T25" fmla="*/ 88 h 152"/>
                <a:gd name="T26" fmla="*/ 0 w 55"/>
                <a:gd name="T27" fmla="*/ 88 h 152"/>
                <a:gd name="T28" fmla="*/ 9 w 55"/>
                <a:gd name="T29" fmla="*/ 55 h 152"/>
                <a:gd name="T30" fmla="*/ 9 w 55"/>
                <a:gd name="T31" fmla="*/ 43 h 152"/>
                <a:gd name="T32" fmla="*/ 24 w 55"/>
                <a:gd name="T33" fmla="*/ 24 h 152"/>
                <a:gd name="T34" fmla="*/ 9 w 55"/>
                <a:gd name="T35" fmla="*/ 0 h 1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5"/>
                <a:gd name="T55" fmla="*/ 0 h 152"/>
                <a:gd name="T56" fmla="*/ 55 w 55"/>
                <a:gd name="T57" fmla="*/ 152 h 15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5" h="152">
                  <a:moveTo>
                    <a:pt x="9" y="0"/>
                  </a:moveTo>
                  <a:lnTo>
                    <a:pt x="24" y="0"/>
                  </a:lnTo>
                  <a:lnTo>
                    <a:pt x="33" y="9"/>
                  </a:lnTo>
                  <a:lnTo>
                    <a:pt x="42" y="43"/>
                  </a:lnTo>
                  <a:lnTo>
                    <a:pt x="33" y="55"/>
                  </a:lnTo>
                  <a:lnTo>
                    <a:pt x="33" y="76"/>
                  </a:lnTo>
                  <a:lnTo>
                    <a:pt x="55" y="110"/>
                  </a:lnTo>
                  <a:lnTo>
                    <a:pt x="55" y="131"/>
                  </a:lnTo>
                  <a:lnTo>
                    <a:pt x="42" y="152"/>
                  </a:lnTo>
                  <a:lnTo>
                    <a:pt x="24" y="131"/>
                  </a:lnTo>
                  <a:lnTo>
                    <a:pt x="33" y="100"/>
                  </a:lnTo>
                  <a:lnTo>
                    <a:pt x="9" y="100"/>
                  </a:lnTo>
                  <a:lnTo>
                    <a:pt x="9" y="88"/>
                  </a:lnTo>
                  <a:lnTo>
                    <a:pt x="0" y="88"/>
                  </a:lnTo>
                  <a:lnTo>
                    <a:pt x="9" y="55"/>
                  </a:lnTo>
                  <a:lnTo>
                    <a:pt x="9" y="43"/>
                  </a:lnTo>
                  <a:lnTo>
                    <a:pt x="24" y="24"/>
                  </a:lnTo>
                  <a:lnTo>
                    <a:pt x="9"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74" name="Freeform 873"/>
            <p:cNvSpPr>
              <a:spLocks/>
            </p:cNvSpPr>
            <p:nvPr/>
          </p:nvSpPr>
          <p:spPr bwMode="auto">
            <a:xfrm>
              <a:off x="5126743" y="4601242"/>
              <a:ext cx="142234" cy="145628"/>
            </a:xfrm>
            <a:custGeom>
              <a:avLst/>
              <a:gdLst>
                <a:gd name="T0" fmla="*/ 76 w 143"/>
                <a:gd name="T1" fmla="*/ 140 h 149"/>
                <a:gd name="T2" fmla="*/ 100 w 143"/>
                <a:gd name="T3" fmla="*/ 140 h 149"/>
                <a:gd name="T4" fmla="*/ 109 w 143"/>
                <a:gd name="T5" fmla="*/ 149 h 149"/>
                <a:gd name="T6" fmla="*/ 143 w 143"/>
                <a:gd name="T7" fmla="*/ 94 h 149"/>
                <a:gd name="T8" fmla="*/ 143 w 143"/>
                <a:gd name="T9" fmla="*/ 42 h 149"/>
                <a:gd name="T10" fmla="*/ 143 w 143"/>
                <a:gd name="T11" fmla="*/ 18 h 149"/>
                <a:gd name="T12" fmla="*/ 109 w 143"/>
                <a:gd name="T13" fmla="*/ 9 h 149"/>
                <a:gd name="T14" fmla="*/ 100 w 143"/>
                <a:gd name="T15" fmla="*/ 9 h 149"/>
                <a:gd name="T16" fmla="*/ 100 w 143"/>
                <a:gd name="T17" fmla="*/ 0 h 149"/>
                <a:gd name="T18" fmla="*/ 76 w 143"/>
                <a:gd name="T19" fmla="*/ 9 h 149"/>
                <a:gd name="T20" fmla="*/ 67 w 143"/>
                <a:gd name="T21" fmla="*/ 18 h 149"/>
                <a:gd name="T22" fmla="*/ 33 w 143"/>
                <a:gd name="T23" fmla="*/ 52 h 149"/>
                <a:gd name="T24" fmla="*/ 0 w 143"/>
                <a:gd name="T25" fmla="*/ 52 h 149"/>
                <a:gd name="T26" fmla="*/ 24 w 143"/>
                <a:gd name="T27" fmla="*/ 85 h 149"/>
                <a:gd name="T28" fmla="*/ 45 w 143"/>
                <a:gd name="T29" fmla="*/ 103 h 149"/>
                <a:gd name="T30" fmla="*/ 54 w 143"/>
                <a:gd name="T31" fmla="*/ 128 h 149"/>
                <a:gd name="T32" fmla="*/ 76 w 143"/>
                <a:gd name="T33" fmla="*/ 140 h 1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3"/>
                <a:gd name="T52" fmla="*/ 0 h 149"/>
                <a:gd name="T53" fmla="*/ 143 w 143"/>
                <a:gd name="T54" fmla="*/ 149 h 1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3" h="149">
                  <a:moveTo>
                    <a:pt x="76" y="140"/>
                  </a:moveTo>
                  <a:lnTo>
                    <a:pt x="100" y="140"/>
                  </a:lnTo>
                  <a:lnTo>
                    <a:pt x="109" y="149"/>
                  </a:lnTo>
                  <a:lnTo>
                    <a:pt x="143" y="94"/>
                  </a:lnTo>
                  <a:lnTo>
                    <a:pt x="143" y="42"/>
                  </a:lnTo>
                  <a:lnTo>
                    <a:pt x="143" y="18"/>
                  </a:lnTo>
                  <a:lnTo>
                    <a:pt x="109" y="9"/>
                  </a:lnTo>
                  <a:lnTo>
                    <a:pt x="100" y="9"/>
                  </a:lnTo>
                  <a:lnTo>
                    <a:pt x="100" y="0"/>
                  </a:lnTo>
                  <a:lnTo>
                    <a:pt x="76" y="9"/>
                  </a:lnTo>
                  <a:lnTo>
                    <a:pt x="67" y="18"/>
                  </a:lnTo>
                  <a:lnTo>
                    <a:pt x="33" y="52"/>
                  </a:lnTo>
                  <a:lnTo>
                    <a:pt x="0" y="52"/>
                  </a:lnTo>
                  <a:lnTo>
                    <a:pt x="24" y="85"/>
                  </a:lnTo>
                  <a:lnTo>
                    <a:pt x="45" y="103"/>
                  </a:lnTo>
                  <a:lnTo>
                    <a:pt x="54" y="128"/>
                  </a:lnTo>
                  <a:lnTo>
                    <a:pt x="76" y="14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75" name="Freeform 874"/>
            <p:cNvSpPr>
              <a:spLocks/>
            </p:cNvSpPr>
            <p:nvPr/>
          </p:nvSpPr>
          <p:spPr bwMode="auto">
            <a:xfrm>
              <a:off x="4976407" y="4738191"/>
              <a:ext cx="279968" cy="253645"/>
            </a:xfrm>
            <a:custGeom>
              <a:avLst/>
              <a:gdLst>
                <a:gd name="T0" fmla="*/ 221 w 284"/>
                <a:gd name="T1" fmla="*/ 0 h 259"/>
                <a:gd name="T2" fmla="*/ 190 w 284"/>
                <a:gd name="T3" fmla="*/ 21 h 259"/>
                <a:gd name="T4" fmla="*/ 145 w 284"/>
                <a:gd name="T5" fmla="*/ 64 h 259"/>
                <a:gd name="T6" fmla="*/ 142 w 284"/>
                <a:gd name="T7" fmla="*/ 64 h 259"/>
                <a:gd name="T8" fmla="*/ 122 w 284"/>
                <a:gd name="T9" fmla="*/ 64 h 259"/>
                <a:gd name="T10" fmla="*/ 98 w 284"/>
                <a:gd name="T11" fmla="*/ 85 h 259"/>
                <a:gd name="T12" fmla="*/ 76 w 284"/>
                <a:gd name="T13" fmla="*/ 94 h 259"/>
                <a:gd name="T14" fmla="*/ 67 w 284"/>
                <a:gd name="T15" fmla="*/ 85 h 259"/>
                <a:gd name="T16" fmla="*/ 76 w 284"/>
                <a:gd name="T17" fmla="*/ 64 h 259"/>
                <a:gd name="T18" fmla="*/ 55 w 284"/>
                <a:gd name="T19" fmla="*/ 55 h 259"/>
                <a:gd name="T20" fmla="*/ 55 w 284"/>
                <a:gd name="T21" fmla="*/ 131 h 259"/>
                <a:gd name="T22" fmla="*/ 46 w 284"/>
                <a:gd name="T23" fmla="*/ 140 h 259"/>
                <a:gd name="T24" fmla="*/ 22 w 284"/>
                <a:gd name="T25" fmla="*/ 140 h 259"/>
                <a:gd name="T26" fmla="*/ 9 w 284"/>
                <a:gd name="T27" fmla="*/ 131 h 259"/>
                <a:gd name="T28" fmla="*/ 0 w 284"/>
                <a:gd name="T29" fmla="*/ 119 h 259"/>
                <a:gd name="T30" fmla="*/ 0 w 284"/>
                <a:gd name="T31" fmla="*/ 131 h 259"/>
                <a:gd name="T32" fmla="*/ 0 w 284"/>
                <a:gd name="T33" fmla="*/ 140 h 259"/>
                <a:gd name="T34" fmla="*/ 22 w 284"/>
                <a:gd name="T35" fmla="*/ 195 h 259"/>
                <a:gd name="T36" fmla="*/ 31 w 284"/>
                <a:gd name="T37" fmla="*/ 216 h 259"/>
                <a:gd name="T38" fmla="*/ 22 w 284"/>
                <a:gd name="T39" fmla="*/ 216 h 259"/>
                <a:gd name="T40" fmla="*/ 31 w 284"/>
                <a:gd name="T41" fmla="*/ 246 h 259"/>
                <a:gd name="T42" fmla="*/ 31 w 284"/>
                <a:gd name="T43" fmla="*/ 237 h 259"/>
                <a:gd name="T44" fmla="*/ 46 w 284"/>
                <a:gd name="T45" fmla="*/ 259 h 259"/>
                <a:gd name="T46" fmla="*/ 55 w 284"/>
                <a:gd name="T47" fmla="*/ 259 h 259"/>
                <a:gd name="T48" fmla="*/ 98 w 284"/>
                <a:gd name="T49" fmla="*/ 237 h 259"/>
                <a:gd name="T50" fmla="*/ 142 w 284"/>
                <a:gd name="T51" fmla="*/ 246 h 259"/>
                <a:gd name="T52" fmla="*/ 169 w 284"/>
                <a:gd name="T53" fmla="*/ 237 h 259"/>
                <a:gd name="T54" fmla="*/ 199 w 284"/>
                <a:gd name="T55" fmla="*/ 216 h 259"/>
                <a:gd name="T56" fmla="*/ 236 w 284"/>
                <a:gd name="T57" fmla="*/ 170 h 259"/>
                <a:gd name="T58" fmla="*/ 254 w 284"/>
                <a:gd name="T59" fmla="*/ 140 h 259"/>
                <a:gd name="T60" fmla="*/ 266 w 284"/>
                <a:gd name="T61" fmla="*/ 131 h 259"/>
                <a:gd name="T62" fmla="*/ 276 w 284"/>
                <a:gd name="T63" fmla="*/ 94 h 259"/>
                <a:gd name="T64" fmla="*/ 276 w 284"/>
                <a:gd name="T65" fmla="*/ 85 h 259"/>
                <a:gd name="T66" fmla="*/ 266 w 284"/>
                <a:gd name="T67" fmla="*/ 85 h 259"/>
                <a:gd name="T68" fmla="*/ 254 w 284"/>
                <a:gd name="T69" fmla="*/ 94 h 259"/>
                <a:gd name="T70" fmla="*/ 245 w 284"/>
                <a:gd name="T71" fmla="*/ 94 h 259"/>
                <a:gd name="T72" fmla="*/ 254 w 284"/>
                <a:gd name="T73" fmla="*/ 76 h 259"/>
                <a:gd name="T74" fmla="*/ 266 w 284"/>
                <a:gd name="T75" fmla="*/ 76 h 259"/>
                <a:gd name="T76" fmla="*/ 254 w 284"/>
                <a:gd name="T77" fmla="*/ 9 h 259"/>
                <a:gd name="T78" fmla="*/ 245 w 284"/>
                <a:gd name="T79" fmla="*/ 0 h 259"/>
                <a:gd name="T80" fmla="*/ 221 w 284"/>
                <a:gd name="T81" fmla="*/ 0 h 25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84"/>
                <a:gd name="T124" fmla="*/ 0 h 259"/>
                <a:gd name="T125" fmla="*/ 284 w 284"/>
                <a:gd name="T126" fmla="*/ 259 h 25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84" h="259">
                  <a:moveTo>
                    <a:pt x="229" y="0"/>
                  </a:moveTo>
                  <a:lnTo>
                    <a:pt x="198" y="21"/>
                  </a:lnTo>
                  <a:lnTo>
                    <a:pt x="153" y="64"/>
                  </a:lnTo>
                  <a:lnTo>
                    <a:pt x="143" y="64"/>
                  </a:lnTo>
                  <a:lnTo>
                    <a:pt x="122" y="64"/>
                  </a:lnTo>
                  <a:lnTo>
                    <a:pt x="98" y="85"/>
                  </a:lnTo>
                  <a:lnTo>
                    <a:pt x="76" y="94"/>
                  </a:lnTo>
                  <a:lnTo>
                    <a:pt x="67" y="85"/>
                  </a:lnTo>
                  <a:lnTo>
                    <a:pt x="76" y="64"/>
                  </a:lnTo>
                  <a:lnTo>
                    <a:pt x="55" y="55"/>
                  </a:lnTo>
                  <a:lnTo>
                    <a:pt x="55" y="131"/>
                  </a:lnTo>
                  <a:lnTo>
                    <a:pt x="46" y="140"/>
                  </a:lnTo>
                  <a:lnTo>
                    <a:pt x="22" y="140"/>
                  </a:lnTo>
                  <a:lnTo>
                    <a:pt x="9" y="131"/>
                  </a:lnTo>
                  <a:lnTo>
                    <a:pt x="0" y="119"/>
                  </a:lnTo>
                  <a:lnTo>
                    <a:pt x="0" y="131"/>
                  </a:lnTo>
                  <a:lnTo>
                    <a:pt x="0" y="140"/>
                  </a:lnTo>
                  <a:lnTo>
                    <a:pt x="22" y="195"/>
                  </a:lnTo>
                  <a:lnTo>
                    <a:pt x="31" y="216"/>
                  </a:lnTo>
                  <a:lnTo>
                    <a:pt x="22" y="216"/>
                  </a:lnTo>
                  <a:lnTo>
                    <a:pt x="31" y="246"/>
                  </a:lnTo>
                  <a:lnTo>
                    <a:pt x="31" y="237"/>
                  </a:lnTo>
                  <a:lnTo>
                    <a:pt x="46" y="259"/>
                  </a:lnTo>
                  <a:lnTo>
                    <a:pt x="55" y="259"/>
                  </a:lnTo>
                  <a:lnTo>
                    <a:pt x="98" y="237"/>
                  </a:lnTo>
                  <a:lnTo>
                    <a:pt x="143" y="246"/>
                  </a:lnTo>
                  <a:lnTo>
                    <a:pt x="177" y="237"/>
                  </a:lnTo>
                  <a:lnTo>
                    <a:pt x="207" y="216"/>
                  </a:lnTo>
                  <a:lnTo>
                    <a:pt x="244" y="170"/>
                  </a:lnTo>
                  <a:lnTo>
                    <a:pt x="262" y="140"/>
                  </a:lnTo>
                  <a:lnTo>
                    <a:pt x="274" y="131"/>
                  </a:lnTo>
                  <a:lnTo>
                    <a:pt x="284" y="94"/>
                  </a:lnTo>
                  <a:lnTo>
                    <a:pt x="284" y="85"/>
                  </a:lnTo>
                  <a:lnTo>
                    <a:pt x="274" y="85"/>
                  </a:lnTo>
                  <a:lnTo>
                    <a:pt x="262" y="94"/>
                  </a:lnTo>
                  <a:lnTo>
                    <a:pt x="253" y="94"/>
                  </a:lnTo>
                  <a:lnTo>
                    <a:pt x="262" y="76"/>
                  </a:lnTo>
                  <a:lnTo>
                    <a:pt x="274" y="76"/>
                  </a:lnTo>
                  <a:lnTo>
                    <a:pt x="262" y="9"/>
                  </a:lnTo>
                  <a:lnTo>
                    <a:pt x="253" y="0"/>
                  </a:lnTo>
                  <a:lnTo>
                    <a:pt x="229" y="0"/>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76" name="Freeform 875"/>
            <p:cNvSpPr>
              <a:spLocks/>
            </p:cNvSpPr>
            <p:nvPr/>
          </p:nvSpPr>
          <p:spPr bwMode="auto">
            <a:xfrm>
              <a:off x="4890885" y="4630176"/>
              <a:ext cx="235857" cy="244966"/>
            </a:xfrm>
            <a:custGeom>
              <a:avLst/>
              <a:gdLst>
                <a:gd name="T0" fmla="*/ 140 w 238"/>
                <a:gd name="T1" fmla="*/ 165 h 250"/>
                <a:gd name="T2" fmla="*/ 140 w 238"/>
                <a:gd name="T3" fmla="*/ 241 h 250"/>
                <a:gd name="T4" fmla="*/ 131 w 238"/>
                <a:gd name="T5" fmla="*/ 250 h 250"/>
                <a:gd name="T6" fmla="*/ 107 w 238"/>
                <a:gd name="T7" fmla="*/ 250 h 250"/>
                <a:gd name="T8" fmla="*/ 94 w 238"/>
                <a:gd name="T9" fmla="*/ 241 h 250"/>
                <a:gd name="T10" fmla="*/ 85 w 238"/>
                <a:gd name="T11" fmla="*/ 229 h 250"/>
                <a:gd name="T12" fmla="*/ 85 w 238"/>
                <a:gd name="T13" fmla="*/ 241 h 250"/>
                <a:gd name="T14" fmla="*/ 64 w 238"/>
                <a:gd name="T15" fmla="*/ 219 h 250"/>
                <a:gd name="T16" fmla="*/ 52 w 238"/>
                <a:gd name="T17" fmla="*/ 140 h 250"/>
                <a:gd name="T18" fmla="*/ 52 w 238"/>
                <a:gd name="T19" fmla="*/ 110 h 250"/>
                <a:gd name="T20" fmla="*/ 0 w 238"/>
                <a:gd name="T21" fmla="*/ 22 h 250"/>
                <a:gd name="T22" fmla="*/ 0 w 238"/>
                <a:gd name="T23" fmla="*/ 12 h 250"/>
                <a:gd name="T24" fmla="*/ 31 w 238"/>
                <a:gd name="T25" fmla="*/ 0 h 250"/>
                <a:gd name="T26" fmla="*/ 40 w 238"/>
                <a:gd name="T27" fmla="*/ 12 h 250"/>
                <a:gd name="T28" fmla="*/ 116 w 238"/>
                <a:gd name="T29" fmla="*/ 12 h 250"/>
                <a:gd name="T30" fmla="*/ 131 w 238"/>
                <a:gd name="T31" fmla="*/ 22 h 250"/>
                <a:gd name="T32" fmla="*/ 174 w 238"/>
                <a:gd name="T33" fmla="*/ 22 h 250"/>
                <a:gd name="T34" fmla="*/ 207 w 238"/>
                <a:gd name="T35" fmla="*/ 12 h 250"/>
                <a:gd name="T36" fmla="*/ 216 w 238"/>
                <a:gd name="T37" fmla="*/ 12 h 250"/>
                <a:gd name="T38" fmla="*/ 238 w 238"/>
                <a:gd name="T39" fmla="*/ 22 h 250"/>
                <a:gd name="T40" fmla="*/ 216 w 238"/>
                <a:gd name="T41" fmla="*/ 22 h 250"/>
                <a:gd name="T42" fmla="*/ 207 w 238"/>
                <a:gd name="T43" fmla="*/ 34 h 250"/>
                <a:gd name="T44" fmla="*/ 207 w 238"/>
                <a:gd name="T45" fmla="*/ 22 h 250"/>
                <a:gd name="T46" fmla="*/ 161 w 238"/>
                <a:gd name="T47" fmla="*/ 34 h 250"/>
                <a:gd name="T48" fmla="*/ 161 w 238"/>
                <a:gd name="T49" fmla="*/ 98 h 250"/>
                <a:gd name="T50" fmla="*/ 140 w 238"/>
                <a:gd name="T51" fmla="*/ 110 h 250"/>
                <a:gd name="T52" fmla="*/ 140 w 238"/>
                <a:gd name="T53" fmla="*/ 165 h 25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38"/>
                <a:gd name="T82" fmla="*/ 0 h 250"/>
                <a:gd name="T83" fmla="*/ 238 w 238"/>
                <a:gd name="T84" fmla="*/ 250 h 25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38" h="250">
                  <a:moveTo>
                    <a:pt x="140" y="165"/>
                  </a:moveTo>
                  <a:lnTo>
                    <a:pt x="140" y="241"/>
                  </a:lnTo>
                  <a:lnTo>
                    <a:pt x="131" y="250"/>
                  </a:lnTo>
                  <a:lnTo>
                    <a:pt x="107" y="250"/>
                  </a:lnTo>
                  <a:lnTo>
                    <a:pt x="94" y="241"/>
                  </a:lnTo>
                  <a:lnTo>
                    <a:pt x="85" y="229"/>
                  </a:lnTo>
                  <a:lnTo>
                    <a:pt x="85" y="241"/>
                  </a:lnTo>
                  <a:lnTo>
                    <a:pt x="64" y="219"/>
                  </a:lnTo>
                  <a:lnTo>
                    <a:pt x="52" y="140"/>
                  </a:lnTo>
                  <a:lnTo>
                    <a:pt x="52" y="110"/>
                  </a:lnTo>
                  <a:lnTo>
                    <a:pt x="0" y="22"/>
                  </a:lnTo>
                  <a:lnTo>
                    <a:pt x="0" y="12"/>
                  </a:lnTo>
                  <a:lnTo>
                    <a:pt x="31" y="0"/>
                  </a:lnTo>
                  <a:lnTo>
                    <a:pt x="40" y="12"/>
                  </a:lnTo>
                  <a:lnTo>
                    <a:pt x="116" y="12"/>
                  </a:lnTo>
                  <a:lnTo>
                    <a:pt x="131" y="22"/>
                  </a:lnTo>
                  <a:lnTo>
                    <a:pt x="174" y="22"/>
                  </a:lnTo>
                  <a:lnTo>
                    <a:pt x="207" y="12"/>
                  </a:lnTo>
                  <a:lnTo>
                    <a:pt x="216" y="12"/>
                  </a:lnTo>
                  <a:lnTo>
                    <a:pt x="238" y="22"/>
                  </a:lnTo>
                  <a:lnTo>
                    <a:pt x="216" y="22"/>
                  </a:lnTo>
                  <a:lnTo>
                    <a:pt x="207" y="34"/>
                  </a:lnTo>
                  <a:lnTo>
                    <a:pt x="207" y="22"/>
                  </a:lnTo>
                  <a:lnTo>
                    <a:pt x="161" y="34"/>
                  </a:lnTo>
                  <a:lnTo>
                    <a:pt x="161" y="98"/>
                  </a:lnTo>
                  <a:lnTo>
                    <a:pt x="140" y="110"/>
                  </a:lnTo>
                  <a:lnTo>
                    <a:pt x="140" y="165"/>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77" name="Freeform 876"/>
            <p:cNvSpPr>
              <a:spLocks/>
            </p:cNvSpPr>
            <p:nvPr/>
          </p:nvSpPr>
          <p:spPr bwMode="auto">
            <a:xfrm>
              <a:off x="4890885" y="4406427"/>
              <a:ext cx="226855" cy="244966"/>
            </a:xfrm>
            <a:custGeom>
              <a:avLst/>
              <a:gdLst>
                <a:gd name="T0" fmla="*/ 31 w 228"/>
                <a:gd name="T1" fmla="*/ 0 h 250"/>
                <a:gd name="T2" fmla="*/ 9 w 228"/>
                <a:gd name="T3" fmla="*/ 9 h 250"/>
                <a:gd name="T4" fmla="*/ 31 w 228"/>
                <a:gd name="T5" fmla="*/ 55 h 250"/>
                <a:gd name="T6" fmla="*/ 18 w 228"/>
                <a:gd name="T7" fmla="*/ 67 h 250"/>
                <a:gd name="T8" fmla="*/ 40 w 228"/>
                <a:gd name="T9" fmla="*/ 110 h 250"/>
                <a:gd name="T10" fmla="*/ 31 w 228"/>
                <a:gd name="T11" fmla="*/ 131 h 250"/>
                <a:gd name="T12" fmla="*/ 18 w 228"/>
                <a:gd name="T13" fmla="*/ 152 h 250"/>
                <a:gd name="T14" fmla="*/ 0 w 228"/>
                <a:gd name="T15" fmla="*/ 207 h 250"/>
                <a:gd name="T16" fmla="*/ 0 w 228"/>
                <a:gd name="T17" fmla="*/ 240 h 250"/>
                <a:gd name="T18" fmla="*/ 31 w 228"/>
                <a:gd name="T19" fmla="*/ 228 h 250"/>
                <a:gd name="T20" fmla="*/ 40 w 228"/>
                <a:gd name="T21" fmla="*/ 240 h 250"/>
                <a:gd name="T22" fmla="*/ 124 w 228"/>
                <a:gd name="T23" fmla="*/ 240 h 250"/>
                <a:gd name="T24" fmla="*/ 139 w 228"/>
                <a:gd name="T25" fmla="*/ 250 h 250"/>
                <a:gd name="T26" fmla="*/ 182 w 228"/>
                <a:gd name="T27" fmla="*/ 250 h 250"/>
                <a:gd name="T28" fmla="*/ 215 w 228"/>
                <a:gd name="T29" fmla="*/ 240 h 250"/>
                <a:gd name="T30" fmla="*/ 191 w 228"/>
                <a:gd name="T31" fmla="*/ 216 h 250"/>
                <a:gd name="T32" fmla="*/ 191 w 228"/>
                <a:gd name="T33" fmla="*/ 152 h 250"/>
                <a:gd name="T34" fmla="*/ 236 w 228"/>
                <a:gd name="T35" fmla="*/ 140 h 250"/>
                <a:gd name="T36" fmla="*/ 224 w 228"/>
                <a:gd name="T37" fmla="*/ 140 h 250"/>
                <a:gd name="T38" fmla="*/ 236 w 228"/>
                <a:gd name="T39" fmla="*/ 100 h 250"/>
                <a:gd name="T40" fmla="*/ 191 w 228"/>
                <a:gd name="T41" fmla="*/ 110 h 250"/>
                <a:gd name="T42" fmla="*/ 203 w 228"/>
                <a:gd name="T43" fmla="*/ 100 h 250"/>
                <a:gd name="T44" fmla="*/ 191 w 228"/>
                <a:gd name="T45" fmla="*/ 76 h 250"/>
                <a:gd name="T46" fmla="*/ 191 w 228"/>
                <a:gd name="T47" fmla="*/ 33 h 250"/>
                <a:gd name="T48" fmla="*/ 169 w 228"/>
                <a:gd name="T49" fmla="*/ 24 h 250"/>
                <a:gd name="T50" fmla="*/ 148 w 228"/>
                <a:gd name="T51" fmla="*/ 24 h 250"/>
                <a:gd name="T52" fmla="*/ 148 w 228"/>
                <a:gd name="T53" fmla="*/ 46 h 250"/>
                <a:gd name="T54" fmla="*/ 107 w 228"/>
                <a:gd name="T55" fmla="*/ 46 h 250"/>
                <a:gd name="T56" fmla="*/ 94 w 228"/>
                <a:gd name="T57" fmla="*/ 33 h 250"/>
                <a:gd name="T58" fmla="*/ 85 w 228"/>
                <a:gd name="T59" fmla="*/ 0 h 250"/>
                <a:gd name="T60" fmla="*/ 76 w 228"/>
                <a:gd name="T61" fmla="*/ 0 h 250"/>
                <a:gd name="T62" fmla="*/ 31 w 228"/>
                <a:gd name="T63" fmla="*/ 0 h 25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28"/>
                <a:gd name="T97" fmla="*/ 0 h 250"/>
                <a:gd name="T98" fmla="*/ 228 w 228"/>
                <a:gd name="T99" fmla="*/ 250 h 25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28" h="250">
                  <a:moveTo>
                    <a:pt x="31" y="0"/>
                  </a:moveTo>
                  <a:lnTo>
                    <a:pt x="9" y="9"/>
                  </a:lnTo>
                  <a:lnTo>
                    <a:pt x="31" y="55"/>
                  </a:lnTo>
                  <a:lnTo>
                    <a:pt x="18" y="67"/>
                  </a:lnTo>
                  <a:lnTo>
                    <a:pt x="40" y="110"/>
                  </a:lnTo>
                  <a:lnTo>
                    <a:pt x="31" y="131"/>
                  </a:lnTo>
                  <a:lnTo>
                    <a:pt x="18" y="152"/>
                  </a:lnTo>
                  <a:lnTo>
                    <a:pt x="0" y="207"/>
                  </a:lnTo>
                  <a:lnTo>
                    <a:pt x="0" y="240"/>
                  </a:lnTo>
                  <a:lnTo>
                    <a:pt x="31" y="228"/>
                  </a:lnTo>
                  <a:lnTo>
                    <a:pt x="40" y="240"/>
                  </a:lnTo>
                  <a:lnTo>
                    <a:pt x="116" y="240"/>
                  </a:lnTo>
                  <a:lnTo>
                    <a:pt x="131" y="250"/>
                  </a:lnTo>
                  <a:lnTo>
                    <a:pt x="174" y="250"/>
                  </a:lnTo>
                  <a:lnTo>
                    <a:pt x="207" y="240"/>
                  </a:lnTo>
                  <a:lnTo>
                    <a:pt x="183" y="216"/>
                  </a:lnTo>
                  <a:lnTo>
                    <a:pt x="183" y="152"/>
                  </a:lnTo>
                  <a:lnTo>
                    <a:pt x="228" y="140"/>
                  </a:lnTo>
                  <a:lnTo>
                    <a:pt x="216" y="140"/>
                  </a:lnTo>
                  <a:lnTo>
                    <a:pt x="228" y="100"/>
                  </a:lnTo>
                  <a:lnTo>
                    <a:pt x="183" y="110"/>
                  </a:lnTo>
                  <a:lnTo>
                    <a:pt x="195" y="100"/>
                  </a:lnTo>
                  <a:lnTo>
                    <a:pt x="183" y="76"/>
                  </a:lnTo>
                  <a:lnTo>
                    <a:pt x="183" y="33"/>
                  </a:lnTo>
                  <a:lnTo>
                    <a:pt x="161" y="24"/>
                  </a:lnTo>
                  <a:lnTo>
                    <a:pt x="140" y="24"/>
                  </a:lnTo>
                  <a:lnTo>
                    <a:pt x="140" y="46"/>
                  </a:lnTo>
                  <a:lnTo>
                    <a:pt x="107" y="46"/>
                  </a:lnTo>
                  <a:lnTo>
                    <a:pt x="94" y="33"/>
                  </a:lnTo>
                  <a:lnTo>
                    <a:pt x="85" y="0"/>
                  </a:lnTo>
                  <a:lnTo>
                    <a:pt x="76" y="0"/>
                  </a:lnTo>
                  <a:lnTo>
                    <a:pt x="31"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78" name="Freeform 877"/>
            <p:cNvSpPr>
              <a:spLocks/>
            </p:cNvSpPr>
            <p:nvPr/>
          </p:nvSpPr>
          <p:spPr bwMode="auto">
            <a:xfrm>
              <a:off x="4879182" y="4219327"/>
              <a:ext cx="141334" cy="166847"/>
            </a:xfrm>
            <a:custGeom>
              <a:avLst/>
              <a:gdLst>
                <a:gd name="T0" fmla="*/ 30 w 143"/>
                <a:gd name="T1" fmla="*/ 161 h 171"/>
                <a:gd name="T2" fmla="*/ 21 w 143"/>
                <a:gd name="T3" fmla="*/ 171 h 171"/>
                <a:gd name="T4" fmla="*/ 0 w 143"/>
                <a:gd name="T5" fmla="*/ 161 h 171"/>
                <a:gd name="T6" fmla="*/ 12 w 143"/>
                <a:gd name="T7" fmla="*/ 137 h 171"/>
                <a:gd name="T8" fmla="*/ 12 w 143"/>
                <a:gd name="T9" fmla="*/ 128 h 171"/>
                <a:gd name="T10" fmla="*/ 30 w 143"/>
                <a:gd name="T11" fmla="*/ 107 h 171"/>
                <a:gd name="T12" fmla="*/ 52 w 143"/>
                <a:gd name="T13" fmla="*/ 116 h 171"/>
                <a:gd name="T14" fmla="*/ 52 w 143"/>
                <a:gd name="T15" fmla="*/ 94 h 171"/>
                <a:gd name="T16" fmla="*/ 52 w 143"/>
                <a:gd name="T17" fmla="*/ 61 h 171"/>
                <a:gd name="T18" fmla="*/ 52 w 143"/>
                <a:gd name="T19" fmla="*/ 52 h 171"/>
                <a:gd name="T20" fmla="*/ 52 w 143"/>
                <a:gd name="T21" fmla="*/ 40 h 171"/>
                <a:gd name="T22" fmla="*/ 52 w 143"/>
                <a:gd name="T23" fmla="*/ 31 h 171"/>
                <a:gd name="T24" fmla="*/ 43 w 143"/>
                <a:gd name="T25" fmla="*/ 31 h 171"/>
                <a:gd name="T26" fmla="*/ 88 w 143"/>
                <a:gd name="T27" fmla="*/ 40 h 171"/>
                <a:gd name="T28" fmla="*/ 88 w 143"/>
                <a:gd name="T29" fmla="*/ 9 h 171"/>
                <a:gd name="T30" fmla="*/ 97 w 143"/>
                <a:gd name="T31" fmla="*/ 0 h 171"/>
                <a:gd name="T32" fmla="*/ 106 w 143"/>
                <a:gd name="T33" fmla="*/ 0 h 171"/>
                <a:gd name="T34" fmla="*/ 119 w 143"/>
                <a:gd name="T35" fmla="*/ 0 h 171"/>
                <a:gd name="T36" fmla="*/ 143 w 143"/>
                <a:gd name="T37" fmla="*/ 0 h 171"/>
                <a:gd name="T38" fmla="*/ 128 w 143"/>
                <a:gd name="T39" fmla="*/ 31 h 171"/>
                <a:gd name="T40" fmla="*/ 119 w 143"/>
                <a:gd name="T41" fmla="*/ 85 h 171"/>
                <a:gd name="T42" fmla="*/ 97 w 143"/>
                <a:gd name="T43" fmla="*/ 116 h 171"/>
                <a:gd name="T44" fmla="*/ 88 w 143"/>
                <a:gd name="T45" fmla="*/ 149 h 171"/>
                <a:gd name="T46" fmla="*/ 64 w 143"/>
                <a:gd name="T47" fmla="*/ 171 h 171"/>
                <a:gd name="T48" fmla="*/ 52 w 143"/>
                <a:gd name="T49" fmla="*/ 161 h 171"/>
                <a:gd name="T50" fmla="*/ 43 w 143"/>
                <a:gd name="T51" fmla="*/ 171 h 171"/>
                <a:gd name="T52" fmla="*/ 30 w 143"/>
                <a:gd name="T53" fmla="*/ 171 h 171"/>
                <a:gd name="T54" fmla="*/ 30 w 143"/>
                <a:gd name="T55" fmla="*/ 161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43"/>
                <a:gd name="T85" fmla="*/ 0 h 171"/>
                <a:gd name="T86" fmla="*/ 143 w 143"/>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43" h="171">
                  <a:moveTo>
                    <a:pt x="30" y="161"/>
                  </a:moveTo>
                  <a:lnTo>
                    <a:pt x="21" y="171"/>
                  </a:lnTo>
                  <a:lnTo>
                    <a:pt x="0" y="161"/>
                  </a:lnTo>
                  <a:lnTo>
                    <a:pt x="12" y="137"/>
                  </a:lnTo>
                  <a:lnTo>
                    <a:pt x="12" y="128"/>
                  </a:lnTo>
                  <a:lnTo>
                    <a:pt x="30" y="107"/>
                  </a:lnTo>
                  <a:lnTo>
                    <a:pt x="52" y="116"/>
                  </a:lnTo>
                  <a:lnTo>
                    <a:pt x="52" y="94"/>
                  </a:lnTo>
                  <a:lnTo>
                    <a:pt x="52" y="61"/>
                  </a:lnTo>
                  <a:lnTo>
                    <a:pt x="52" y="52"/>
                  </a:lnTo>
                  <a:lnTo>
                    <a:pt x="52" y="40"/>
                  </a:lnTo>
                  <a:lnTo>
                    <a:pt x="52" y="31"/>
                  </a:lnTo>
                  <a:lnTo>
                    <a:pt x="43" y="31"/>
                  </a:lnTo>
                  <a:lnTo>
                    <a:pt x="88" y="40"/>
                  </a:lnTo>
                  <a:lnTo>
                    <a:pt x="88" y="9"/>
                  </a:lnTo>
                  <a:lnTo>
                    <a:pt x="97" y="0"/>
                  </a:lnTo>
                  <a:lnTo>
                    <a:pt x="106" y="0"/>
                  </a:lnTo>
                  <a:lnTo>
                    <a:pt x="119" y="0"/>
                  </a:lnTo>
                  <a:lnTo>
                    <a:pt x="143" y="0"/>
                  </a:lnTo>
                  <a:lnTo>
                    <a:pt x="128" y="31"/>
                  </a:lnTo>
                  <a:lnTo>
                    <a:pt x="119" y="85"/>
                  </a:lnTo>
                  <a:lnTo>
                    <a:pt x="97" y="116"/>
                  </a:lnTo>
                  <a:lnTo>
                    <a:pt x="88" y="149"/>
                  </a:lnTo>
                  <a:lnTo>
                    <a:pt x="64" y="171"/>
                  </a:lnTo>
                  <a:lnTo>
                    <a:pt x="52" y="161"/>
                  </a:lnTo>
                  <a:lnTo>
                    <a:pt x="43" y="171"/>
                  </a:lnTo>
                  <a:lnTo>
                    <a:pt x="30" y="171"/>
                  </a:lnTo>
                  <a:lnTo>
                    <a:pt x="30" y="161"/>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79" name="Freeform 878"/>
            <p:cNvSpPr>
              <a:spLocks/>
            </p:cNvSpPr>
            <p:nvPr/>
          </p:nvSpPr>
          <p:spPr bwMode="auto">
            <a:xfrm>
              <a:off x="4834171" y="4249225"/>
              <a:ext cx="96323" cy="127305"/>
            </a:xfrm>
            <a:custGeom>
              <a:avLst/>
              <a:gdLst>
                <a:gd name="T0" fmla="*/ 90 w 98"/>
                <a:gd name="T1" fmla="*/ 0 h 130"/>
                <a:gd name="T2" fmla="*/ 81 w 98"/>
                <a:gd name="T3" fmla="*/ 0 h 130"/>
                <a:gd name="T4" fmla="*/ 46 w 98"/>
                <a:gd name="T5" fmla="*/ 0 h 130"/>
                <a:gd name="T6" fmla="*/ 46 w 98"/>
                <a:gd name="T7" fmla="*/ 21 h 130"/>
                <a:gd name="T8" fmla="*/ 22 w 98"/>
                <a:gd name="T9" fmla="*/ 21 h 130"/>
                <a:gd name="T10" fmla="*/ 12 w 98"/>
                <a:gd name="T11" fmla="*/ 45 h 130"/>
                <a:gd name="T12" fmla="*/ 12 w 98"/>
                <a:gd name="T13" fmla="*/ 54 h 130"/>
                <a:gd name="T14" fmla="*/ 0 w 98"/>
                <a:gd name="T15" fmla="*/ 54 h 130"/>
                <a:gd name="T16" fmla="*/ 22 w 98"/>
                <a:gd name="T17" fmla="*/ 97 h 130"/>
                <a:gd name="T18" fmla="*/ 46 w 98"/>
                <a:gd name="T19" fmla="*/ 130 h 130"/>
                <a:gd name="T20" fmla="*/ 50 w 98"/>
                <a:gd name="T21" fmla="*/ 106 h 130"/>
                <a:gd name="T22" fmla="*/ 50 w 98"/>
                <a:gd name="T23" fmla="*/ 97 h 130"/>
                <a:gd name="T24" fmla="*/ 68 w 98"/>
                <a:gd name="T25" fmla="*/ 76 h 130"/>
                <a:gd name="T26" fmla="*/ 90 w 98"/>
                <a:gd name="T27" fmla="*/ 85 h 130"/>
                <a:gd name="T28" fmla="*/ 90 w 98"/>
                <a:gd name="T29" fmla="*/ 63 h 130"/>
                <a:gd name="T30" fmla="*/ 90 w 98"/>
                <a:gd name="T31" fmla="*/ 30 h 130"/>
                <a:gd name="T32" fmla="*/ 90 w 98"/>
                <a:gd name="T33" fmla="*/ 21 h 130"/>
                <a:gd name="T34" fmla="*/ 90 w 98"/>
                <a:gd name="T35" fmla="*/ 9 h 130"/>
                <a:gd name="T36" fmla="*/ 90 w 98"/>
                <a:gd name="T37" fmla="*/ 0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8"/>
                <a:gd name="T58" fmla="*/ 0 h 130"/>
                <a:gd name="T59" fmla="*/ 98 w 98"/>
                <a:gd name="T60" fmla="*/ 130 h 1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8" h="130">
                  <a:moveTo>
                    <a:pt x="98" y="0"/>
                  </a:moveTo>
                  <a:lnTo>
                    <a:pt x="89" y="0"/>
                  </a:lnTo>
                  <a:lnTo>
                    <a:pt x="46" y="0"/>
                  </a:lnTo>
                  <a:lnTo>
                    <a:pt x="46" y="21"/>
                  </a:lnTo>
                  <a:lnTo>
                    <a:pt x="22" y="21"/>
                  </a:lnTo>
                  <a:lnTo>
                    <a:pt x="12" y="45"/>
                  </a:lnTo>
                  <a:lnTo>
                    <a:pt x="12" y="54"/>
                  </a:lnTo>
                  <a:lnTo>
                    <a:pt x="0" y="54"/>
                  </a:lnTo>
                  <a:lnTo>
                    <a:pt x="22" y="97"/>
                  </a:lnTo>
                  <a:lnTo>
                    <a:pt x="46" y="130"/>
                  </a:lnTo>
                  <a:lnTo>
                    <a:pt x="58" y="106"/>
                  </a:lnTo>
                  <a:lnTo>
                    <a:pt x="58" y="97"/>
                  </a:lnTo>
                  <a:lnTo>
                    <a:pt x="76" y="76"/>
                  </a:lnTo>
                  <a:lnTo>
                    <a:pt x="98" y="85"/>
                  </a:lnTo>
                  <a:lnTo>
                    <a:pt x="98" y="63"/>
                  </a:lnTo>
                  <a:lnTo>
                    <a:pt x="98" y="30"/>
                  </a:lnTo>
                  <a:lnTo>
                    <a:pt x="98" y="21"/>
                  </a:lnTo>
                  <a:lnTo>
                    <a:pt x="98" y="9"/>
                  </a:lnTo>
                  <a:lnTo>
                    <a:pt x="98"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80" name="Freeform 879"/>
            <p:cNvSpPr>
              <a:spLocks/>
            </p:cNvSpPr>
            <p:nvPr/>
          </p:nvSpPr>
          <p:spPr bwMode="auto">
            <a:xfrm>
              <a:off x="4619919" y="4066947"/>
              <a:ext cx="83720" cy="128269"/>
            </a:xfrm>
            <a:custGeom>
              <a:avLst/>
              <a:gdLst>
                <a:gd name="T0" fmla="*/ 76 w 85"/>
                <a:gd name="T1" fmla="*/ 88 h 131"/>
                <a:gd name="T2" fmla="*/ 85 w 85"/>
                <a:gd name="T3" fmla="*/ 100 h 131"/>
                <a:gd name="T4" fmla="*/ 76 w 85"/>
                <a:gd name="T5" fmla="*/ 109 h 131"/>
                <a:gd name="T6" fmla="*/ 64 w 85"/>
                <a:gd name="T7" fmla="*/ 109 h 131"/>
                <a:gd name="T8" fmla="*/ 21 w 85"/>
                <a:gd name="T9" fmla="*/ 131 h 131"/>
                <a:gd name="T10" fmla="*/ 0 w 85"/>
                <a:gd name="T11" fmla="*/ 119 h 131"/>
                <a:gd name="T12" fmla="*/ 9 w 85"/>
                <a:gd name="T13" fmla="*/ 119 h 131"/>
                <a:gd name="T14" fmla="*/ 0 w 85"/>
                <a:gd name="T15" fmla="*/ 88 h 131"/>
                <a:gd name="T16" fmla="*/ 21 w 85"/>
                <a:gd name="T17" fmla="*/ 55 h 131"/>
                <a:gd name="T18" fmla="*/ 9 w 85"/>
                <a:gd name="T19" fmla="*/ 33 h 131"/>
                <a:gd name="T20" fmla="*/ 9 w 85"/>
                <a:gd name="T21" fmla="*/ 0 h 131"/>
                <a:gd name="T22" fmla="*/ 52 w 85"/>
                <a:gd name="T23" fmla="*/ 0 h 131"/>
                <a:gd name="T24" fmla="*/ 64 w 85"/>
                <a:gd name="T25" fmla="*/ 45 h 131"/>
                <a:gd name="T26" fmla="*/ 76 w 85"/>
                <a:gd name="T27" fmla="*/ 88 h 1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5"/>
                <a:gd name="T43" fmla="*/ 0 h 131"/>
                <a:gd name="T44" fmla="*/ 85 w 85"/>
                <a:gd name="T45" fmla="*/ 131 h 13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5" h="131">
                  <a:moveTo>
                    <a:pt x="76" y="88"/>
                  </a:moveTo>
                  <a:lnTo>
                    <a:pt x="85" y="100"/>
                  </a:lnTo>
                  <a:lnTo>
                    <a:pt x="76" y="109"/>
                  </a:lnTo>
                  <a:lnTo>
                    <a:pt x="64" y="109"/>
                  </a:lnTo>
                  <a:lnTo>
                    <a:pt x="21" y="131"/>
                  </a:lnTo>
                  <a:lnTo>
                    <a:pt x="0" y="119"/>
                  </a:lnTo>
                  <a:lnTo>
                    <a:pt x="9" y="119"/>
                  </a:lnTo>
                  <a:lnTo>
                    <a:pt x="0" y="88"/>
                  </a:lnTo>
                  <a:lnTo>
                    <a:pt x="21" y="55"/>
                  </a:lnTo>
                  <a:lnTo>
                    <a:pt x="9" y="33"/>
                  </a:lnTo>
                  <a:lnTo>
                    <a:pt x="9" y="0"/>
                  </a:lnTo>
                  <a:lnTo>
                    <a:pt x="52" y="0"/>
                  </a:lnTo>
                  <a:lnTo>
                    <a:pt x="64" y="45"/>
                  </a:lnTo>
                  <a:lnTo>
                    <a:pt x="76" y="88"/>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81" name="Freeform 880"/>
            <p:cNvSpPr>
              <a:spLocks/>
            </p:cNvSpPr>
            <p:nvPr/>
          </p:nvSpPr>
          <p:spPr bwMode="auto">
            <a:xfrm>
              <a:off x="4671232" y="4066947"/>
              <a:ext cx="44110" cy="98371"/>
            </a:xfrm>
            <a:custGeom>
              <a:avLst/>
              <a:gdLst>
                <a:gd name="T0" fmla="*/ 24 w 45"/>
                <a:gd name="T1" fmla="*/ 88 h 100"/>
                <a:gd name="T2" fmla="*/ 33 w 45"/>
                <a:gd name="T3" fmla="*/ 100 h 100"/>
                <a:gd name="T4" fmla="*/ 45 w 45"/>
                <a:gd name="T5" fmla="*/ 100 h 100"/>
                <a:gd name="T6" fmla="*/ 33 w 45"/>
                <a:gd name="T7" fmla="*/ 55 h 100"/>
                <a:gd name="T8" fmla="*/ 33 w 45"/>
                <a:gd name="T9" fmla="*/ 24 h 100"/>
                <a:gd name="T10" fmla="*/ 24 w 45"/>
                <a:gd name="T11" fmla="*/ 12 h 100"/>
                <a:gd name="T12" fmla="*/ 24 w 45"/>
                <a:gd name="T13" fmla="*/ 0 h 100"/>
                <a:gd name="T14" fmla="*/ 0 w 45"/>
                <a:gd name="T15" fmla="*/ 0 h 100"/>
                <a:gd name="T16" fmla="*/ 12 w 45"/>
                <a:gd name="T17" fmla="*/ 45 h 100"/>
                <a:gd name="T18" fmla="*/ 24 w 45"/>
                <a:gd name="T19" fmla="*/ 88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5"/>
                <a:gd name="T31" fmla="*/ 0 h 100"/>
                <a:gd name="T32" fmla="*/ 45 w 45"/>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5" h="100">
                  <a:moveTo>
                    <a:pt x="24" y="88"/>
                  </a:moveTo>
                  <a:lnTo>
                    <a:pt x="33" y="100"/>
                  </a:lnTo>
                  <a:lnTo>
                    <a:pt x="45" y="100"/>
                  </a:lnTo>
                  <a:lnTo>
                    <a:pt x="33" y="55"/>
                  </a:lnTo>
                  <a:lnTo>
                    <a:pt x="33" y="24"/>
                  </a:lnTo>
                  <a:lnTo>
                    <a:pt x="24" y="12"/>
                  </a:lnTo>
                  <a:lnTo>
                    <a:pt x="24" y="0"/>
                  </a:lnTo>
                  <a:lnTo>
                    <a:pt x="0" y="0"/>
                  </a:lnTo>
                  <a:lnTo>
                    <a:pt x="12" y="45"/>
                  </a:lnTo>
                  <a:lnTo>
                    <a:pt x="24" y="88"/>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82" name="Freeform 881"/>
            <p:cNvSpPr>
              <a:spLocks/>
            </p:cNvSpPr>
            <p:nvPr/>
          </p:nvSpPr>
          <p:spPr bwMode="auto">
            <a:xfrm>
              <a:off x="4694638" y="4037049"/>
              <a:ext cx="54913" cy="128269"/>
            </a:xfrm>
            <a:custGeom>
              <a:avLst/>
              <a:gdLst>
                <a:gd name="T0" fmla="*/ 9 w 55"/>
                <a:gd name="T1" fmla="*/ 86 h 131"/>
                <a:gd name="T2" fmla="*/ 21 w 55"/>
                <a:gd name="T3" fmla="*/ 131 h 131"/>
                <a:gd name="T4" fmla="*/ 31 w 55"/>
                <a:gd name="T5" fmla="*/ 131 h 131"/>
                <a:gd name="T6" fmla="*/ 31 w 55"/>
                <a:gd name="T7" fmla="*/ 86 h 131"/>
                <a:gd name="T8" fmla="*/ 55 w 55"/>
                <a:gd name="T9" fmla="*/ 43 h 131"/>
                <a:gd name="T10" fmla="*/ 55 w 55"/>
                <a:gd name="T11" fmla="*/ 22 h 131"/>
                <a:gd name="T12" fmla="*/ 43 w 55"/>
                <a:gd name="T13" fmla="*/ 0 h 131"/>
                <a:gd name="T14" fmla="*/ 31 w 55"/>
                <a:gd name="T15" fmla="*/ 10 h 131"/>
                <a:gd name="T16" fmla="*/ 21 w 55"/>
                <a:gd name="T17" fmla="*/ 22 h 131"/>
                <a:gd name="T18" fmla="*/ 9 w 55"/>
                <a:gd name="T19" fmla="*/ 22 h 131"/>
                <a:gd name="T20" fmla="*/ 0 w 55"/>
                <a:gd name="T21" fmla="*/ 31 h 131"/>
                <a:gd name="T22" fmla="*/ 0 w 55"/>
                <a:gd name="T23" fmla="*/ 43 h 131"/>
                <a:gd name="T24" fmla="*/ 9 w 55"/>
                <a:gd name="T25" fmla="*/ 55 h 131"/>
                <a:gd name="T26" fmla="*/ 9 w 55"/>
                <a:gd name="T27" fmla="*/ 86 h 1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5"/>
                <a:gd name="T43" fmla="*/ 0 h 131"/>
                <a:gd name="T44" fmla="*/ 55 w 55"/>
                <a:gd name="T45" fmla="*/ 131 h 13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5" h="131">
                  <a:moveTo>
                    <a:pt x="9" y="86"/>
                  </a:moveTo>
                  <a:lnTo>
                    <a:pt x="21" y="131"/>
                  </a:lnTo>
                  <a:lnTo>
                    <a:pt x="31" y="131"/>
                  </a:lnTo>
                  <a:lnTo>
                    <a:pt x="31" y="86"/>
                  </a:lnTo>
                  <a:lnTo>
                    <a:pt x="55" y="43"/>
                  </a:lnTo>
                  <a:lnTo>
                    <a:pt x="55" y="22"/>
                  </a:lnTo>
                  <a:lnTo>
                    <a:pt x="43" y="0"/>
                  </a:lnTo>
                  <a:lnTo>
                    <a:pt x="31" y="10"/>
                  </a:lnTo>
                  <a:lnTo>
                    <a:pt x="21" y="22"/>
                  </a:lnTo>
                  <a:lnTo>
                    <a:pt x="9" y="22"/>
                  </a:lnTo>
                  <a:lnTo>
                    <a:pt x="0" y="31"/>
                  </a:lnTo>
                  <a:lnTo>
                    <a:pt x="0" y="43"/>
                  </a:lnTo>
                  <a:lnTo>
                    <a:pt x="9" y="55"/>
                  </a:lnTo>
                  <a:lnTo>
                    <a:pt x="9" y="86"/>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83" name="Freeform 882"/>
            <p:cNvSpPr>
              <a:spLocks/>
            </p:cNvSpPr>
            <p:nvPr/>
          </p:nvSpPr>
          <p:spPr bwMode="auto">
            <a:xfrm>
              <a:off x="4519095" y="4078520"/>
              <a:ext cx="122430" cy="125377"/>
            </a:xfrm>
            <a:custGeom>
              <a:avLst/>
              <a:gdLst>
                <a:gd name="T0" fmla="*/ 118 w 122"/>
                <a:gd name="T1" fmla="*/ 107 h 128"/>
                <a:gd name="T2" fmla="*/ 109 w 122"/>
                <a:gd name="T3" fmla="*/ 107 h 128"/>
                <a:gd name="T4" fmla="*/ 85 w 122"/>
                <a:gd name="T5" fmla="*/ 107 h 128"/>
                <a:gd name="T6" fmla="*/ 55 w 122"/>
                <a:gd name="T7" fmla="*/ 107 h 128"/>
                <a:gd name="T8" fmla="*/ 25 w 122"/>
                <a:gd name="T9" fmla="*/ 128 h 128"/>
                <a:gd name="T10" fmla="*/ 25 w 122"/>
                <a:gd name="T11" fmla="*/ 97 h 128"/>
                <a:gd name="T12" fmla="*/ 10 w 122"/>
                <a:gd name="T13" fmla="*/ 88 h 128"/>
                <a:gd name="T14" fmla="*/ 0 w 122"/>
                <a:gd name="T15" fmla="*/ 64 h 128"/>
                <a:gd name="T16" fmla="*/ 10 w 122"/>
                <a:gd name="T17" fmla="*/ 55 h 128"/>
                <a:gd name="T18" fmla="*/ 10 w 122"/>
                <a:gd name="T19" fmla="*/ 43 h 128"/>
                <a:gd name="T20" fmla="*/ 25 w 122"/>
                <a:gd name="T21" fmla="*/ 43 h 128"/>
                <a:gd name="T22" fmla="*/ 10 w 122"/>
                <a:gd name="T23" fmla="*/ 21 h 128"/>
                <a:gd name="T24" fmla="*/ 10 w 122"/>
                <a:gd name="T25" fmla="*/ 0 h 128"/>
                <a:gd name="T26" fmla="*/ 25 w 122"/>
                <a:gd name="T27" fmla="*/ 0 h 128"/>
                <a:gd name="T28" fmla="*/ 34 w 122"/>
                <a:gd name="T29" fmla="*/ 0 h 128"/>
                <a:gd name="T30" fmla="*/ 46 w 122"/>
                <a:gd name="T31" fmla="*/ 0 h 128"/>
                <a:gd name="T32" fmla="*/ 55 w 122"/>
                <a:gd name="T33" fmla="*/ 0 h 128"/>
                <a:gd name="T34" fmla="*/ 75 w 122"/>
                <a:gd name="T35" fmla="*/ 0 h 128"/>
                <a:gd name="T36" fmla="*/ 85 w 122"/>
                <a:gd name="T37" fmla="*/ 12 h 128"/>
                <a:gd name="T38" fmla="*/ 109 w 122"/>
                <a:gd name="T39" fmla="*/ 12 h 128"/>
                <a:gd name="T40" fmla="*/ 118 w 122"/>
                <a:gd name="T41" fmla="*/ 21 h 128"/>
                <a:gd name="T42" fmla="*/ 130 w 122"/>
                <a:gd name="T43" fmla="*/ 43 h 128"/>
                <a:gd name="T44" fmla="*/ 109 w 122"/>
                <a:gd name="T45" fmla="*/ 76 h 128"/>
                <a:gd name="T46" fmla="*/ 118 w 122"/>
                <a:gd name="T47" fmla="*/ 107 h 1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2"/>
                <a:gd name="T73" fmla="*/ 0 h 128"/>
                <a:gd name="T74" fmla="*/ 122 w 122"/>
                <a:gd name="T75" fmla="*/ 128 h 1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2" h="128">
                  <a:moveTo>
                    <a:pt x="110" y="107"/>
                  </a:moveTo>
                  <a:lnTo>
                    <a:pt x="101" y="107"/>
                  </a:lnTo>
                  <a:lnTo>
                    <a:pt x="77" y="107"/>
                  </a:lnTo>
                  <a:lnTo>
                    <a:pt x="55" y="107"/>
                  </a:lnTo>
                  <a:lnTo>
                    <a:pt x="25" y="128"/>
                  </a:lnTo>
                  <a:lnTo>
                    <a:pt x="25" y="97"/>
                  </a:lnTo>
                  <a:lnTo>
                    <a:pt x="10" y="88"/>
                  </a:lnTo>
                  <a:lnTo>
                    <a:pt x="0" y="64"/>
                  </a:lnTo>
                  <a:lnTo>
                    <a:pt x="10" y="55"/>
                  </a:lnTo>
                  <a:lnTo>
                    <a:pt x="10" y="43"/>
                  </a:lnTo>
                  <a:lnTo>
                    <a:pt x="25" y="43"/>
                  </a:lnTo>
                  <a:lnTo>
                    <a:pt x="10" y="21"/>
                  </a:lnTo>
                  <a:lnTo>
                    <a:pt x="10" y="0"/>
                  </a:lnTo>
                  <a:lnTo>
                    <a:pt x="25" y="0"/>
                  </a:lnTo>
                  <a:lnTo>
                    <a:pt x="34" y="0"/>
                  </a:lnTo>
                  <a:lnTo>
                    <a:pt x="46" y="0"/>
                  </a:lnTo>
                  <a:lnTo>
                    <a:pt x="55" y="0"/>
                  </a:lnTo>
                  <a:lnTo>
                    <a:pt x="67" y="0"/>
                  </a:lnTo>
                  <a:lnTo>
                    <a:pt x="77" y="12"/>
                  </a:lnTo>
                  <a:lnTo>
                    <a:pt x="101" y="12"/>
                  </a:lnTo>
                  <a:lnTo>
                    <a:pt x="110" y="21"/>
                  </a:lnTo>
                  <a:lnTo>
                    <a:pt x="122" y="43"/>
                  </a:lnTo>
                  <a:lnTo>
                    <a:pt x="101" y="76"/>
                  </a:lnTo>
                  <a:lnTo>
                    <a:pt x="110" y="107"/>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84" name="Freeform 883"/>
            <p:cNvSpPr>
              <a:spLocks/>
            </p:cNvSpPr>
            <p:nvPr/>
          </p:nvSpPr>
          <p:spPr bwMode="auto">
            <a:xfrm>
              <a:off x="4465982" y="4120956"/>
              <a:ext cx="78318" cy="82941"/>
            </a:xfrm>
            <a:custGeom>
              <a:avLst/>
              <a:gdLst>
                <a:gd name="T0" fmla="*/ 54 w 79"/>
                <a:gd name="T1" fmla="*/ 21 h 85"/>
                <a:gd name="T2" fmla="*/ 45 w 79"/>
                <a:gd name="T3" fmla="*/ 21 h 85"/>
                <a:gd name="T4" fmla="*/ 33 w 79"/>
                <a:gd name="T5" fmla="*/ 0 h 85"/>
                <a:gd name="T6" fmla="*/ 24 w 79"/>
                <a:gd name="T7" fmla="*/ 0 h 85"/>
                <a:gd name="T8" fmla="*/ 0 w 79"/>
                <a:gd name="T9" fmla="*/ 33 h 85"/>
                <a:gd name="T10" fmla="*/ 64 w 79"/>
                <a:gd name="T11" fmla="*/ 76 h 85"/>
                <a:gd name="T12" fmla="*/ 79 w 79"/>
                <a:gd name="T13" fmla="*/ 85 h 85"/>
                <a:gd name="T14" fmla="*/ 79 w 79"/>
                <a:gd name="T15" fmla="*/ 54 h 85"/>
                <a:gd name="T16" fmla="*/ 64 w 79"/>
                <a:gd name="T17" fmla="*/ 45 h 85"/>
                <a:gd name="T18" fmla="*/ 54 w 79"/>
                <a:gd name="T19" fmla="*/ 21 h 8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9"/>
                <a:gd name="T31" fmla="*/ 0 h 85"/>
                <a:gd name="T32" fmla="*/ 79 w 79"/>
                <a:gd name="T33" fmla="*/ 85 h 8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9" h="85">
                  <a:moveTo>
                    <a:pt x="54" y="21"/>
                  </a:moveTo>
                  <a:lnTo>
                    <a:pt x="45" y="21"/>
                  </a:lnTo>
                  <a:lnTo>
                    <a:pt x="33" y="0"/>
                  </a:lnTo>
                  <a:lnTo>
                    <a:pt x="24" y="0"/>
                  </a:lnTo>
                  <a:lnTo>
                    <a:pt x="0" y="33"/>
                  </a:lnTo>
                  <a:lnTo>
                    <a:pt x="64" y="76"/>
                  </a:lnTo>
                  <a:lnTo>
                    <a:pt x="79" y="85"/>
                  </a:lnTo>
                  <a:lnTo>
                    <a:pt x="79" y="54"/>
                  </a:lnTo>
                  <a:lnTo>
                    <a:pt x="64" y="45"/>
                  </a:lnTo>
                  <a:lnTo>
                    <a:pt x="54" y="21"/>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85" name="Freeform 884"/>
            <p:cNvSpPr>
              <a:spLocks/>
            </p:cNvSpPr>
            <p:nvPr/>
          </p:nvSpPr>
          <p:spPr bwMode="auto">
            <a:xfrm>
              <a:off x="4368759" y="3950251"/>
              <a:ext cx="108926" cy="86799"/>
            </a:xfrm>
            <a:custGeom>
              <a:avLst/>
              <a:gdLst>
                <a:gd name="T0" fmla="*/ 98 w 110"/>
                <a:gd name="T1" fmla="*/ 43 h 88"/>
                <a:gd name="T2" fmla="*/ 76 w 110"/>
                <a:gd name="T3" fmla="*/ 21 h 88"/>
                <a:gd name="T4" fmla="*/ 55 w 110"/>
                <a:gd name="T5" fmla="*/ 0 h 88"/>
                <a:gd name="T6" fmla="*/ 31 w 110"/>
                <a:gd name="T7" fmla="*/ 12 h 88"/>
                <a:gd name="T8" fmla="*/ 22 w 110"/>
                <a:gd name="T9" fmla="*/ 21 h 88"/>
                <a:gd name="T10" fmla="*/ 0 w 110"/>
                <a:gd name="T11" fmla="*/ 43 h 88"/>
                <a:gd name="T12" fmla="*/ 12 w 110"/>
                <a:gd name="T13" fmla="*/ 55 h 88"/>
                <a:gd name="T14" fmla="*/ 12 w 110"/>
                <a:gd name="T15" fmla="*/ 67 h 88"/>
                <a:gd name="T16" fmla="*/ 31 w 110"/>
                <a:gd name="T17" fmla="*/ 55 h 88"/>
                <a:gd name="T18" fmla="*/ 67 w 110"/>
                <a:gd name="T19" fmla="*/ 67 h 88"/>
                <a:gd name="T20" fmla="*/ 55 w 110"/>
                <a:gd name="T21" fmla="*/ 76 h 88"/>
                <a:gd name="T22" fmla="*/ 31 w 110"/>
                <a:gd name="T23" fmla="*/ 67 h 88"/>
                <a:gd name="T24" fmla="*/ 12 w 110"/>
                <a:gd name="T25" fmla="*/ 76 h 88"/>
                <a:gd name="T26" fmla="*/ 12 w 110"/>
                <a:gd name="T27" fmla="*/ 88 h 88"/>
                <a:gd name="T28" fmla="*/ 67 w 110"/>
                <a:gd name="T29" fmla="*/ 88 h 88"/>
                <a:gd name="T30" fmla="*/ 110 w 110"/>
                <a:gd name="T31" fmla="*/ 88 h 88"/>
                <a:gd name="T32" fmla="*/ 98 w 110"/>
                <a:gd name="T33" fmla="*/ 43 h 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0"/>
                <a:gd name="T52" fmla="*/ 0 h 88"/>
                <a:gd name="T53" fmla="*/ 110 w 110"/>
                <a:gd name="T54" fmla="*/ 88 h 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0" h="88">
                  <a:moveTo>
                    <a:pt x="98" y="43"/>
                  </a:moveTo>
                  <a:lnTo>
                    <a:pt x="76" y="21"/>
                  </a:lnTo>
                  <a:lnTo>
                    <a:pt x="55" y="0"/>
                  </a:lnTo>
                  <a:lnTo>
                    <a:pt x="31" y="12"/>
                  </a:lnTo>
                  <a:lnTo>
                    <a:pt x="22" y="21"/>
                  </a:lnTo>
                  <a:lnTo>
                    <a:pt x="0" y="43"/>
                  </a:lnTo>
                  <a:lnTo>
                    <a:pt x="12" y="55"/>
                  </a:lnTo>
                  <a:lnTo>
                    <a:pt x="12" y="67"/>
                  </a:lnTo>
                  <a:lnTo>
                    <a:pt x="31" y="55"/>
                  </a:lnTo>
                  <a:lnTo>
                    <a:pt x="67" y="67"/>
                  </a:lnTo>
                  <a:lnTo>
                    <a:pt x="55" y="76"/>
                  </a:lnTo>
                  <a:lnTo>
                    <a:pt x="31" y="67"/>
                  </a:lnTo>
                  <a:lnTo>
                    <a:pt x="12" y="76"/>
                  </a:lnTo>
                  <a:lnTo>
                    <a:pt x="12" y="88"/>
                  </a:lnTo>
                  <a:lnTo>
                    <a:pt x="67" y="88"/>
                  </a:lnTo>
                  <a:lnTo>
                    <a:pt x="110" y="88"/>
                  </a:lnTo>
                  <a:lnTo>
                    <a:pt x="98" y="43"/>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86" name="Freeform 885"/>
            <p:cNvSpPr>
              <a:spLocks/>
            </p:cNvSpPr>
            <p:nvPr/>
          </p:nvSpPr>
          <p:spPr bwMode="auto">
            <a:xfrm>
              <a:off x="4380462" y="3739040"/>
              <a:ext cx="215152" cy="253645"/>
            </a:xfrm>
            <a:custGeom>
              <a:avLst/>
              <a:gdLst>
                <a:gd name="T0" fmla="*/ 86 w 217"/>
                <a:gd name="T1" fmla="*/ 259 h 259"/>
                <a:gd name="T2" fmla="*/ 98 w 217"/>
                <a:gd name="T3" fmla="*/ 237 h 259"/>
                <a:gd name="T4" fmla="*/ 110 w 217"/>
                <a:gd name="T5" fmla="*/ 250 h 259"/>
                <a:gd name="T6" fmla="*/ 119 w 217"/>
                <a:gd name="T7" fmla="*/ 237 h 259"/>
                <a:gd name="T8" fmla="*/ 207 w 217"/>
                <a:gd name="T9" fmla="*/ 237 h 259"/>
                <a:gd name="T10" fmla="*/ 186 w 217"/>
                <a:gd name="T11" fmla="*/ 43 h 259"/>
                <a:gd name="T12" fmla="*/ 217 w 217"/>
                <a:gd name="T13" fmla="*/ 43 h 259"/>
                <a:gd name="T14" fmla="*/ 150 w 217"/>
                <a:gd name="T15" fmla="*/ 0 h 259"/>
                <a:gd name="T16" fmla="*/ 150 w 217"/>
                <a:gd name="T17" fmla="*/ 21 h 259"/>
                <a:gd name="T18" fmla="*/ 98 w 217"/>
                <a:gd name="T19" fmla="*/ 21 h 259"/>
                <a:gd name="T20" fmla="*/ 98 w 217"/>
                <a:gd name="T21" fmla="*/ 76 h 259"/>
                <a:gd name="T22" fmla="*/ 77 w 217"/>
                <a:gd name="T23" fmla="*/ 88 h 259"/>
                <a:gd name="T24" fmla="*/ 77 w 217"/>
                <a:gd name="T25" fmla="*/ 119 h 259"/>
                <a:gd name="T26" fmla="*/ 10 w 217"/>
                <a:gd name="T27" fmla="*/ 119 h 259"/>
                <a:gd name="T28" fmla="*/ 0 w 217"/>
                <a:gd name="T29" fmla="*/ 128 h 259"/>
                <a:gd name="T30" fmla="*/ 10 w 217"/>
                <a:gd name="T31" fmla="*/ 143 h 259"/>
                <a:gd name="T32" fmla="*/ 10 w 217"/>
                <a:gd name="T33" fmla="*/ 161 h 259"/>
                <a:gd name="T34" fmla="*/ 10 w 217"/>
                <a:gd name="T35" fmla="*/ 195 h 259"/>
                <a:gd name="T36" fmla="*/ 10 w 217"/>
                <a:gd name="T37" fmla="*/ 237 h 259"/>
                <a:gd name="T38" fmla="*/ 19 w 217"/>
                <a:gd name="T39" fmla="*/ 228 h 259"/>
                <a:gd name="T40" fmla="*/ 43 w 217"/>
                <a:gd name="T41" fmla="*/ 216 h 259"/>
                <a:gd name="T42" fmla="*/ 64 w 217"/>
                <a:gd name="T43" fmla="*/ 237 h 259"/>
                <a:gd name="T44" fmla="*/ 86 w 217"/>
                <a:gd name="T45" fmla="*/ 259 h 25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17"/>
                <a:gd name="T70" fmla="*/ 0 h 259"/>
                <a:gd name="T71" fmla="*/ 217 w 217"/>
                <a:gd name="T72" fmla="*/ 259 h 25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17" h="259">
                  <a:moveTo>
                    <a:pt x="86" y="259"/>
                  </a:moveTo>
                  <a:lnTo>
                    <a:pt x="98" y="237"/>
                  </a:lnTo>
                  <a:lnTo>
                    <a:pt x="110" y="250"/>
                  </a:lnTo>
                  <a:lnTo>
                    <a:pt x="119" y="237"/>
                  </a:lnTo>
                  <a:lnTo>
                    <a:pt x="207" y="237"/>
                  </a:lnTo>
                  <a:lnTo>
                    <a:pt x="186" y="43"/>
                  </a:lnTo>
                  <a:lnTo>
                    <a:pt x="217" y="43"/>
                  </a:lnTo>
                  <a:lnTo>
                    <a:pt x="150" y="0"/>
                  </a:lnTo>
                  <a:lnTo>
                    <a:pt x="150" y="21"/>
                  </a:lnTo>
                  <a:lnTo>
                    <a:pt x="98" y="21"/>
                  </a:lnTo>
                  <a:lnTo>
                    <a:pt x="98" y="76"/>
                  </a:lnTo>
                  <a:lnTo>
                    <a:pt x="77" y="88"/>
                  </a:lnTo>
                  <a:lnTo>
                    <a:pt x="77" y="119"/>
                  </a:lnTo>
                  <a:lnTo>
                    <a:pt x="10" y="119"/>
                  </a:lnTo>
                  <a:lnTo>
                    <a:pt x="0" y="128"/>
                  </a:lnTo>
                  <a:lnTo>
                    <a:pt x="10" y="143"/>
                  </a:lnTo>
                  <a:lnTo>
                    <a:pt x="10" y="161"/>
                  </a:lnTo>
                  <a:lnTo>
                    <a:pt x="10" y="195"/>
                  </a:lnTo>
                  <a:lnTo>
                    <a:pt x="10" y="237"/>
                  </a:lnTo>
                  <a:lnTo>
                    <a:pt x="19" y="228"/>
                  </a:lnTo>
                  <a:lnTo>
                    <a:pt x="43" y="216"/>
                  </a:lnTo>
                  <a:lnTo>
                    <a:pt x="64" y="237"/>
                  </a:lnTo>
                  <a:lnTo>
                    <a:pt x="86" y="259"/>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87" name="Freeform 886"/>
            <p:cNvSpPr>
              <a:spLocks/>
            </p:cNvSpPr>
            <p:nvPr/>
          </p:nvSpPr>
          <p:spPr bwMode="auto">
            <a:xfrm>
              <a:off x="4380462" y="3727467"/>
              <a:ext cx="148537" cy="136948"/>
            </a:xfrm>
            <a:custGeom>
              <a:avLst/>
              <a:gdLst>
                <a:gd name="T0" fmla="*/ 150 w 150"/>
                <a:gd name="T1" fmla="*/ 0 h 140"/>
                <a:gd name="T2" fmla="*/ 77 w 150"/>
                <a:gd name="T3" fmla="*/ 0 h 140"/>
                <a:gd name="T4" fmla="*/ 64 w 150"/>
                <a:gd name="T5" fmla="*/ 24 h 140"/>
                <a:gd name="T6" fmla="*/ 55 w 150"/>
                <a:gd name="T7" fmla="*/ 33 h 140"/>
                <a:gd name="T8" fmla="*/ 43 w 150"/>
                <a:gd name="T9" fmla="*/ 64 h 140"/>
                <a:gd name="T10" fmla="*/ 0 w 150"/>
                <a:gd name="T11" fmla="*/ 118 h 140"/>
                <a:gd name="T12" fmla="*/ 0 w 150"/>
                <a:gd name="T13" fmla="*/ 140 h 140"/>
                <a:gd name="T14" fmla="*/ 10 w 150"/>
                <a:gd name="T15" fmla="*/ 131 h 140"/>
                <a:gd name="T16" fmla="*/ 77 w 150"/>
                <a:gd name="T17" fmla="*/ 131 h 140"/>
                <a:gd name="T18" fmla="*/ 77 w 150"/>
                <a:gd name="T19" fmla="*/ 100 h 140"/>
                <a:gd name="T20" fmla="*/ 98 w 150"/>
                <a:gd name="T21" fmla="*/ 88 h 140"/>
                <a:gd name="T22" fmla="*/ 98 w 150"/>
                <a:gd name="T23" fmla="*/ 33 h 140"/>
                <a:gd name="T24" fmla="*/ 150 w 150"/>
                <a:gd name="T25" fmla="*/ 33 h 140"/>
                <a:gd name="T26" fmla="*/ 150 w 150"/>
                <a:gd name="T27" fmla="*/ 12 h 140"/>
                <a:gd name="T28" fmla="*/ 150 w 150"/>
                <a:gd name="T29" fmla="*/ 0 h 1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0"/>
                <a:gd name="T46" fmla="*/ 0 h 140"/>
                <a:gd name="T47" fmla="*/ 150 w 150"/>
                <a:gd name="T48" fmla="*/ 140 h 1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0" h="140">
                  <a:moveTo>
                    <a:pt x="150" y="0"/>
                  </a:moveTo>
                  <a:lnTo>
                    <a:pt x="77" y="0"/>
                  </a:lnTo>
                  <a:lnTo>
                    <a:pt x="64" y="24"/>
                  </a:lnTo>
                  <a:lnTo>
                    <a:pt x="55" y="33"/>
                  </a:lnTo>
                  <a:lnTo>
                    <a:pt x="43" y="64"/>
                  </a:lnTo>
                  <a:lnTo>
                    <a:pt x="0" y="118"/>
                  </a:lnTo>
                  <a:lnTo>
                    <a:pt x="0" y="140"/>
                  </a:lnTo>
                  <a:lnTo>
                    <a:pt x="10" y="131"/>
                  </a:lnTo>
                  <a:lnTo>
                    <a:pt x="77" y="131"/>
                  </a:lnTo>
                  <a:lnTo>
                    <a:pt x="77" y="100"/>
                  </a:lnTo>
                  <a:lnTo>
                    <a:pt x="98" y="88"/>
                  </a:lnTo>
                  <a:lnTo>
                    <a:pt x="98" y="33"/>
                  </a:lnTo>
                  <a:lnTo>
                    <a:pt x="150" y="33"/>
                  </a:lnTo>
                  <a:lnTo>
                    <a:pt x="150" y="12"/>
                  </a:lnTo>
                  <a:lnTo>
                    <a:pt x="150"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88" name="Freeform 887"/>
            <p:cNvSpPr>
              <a:spLocks/>
            </p:cNvSpPr>
            <p:nvPr/>
          </p:nvSpPr>
          <p:spPr bwMode="auto">
            <a:xfrm>
              <a:off x="4816167" y="3539403"/>
              <a:ext cx="63015" cy="136948"/>
            </a:xfrm>
            <a:custGeom>
              <a:avLst/>
              <a:gdLst>
                <a:gd name="T0" fmla="*/ 64 w 64"/>
                <a:gd name="T1" fmla="*/ 85 h 140"/>
                <a:gd name="T2" fmla="*/ 64 w 64"/>
                <a:gd name="T3" fmla="*/ 73 h 140"/>
                <a:gd name="T4" fmla="*/ 40 w 64"/>
                <a:gd name="T5" fmla="*/ 73 h 140"/>
                <a:gd name="T6" fmla="*/ 40 w 64"/>
                <a:gd name="T7" fmla="*/ 64 h 140"/>
                <a:gd name="T8" fmla="*/ 64 w 64"/>
                <a:gd name="T9" fmla="*/ 40 h 140"/>
                <a:gd name="T10" fmla="*/ 52 w 64"/>
                <a:gd name="T11" fmla="*/ 18 h 140"/>
                <a:gd name="T12" fmla="*/ 64 w 64"/>
                <a:gd name="T13" fmla="*/ 9 h 140"/>
                <a:gd name="T14" fmla="*/ 52 w 64"/>
                <a:gd name="T15" fmla="*/ 9 h 140"/>
                <a:gd name="T16" fmla="*/ 40 w 64"/>
                <a:gd name="T17" fmla="*/ 9 h 140"/>
                <a:gd name="T18" fmla="*/ 40 w 64"/>
                <a:gd name="T19" fmla="*/ 0 h 140"/>
                <a:gd name="T20" fmla="*/ 18 w 64"/>
                <a:gd name="T21" fmla="*/ 9 h 140"/>
                <a:gd name="T22" fmla="*/ 18 w 64"/>
                <a:gd name="T23" fmla="*/ 18 h 140"/>
                <a:gd name="T24" fmla="*/ 18 w 64"/>
                <a:gd name="T25" fmla="*/ 55 h 140"/>
                <a:gd name="T26" fmla="*/ 0 w 64"/>
                <a:gd name="T27" fmla="*/ 73 h 140"/>
                <a:gd name="T28" fmla="*/ 9 w 64"/>
                <a:gd name="T29" fmla="*/ 94 h 140"/>
                <a:gd name="T30" fmla="*/ 30 w 64"/>
                <a:gd name="T31" fmla="*/ 106 h 140"/>
                <a:gd name="T32" fmla="*/ 30 w 64"/>
                <a:gd name="T33" fmla="*/ 140 h 140"/>
                <a:gd name="T34" fmla="*/ 40 w 64"/>
                <a:gd name="T35" fmla="*/ 140 h 140"/>
                <a:gd name="T36" fmla="*/ 40 w 64"/>
                <a:gd name="T37" fmla="*/ 116 h 140"/>
                <a:gd name="T38" fmla="*/ 64 w 64"/>
                <a:gd name="T39" fmla="*/ 106 h 140"/>
                <a:gd name="T40" fmla="*/ 64 w 64"/>
                <a:gd name="T41" fmla="*/ 85 h 1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4"/>
                <a:gd name="T64" fmla="*/ 0 h 140"/>
                <a:gd name="T65" fmla="*/ 64 w 64"/>
                <a:gd name="T66" fmla="*/ 140 h 14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4" h="140">
                  <a:moveTo>
                    <a:pt x="64" y="85"/>
                  </a:moveTo>
                  <a:lnTo>
                    <a:pt x="64" y="73"/>
                  </a:lnTo>
                  <a:lnTo>
                    <a:pt x="40" y="73"/>
                  </a:lnTo>
                  <a:lnTo>
                    <a:pt x="40" y="64"/>
                  </a:lnTo>
                  <a:lnTo>
                    <a:pt x="64" y="40"/>
                  </a:lnTo>
                  <a:lnTo>
                    <a:pt x="52" y="18"/>
                  </a:lnTo>
                  <a:lnTo>
                    <a:pt x="64" y="9"/>
                  </a:lnTo>
                  <a:lnTo>
                    <a:pt x="52" y="9"/>
                  </a:lnTo>
                  <a:lnTo>
                    <a:pt x="40" y="9"/>
                  </a:lnTo>
                  <a:lnTo>
                    <a:pt x="40" y="0"/>
                  </a:lnTo>
                  <a:lnTo>
                    <a:pt x="18" y="9"/>
                  </a:lnTo>
                  <a:lnTo>
                    <a:pt x="18" y="18"/>
                  </a:lnTo>
                  <a:lnTo>
                    <a:pt x="18" y="55"/>
                  </a:lnTo>
                  <a:lnTo>
                    <a:pt x="0" y="73"/>
                  </a:lnTo>
                  <a:lnTo>
                    <a:pt x="9" y="94"/>
                  </a:lnTo>
                  <a:lnTo>
                    <a:pt x="30" y="106"/>
                  </a:lnTo>
                  <a:lnTo>
                    <a:pt x="30" y="140"/>
                  </a:lnTo>
                  <a:lnTo>
                    <a:pt x="40" y="140"/>
                  </a:lnTo>
                  <a:lnTo>
                    <a:pt x="40" y="116"/>
                  </a:lnTo>
                  <a:lnTo>
                    <a:pt x="64" y="106"/>
                  </a:lnTo>
                  <a:lnTo>
                    <a:pt x="64" y="85"/>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89" name="Freeform 888"/>
            <p:cNvSpPr>
              <a:spLocks/>
            </p:cNvSpPr>
            <p:nvPr/>
          </p:nvSpPr>
          <p:spPr bwMode="auto">
            <a:xfrm>
              <a:off x="4544302" y="3411134"/>
              <a:ext cx="205249" cy="157202"/>
            </a:xfrm>
            <a:custGeom>
              <a:avLst/>
              <a:gdLst>
                <a:gd name="T0" fmla="*/ 152 w 207"/>
                <a:gd name="T1" fmla="*/ 18 h 161"/>
                <a:gd name="T2" fmla="*/ 128 w 207"/>
                <a:gd name="T3" fmla="*/ 9 h 161"/>
                <a:gd name="T4" fmla="*/ 119 w 207"/>
                <a:gd name="T5" fmla="*/ 9 h 161"/>
                <a:gd name="T6" fmla="*/ 85 w 207"/>
                <a:gd name="T7" fmla="*/ 9 h 161"/>
                <a:gd name="T8" fmla="*/ 21 w 207"/>
                <a:gd name="T9" fmla="*/ 0 h 161"/>
                <a:gd name="T10" fmla="*/ 9 w 207"/>
                <a:gd name="T11" fmla="*/ 9 h 161"/>
                <a:gd name="T12" fmla="*/ 0 w 207"/>
                <a:gd name="T13" fmla="*/ 18 h 161"/>
                <a:gd name="T14" fmla="*/ 9 w 207"/>
                <a:gd name="T15" fmla="*/ 43 h 161"/>
                <a:gd name="T16" fmla="*/ 42 w 207"/>
                <a:gd name="T17" fmla="*/ 43 h 161"/>
                <a:gd name="T18" fmla="*/ 52 w 207"/>
                <a:gd name="T19" fmla="*/ 43 h 161"/>
                <a:gd name="T20" fmla="*/ 42 w 207"/>
                <a:gd name="T21" fmla="*/ 64 h 161"/>
                <a:gd name="T22" fmla="*/ 42 w 207"/>
                <a:gd name="T23" fmla="*/ 76 h 161"/>
                <a:gd name="T24" fmla="*/ 30 w 207"/>
                <a:gd name="T25" fmla="*/ 85 h 161"/>
                <a:gd name="T26" fmla="*/ 30 w 207"/>
                <a:gd name="T27" fmla="*/ 107 h 161"/>
                <a:gd name="T28" fmla="*/ 30 w 207"/>
                <a:gd name="T29" fmla="*/ 131 h 161"/>
                <a:gd name="T30" fmla="*/ 52 w 207"/>
                <a:gd name="T31" fmla="*/ 161 h 161"/>
                <a:gd name="T32" fmla="*/ 76 w 207"/>
                <a:gd name="T33" fmla="*/ 140 h 161"/>
                <a:gd name="T34" fmla="*/ 106 w 207"/>
                <a:gd name="T35" fmla="*/ 140 h 161"/>
                <a:gd name="T36" fmla="*/ 152 w 207"/>
                <a:gd name="T37" fmla="*/ 107 h 161"/>
                <a:gd name="T38" fmla="*/ 140 w 207"/>
                <a:gd name="T39" fmla="*/ 85 h 161"/>
                <a:gd name="T40" fmla="*/ 173 w 207"/>
                <a:gd name="T41" fmla="*/ 55 h 161"/>
                <a:gd name="T42" fmla="*/ 207 w 207"/>
                <a:gd name="T43" fmla="*/ 43 h 161"/>
                <a:gd name="T44" fmla="*/ 207 w 207"/>
                <a:gd name="T45" fmla="*/ 18 h 161"/>
                <a:gd name="T46" fmla="*/ 152 w 207"/>
                <a:gd name="T47" fmla="*/ 18 h 16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7"/>
                <a:gd name="T73" fmla="*/ 0 h 161"/>
                <a:gd name="T74" fmla="*/ 207 w 207"/>
                <a:gd name="T75" fmla="*/ 161 h 16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7" h="161">
                  <a:moveTo>
                    <a:pt x="152" y="18"/>
                  </a:moveTo>
                  <a:lnTo>
                    <a:pt x="128" y="9"/>
                  </a:lnTo>
                  <a:lnTo>
                    <a:pt x="119" y="9"/>
                  </a:lnTo>
                  <a:lnTo>
                    <a:pt x="85" y="9"/>
                  </a:lnTo>
                  <a:lnTo>
                    <a:pt x="21" y="0"/>
                  </a:lnTo>
                  <a:lnTo>
                    <a:pt x="9" y="9"/>
                  </a:lnTo>
                  <a:lnTo>
                    <a:pt x="0" y="18"/>
                  </a:lnTo>
                  <a:lnTo>
                    <a:pt x="9" y="43"/>
                  </a:lnTo>
                  <a:lnTo>
                    <a:pt x="42" y="43"/>
                  </a:lnTo>
                  <a:lnTo>
                    <a:pt x="52" y="43"/>
                  </a:lnTo>
                  <a:lnTo>
                    <a:pt x="42" y="64"/>
                  </a:lnTo>
                  <a:lnTo>
                    <a:pt x="42" y="76"/>
                  </a:lnTo>
                  <a:lnTo>
                    <a:pt x="30" y="85"/>
                  </a:lnTo>
                  <a:lnTo>
                    <a:pt x="30" y="107"/>
                  </a:lnTo>
                  <a:lnTo>
                    <a:pt x="30" y="131"/>
                  </a:lnTo>
                  <a:lnTo>
                    <a:pt x="52" y="161"/>
                  </a:lnTo>
                  <a:lnTo>
                    <a:pt x="76" y="140"/>
                  </a:lnTo>
                  <a:lnTo>
                    <a:pt x="106" y="140"/>
                  </a:lnTo>
                  <a:lnTo>
                    <a:pt x="152" y="107"/>
                  </a:lnTo>
                  <a:lnTo>
                    <a:pt x="140" y="85"/>
                  </a:lnTo>
                  <a:lnTo>
                    <a:pt x="173" y="55"/>
                  </a:lnTo>
                  <a:lnTo>
                    <a:pt x="207" y="43"/>
                  </a:lnTo>
                  <a:lnTo>
                    <a:pt x="207" y="18"/>
                  </a:lnTo>
                  <a:lnTo>
                    <a:pt x="152" y="18"/>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90" name="Freeform 889"/>
            <p:cNvSpPr>
              <a:spLocks/>
            </p:cNvSpPr>
            <p:nvPr/>
          </p:nvSpPr>
          <p:spPr bwMode="auto">
            <a:xfrm>
              <a:off x="4528997" y="3453568"/>
              <a:ext cx="66616" cy="94515"/>
            </a:xfrm>
            <a:custGeom>
              <a:avLst/>
              <a:gdLst>
                <a:gd name="T0" fmla="*/ 45 w 67"/>
                <a:gd name="T1" fmla="*/ 64 h 97"/>
                <a:gd name="T2" fmla="*/ 45 w 67"/>
                <a:gd name="T3" fmla="*/ 88 h 97"/>
                <a:gd name="T4" fmla="*/ 15 w 67"/>
                <a:gd name="T5" fmla="*/ 97 h 97"/>
                <a:gd name="T6" fmla="*/ 15 w 67"/>
                <a:gd name="T7" fmla="*/ 64 h 97"/>
                <a:gd name="T8" fmla="*/ 0 w 67"/>
                <a:gd name="T9" fmla="*/ 51 h 97"/>
                <a:gd name="T10" fmla="*/ 24 w 67"/>
                <a:gd name="T11" fmla="*/ 12 h 97"/>
                <a:gd name="T12" fmla="*/ 24 w 67"/>
                <a:gd name="T13" fmla="*/ 0 h 97"/>
                <a:gd name="T14" fmla="*/ 57 w 67"/>
                <a:gd name="T15" fmla="*/ 0 h 97"/>
                <a:gd name="T16" fmla="*/ 67 w 67"/>
                <a:gd name="T17" fmla="*/ 0 h 97"/>
                <a:gd name="T18" fmla="*/ 57 w 67"/>
                <a:gd name="T19" fmla="*/ 21 h 97"/>
                <a:gd name="T20" fmla="*/ 57 w 67"/>
                <a:gd name="T21" fmla="*/ 33 h 97"/>
                <a:gd name="T22" fmla="*/ 45 w 67"/>
                <a:gd name="T23" fmla="*/ 42 h 97"/>
                <a:gd name="T24" fmla="*/ 45 w 67"/>
                <a:gd name="T25" fmla="*/ 64 h 9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7"/>
                <a:gd name="T40" fmla="*/ 0 h 97"/>
                <a:gd name="T41" fmla="*/ 67 w 67"/>
                <a:gd name="T42" fmla="*/ 97 h 9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7" h="97">
                  <a:moveTo>
                    <a:pt x="45" y="64"/>
                  </a:moveTo>
                  <a:lnTo>
                    <a:pt x="45" y="88"/>
                  </a:lnTo>
                  <a:lnTo>
                    <a:pt x="15" y="97"/>
                  </a:lnTo>
                  <a:lnTo>
                    <a:pt x="15" y="64"/>
                  </a:lnTo>
                  <a:lnTo>
                    <a:pt x="0" y="51"/>
                  </a:lnTo>
                  <a:lnTo>
                    <a:pt x="24" y="12"/>
                  </a:lnTo>
                  <a:lnTo>
                    <a:pt x="24" y="0"/>
                  </a:lnTo>
                  <a:lnTo>
                    <a:pt x="57" y="0"/>
                  </a:lnTo>
                  <a:lnTo>
                    <a:pt x="67" y="0"/>
                  </a:lnTo>
                  <a:lnTo>
                    <a:pt x="57" y="21"/>
                  </a:lnTo>
                  <a:lnTo>
                    <a:pt x="57" y="33"/>
                  </a:lnTo>
                  <a:lnTo>
                    <a:pt x="45" y="42"/>
                  </a:lnTo>
                  <a:lnTo>
                    <a:pt x="45" y="64"/>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91" name="Freeform 890"/>
            <p:cNvSpPr>
              <a:spLocks/>
            </p:cNvSpPr>
            <p:nvPr/>
          </p:nvSpPr>
          <p:spPr bwMode="auto">
            <a:xfrm>
              <a:off x="4628922" y="3262611"/>
              <a:ext cx="195348" cy="165883"/>
            </a:xfrm>
            <a:custGeom>
              <a:avLst/>
              <a:gdLst>
                <a:gd name="T0" fmla="*/ 198 w 198"/>
                <a:gd name="T1" fmla="*/ 76 h 170"/>
                <a:gd name="T2" fmla="*/ 189 w 198"/>
                <a:gd name="T3" fmla="*/ 76 h 170"/>
                <a:gd name="T4" fmla="*/ 165 w 198"/>
                <a:gd name="T5" fmla="*/ 97 h 170"/>
                <a:gd name="T6" fmla="*/ 174 w 198"/>
                <a:gd name="T7" fmla="*/ 106 h 170"/>
                <a:gd name="T8" fmla="*/ 174 w 198"/>
                <a:gd name="T9" fmla="*/ 97 h 170"/>
                <a:gd name="T10" fmla="*/ 189 w 198"/>
                <a:gd name="T11" fmla="*/ 106 h 170"/>
                <a:gd name="T12" fmla="*/ 174 w 198"/>
                <a:gd name="T13" fmla="*/ 131 h 170"/>
                <a:gd name="T14" fmla="*/ 198 w 198"/>
                <a:gd name="T15" fmla="*/ 152 h 170"/>
                <a:gd name="T16" fmla="*/ 174 w 198"/>
                <a:gd name="T17" fmla="*/ 161 h 170"/>
                <a:gd name="T18" fmla="*/ 131 w 198"/>
                <a:gd name="T19" fmla="*/ 161 h 170"/>
                <a:gd name="T20" fmla="*/ 122 w 198"/>
                <a:gd name="T21" fmla="*/ 170 h 170"/>
                <a:gd name="T22" fmla="*/ 67 w 198"/>
                <a:gd name="T23" fmla="*/ 170 h 170"/>
                <a:gd name="T24" fmla="*/ 43 w 198"/>
                <a:gd name="T25" fmla="*/ 161 h 170"/>
                <a:gd name="T26" fmla="*/ 43 w 198"/>
                <a:gd name="T27" fmla="*/ 152 h 170"/>
                <a:gd name="T28" fmla="*/ 55 w 198"/>
                <a:gd name="T29" fmla="*/ 106 h 170"/>
                <a:gd name="T30" fmla="*/ 55 w 198"/>
                <a:gd name="T31" fmla="*/ 97 h 170"/>
                <a:gd name="T32" fmla="*/ 34 w 198"/>
                <a:gd name="T33" fmla="*/ 76 h 170"/>
                <a:gd name="T34" fmla="*/ 0 w 198"/>
                <a:gd name="T35" fmla="*/ 64 h 170"/>
                <a:gd name="T36" fmla="*/ 0 w 198"/>
                <a:gd name="T37" fmla="*/ 55 h 170"/>
                <a:gd name="T38" fmla="*/ 21 w 198"/>
                <a:gd name="T39" fmla="*/ 55 h 170"/>
                <a:gd name="T40" fmla="*/ 34 w 198"/>
                <a:gd name="T41" fmla="*/ 55 h 170"/>
                <a:gd name="T42" fmla="*/ 55 w 198"/>
                <a:gd name="T43" fmla="*/ 55 h 170"/>
                <a:gd name="T44" fmla="*/ 43 w 198"/>
                <a:gd name="T45" fmla="*/ 30 h 170"/>
                <a:gd name="T46" fmla="*/ 55 w 198"/>
                <a:gd name="T47" fmla="*/ 30 h 170"/>
                <a:gd name="T48" fmla="*/ 55 w 198"/>
                <a:gd name="T49" fmla="*/ 39 h 170"/>
                <a:gd name="T50" fmla="*/ 76 w 198"/>
                <a:gd name="T51" fmla="*/ 39 h 170"/>
                <a:gd name="T52" fmla="*/ 76 w 198"/>
                <a:gd name="T53" fmla="*/ 30 h 170"/>
                <a:gd name="T54" fmla="*/ 98 w 198"/>
                <a:gd name="T55" fmla="*/ 21 h 170"/>
                <a:gd name="T56" fmla="*/ 110 w 198"/>
                <a:gd name="T57" fmla="*/ 9 h 170"/>
                <a:gd name="T58" fmla="*/ 122 w 198"/>
                <a:gd name="T59" fmla="*/ 0 h 170"/>
                <a:gd name="T60" fmla="*/ 122 w 198"/>
                <a:gd name="T61" fmla="*/ 9 h 170"/>
                <a:gd name="T62" fmla="*/ 143 w 198"/>
                <a:gd name="T63" fmla="*/ 30 h 170"/>
                <a:gd name="T64" fmla="*/ 152 w 198"/>
                <a:gd name="T65" fmla="*/ 21 h 170"/>
                <a:gd name="T66" fmla="*/ 152 w 198"/>
                <a:gd name="T67" fmla="*/ 30 h 170"/>
                <a:gd name="T68" fmla="*/ 165 w 198"/>
                <a:gd name="T69" fmla="*/ 30 h 170"/>
                <a:gd name="T70" fmla="*/ 174 w 198"/>
                <a:gd name="T71" fmla="*/ 30 h 170"/>
                <a:gd name="T72" fmla="*/ 198 w 198"/>
                <a:gd name="T73" fmla="*/ 55 h 170"/>
                <a:gd name="T74" fmla="*/ 198 w 198"/>
                <a:gd name="T75" fmla="*/ 76 h 17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8"/>
                <a:gd name="T115" fmla="*/ 0 h 170"/>
                <a:gd name="T116" fmla="*/ 198 w 198"/>
                <a:gd name="T117" fmla="*/ 170 h 17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8" h="170">
                  <a:moveTo>
                    <a:pt x="198" y="76"/>
                  </a:moveTo>
                  <a:lnTo>
                    <a:pt x="189" y="76"/>
                  </a:lnTo>
                  <a:lnTo>
                    <a:pt x="165" y="97"/>
                  </a:lnTo>
                  <a:lnTo>
                    <a:pt x="174" y="106"/>
                  </a:lnTo>
                  <a:lnTo>
                    <a:pt x="174" y="97"/>
                  </a:lnTo>
                  <a:lnTo>
                    <a:pt x="189" y="106"/>
                  </a:lnTo>
                  <a:lnTo>
                    <a:pt x="174" y="131"/>
                  </a:lnTo>
                  <a:lnTo>
                    <a:pt x="198" y="152"/>
                  </a:lnTo>
                  <a:lnTo>
                    <a:pt x="174" y="161"/>
                  </a:lnTo>
                  <a:lnTo>
                    <a:pt x="131" y="161"/>
                  </a:lnTo>
                  <a:lnTo>
                    <a:pt x="122" y="170"/>
                  </a:lnTo>
                  <a:lnTo>
                    <a:pt x="67" y="170"/>
                  </a:lnTo>
                  <a:lnTo>
                    <a:pt x="43" y="161"/>
                  </a:lnTo>
                  <a:lnTo>
                    <a:pt x="43" y="152"/>
                  </a:lnTo>
                  <a:lnTo>
                    <a:pt x="55" y="106"/>
                  </a:lnTo>
                  <a:lnTo>
                    <a:pt x="55" y="97"/>
                  </a:lnTo>
                  <a:lnTo>
                    <a:pt x="34" y="76"/>
                  </a:lnTo>
                  <a:lnTo>
                    <a:pt x="0" y="64"/>
                  </a:lnTo>
                  <a:lnTo>
                    <a:pt x="0" y="55"/>
                  </a:lnTo>
                  <a:lnTo>
                    <a:pt x="21" y="55"/>
                  </a:lnTo>
                  <a:lnTo>
                    <a:pt x="34" y="55"/>
                  </a:lnTo>
                  <a:lnTo>
                    <a:pt x="55" y="55"/>
                  </a:lnTo>
                  <a:lnTo>
                    <a:pt x="43" y="30"/>
                  </a:lnTo>
                  <a:lnTo>
                    <a:pt x="55" y="30"/>
                  </a:lnTo>
                  <a:lnTo>
                    <a:pt x="55" y="39"/>
                  </a:lnTo>
                  <a:lnTo>
                    <a:pt x="76" y="39"/>
                  </a:lnTo>
                  <a:lnTo>
                    <a:pt x="76" y="30"/>
                  </a:lnTo>
                  <a:lnTo>
                    <a:pt x="98" y="21"/>
                  </a:lnTo>
                  <a:lnTo>
                    <a:pt x="110" y="9"/>
                  </a:lnTo>
                  <a:lnTo>
                    <a:pt x="122" y="0"/>
                  </a:lnTo>
                  <a:lnTo>
                    <a:pt x="122" y="9"/>
                  </a:lnTo>
                  <a:lnTo>
                    <a:pt x="143" y="30"/>
                  </a:lnTo>
                  <a:lnTo>
                    <a:pt x="152" y="21"/>
                  </a:lnTo>
                  <a:lnTo>
                    <a:pt x="152" y="30"/>
                  </a:lnTo>
                  <a:lnTo>
                    <a:pt x="165" y="30"/>
                  </a:lnTo>
                  <a:lnTo>
                    <a:pt x="174" y="30"/>
                  </a:lnTo>
                  <a:lnTo>
                    <a:pt x="198" y="55"/>
                  </a:lnTo>
                  <a:lnTo>
                    <a:pt x="198" y="76"/>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92" name="Freeform 891"/>
            <p:cNvSpPr>
              <a:spLocks/>
            </p:cNvSpPr>
            <p:nvPr/>
          </p:nvSpPr>
          <p:spPr bwMode="auto">
            <a:xfrm>
              <a:off x="4800864" y="3345552"/>
              <a:ext cx="196247" cy="182278"/>
            </a:xfrm>
            <a:custGeom>
              <a:avLst/>
              <a:gdLst>
                <a:gd name="T0" fmla="*/ 0 w 198"/>
                <a:gd name="T1" fmla="*/ 46 h 186"/>
                <a:gd name="T2" fmla="*/ 24 w 198"/>
                <a:gd name="T3" fmla="*/ 67 h 186"/>
                <a:gd name="T4" fmla="*/ 33 w 198"/>
                <a:gd name="T5" fmla="*/ 55 h 186"/>
                <a:gd name="T6" fmla="*/ 55 w 198"/>
                <a:gd name="T7" fmla="*/ 67 h 186"/>
                <a:gd name="T8" fmla="*/ 79 w 198"/>
                <a:gd name="T9" fmla="*/ 97 h 186"/>
                <a:gd name="T10" fmla="*/ 91 w 198"/>
                <a:gd name="T11" fmla="*/ 97 h 186"/>
                <a:gd name="T12" fmla="*/ 100 w 198"/>
                <a:gd name="T13" fmla="*/ 110 h 186"/>
                <a:gd name="T14" fmla="*/ 122 w 198"/>
                <a:gd name="T15" fmla="*/ 122 h 186"/>
                <a:gd name="T16" fmla="*/ 155 w 198"/>
                <a:gd name="T17" fmla="*/ 143 h 186"/>
                <a:gd name="T18" fmla="*/ 167 w 198"/>
                <a:gd name="T19" fmla="*/ 161 h 186"/>
                <a:gd name="T20" fmla="*/ 155 w 198"/>
                <a:gd name="T21" fmla="*/ 186 h 186"/>
                <a:gd name="T22" fmla="*/ 167 w 198"/>
                <a:gd name="T23" fmla="*/ 186 h 186"/>
                <a:gd name="T24" fmla="*/ 167 w 198"/>
                <a:gd name="T25" fmla="*/ 161 h 186"/>
                <a:gd name="T26" fmla="*/ 176 w 198"/>
                <a:gd name="T27" fmla="*/ 161 h 186"/>
                <a:gd name="T28" fmla="*/ 176 w 198"/>
                <a:gd name="T29" fmla="*/ 152 h 186"/>
                <a:gd name="T30" fmla="*/ 167 w 198"/>
                <a:gd name="T31" fmla="*/ 152 h 186"/>
                <a:gd name="T32" fmla="*/ 176 w 198"/>
                <a:gd name="T33" fmla="*/ 131 h 186"/>
                <a:gd name="T34" fmla="*/ 198 w 198"/>
                <a:gd name="T35" fmla="*/ 143 h 186"/>
                <a:gd name="T36" fmla="*/ 155 w 198"/>
                <a:gd name="T37" fmla="*/ 110 h 186"/>
                <a:gd name="T38" fmla="*/ 167 w 198"/>
                <a:gd name="T39" fmla="*/ 110 h 186"/>
                <a:gd name="T40" fmla="*/ 143 w 198"/>
                <a:gd name="T41" fmla="*/ 110 h 186"/>
                <a:gd name="T42" fmla="*/ 131 w 198"/>
                <a:gd name="T43" fmla="*/ 97 h 186"/>
                <a:gd name="T44" fmla="*/ 122 w 198"/>
                <a:gd name="T45" fmla="*/ 76 h 186"/>
                <a:gd name="T46" fmla="*/ 100 w 198"/>
                <a:gd name="T47" fmla="*/ 55 h 186"/>
                <a:gd name="T48" fmla="*/ 100 w 198"/>
                <a:gd name="T49" fmla="*/ 30 h 186"/>
                <a:gd name="T50" fmla="*/ 109 w 198"/>
                <a:gd name="T51" fmla="*/ 21 h 186"/>
                <a:gd name="T52" fmla="*/ 122 w 198"/>
                <a:gd name="T53" fmla="*/ 30 h 186"/>
                <a:gd name="T54" fmla="*/ 122 w 198"/>
                <a:gd name="T55" fmla="*/ 21 h 186"/>
                <a:gd name="T56" fmla="*/ 122 w 198"/>
                <a:gd name="T57" fmla="*/ 12 h 186"/>
                <a:gd name="T58" fmla="*/ 100 w 198"/>
                <a:gd name="T59" fmla="*/ 0 h 186"/>
                <a:gd name="T60" fmla="*/ 91 w 198"/>
                <a:gd name="T61" fmla="*/ 0 h 186"/>
                <a:gd name="T62" fmla="*/ 67 w 198"/>
                <a:gd name="T63" fmla="*/ 0 h 186"/>
                <a:gd name="T64" fmla="*/ 55 w 198"/>
                <a:gd name="T65" fmla="*/ 12 h 186"/>
                <a:gd name="T66" fmla="*/ 45 w 198"/>
                <a:gd name="T67" fmla="*/ 12 h 186"/>
                <a:gd name="T68" fmla="*/ 45 w 198"/>
                <a:gd name="T69" fmla="*/ 21 h 186"/>
                <a:gd name="T70" fmla="*/ 33 w 198"/>
                <a:gd name="T71" fmla="*/ 12 h 186"/>
                <a:gd name="T72" fmla="*/ 15 w 198"/>
                <a:gd name="T73" fmla="*/ 21 h 186"/>
                <a:gd name="T74" fmla="*/ 0 w 198"/>
                <a:gd name="T75" fmla="*/ 46 h 1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8"/>
                <a:gd name="T115" fmla="*/ 0 h 186"/>
                <a:gd name="T116" fmla="*/ 198 w 198"/>
                <a:gd name="T117" fmla="*/ 186 h 1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8" h="186">
                  <a:moveTo>
                    <a:pt x="0" y="46"/>
                  </a:moveTo>
                  <a:lnTo>
                    <a:pt x="24" y="67"/>
                  </a:lnTo>
                  <a:lnTo>
                    <a:pt x="33" y="55"/>
                  </a:lnTo>
                  <a:lnTo>
                    <a:pt x="55" y="67"/>
                  </a:lnTo>
                  <a:lnTo>
                    <a:pt x="79" y="97"/>
                  </a:lnTo>
                  <a:lnTo>
                    <a:pt x="91" y="97"/>
                  </a:lnTo>
                  <a:lnTo>
                    <a:pt x="100" y="110"/>
                  </a:lnTo>
                  <a:lnTo>
                    <a:pt x="122" y="122"/>
                  </a:lnTo>
                  <a:lnTo>
                    <a:pt x="155" y="143"/>
                  </a:lnTo>
                  <a:lnTo>
                    <a:pt x="167" y="161"/>
                  </a:lnTo>
                  <a:lnTo>
                    <a:pt x="155" y="186"/>
                  </a:lnTo>
                  <a:lnTo>
                    <a:pt x="167" y="186"/>
                  </a:lnTo>
                  <a:lnTo>
                    <a:pt x="167" y="161"/>
                  </a:lnTo>
                  <a:lnTo>
                    <a:pt x="176" y="161"/>
                  </a:lnTo>
                  <a:lnTo>
                    <a:pt x="176" y="152"/>
                  </a:lnTo>
                  <a:lnTo>
                    <a:pt x="167" y="152"/>
                  </a:lnTo>
                  <a:lnTo>
                    <a:pt x="176" y="131"/>
                  </a:lnTo>
                  <a:lnTo>
                    <a:pt x="198" y="143"/>
                  </a:lnTo>
                  <a:lnTo>
                    <a:pt x="155" y="110"/>
                  </a:lnTo>
                  <a:lnTo>
                    <a:pt x="167" y="110"/>
                  </a:lnTo>
                  <a:lnTo>
                    <a:pt x="143" y="110"/>
                  </a:lnTo>
                  <a:lnTo>
                    <a:pt x="131" y="97"/>
                  </a:lnTo>
                  <a:lnTo>
                    <a:pt x="122" y="76"/>
                  </a:lnTo>
                  <a:lnTo>
                    <a:pt x="100" y="55"/>
                  </a:lnTo>
                  <a:lnTo>
                    <a:pt x="100" y="30"/>
                  </a:lnTo>
                  <a:lnTo>
                    <a:pt x="109" y="21"/>
                  </a:lnTo>
                  <a:lnTo>
                    <a:pt x="122" y="30"/>
                  </a:lnTo>
                  <a:lnTo>
                    <a:pt x="122" y="21"/>
                  </a:lnTo>
                  <a:lnTo>
                    <a:pt x="122" y="12"/>
                  </a:lnTo>
                  <a:lnTo>
                    <a:pt x="100" y="0"/>
                  </a:lnTo>
                  <a:lnTo>
                    <a:pt x="91" y="0"/>
                  </a:lnTo>
                  <a:lnTo>
                    <a:pt x="67" y="0"/>
                  </a:lnTo>
                  <a:lnTo>
                    <a:pt x="55" y="12"/>
                  </a:lnTo>
                  <a:lnTo>
                    <a:pt x="45" y="12"/>
                  </a:lnTo>
                  <a:lnTo>
                    <a:pt x="45" y="21"/>
                  </a:lnTo>
                  <a:lnTo>
                    <a:pt x="33" y="12"/>
                  </a:lnTo>
                  <a:lnTo>
                    <a:pt x="15" y="21"/>
                  </a:lnTo>
                  <a:lnTo>
                    <a:pt x="0" y="46"/>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93" name="Freeform 892"/>
            <p:cNvSpPr>
              <a:spLocks/>
            </p:cNvSpPr>
            <p:nvPr/>
          </p:nvSpPr>
          <p:spPr bwMode="auto">
            <a:xfrm>
              <a:off x="5063727" y="3399560"/>
              <a:ext cx="108026" cy="65581"/>
            </a:xfrm>
            <a:custGeom>
              <a:avLst/>
              <a:gdLst>
                <a:gd name="T0" fmla="*/ 76 w 109"/>
                <a:gd name="T1" fmla="*/ 0 h 67"/>
                <a:gd name="T2" fmla="*/ 109 w 109"/>
                <a:gd name="T3" fmla="*/ 12 h 67"/>
                <a:gd name="T4" fmla="*/ 97 w 109"/>
                <a:gd name="T5" fmla="*/ 21 h 67"/>
                <a:gd name="T6" fmla="*/ 88 w 109"/>
                <a:gd name="T7" fmla="*/ 30 h 67"/>
                <a:gd name="T8" fmla="*/ 97 w 109"/>
                <a:gd name="T9" fmla="*/ 55 h 67"/>
                <a:gd name="T10" fmla="*/ 64 w 109"/>
                <a:gd name="T11" fmla="*/ 55 h 67"/>
                <a:gd name="T12" fmla="*/ 54 w 109"/>
                <a:gd name="T13" fmla="*/ 67 h 67"/>
                <a:gd name="T14" fmla="*/ 33 w 109"/>
                <a:gd name="T15" fmla="*/ 55 h 67"/>
                <a:gd name="T16" fmla="*/ 9 w 109"/>
                <a:gd name="T17" fmla="*/ 67 h 67"/>
                <a:gd name="T18" fmla="*/ 0 w 109"/>
                <a:gd name="T19" fmla="*/ 42 h 67"/>
                <a:gd name="T20" fmla="*/ 0 w 109"/>
                <a:gd name="T21" fmla="*/ 30 h 67"/>
                <a:gd name="T22" fmla="*/ 0 w 109"/>
                <a:gd name="T23" fmla="*/ 12 h 67"/>
                <a:gd name="T24" fmla="*/ 9 w 109"/>
                <a:gd name="T25" fmla="*/ 0 h 67"/>
                <a:gd name="T26" fmla="*/ 21 w 109"/>
                <a:gd name="T27" fmla="*/ 12 h 67"/>
                <a:gd name="T28" fmla="*/ 54 w 109"/>
                <a:gd name="T29" fmla="*/ 12 h 67"/>
                <a:gd name="T30" fmla="*/ 76 w 109"/>
                <a:gd name="T31" fmla="*/ 0 h 6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9"/>
                <a:gd name="T49" fmla="*/ 0 h 67"/>
                <a:gd name="T50" fmla="*/ 109 w 109"/>
                <a:gd name="T51" fmla="*/ 67 h 6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9" h="67">
                  <a:moveTo>
                    <a:pt x="76" y="0"/>
                  </a:moveTo>
                  <a:lnTo>
                    <a:pt x="109" y="12"/>
                  </a:lnTo>
                  <a:lnTo>
                    <a:pt x="97" y="21"/>
                  </a:lnTo>
                  <a:lnTo>
                    <a:pt x="88" y="30"/>
                  </a:lnTo>
                  <a:lnTo>
                    <a:pt x="97" y="55"/>
                  </a:lnTo>
                  <a:lnTo>
                    <a:pt x="64" y="55"/>
                  </a:lnTo>
                  <a:lnTo>
                    <a:pt x="54" y="67"/>
                  </a:lnTo>
                  <a:lnTo>
                    <a:pt x="33" y="55"/>
                  </a:lnTo>
                  <a:lnTo>
                    <a:pt x="9" y="67"/>
                  </a:lnTo>
                  <a:lnTo>
                    <a:pt x="0" y="42"/>
                  </a:lnTo>
                  <a:lnTo>
                    <a:pt x="0" y="30"/>
                  </a:lnTo>
                  <a:lnTo>
                    <a:pt x="0" y="12"/>
                  </a:lnTo>
                  <a:lnTo>
                    <a:pt x="9" y="0"/>
                  </a:lnTo>
                  <a:lnTo>
                    <a:pt x="21" y="12"/>
                  </a:lnTo>
                  <a:lnTo>
                    <a:pt x="54" y="12"/>
                  </a:lnTo>
                  <a:lnTo>
                    <a:pt x="76"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94" name="Freeform 893"/>
            <p:cNvSpPr>
              <a:spLocks/>
            </p:cNvSpPr>
            <p:nvPr/>
          </p:nvSpPr>
          <p:spPr bwMode="auto">
            <a:xfrm>
              <a:off x="5029519" y="3453568"/>
              <a:ext cx="97224" cy="85835"/>
            </a:xfrm>
            <a:custGeom>
              <a:avLst/>
              <a:gdLst>
                <a:gd name="T0" fmla="*/ 98 w 98"/>
                <a:gd name="T1" fmla="*/ 0 h 88"/>
                <a:gd name="T2" fmla="*/ 98 w 98"/>
                <a:gd name="T3" fmla="*/ 21 h 88"/>
                <a:gd name="T4" fmla="*/ 88 w 98"/>
                <a:gd name="T5" fmla="*/ 21 h 88"/>
                <a:gd name="T6" fmla="*/ 67 w 98"/>
                <a:gd name="T7" fmla="*/ 12 h 88"/>
                <a:gd name="T8" fmla="*/ 55 w 98"/>
                <a:gd name="T9" fmla="*/ 21 h 88"/>
                <a:gd name="T10" fmla="*/ 55 w 98"/>
                <a:gd name="T11" fmla="*/ 33 h 88"/>
                <a:gd name="T12" fmla="*/ 43 w 98"/>
                <a:gd name="T13" fmla="*/ 21 h 88"/>
                <a:gd name="T14" fmla="*/ 43 w 98"/>
                <a:gd name="T15" fmla="*/ 33 h 88"/>
                <a:gd name="T16" fmla="*/ 55 w 98"/>
                <a:gd name="T17" fmla="*/ 51 h 88"/>
                <a:gd name="T18" fmla="*/ 76 w 98"/>
                <a:gd name="T19" fmla="*/ 76 h 88"/>
                <a:gd name="T20" fmla="*/ 67 w 98"/>
                <a:gd name="T21" fmla="*/ 76 h 88"/>
                <a:gd name="T22" fmla="*/ 67 w 98"/>
                <a:gd name="T23" fmla="*/ 88 h 88"/>
                <a:gd name="T24" fmla="*/ 43 w 98"/>
                <a:gd name="T25" fmla="*/ 64 h 88"/>
                <a:gd name="T26" fmla="*/ 21 w 98"/>
                <a:gd name="T27" fmla="*/ 64 h 88"/>
                <a:gd name="T28" fmla="*/ 0 w 98"/>
                <a:gd name="T29" fmla="*/ 42 h 88"/>
                <a:gd name="T30" fmla="*/ 12 w 98"/>
                <a:gd name="T31" fmla="*/ 21 h 88"/>
                <a:gd name="T32" fmla="*/ 43 w 98"/>
                <a:gd name="T33" fmla="*/ 12 h 88"/>
                <a:gd name="T34" fmla="*/ 67 w 98"/>
                <a:gd name="T35" fmla="*/ 0 h 88"/>
                <a:gd name="T36" fmla="*/ 88 w 98"/>
                <a:gd name="T37" fmla="*/ 12 h 88"/>
                <a:gd name="T38" fmla="*/ 98 w 98"/>
                <a:gd name="T39" fmla="*/ 0 h 8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8"/>
                <a:gd name="T61" fmla="*/ 0 h 88"/>
                <a:gd name="T62" fmla="*/ 98 w 98"/>
                <a:gd name="T63" fmla="*/ 88 h 8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8" h="88">
                  <a:moveTo>
                    <a:pt x="98" y="0"/>
                  </a:moveTo>
                  <a:lnTo>
                    <a:pt x="98" y="21"/>
                  </a:lnTo>
                  <a:lnTo>
                    <a:pt x="88" y="21"/>
                  </a:lnTo>
                  <a:lnTo>
                    <a:pt x="67" y="12"/>
                  </a:lnTo>
                  <a:lnTo>
                    <a:pt x="55" y="21"/>
                  </a:lnTo>
                  <a:lnTo>
                    <a:pt x="55" y="33"/>
                  </a:lnTo>
                  <a:lnTo>
                    <a:pt x="43" y="21"/>
                  </a:lnTo>
                  <a:lnTo>
                    <a:pt x="43" y="33"/>
                  </a:lnTo>
                  <a:lnTo>
                    <a:pt x="55" y="51"/>
                  </a:lnTo>
                  <a:lnTo>
                    <a:pt x="76" y="76"/>
                  </a:lnTo>
                  <a:lnTo>
                    <a:pt x="67" y="76"/>
                  </a:lnTo>
                  <a:lnTo>
                    <a:pt x="67" y="88"/>
                  </a:lnTo>
                  <a:lnTo>
                    <a:pt x="43" y="64"/>
                  </a:lnTo>
                  <a:lnTo>
                    <a:pt x="21" y="64"/>
                  </a:lnTo>
                  <a:lnTo>
                    <a:pt x="0" y="42"/>
                  </a:lnTo>
                  <a:lnTo>
                    <a:pt x="12" y="21"/>
                  </a:lnTo>
                  <a:lnTo>
                    <a:pt x="43" y="12"/>
                  </a:lnTo>
                  <a:lnTo>
                    <a:pt x="67" y="0"/>
                  </a:lnTo>
                  <a:lnTo>
                    <a:pt x="88" y="12"/>
                  </a:lnTo>
                  <a:lnTo>
                    <a:pt x="98"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95" name="Freeform 894"/>
            <p:cNvSpPr>
              <a:spLocks/>
            </p:cNvSpPr>
            <p:nvPr/>
          </p:nvSpPr>
          <p:spPr bwMode="auto">
            <a:xfrm>
              <a:off x="5020517" y="3325298"/>
              <a:ext cx="160239" cy="85835"/>
            </a:xfrm>
            <a:custGeom>
              <a:avLst/>
              <a:gdLst>
                <a:gd name="T0" fmla="*/ 140 w 161"/>
                <a:gd name="T1" fmla="*/ 51 h 88"/>
                <a:gd name="T2" fmla="*/ 131 w 161"/>
                <a:gd name="T3" fmla="*/ 21 h 88"/>
                <a:gd name="T4" fmla="*/ 107 w 161"/>
                <a:gd name="T5" fmla="*/ 0 h 88"/>
                <a:gd name="T6" fmla="*/ 76 w 161"/>
                <a:gd name="T7" fmla="*/ 12 h 88"/>
                <a:gd name="T8" fmla="*/ 43 w 161"/>
                <a:gd name="T9" fmla="*/ 0 h 88"/>
                <a:gd name="T10" fmla="*/ 30 w 161"/>
                <a:gd name="T11" fmla="*/ 12 h 88"/>
                <a:gd name="T12" fmla="*/ 21 w 161"/>
                <a:gd name="T13" fmla="*/ 33 h 88"/>
                <a:gd name="T14" fmla="*/ 9 w 161"/>
                <a:gd name="T15" fmla="*/ 42 h 88"/>
                <a:gd name="T16" fmla="*/ 0 w 161"/>
                <a:gd name="T17" fmla="*/ 42 h 88"/>
                <a:gd name="T18" fmla="*/ 30 w 161"/>
                <a:gd name="T19" fmla="*/ 67 h 88"/>
                <a:gd name="T20" fmla="*/ 43 w 161"/>
                <a:gd name="T21" fmla="*/ 67 h 88"/>
                <a:gd name="T22" fmla="*/ 52 w 161"/>
                <a:gd name="T23" fmla="*/ 76 h 88"/>
                <a:gd name="T24" fmla="*/ 64 w 161"/>
                <a:gd name="T25" fmla="*/ 88 h 88"/>
                <a:gd name="T26" fmla="*/ 97 w 161"/>
                <a:gd name="T27" fmla="*/ 88 h 88"/>
                <a:gd name="T28" fmla="*/ 119 w 161"/>
                <a:gd name="T29" fmla="*/ 76 h 88"/>
                <a:gd name="T30" fmla="*/ 152 w 161"/>
                <a:gd name="T31" fmla="*/ 88 h 88"/>
                <a:gd name="T32" fmla="*/ 140 w 161"/>
                <a:gd name="T33" fmla="*/ 76 h 88"/>
                <a:gd name="T34" fmla="*/ 161 w 161"/>
                <a:gd name="T35" fmla="*/ 67 h 88"/>
                <a:gd name="T36" fmla="*/ 161 w 161"/>
                <a:gd name="T37" fmla="*/ 51 h 88"/>
                <a:gd name="T38" fmla="*/ 140 w 161"/>
                <a:gd name="T39" fmla="*/ 51 h 8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1"/>
                <a:gd name="T61" fmla="*/ 0 h 88"/>
                <a:gd name="T62" fmla="*/ 161 w 161"/>
                <a:gd name="T63" fmla="*/ 88 h 8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1" h="88">
                  <a:moveTo>
                    <a:pt x="140" y="51"/>
                  </a:moveTo>
                  <a:lnTo>
                    <a:pt x="131" y="21"/>
                  </a:lnTo>
                  <a:lnTo>
                    <a:pt x="107" y="0"/>
                  </a:lnTo>
                  <a:lnTo>
                    <a:pt x="76" y="12"/>
                  </a:lnTo>
                  <a:lnTo>
                    <a:pt x="43" y="0"/>
                  </a:lnTo>
                  <a:lnTo>
                    <a:pt x="30" y="12"/>
                  </a:lnTo>
                  <a:lnTo>
                    <a:pt x="21" y="33"/>
                  </a:lnTo>
                  <a:lnTo>
                    <a:pt x="9" y="42"/>
                  </a:lnTo>
                  <a:lnTo>
                    <a:pt x="0" y="42"/>
                  </a:lnTo>
                  <a:lnTo>
                    <a:pt x="30" y="67"/>
                  </a:lnTo>
                  <a:lnTo>
                    <a:pt x="43" y="67"/>
                  </a:lnTo>
                  <a:lnTo>
                    <a:pt x="52" y="76"/>
                  </a:lnTo>
                  <a:lnTo>
                    <a:pt x="64" y="88"/>
                  </a:lnTo>
                  <a:lnTo>
                    <a:pt x="97" y="88"/>
                  </a:lnTo>
                  <a:lnTo>
                    <a:pt x="119" y="76"/>
                  </a:lnTo>
                  <a:lnTo>
                    <a:pt x="152" y="88"/>
                  </a:lnTo>
                  <a:lnTo>
                    <a:pt x="140" y="76"/>
                  </a:lnTo>
                  <a:lnTo>
                    <a:pt x="161" y="67"/>
                  </a:lnTo>
                  <a:lnTo>
                    <a:pt x="161" y="51"/>
                  </a:lnTo>
                  <a:lnTo>
                    <a:pt x="140" y="51"/>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96" name="Freeform 895"/>
            <p:cNvSpPr>
              <a:spLocks/>
            </p:cNvSpPr>
            <p:nvPr/>
          </p:nvSpPr>
          <p:spPr bwMode="auto">
            <a:xfrm>
              <a:off x="4921493" y="3345552"/>
              <a:ext cx="45011" cy="28933"/>
            </a:xfrm>
            <a:custGeom>
              <a:avLst/>
              <a:gdLst>
                <a:gd name="T0" fmla="*/ 0 w 45"/>
                <a:gd name="T1" fmla="*/ 30 h 30"/>
                <a:gd name="T2" fmla="*/ 9 w 45"/>
                <a:gd name="T3" fmla="*/ 21 h 30"/>
                <a:gd name="T4" fmla="*/ 21 w 45"/>
                <a:gd name="T5" fmla="*/ 30 h 30"/>
                <a:gd name="T6" fmla="*/ 21 w 45"/>
                <a:gd name="T7" fmla="*/ 21 h 30"/>
                <a:gd name="T8" fmla="*/ 45 w 45"/>
                <a:gd name="T9" fmla="*/ 12 h 30"/>
                <a:gd name="T10" fmla="*/ 33 w 45"/>
                <a:gd name="T11" fmla="*/ 0 h 30"/>
                <a:gd name="T12" fmla="*/ 0 w 45"/>
                <a:gd name="T13" fmla="*/ 12 h 30"/>
                <a:gd name="T14" fmla="*/ 0 w 45"/>
                <a:gd name="T15" fmla="*/ 21 h 30"/>
                <a:gd name="T16" fmla="*/ 0 w 45"/>
                <a:gd name="T17" fmla="*/ 3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5"/>
                <a:gd name="T28" fmla="*/ 0 h 30"/>
                <a:gd name="T29" fmla="*/ 45 w 4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5" h="30">
                  <a:moveTo>
                    <a:pt x="0" y="30"/>
                  </a:moveTo>
                  <a:lnTo>
                    <a:pt x="9" y="21"/>
                  </a:lnTo>
                  <a:lnTo>
                    <a:pt x="21" y="30"/>
                  </a:lnTo>
                  <a:lnTo>
                    <a:pt x="21" y="21"/>
                  </a:lnTo>
                  <a:lnTo>
                    <a:pt x="45" y="12"/>
                  </a:lnTo>
                  <a:lnTo>
                    <a:pt x="33" y="0"/>
                  </a:lnTo>
                  <a:lnTo>
                    <a:pt x="0" y="12"/>
                  </a:lnTo>
                  <a:lnTo>
                    <a:pt x="0" y="21"/>
                  </a:lnTo>
                  <a:lnTo>
                    <a:pt x="0" y="30"/>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97" name="Freeform 896"/>
            <p:cNvSpPr>
              <a:spLocks/>
            </p:cNvSpPr>
            <p:nvPr/>
          </p:nvSpPr>
          <p:spPr bwMode="auto">
            <a:xfrm>
              <a:off x="4921493" y="3357125"/>
              <a:ext cx="84620" cy="71367"/>
            </a:xfrm>
            <a:custGeom>
              <a:avLst/>
              <a:gdLst>
                <a:gd name="T0" fmla="*/ 76 w 85"/>
                <a:gd name="T1" fmla="*/ 9 h 73"/>
                <a:gd name="T2" fmla="*/ 85 w 85"/>
                <a:gd name="T3" fmla="*/ 18 h 73"/>
                <a:gd name="T4" fmla="*/ 85 w 85"/>
                <a:gd name="T5" fmla="*/ 34 h 73"/>
                <a:gd name="T6" fmla="*/ 76 w 85"/>
                <a:gd name="T7" fmla="*/ 34 h 73"/>
                <a:gd name="T8" fmla="*/ 45 w 85"/>
                <a:gd name="T9" fmla="*/ 18 h 73"/>
                <a:gd name="T10" fmla="*/ 33 w 85"/>
                <a:gd name="T11" fmla="*/ 34 h 73"/>
                <a:gd name="T12" fmla="*/ 45 w 85"/>
                <a:gd name="T13" fmla="*/ 43 h 73"/>
                <a:gd name="T14" fmla="*/ 76 w 85"/>
                <a:gd name="T15" fmla="*/ 73 h 73"/>
                <a:gd name="T16" fmla="*/ 21 w 85"/>
                <a:gd name="T17" fmla="*/ 55 h 73"/>
                <a:gd name="T18" fmla="*/ 21 w 85"/>
                <a:gd name="T19" fmla="*/ 34 h 73"/>
                <a:gd name="T20" fmla="*/ 9 w 85"/>
                <a:gd name="T21" fmla="*/ 18 h 73"/>
                <a:gd name="T22" fmla="*/ 0 w 85"/>
                <a:gd name="T23" fmla="*/ 34 h 73"/>
                <a:gd name="T24" fmla="*/ 0 w 85"/>
                <a:gd name="T25" fmla="*/ 18 h 73"/>
                <a:gd name="T26" fmla="*/ 9 w 85"/>
                <a:gd name="T27" fmla="*/ 9 h 73"/>
                <a:gd name="T28" fmla="*/ 21 w 85"/>
                <a:gd name="T29" fmla="*/ 18 h 73"/>
                <a:gd name="T30" fmla="*/ 21 w 85"/>
                <a:gd name="T31" fmla="*/ 9 h 73"/>
                <a:gd name="T32" fmla="*/ 45 w 85"/>
                <a:gd name="T33" fmla="*/ 0 h 73"/>
                <a:gd name="T34" fmla="*/ 63 w 85"/>
                <a:gd name="T35" fmla="*/ 9 h 73"/>
                <a:gd name="T36" fmla="*/ 76 w 85"/>
                <a:gd name="T37" fmla="*/ 9 h 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5"/>
                <a:gd name="T58" fmla="*/ 0 h 73"/>
                <a:gd name="T59" fmla="*/ 85 w 85"/>
                <a:gd name="T60" fmla="*/ 73 h 7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5" h="73">
                  <a:moveTo>
                    <a:pt x="76" y="9"/>
                  </a:moveTo>
                  <a:lnTo>
                    <a:pt x="85" y="18"/>
                  </a:lnTo>
                  <a:lnTo>
                    <a:pt x="85" y="34"/>
                  </a:lnTo>
                  <a:lnTo>
                    <a:pt x="76" y="34"/>
                  </a:lnTo>
                  <a:lnTo>
                    <a:pt x="45" y="18"/>
                  </a:lnTo>
                  <a:lnTo>
                    <a:pt x="33" y="34"/>
                  </a:lnTo>
                  <a:lnTo>
                    <a:pt x="45" y="43"/>
                  </a:lnTo>
                  <a:lnTo>
                    <a:pt x="76" y="73"/>
                  </a:lnTo>
                  <a:lnTo>
                    <a:pt x="21" y="55"/>
                  </a:lnTo>
                  <a:lnTo>
                    <a:pt x="21" y="34"/>
                  </a:lnTo>
                  <a:lnTo>
                    <a:pt x="9" y="18"/>
                  </a:lnTo>
                  <a:lnTo>
                    <a:pt x="0" y="34"/>
                  </a:lnTo>
                  <a:lnTo>
                    <a:pt x="0" y="18"/>
                  </a:lnTo>
                  <a:lnTo>
                    <a:pt x="9" y="9"/>
                  </a:lnTo>
                  <a:lnTo>
                    <a:pt x="21" y="18"/>
                  </a:lnTo>
                  <a:lnTo>
                    <a:pt x="21" y="9"/>
                  </a:lnTo>
                  <a:lnTo>
                    <a:pt x="45" y="0"/>
                  </a:lnTo>
                  <a:lnTo>
                    <a:pt x="63" y="9"/>
                  </a:lnTo>
                  <a:lnTo>
                    <a:pt x="76" y="9"/>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98" name="Freeform 897"/>
            <p:cNvSpPr>
              <a:spLocks/>
            </p:cNvSpPr>
            <p:nvPr/>
          </p:nvSpPr>
          <p:spPr bwMode="auto">
            <a:xfrm>
              <a:off x="4954800" y="3374485"/>
              <a:ext cx="65716" cy="54008"/>
            </a:xfrm>
            <a:custGeom>
              <a:avLst/>
              <a:gdLst>
                <a:gd name="T0" fmla="*/ 52 w 67"/>
                <a:gd name="T1" fmla="*/ 16 h 55"/>
                <a:gd name="T2" fmla="*/ 43 w 67"/>
                <a:gd name="T3" fmla="*/ 16 h 55"/>
                <a:gd name="T4" fmla="*/ 12 w 67"/>
                <a:gd name="T5" fmla="*/ 0 h 55"/>
                <a:gd name="T6" fmla="*/ 0 w 67"/>
                <a:gd name="T7" fmla="*/ 16 h 55"/>
                <a:gd name="T8" fmla="*/ 12 w 67"/>
                <a:gd name="T9" fmla="*/ 25 h 55"/>
                <a:gd name="T10" fmla="*/ 43 w 67"/>
                <a:gd name="T11" fmla="*/ 55 h 55"/>
                <a:gd name="T12" fmla="*/ 43 w 67"/>
                <a:gd name="T13" fmla="*/ 46 h 55"/>
                <a:gd name="T14" fmla="*/ 52 w 67"/>
                <a:gd name="T15" fmla="*/ 37 h 55"/>
                <a:gd name="T16" fmla="*/ 67 w 67"/>
                <a:gd name="T17" fmla="*/ 37 h 55"/>
                <a:gd name="T18" fmla="*/ 52 w 67"/>
                <a:gd name="T19" fmla="*/ 25 h 55"/>
                <a:gd name="T20" fmla="*/ 52 w 67"/>
                <a:gd name="T21" fmla="*/ 16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
                <a:gd name="T34" fmla="*/ 0 h 55"/>
                <a:gd name="T35" fmla="*/ 67 w 67"/>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 h="55">
                  <a:moveTo>
                    <a:pt x="52" y="16"/>
                  </a:moveTo>
                  <a:lnTo>
                    <a:pt x="43" y="16"/>
                  </a:lnTo>
                  <a:lnTo>
                    <a:pt x="12" y="0"/>
                  </a:lnTo>
                  <a:lnTo>
                    <a:pt x="0" y="16"/>
                  </a:lnTo>
                  <a:lnTo>
                    <a:pt x="12" y="25"/>
                  </a:lnTo>
                  <a:lnTo>
                    <a:pt x="43" y="55"/>
                  </a:lnTo>
                  <a:lnTo>
                    <a:pt x="43" y="46"/>
                  </a:lnTo>
                  <a:lnTo>
                    <a:pt x="52" y="37"/>
                  </a:lnTo>
                  <a:lnTo>
                    <a:pt x="67" y="37"/>
                  </a:lnTo>
                  <a:lnTo>
                    <a:pt x="52" y="25"/>
                  </a:lnTo>
                  <a:lnTo>
                    <a:pt x="52" y="16"/>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899" name="Freeform 898"/>
            <p:cNvSpPr>
              <a:spLocks/>
            </p:cNvSpPr>
            <p:nvPr/>
          </p:nvSpPr>
          <p:spPr bwMode="auto">
            <a:xfrm>
              <a:off x="4997112" y="3411134"/>
              <a:ext cx="32408" cy="42436"/>
            </a:xfrm>
            <a:custGeom>
              <a:avLst/>
              <a:gdLst>
                <a:gd name="T0" fmla="*/ 0 w 33"/>
                <a:gd name="T1" fmla="*/ 18 h 43"/>
                <a:gd name="T2" fmla="*/ 0 w 33"/>
                <a:gd name="T3" fmla="*/ 9 h 43"/>
                <a:gd name="T4" fmla="*/ 9 w 33"/>
                <a:gd name="T5" fmla="*/ 0 h 43"/>
                <a:gd name="T6" fmla="*/ 33 w 33"/>
                <a:gd name="T7" fmla="*/ 18 h 43"/>
                <a:gd name="T8" fmla="*/ 24 w 33"/>
                <a:gd name="T9" fmla="*/ 18 h 43"/>
                <a:gd name="T10" fmla="*/ 24 w 33"/>
                <a:gd name="T11" fmla="*/ 43 h 43"/>
                <a:gd name="T12" fmla="*/ 0 w 33"/>
                <a:gd name="T13" fmla="*/ 18 h 43"/>
                <a:gd name="T14" fmla="*/ 0 60000 65536"/>
                <a:gd name="T15" fmla="*/ 0 60000 65536"/>
                <a:gd name="T16" fmla="*/ 0 60000 65536"/>
                <a:gd name="T17" fmla="*/ 0 60000 65536"/>
                <a:gd name="T18" fmla="*/ 0 60000 65536"/>
                <a:gd name="T19" fmla="*/ 0 60000 65536"/>
                <a:gd name="T20" fmla="*/ 0 60000 65536"/>
                <a:gd name="T21" fmla="*/ 0 w 33"/>
                <a:gd name="T22" fmla="*/ 0 h 43"/>
                <a:gd name="T23" fmla="*/ 33 w 33"/>
                <a:gd name="T24" fmla="*/ 43 h 4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43">
                  <a:moveTo>
                    <a:pt x="0" y="18"/>
                  </a:moveTo>
                  <a:lnTo>
                    <a:pt x="0" y="9"/>
                  </a:lnTo>
                  <a:lnTo>
                    <a:pt x="9" y="0"/>
                  </a:lnTo>
                  <a:lnTo>
                    <a:pt x="33" y="18"/>
                  </a:lnTo>
                  <a:lnTo>
                    <a:pt x="24" y="18"/>
                  </a:lnTo>
                  <a:lnTo>
                    <a:pt x="24" y="43"/>
                  </a:lnTo>
                  <a:lnTo>
                    <a:pt x="0" y="18"/>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00" name="Freeform 899"/>
            <p:cNvSpPr>
              <a:spLocks/>
            </p:cNvSpPr>
            <p:nvPr/>
          </p:nvSpPr>
          <p:spPr bwMode="auto">
            <a:xfrm>
              <a:off x="4997112" y="3365804"/>
              <a:ext cx="75618" cy="87764"/>
            </a:xfrm>
            <a:custGeom>
              <a:avLst/>
              <a:gdLst>
                <a:gd name="T0" fmla="*/ 33 w 76"/>
                <a:gd name="T1" fmla="*/ 89 h 89"/>
                <a:gd name="T2" fmla="*/ 54 w 76"/>
                <a:gd name="T3" fmla="*/ 76 h 89"/>
                <a:gd name="T4" fmla="*/ 67 w 76"/>
                <a:gd name="T5" fmla="*/ 76 h 89"/>
                <a:gd name="T6" fmla="*/ 67 w 76"/>
                <a:gd name="T7" fmla="*/ 64 h 89"/>
                <a:gd name="T8" fmla="*/ 67 w 76"/>
                <a:gd name="T9" fmla="*/ 46 h 89"/>
                <a:gd name="T10" fmla="*/ 76 w 76"/>
                <a:gd name="T11" fmla="*/ 34 h 89"/>
                <a:gd name="T12" fmla="*/ 67 w 76"/>
                <a:gd name="T13" fmla="*/ 25 h 89"/>
                <a:gd name="T14" fmla="*/ 54 w 76"/>
                <a:gd name="T15" fmla="*/ 25 h 89"/>
                <a:gd name="T16" fmla="*/ 24 w 76"/>
                <a:gd name="T17" fmla="*/ 0 h 89"/>
                <a:gd name="T18" fmla="*/ 0 w 76"/>
                <a:gd name="T19" fmla="*/ 0 h 89"/>
                <a:gd name="T20" fmla="*/ 9 w 76"/>
                <a:gd name="T21" fmla="*/ 9 h 89"/>
                <a:gd name="T22" fmla="*/ 9 w 76"/>
                <a:gd name="T23" fmla="*/ 25 h 89"/>
                <a:gd name="T24" fmla="*/ 9 w 76"/>
                <a:gd name="T25" fmla="*/ 34 h 89"/>
                <a:gd name="T26" fmla="*/ 24 w 76"/>
                <a:gd name="T27" fmla="*/ 46 h 89"/>
                <a:gd name="T28" fmla="*/ 9 w 76"/>
                <a:gd name="T29" fmla="*/ 46 h 89"/>
                <a:gd name="T30" fmla="*/ 33 w 76"/>
                <a:gd name="T31" fmla="*/ 64 h 89"/>
                <a:gd name="T32" fmla="*/ 24 w 76"/>
                <a:gd name="T33" fmla="*/ 64 h 89"/>
                <a:gd name="T34" fmla="*/ 33 w 76"/>
                <a:gd name="T35" fmla="*/ 64 h 89"/>
                <a:gd name="T36" fmla="*/ 33 w 76"/>
                <a:gd name="T37" fmla="*/ 89 h 8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6"/>
                <a:gd name="T58" fmla="*/ 0 h 89"/>
                <a:gd name="T59" fmla="*/ 76 w 76"/>
                <a:gd name="T60" fmla="*/ 89 h 8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6" h="89">
                  <a:moveTo>
                    <a:pt x="33" y="89"/>
                  </a:moveTo>
                  <a:lnTo>
                    <a:pt x="54" y="76"/>
                  </a:lnTo>
                  <a:lnTo>
                    <a:pt x="67" y="76"/>
                  </a:lnTo>
                  <a:lnTo>
                    <a:pt x="67" y="64"/>
                  </a:lnTo>
                  <a:lnTo>
                    <a:pt x="67" y="46"/>
                  </a:lnTo>
                  <a:lnTo>
                    <a:pt x="76" y="34"/>
                  </a:lnTo>
                  <a:lnTo>
                    <a:pt x="67" y="25"/>
                  </a:lnTo>
                  <a:lnTo>
                    <a:pt x="54" y="25"/>
                  </a:lnTo>
                  <a:lnTo>
                    <a:pt x="24" y="0"/>
                  </a:lnTo>
                  <a:lnTo>
                    <a:pt x="0" y="0"/>
                  </a:lnTo>
                  <a:lnTo>
                    <a:pt x="9" y="9"/>
                  </a:lnTo>
                  <a:lnTo>
                    <a:pt x="9" y="25"/>
                  </a:lnTo>
                  <a:lnTo>
                    <a:pt x="9" y="34"/>
                  </a:lnTo>
                  <a:lnTo>
                    <a:pt x="24" y="46"/>
                  </a:lnTo>
                  <a:lnTo>
                    <a:pt x="9" y="46"/>
                  </a:lnTo>
                  <a:lnTo>
                    <a:pt x="33" y="64"/>
                  </a:lnTo>
                  <a:lnTo>
                    <a:pt x="24" y="64"/>
                  </a:lnTo>
                  <a:lnTo>
                    <a:pt x="33" y="64"/>
                  </a:lnTo>
                  <a:lnTo>
                    <a:pt x="33" y="89"/>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01" name="Freeform 900"/>
            <p:cNvSpPr>
              <a:spLocks/>
            </p:cNvSpPr>
            <p:nvPr/>
          </p:nvSpPr>
          <p:spPr bwMode="auto">
            <a:xfrm>
              <a:off x="5029519" y="3440066"/>
              <a:ext cx="43210" cy="33755"/>
            </a:xfrm>
            <a:custGeom>
              <a:avLst/>
              <a:gdLst>
                <a:gd name="T0" fmla="*/ 43 w 43"/>
                <a:gd name="T1" fmla="*/ 25 h 34"/>
                <a:gd name="T2" fmla="*/ 12 w 43"/>
                <a:gd name="T3" fmla="*/ 34 h 34"/>
                <a:gd name="T4" fmla="*/ 0 w 43"/>
                <a:gd name="T5" fmla="*/ 13 h 34"/>
                <a:gd name="T6" fmla="*/ 21 w 43"/>
                <a:gd name="T7" fmla="*/ 0 h 34"/>
                <a:gd name="T8" fmla="*/ 34 w 43"/>
                <a:gd name="T9" fmla="*/ 0 h 34"/>
                <a:gd name="T10" fmla="*/ 43 w 43"/>
                <a:gd name="T11" fmla="*/ 25 h 34"/>
                <a:gd name="T12" fmla="*/ 0 60000 65536"/>
                <a:gd name="T13" fmla="*/ 0 60000 65536"/>
                <a:gd name="T14" fmla="*/ 0 60000 65536"/>
                <a:gd name="T15" fmla="*/ 0 60000 65536"/>
                <a:gd name="T16" fmla="*/ 0 60000 65536"/>
                <a:gd name="T17" fmla="*/ 0 60000 65536"/>
                <a:gd name="T18" fmla="*/ 0 w 43"/>
                <a:gd name="T19" fmla="*/ 0 h 34"/>
                <a:gd name="T20" fmla="*/ 43 w 43"/>
                <a:gd name="T21" fmla="*/ 34 h 34"/>
              </a:gdLst>
              <a:ahLst/>
              <a:cxnLst>
                <a:cxn ang="T12">
                  <a:pos x="T0" y="T1"/>
                </a:cxn>
                <a:cxn ang="T13">
                  <a:pos x="T2" y="T3"/>
                </a:cxn>
                <a:cxn ang="T14">
                  <a:pos x="T4" y="T5"/>
                </a:cxn>
                <a:cxn ang="T15">
                  <a:pos x="T6" y="T7"/>
                </a:cxn>
                <a:cxn ang="T16">
                  <a:pos x="T8" y="T9"/>
                </a:cxn>
                <a:cxn ang="T17">
                  <a:pos x="T10" y="T11"/>
                </a:cxn>
              </a:cxnLst>
              <a:rect l="T18" t="T19" r="T20" b="T21"/>
              <a:pathLst>
                <a:path w="43" h="34">
                  <a:moveTo>
                    <a:pt x="43" y="25"/>
                  </a:moveTo>
                  <a:lnTo>
                    <a:pt x="12" y="34"/>
                  </a:lnTo>
                  <a:lnTo>
                    <a:pt x="0" y="13"/>
                  </a:lnTo>
                  <a:lnTo>
                    <a:pt x="21" y="0"/>
                  </a:lnTo>
                  <a:lnTo>
                    <a:pt x="34" y="0"/>
                  </a:lnTo>
                  <a:lnTo>
                    <a:pt x="43" y="25"/>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02" name="Freeform 901"/>
            <p:cNvSpPr>
              <a:spLocks/>
            </p:cNvSpPr>
            <p:nvPr/>
          </p:nvSpPr>
          <p:spPr bwMode="auto">
            <a:xfrm>
              <a:off x="4921493" y="3199922"/>
              <a:ext cx="162939" cy="100301"/>
            </a:xfrm>
            <a:custGeom>
              <a:avLst/>
              <a:gdLst>
                <a:gd name="T0" fmla="*/ 152 w 164"/>
                <a:gd name="T1" fmla="*/ 64 h 103"/>
                <a:gd name="T2" fmla="*/ 164 w 164"/>
                <a:gd name="T3" fmla="*/ 85 h 103"/>
                <a:gd name="T4" fmla="*/ 130 w 164"/>
                <a:gd name="T5" fmla="*/ 103 h 103"/>
                <a:gd name="T6" fmla="*/ 121 w 164"/>
                <a:gd name="T7" fmla="*/ 103 h 103"/>
                <a:gd name="T8" fmla="*/ 100 w 164"/>
                <a:gd name="T9" fmla="*/ 103 h 103"/>
                <a:gd name="T10" fmla="*/ 54 w 164"/>
                <a:gd name="T11" fmla="*/ 85 h 103"/>
                <a:gd name="T12" fmla="*/ 45 w 164"/>
                <a:gd name="T13" fmla="*/ 85 h 103"/>
                <a:gd name="T14" fmla="*/ 33 w 164"/>
                <a:gd name="T15" fmla="*/ 73 h 103"/>
                <a:gd name="T16" fmla="*/ 9 w 164"/>
                <a:gd name="T17" fmla="*/ 73 h 103"/>
                <a:gd name="T18" fmla="*/ 0 w 164"/>
                <a:gd name="T19" fmla="*/ 18 h 103"/>
                <a:gd name="T20" fmla="*/ 63 w 164"/>
                <a:gd name="T21" fmla="*/ 0 h 103"/>
                <a:gd name="T22" fmla="*/ 76 w 164"/>
                <a:gd name="T23" fmla="*/ 9 h 103"/>
                <a:gd name="T24" fmla="*/ 85 w 164"/>
                <a:gd name="T25" fmla="*/ 0 h 103"/>
                <a:gd name="T26" fmla="*/ 130 w 164"/>
                <a:gd name="T27" fmla="*/ 9 h 103"/>
                <a:gd name="T28" fmla="*/ 143 w 164"/>
                <a:gd name="T29" fmla="*/ 9 h 103"/>
                <a:gd name="T30" fmla="*/ 152 w 164"/>
                <a:gd name="T31" fmla="*/ 30 h 103"/>
                <a:gd name="T32" fmla="*/ 143 w 164"/>
                <a:gd name="T33" fmla="*/ 55 h 103"/>
                <a:gd name="T34" fmla="*/ 152 w 164"/>
                <a:gd name="T35" fmla="*/ 64 h 10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4"/>
                <a:gd name="T55" fmla="*/ 0 h 103"/>
                <a:gd name="T56" fmla="*/ 164 w 164"/>
                <a:gd name="T57" fmla="*/ 103 h 10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4" h="103">
                  <a:moveTo>
                    <a:pt x="152" y="64"/>
                  </a:moveTo>
                  <a:lnTo>
                    <a:pt x="164" y="85"/>
                  </a:lnTo>
                  <a:lnTo>
                    <a:pt x="130" y="103"/>
                  </a:lnTo>
                  <a:lnTo>
                    <a:pt x="121" y="103"/>
                  </a:lnTo>
                  <a:lnTo>
                    <a:pt x="100" y="103"/>
                  </a:lnTo>
                  <a:lnTo>
                    <a:pt x="54" y="85"/>
                  </a:lnTo>
                  <a:lnTo>
                    <a:pt x="45" y="85"/>
                  </a:lnTo>
                  <a:lnTo>
                    <a:pt x="33" y="73"/>
                  </a:lnTo>
                  <a:lnTo>
                    <a:pt x="9" y="73"/>
                  </a:lnTo>
                  <a:lnTo>
                    <a:pt x="0" y="18"/>
                  </a:lnTo>
                  <a:lnTo>
                    <a:pt x="63" y="0"/>
                  </a:lnTo>
                  <a:lnTo>
                    <a:pt x="76" y="9"/>
                  </a:lnTo>
                  <a:lnTo>
                    <a:pt x="85" y="0"/>
                  </a:lnTo>
                  <a:lnTo>
                    <a:pt x="130" y="9"/>
                  </a:lnTo>
                  <a:lnTo>
                    <a:pt x="143" y="9"/>
                  </a:lnTo>
                  <a:lnTo>
                    <a:pt x="152" y="30"/>
                  </a:lnTo>
                  <a:lnTo>
                    <a:pt x="143" y="55"/>
                  </a:lnTo>
                  <a:lnTo>
                    <a:pt x="152" y="64"/>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03" name="Freeform 902"/>
            <p:cNvSpPr>
              <a:spLocks/>
            </p:cNvSpPr>
            <p:nvPr/>
          </p:nvSpPr>
          <p:spPr bwMode="auto">
            <a:xfrm>
              <a:off x="4800864" y="3199922"/>
              <a:ext cx="129631" cy="136948"/>
            </a:xfrm>
            <a:custGeom>
              <a:avLst/>
              <a:gdLst>
                <a:gd name="T0" fmla="*/ 79 w 131"/>
                <a:gd name="T1" fmla="*/ 9 h 140"/>
                <a:gd name="T2" fmla="*/ 79 w 131"/>
                <a:gd name="T3" fmla="*/ 18 h 140"/>
                <a:gd name="T4" fmla="*/ 109 w 131"/>
                <a:gd name="T5" fmla="*/ 0 h 140"/>
                <a:gd name="T6" fmla="*/ 122 w 131"/>
                <a:gd name="T7" fmla="*/ 9 h 140"/>
                <a:gd name="T8" fmla="*/ 109 w 131"/>
                <a:gd name="T9" fmla="*/ 9 h 140"/>
                <a:gd name="T10" fmla="*/ 122 w 131"/>
                <a:gd name="T11" fmla="*/ 18 h 140"/>
                <a:gd name="T12" fmla="*/ 131 w 131"/>
                <a:gd name="T13" fmla="*/ 73 h 140"/>
                <a:gd name="T14" fmla="*/ 131 w 131"/>
                <a:gd name="T15" fmla="*/ 64 h 140"/>
                <a:gd name="T16" fmla="*/ 91 w 131"/>
                <a:gd name="T17" fmla="*/ 85 h 140"/>
                <a:gd name="T18" fmla="*/ 100 w 131"/>
                <a:gd name="T19" fmla="*/ 94 h 140"/>
                <a:gd name="T20" fmla="*/ 122 w 131"/>
                <a:gd name="T21" fmla="*/ 119 h 140"/>
                <a:gd name="T22" fmla="*/ 100 w 131"/>
                <a:gd name="T23" fmla="*/ 128 h 140"/>
                <a:gd name="T24" fmla="*/ 109 w 131"/>
                <a:gd name="T25" fmla="*/ 140 h 140"/>
                <a:gd name="T26" fmla="*/ 55 w 131"/>
                <a:gd name="T27" fmla="*/ 140 h 140"/>
                <a:gd name="T28" fmla="*/ 24 w 131"/>
                <a:gd name="T29" fmla="*/ 140 h 140"/>
                <a:gd name="T30" fmla="*/ 24 w 131"/>
                <a:gd name="T31" fmla="*/ 119 h 140"/>
                <a:gd name="T32" fmla="*/ 0 w 131"/>
                <a:gd name="T33" fmla="*/ 94 h 140"/>
                <a:gd name="T34" fmla="*/ 0 w 131"/>
                <a:gd name="T35" fmla="*/ 85 h 140"/>
                <a:gd name="T36" fmla="*/ 0 w 131"/>
                <a:gd name="T37" fmla="*/ 73 h 140"/>
                <a:gd name="T38" fmla="*/ 0 w 131"/>
                <a:gd name="T39" fmla="*/ 55 h 140"/>
                <a:gd name="T40" fmla="*/ 12 w 131"/>
                <a:gd name="T41" fmla="*/ 28 h 140"/>
                <a:gd name="T42" fmla="*/ 24 w 131"/>
                <a:gd name="T43" fmla="*/ 18 h 140"/>
                <a:gd name="T44" fmla="*/ 33 w 131"/>
                <a:gd name="T45" fmla="*/ 18 h 140"/>
                <a:gd name="T46" fmla="*/ 45 w 131"/>
                <a:gd name="T47" fmla="*/ 0 h 140"/>
                <a:gd name="T48" fmla="*/ 55 w 131"/>
                <a:gd name="T49" fmla="*/ 0 h 140"/>
                <a:gd name="T50" fmla="*/ 79 w 131"/>
                <a:gd name="T51" fmla="*/ 9 h 14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1"/>
                <a:gd name="T79" fmla="*/ 0 h 140"/>
                <a:gd name="T80" fmla="*/ 131 w 131"/>
                <a:gd name="T81" fmla="*/ 140 h 14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1" h="140">
                  <a:moveTo>
                    <a:pt x="79" y="9"/>
                  </a:moveTo>
                  <a:lnTo>
                    <a:pt x="79" y="18"/>
                  </a:lnTo>
                  <a:lnTo>
                    <a:pt x="109" y="0"/>
                  </a:lnTo>
                  <a:lnTo>
                    <a:pt x="122" y="9"/>
                  </a:lnTo>
                  <a:lnTo>
                    <a:pt x="109" y="9"/>
                  </a:lnTo>
                  <a:lnTo>
                    <a:pt x="122" y="18"/>
                  </a:lnTo>
                  <a:lnTo>
                    <a:pt x="131" y="73"/>
                  </a:lnTo>
                  <a:lnTo>
                    <a:pt x="131" y="64"/>
                  </a:lnTo>
                  <a:lnTo>
                    <a:pt x="91" y="85"/>
                  </a:lnTo>
                  <a:lnTo>
                    <a:pt x="100" y="94"/>
                  </a:lnTo>
                  <a:lnTo>
                    <a:pt x="122" y="119"/>
                  </a:lnTo>
                  <a:lnTo>
                    <a:pt x="100" y="128"/>
                  </a:lnTo>
                  <a:lnTo>
                    <a:pt x="109" y="140"/>
                  </a:lnTo>
                  <a:lnTo>
                    <a:pt x="55" y="140"/>
                  </a:lnTo>
                  <a:lnTo>
                    <a:pt x="24" y="140"/>
                  </a:lnTo>
                  <a:lnTo>
                    <a:pt x="24" y="119"/>
                  </a:lnTo>
                  <a:lnTo>
                    <a:pt x="0" y="94"/>
                  </a:lnTo>
                  <a:lnTo>
                    <a:pt x="0" y="85"/>
                  </a:lnTo>
                  <a:lnTo>
                    <a:pt x="0" y="73"/>
                  </a:lnTo>
                  <a:lnTo>
                    <a:pt x="0" y="55"/>
                  </a:lnTo>
                  <a:lnTo>
                    <a:pt x="12" y="28"/>
                  </a:lnTo>
                  <a:lnTo>
                    <a:pt x="24" y="18"/>
                  </a:lnTo>
                  <a:lnTo>
                    <a:pt x="33" y="18"/>
                  </a:lnTo>
                  <a:lnTo>
                    <a:pt x="45" y="0"/>
                  </a:lnTo>
                  <a:lnTo>
                    <a:pt x="55" y="0"/>
                  </a:lnTo>
                  <a:lnTo>
                    <a:pt x="79" y="9"/>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04" name="Freeform 903"/>
            <p:cNvSpPr>
              <a:spLocks/>
            </p:cNvSpPr>
            <p:nvPr/>
          </p:nvSpPr>
          <p:spPr bwMode="auto">
            <a:xfrm>
              <a:off x="4749551" y="3262611"/>
              <a:ext cx="51313" cy="28933"/>
            </a:xfrm>
            <a:custGeom>
              <a:avLst/>
              <a:gdLst>
                <a:gd name="T0" fmla="*/ 9 w 52"/>
                <a:gd name="T1" fmla="*/ 0 h 30"/>
                <a:gd name="T2" fmla="*/ 0 w 52"/>
                <a:gd name="T3" fmla="*/ 9 h 30"/>
                <a:gd name="T4" fmla="*/ 21 w 52"/>
                <a:gd name="T5" fmla="*/ 30 h 30"/>
                <a:gd name="T6" fmla="*/ 30 w 52"/>
                <a:gd name="T7" fmla="*/ 21 h 30"/>
                <a:gd name="T8" fmla="*/ 30 w 52"/>
                <a:gd name="T9" fmla="*/ 30 h 30"/>
                <a:gd name="T10" fmla="*/ 43 w 52"/>
                <a:gd name="T11" fmla="*/ 30 h 30"/>
                <a:gd name="T12" fmla="*/ 52 w 52"/>
                <a:gd name="T13" fmla="*/ 21 h 30"/>
                <a:gd name="T14" fmla="*/ 52 w 52"/>
                <a:gd name="T15" fmla="*/ 9 h 30"/>
                <a:gd name="T16" fmla="*/ 30 w 52"/>
                <a:gd name="T17" fmla="*/ 0 h 30"/>
                <a:gd name="T18" fmla="*/ 9 w 52"/>
                <a:gd name="T19" fmla="*/ 0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30"/>
                <a:gd name="T32" fmla="*/ 52 w 52"/>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30">
                  <a:moveTo>
                    <a:pt x="9" y="0"/>
                  </a:moveTo>
                  <a:lnTo>
                    <a:pt x="0" y="9"/>
                  </a:lnTo>
                  <a:lnTo>
                    <a:pt x="21" y="30"/>
                  </a:lnTo>
                  <a:lnTo>
                    <a:pt x="30" y="21"/>
                  </a:lnTo>
                  <a:lnTo>
                    <a:pt x="30" y="30"/>
                  </a:lnTo>
                  <a:lnTo>
                    <a:pt x="43" y="30"/>
                  </a:lnTo>
                  <a:lnTo>
                    <a:pt x="52" y="21"/>
                  </a:lnTo>
                  <a:lnTo>
                    <a:pt x="52" y="9"/>
                  </a:lnTo>
                  <a:lnTo>
                    <a:pt x="30" y="0"/>
                  </a:lnTo>
                  <a:lnTo>
                    <a:pt x="9" y="0"/>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05" name="Freeform 904"/>
            <p:cNvSpPr>
              <a:spLocks/>
            </p:cNvSpPr>
            <p:nvPr/>
          </p:nvSpPr>
          <p:spPr bwMode="auto">
            <a:xfrm>
              <a:off x="4791862" y="2900948"/>
              <a:ext cx="346583" cy="233392"/>
            </a:xfrm>
            <a:custGeom>
              <a:avLst/>
              <a:gdLst>
                <a:gd name="T0" fmla="*/ 207 w 350"/>
                <a:gd name="T1" fmla="*/ 43 h 238"/>
                <a:gd name="T2" fmla="*/ 216 w 350"/>
                <a:gd name="T3" fmla="*/ 31 h 238"/>
                <a:gd name="T4" fmla="*/ 240 w 350"/>
                <a:gd name="T5" fmla="*/ 43 h 238"/>
                <a:gd name="T6" fmla="*/ 274 w 350"/>
                <a:gd name="T7" fmla="*/ 43 h 238"/>
                <a:gd name="T8" fmla="*/ 283 w 350"/>
                <a:gd name="T9" fmla="*/ 43 h 238"/>
                <a:gd name="T10" fmla="*/ 283 w 350"/>
                <a:gd name="T11" fmla="*/ 22 h 238"/>
                <a:gd name="T12" fmla="*/ 307 w 350"/>
                <a:gd name="T13" fmla="*/ 22 h 238"/>
                <a:gd name="T14" fmla="*/ 328 w 350"/>
                <a:gd name="T15" fmla="*/ 31 h 238"/>
                <a:gd name="T16" fmla="*/ 328 w 350"/>
                <a:gd name="T17" fmla="*/ 43 h 238"/>
                <a:gd name="T18" fmla="*/ 350 w 350"/>
                <a:gd name="T19" fmla="*/ 31 h 238"/>
                <a:gd name="T20" fmla="*/ 316 w 350"/>
                <a:gd name="T21" fmla="*/ 22 h 238"/>
                <a:gd name="T22" fmla="*/ 350 w 350"/>
                <a:gd name="T23" fmla="*/ 13 h 238"/>
                <a:gd name="T24" fmla="*/ 316 w 350"/>
                <a:gd name="T25" fmla="*/ 13 h 238"/>
                <a:gd name="T26" fmla="*/ 307 w 350"/>
                <a:gd name="T27" fmla="*/ 0 h 238"/>
                <a:gd name="T28" fmla="*/ 295 w 350"/>
                <a:gd name="T29" fmla="*/ 13 h 238"/>
                <a:gd name="T30" fmla="*/ 283 w 350"/>
                <a:gd name="T31" fmla="*/ 13 h 238"/>
                <a:gd name="T32" fmla="*/ 274 w 350"/>
                <a:gd name="T33" fmla="*/ 13 h 238"/>
                <a:gd name="T34" fmla="*/ 274 w 350"/>
                <a:gd name="T35" fmla="*/ 0 h 238"/>
                <a:gd name="T36" fmla="*/ 261 w 350"/>
                <a:gd name="T37" fmla="*/ 13 h 238"/>
                <a:gd name="T38" fmla="*/ 240 w 350"/>
                <a:gd name="T39" fmla="*/ 13 h 238"/>
                <a:gd name="T40" fmla="*/ 216 w 350"/>
                <a:gd name="T41" fmla="*/ 22 h 238"/>
                <a:gd name="T42" fmla="*/ 185 w 350"/>
                <a:gd name="T43" fmla="*/ 22 h 238"/>
                <a:gd name="T44" fmla="*/ 164 w 350"/>
                <a:gd name="T45" fmla="*/ 31 h 238"/>
                <a:gd name="T46" fmla="*/ 164 w 350"/>
                <a:gd name="T47" fmla="*/ 43 h 238"/>
                <a:gd name="T48" fmla="*/ 176 w 350"/>
                <a:gd name="T49" fmla="*/ 43 h 238"/>
                <a:gd name="T50" fmla="*/ 164 w 350"/>
                <a:gd name="T51" fmla="*/ 43 h 238"/>
                <a:gd name="T52" fmla="*/ 152 w 350"/>
                <a:gd name="T53" fmla="*/ 43 h 238"/>
                <a:gd name="T54" fmla="*/ 152 w 350"/>
                <a:gd name="T55" fmla="*/ 31 h 238"/>
                <a:gd name="T56" fmla="*/ 131 w 350"/>
                <a:gd name="T57" fmla="*/ 43 h 238"/>
                <a:gd name="T58" fmla="*/ 140 w 350"/>
                <a:gd name="T59" fmla="*/ 52 h 238"/>
                <a:gd name="T60" fmla="*/ 152 w 350"/>
                <a:gd name="T61" fmla="*/ 52 h 238"/>
                <a:gd name="T62" fmla="*/ 118 w 350"/>
                <a:gd name="T63" fmla="*/ 77 h 238"/>
                <a:gd name="T64" fmla="*/ 100 w 350"/>
                <a:gd name="T65" fmla="*/ 107 h 238"/>
                <a:gd name="T66" fmla="*/ 64 w 350"/>
                <a:gd name="T67" fmla="*/ 140 h 238"/>
                <a:gd name="T68" fmla="*/ 54 w 350"/>
                <a:gd name="T69" fmla="*/ 128 h 238"/>
                <a:gd name="T70" fmla="*/ 42 w 350"/>
                <a:gd name="T71" fmla="*/ 153 h 238"/>
                <a:gd name="T72" fmla="*/ 33 w 350"/>
                <a:gd name="T73" fmla="*/ 153 h 238"/>
                <a:gd name="T74" fmla="*/ 0 w 350"/>
                <a:gd name="T75" fmla="*/ 174 h 238"/>
                <a:gd name="T76" fmla="*/ 0 w 350"/>
                <a:gd name="T77" fmla="*/ 183 h 238"/>
                <a:gd name="T78" fmla="*/ 0 w 350"/>
                <a:gd name="T79" fmla="*/ 192 h 238"/>
                <a:gd name="T80" fmla="*/ 9 w 350"/>
                <a:gd name="T81" fmla="*/ 204 h 238"/>
                <a:gd name="T82" fmla="*/ 0 w 350"/>
                <a:gd name="T83" fmla="*/ 217 h 238"/>
                <a:gd name="T84" fmla="*/ 9 w 350"/>
                <a:gd name="T85" fmla="*/ 217 h 238"/>
                <a:gd name="T86" fmla="*/ 9 w 350"/>
                <a:gd name="T87" fmla="*/ 238 h 238"/>
                <a:gd name="T88" fmla="*/ 33 w 350"/>
                <a:gd name="T89" fmla="*/ 238 h 238"/>
                <a:gd name="T90" fmla="*/ 76 w 350"/>
                <a:gd name="T91" fmla="*/ 217 h 238"/>
                <a:gd name="T92" fmla="*/ 88 w 350"/>
                <a:gd name="T93" fmla="*/ 217 h 238"/>
                <a:gd name="T94" fmla="*/ 100 w 350"/>
                <a:gd name="T95" fmla="*/ 204 h 238"/>
                <a:gd name="T96" fmla="*/ 109 w 350"/>
                <a:gd name="T97" fmla="*/ 204 h 238"/>
                <a:gd name="T98" fmla="*/ 100 w 350"/>
                <a:gd name="T99" fmla="*/ 183 h 238"/>
                <a:gd name="T100" fmla="*/ 109 w 350"/>
                <a:gd name="T101" fmla="*/ 183 h 238"/>
                <a:gd name="T102" fmla="*/ 100 w 350"/>
                <a:gd name="T103" fmla="*/ 153 h 238"/>
                <a:gd name="T104" fmla="*/ 100 w 350"/>
                <a:gd name="T105" fmla="*/ 128 h 238"/>
                <a:gd name="T106" fmla="*/ 131 w 350"/>
                <a:gd name="T107" fmla="*/ 128 h 238"/>
                <a:gd name="T108" fmla="*/ 118 w 350"/>
                <a:gd name="T109" fmla="*/ 119 h 238"/>
                <a:gd name="T110" fmla="*/ 131 w 350"/>
                <a:gd name="T111" fmla="*/ 86 h 238"/>
                <a:gd name="T112" fmla="*/ 152 w 350"/>
                <a:gd name="T113" fmla="*/ 77 h 238"/>
                <a:gd name="T114" fmla="*/ 164 w 350"/>
                <a:gd name="T115" fmla="*/ 52 h 238"/>
                <a:gd name="T116" fmla="*/ 176 w 350"/>
                <a:gd name="T117" fmla="*/ 52 h 238"/>
                <a:gd name="T118" fmla="*/ 185 w 350"/>
                <a:gd name="T119" fmla="*/ 43 h 238"/>
                <a:gd name="T120" fmla="*/ 207 w 350"/>
                <a:gd name="T121" fmla="*/ 52 h 238"/>
                <a:gd name="T122" fmla="*/ 207 w 350"/>
                <a:gd name="T123" fmla="*/ 43 h 2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50"/>
                <a:gd name="T187" fmla="*/ 0 h 238"/>
                <a:gd name="T188" fmla="*/ 350 w 350"/>
                <a:gd name="T189" fmla="*/ 238 h 23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50" h="238">
                  <a:moveTo>
                    <a:pt x="207" y="43"/>
                  </a:moveTo>
                  <a:lnTo>
                    <a:pt x="216" y="31"/>
                  </a:lnTo>
                  <a:lnTo>
                    <a:pt x="240" y="43"/>
                  </a:lnTo>
                  <a:lnTo>
                    <a:pt x="274" y="43"/>
                  </a:lnTo>
                  <a:lnTo>
                    <a:pt x="283" y="43"/>
                  </a:lnTo>
                  <a:lnTo>
                    <a:pt x="283" y="22"/>
                  </a:lnTo>
                  <a:lnTo>
                    <a:pt x="307" y="22"/>
                  </a:lnTo>
                  <a:lnTo>
                    <a:pt x="328" y="31"/>
                  </a:lnTo>
                  <a:lnTo>
                    <a:pt x="328" y="43"/>
                  </a:lnTo>
                  <a:lnTo>
                    <a:pt x="350" y="31"/>
                  </a:lnTo>
                  <a:lnTo>
                    <a:pt x="316" y="22"/>
                  </a:lnTo>
                  <a:lnTo>
                    <a:pt x="350" y="13"/>
                  </a:lnTo>
                  <a:lnTo>
                    <a:pt x="316" y="13"/>
                  </a:lnTo>
                  <a:lnTo>
                    <a:pt x="307" y="0"/>
                  </a:lnTo>
                  <a:lnTo>
                    <a:pt x="295" y="13"/>
                  </a:lnTo>
                  <a:lnTo>
                    <a:pt x="283" y="13"/>
                  </a:lnTo>
                  <a:lnTo>
                    <a:pt x="274" y="13"/>
                  </a:lnTo>
                  <a:lnTo>
                    <a:pt x="274" y="0"/>
                  </a:lnTo>
                  <a:lnTo>
                    <a:pt x="261" y="13"/>
                  </a:lnTo>
                  <a:lnTo>
                    <a:pt x="240" y="13"/>
                  </a:lnTo>
                  <a:lnTo>
                    <a:pt x="216" y="22"/>
                  </a:lnTo>
                  <a:lnTo>
                    <a:pt x="185" y="22"/>
                  </a:lnTo>
                  <a:lnTo>
                    <a:pt x="164" y="31"/>
                  </a:lnTo>
                  <a:lnTo>
                    <a:pt x="164" y="43"/>
                  </a:lnTo>
                  <a:lnTo>
                    <a:pt x="176" y="43"/>
                  </a:lnTo>
                  <a:lnTo>
                    <a:pt x="164" y="43"/>
                  </a:lnTo>
                  <a:lnTo>
                    <a:pt x="152" y="43"/>
                  </a:lnTo>
                  <a:lnTo>
                    <a:pt x="152" y="31"/>
                  </a:lnTo>
                  <a:lnTo>
                    <a:pt x="131" y="43"/>
                  </a:lnTo>
                  <a:lnTo>
                    <a:pt x="140" y="52"/>
                  </a:lnTo>
                  <a:lnTo>
                    <a:pt x="152" y="52"/>
                  </a:lnTo>
                  <a:lnTo>
                    <a:pt x="118" y="77"/>
                  </a:lnTo>
                  <a:lnTo>
                    <a:pt x="100" y="107"/>
                  </a:lnTo>
                  <a:lnTo>
                    <a:pt x="64" y="140"/>
                  </a:lnTo>
                  <a:lnTo>
                    <a:pt x="54" y="128"/>
                  </a:lnTo>
                  <a:lnTo>
                    <a:pt x="42" y="153"/>
                  </a:lnTo>
                  <a:lnTo>
                    <a:pt x="33" y="153"/>
                  </a:lnTo>
                  <a:lnTo>
                    <a:pt x="0" y="174"/>
                  </a:lnTo>
                  <a:lnTo>
                    <a:pt x="0" y="183"/>
                  </a:lnTo>
                  <a:lnTo>
                    <a:pt x="0" y="192"/>
                  </a:lnTo>
                  <a:lnTo>
                    <a:pt x="9" y="204"/>
                  </a:lnTo>
                  <a:lnTo>
                    <a:pt x="0" y="217"/>
                  </a:lnTo>
                  <a:lnTo>
                    <a:pt x="9" y="217"/>
                  </a:lnTo>
                  <a:lnTo>
                    <a:pt x="9" y="238"/>
                  </a:lnTo>
                  <a:lnTo>
                    <a:pt x="33" y="238"/>
                  </a:lnTo>
                  <a:lnTo>
                    <a:pt x="76" y="217"/>
                  </a:lnTo>
                  <a:lnTo>
                    <a:pt x="88" y="217"/>
                  </a:lnTo>
                  <a:lnTo>
                    <a:pt x="100" y="204"/>
                  </a:lnTo>
                  <a:lnTo>
                    <a:pt x="109" y="204"/>
                  </a:lnTo>
                  <a:lnTo>
                    <a:pt x="100" y="183"/>
                  </a:lnTo>
                  <a:lnTo>
                    <a:pt x="109" y="183"/>
                  </a:lnTo>
                  <a:lnTo>
                    <a:pt x="100" y="153"/>
                  </a:lnTo>
                  <a:lnTo>
                    <a:pt x="100" y="128"/>
                  </a:lnTo>
                  <a:lnTo>
                    <a:pt x="131" y="128"/>
                  </a:lnTo>
                  <a:lnTo>
                    <a:pt x="118" y="119"/>
                  </a:lnTo>
                  <a:lnTo>
                    <a:pt x="131" y="86"/>
                  </a:lnTo>
                  <a:lnTo>
                    <a:pt x="152" y="77"/>
                  </a:lnTo>
                  <a:lnTo>
                    <a:pt x="164" y="52"/>
                  </a:lnTo>
                  <a:lnTo>
                    <a:pt x="176" y="52"/>
                  </a:lnTo>
                  <a:lnTo>
                    <a:pt x="185" y="43"/>
                  </a:lnTo>
                  <a:lnTo>
                    <a:pt x="207" y="52"/>
                  </a:lnTo>
                  <a:lnTo>
                    <a:pt x="207" y="43"/>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06" name="Freeform 905"/>
            <p:cNvSpPr>
              <a:spLocks/>
            </p:cNvSpPr>
            <p:nvPr/>
          </p:nvSpPr>
          <p:spPr bwMode="auto">
            <a:xfrm>
              <a:off x="4879182" y="2943384"/>
              <a:ext cx="171041" cy="244001"/>
            </a:xfrm>
            <a:custGeom>
              <a:avLst/>
              <a:gdLst>
                <a:gd name="T0" fmla="*/ 12 w 173"/>
                <a:gd name="T1" fmla="*/ 161 h 250"/>
                <a:gd name="T2" fmla="*/ 0 w 173"/>
                <a:gd name="T3" fmla="*/ 174 h 250"/>
                <a:gd name="T4" fmla="*/ 21 w 173"/>
                <a:gd name="T5" fmla="*/ 225 h 250"/>
                <a:gd name="T6" fmla="*/ 30 w 173"/>
                <a:gd name="T7" fmla="*/ 250 h 250"/>
                <a:gd name="T8" fmla="*/ 43 w 173"/>
                <a:gd name="T9" fmla="*/ 250 h 250"/>
                <a:gd name="T10" fmla="*/ 52 w 173"/>
                <a:gd name="T11" fmla="*/ 225 h 250"/>
                <a:gd name="T12" fmla="*/ 76 w 173"/>
                <a:gd name="T13" fmla="*/ 225 h 250"/>
                <a:gd name="T14" fmla="*/ 88 w 173"/>
                <a:gd name="T15" fmla="*/ 186 h 250"/>
                <a:gd name="T16" fmla="*/ 106 w 173"/>
                <a:gd name="T17" fmla="*/ 174 h 250"/>
                <a:gd name="T18" fmla="*/ 97 w 173"/>
                <a:gd name="T19" fmla="*/ 174 h 250"/>
                <a:gd name="T20" fmla="*/ 106 w 173"/>
                <a:gd name="T21" fmla="*/ 161 h 250"/>
                <a:gd name="T22" fmla="*/ 88 w 173"/>
                <a:gd name="T23" fmla="*/ 140 h 250"/>
                <a:gd name="T24" fmla="*/ 88 w 173"/>
                <a:gd name="T25" fmla="*/ 119 h 250"/>
                <a:gd name="T26" fmla="*/ 143 w 173"/>
                <a:gd name="T27" fmla="*/ 76 h 250"/>
                <a:gd name="T28" fmla="*/ 152 w 173"/>
                <a:gd name="T29" fmla="*/ 55 h 250"/>
                <a:gd name="T30" fmla="*/ 173 w 173"/>
                <a:gd name="T31" fmla="*/ 55 h 250"/>
                <a:gd name="T32" fmla="*/ 164 w 173"/>
                <a:gd name="T33" fmla="*/ 9 h 250"/>
                <a:gd name="T34" fmla="*/ 119 w 173"/>
                <a:gd name="T35" fmla="*/ 0 h 250"/>
                <a:gd name="T36" fmla="*/ 119 w 173"/>
                <a:gd name="T37" fmla="*/ 9 h 250"/>
                <a:gd name="T38" fmla="*/ 97 w 173"/>
                <a:gd name="T39" fmla="*/ 0 h 250"/>
                <a:gd name="T40" fmla="*/ 88 w 173"/>
                <a:gd name="T41" fmla="*/ 9 h 250"/>
                <a:gd name="T42" fmla="*/ 76 w 173"/>
                <a:gd name="T43" fmla="*/ 9 h 250"/>
                <a:gd name="T44" fmla="*/ 64 w 173"/>
                <a:gd name="T45" fmla="*/ 34 h 250"/>
                <a:gd name="T46" fmla="*/ 43 w 173"/>
                <a:gd name="T47" fmla="*/ 43 h 250"/>
                <a:gd name="T48" fmla="*/ 30 w 173"/>
                <a:gd name="T49" fmla="*/ 76 h 250"/>
                <a:gd name="T50" fmla="*/ 43 w 173"/>
                <a:gd name="T51" fmla="*/ 85 h 250"/>
                <a:gd name="T52" fmla="*/ 12 w 173"/>
                <a:gd name="T53" fmla="*/ 85 h 250"/>
                <a:gd name="T54" fmla="*/ 12 w 173"/>
                <a:gd name="T55" fmla="*/ 110 h 250"/>
                <a:gd name="T56" fmla="*/ 21 w 173"/>
                <a:gd name="T57" fmla="*/ 140 h 250"/>
                <a:gd name="T58" fmla="*/ 12 w 173"/>
                <a:gd name="T59" fmla="*/ 140 h 250"/>
                <a:gd name="T60" fmla="*/ 21 w 173"/>
                <a:gd name="T61" fmla="*/ 161 h 250"/>
                <a:gd name="T62" fmla="*/ 12 w 173"/>
                <a:gd name="T63" fmla="*/ 161 h 25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73"/>
                <a:gd name="T97" fmla="*/ 0 h 250"/>
                <a:gd name="T98" fmla="*/ 173 w 173"/>
                <a:gd name="T99" fmla="*/ 250 h 25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73" h="250">
                  <a:moveTo>
                    <a:pt x="12" y="161"/>
                  </a:moveTo>
                  <a:lnTo>
                    <a:pt x="0" y="174"/>
                  </a:lnTo>
                  <a:lnTo>
                    <a:pt x="21" y="225"/>
                  </a:lnTo>
                  <a:lnTo>
                    <a:pt x="30" y="250"/>
                  </a:lnTo>
                  <a:lnTo>
                    <a:pt x="43" y="250"/>
                  </a:lnTo>
                  <a:lnTo>
                    <a:pt x="52" y="225"/>
                  </a:lnTo>
                  <a:lnTo>
                    <a:pt x="76" y="225"/>
                  </a:lnTo>
                  <a:lnTo>
                    <a:pt x="88" y="186"/>
                  </a:lnTo>
                  <a:lnTo>
                    <a:pt x="106" y="174"/>
                  </a:lnTo>
                  <a:lnTo>
                    <a:pt x="97" y="174"/>
                  </a:lnTo>
                  <a:lnTo>
                    <a:pt x="106" y="161"/>
                  </a:lnTo>
                  <a:lnTo>
                    <a:pt x="88" y="140"/>
                  </a:lnTo>
                  <a:lnTo>
                    <a:pt x="88" y="119"/>
                  </a:lnTo>
                  <a:lnTo>
                    <a:pt x="143" y="76"/>
                  </a:lnTo>
                  <a:lnTo>
                    <a:pt x="152" y="55"/>
                  </a:lnTo>
                  <a:lnTo>
                    <a:pt x="173" y="55"/>
                  </a:lnTo>
                  <a:lnTo>
                    <a:pt x="164" y="9"/>
                  </a:lnTo>
                  <a:lnTo>
                    <a:pt x="119" y="0"/>
                  </a:lnTo>
                  <a:lnTo>
                    <a:pt x="119" y="9"/>
                  </a:lnTo>
                  <a:lnTo>
                    <a:pt x="97" y="0"/>
                  </a:lnTo>
                  <a:lnTo>
                    <a:pt x="88" y="9"/>
                  </a:lnTo>
                  <a:lnTo>
                    <a:pt x="76" y="9"/>
                  </a:lnTo>
                  <a:lnTo>
                    <a:pt x="64" y="34"/>
                  </a:lnTo>
                  <a:lnTo>
                    <a:pt x="43" y="43"/>
                  </a:lnTo>
                  <a:lnTo>
                    <a:pt x="30" y="76"/>
                  </a:lnTo>
                  <a:lnTo>
                    <a:pt x="43" y="85"/>
                  </a:lnTo>
                  <a:lnTo>
                    <a:pt x="12" y="85"/>
                  </a:lnTo>
                  <a:lnTo>
                    <a:pt x="12" y="110"/>
                  </a:lnTo>
                  <a:lnTo>
                    <a:pt x="21" y="140"/>
                  </a:lnTo>
                  <a:lnTo>
                    <a:pt x="12" y="140"/>
                  </a:lnTo>
                  <a:lnTo>
                    <a:pt x="21" y="161"/>
                  </a:lnTo>
                  <a:lnTo>
                    <a:pt x="12" y="161"/>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07" name="Freeform 906"/>
            <p:cNvSpPr>
              <a:spLocks/>
            </p:cNvSpPr>
            <p:nvPr/>
          </p:nvSpPr>
          <p:spPr bwMode="auto">
            <a:xfrm>
              <a:off x="4997112" y="2922165"/>
              <a:ext cx="162039" cy="178420"/>
            </a:xfrm>
            <a:custGeom>
              <a:avLst/>
              <a:gdLst>
                <a:gd name="T0" fmla="*/ 121 w 164"/>
                <a:gd name="T1" fmla="*/ 21 h 182"/>
                <a:gd name="T2" fmla="*/ 121 w 164"/>
                <a:gd name="T3" fmla="*/ 9 h 182"/>
                <a:gd name="T4" fmla="*/ 100 w 164"/>
                <a:gd name="T5" fmla="*/ 0 h 182"/>
                <a:gd name="T6" fmla="*/ 76 w 164"/>
                <a:gd name="T7" fmla="*/ 0 h 182"/>
                <a:gd name="T8" fmla="*/ 76 w 164"/>
                <a:gd name="T9" fmla="*/ 21 h 182"/>
                <a:gd name="T10" fmla="*/ 67 w 164"/>
                <a:gd name="T11" fmla="*/ 21 h 182"/>
                <a:gd name="T12" fmla="*/ 33 w 164"/>
                <a:gd name="T13" fmla="*/ 21 h 182"/>
                <a:gd name="T14" fmla="*/ 9 w 164"/>
                <a:gd name="T15" fmla="*/ 9 h 182"/>
                <a:gd name="T16" fmla="*/ 0 w 164"/>
                <a:gd name="T17" fmla="*/ 21 h 182"/>
                <a:gd name="T18" fmla="*/ 45 w 164"/>
                <a:gd name="T19" fmla="*/ 30 h 182"/>
                <a:gd name="T20" fmla="*/ 54 w 164"/>
                <a:gd name="T21" fmla="*/ 76 h 182"/>
                <a:gd name="T22" fmla="*/ 67 w 164"/>
                <a:gd name="T23" fmla="*/ 76 h 182"/>
                <a:gd name="T24" fmla="*/ 76 w 164"/>
                <a:gd name="T25" fmla="*/ 76 h 182"/>
                <a:gd name="T26" fmla="*/ 76 w 164"/>
                <a:gd name="T27" fmla="*/ 85 h 182"/>
                <a:gd name="T28" fmla="*/ 33 w 164"/>
                <a:gd name="T29" fmla="*/ 131 h 182"/>
                <a:gd name="T30" fmla="*/ 24 w 164"/>
                <a:gd name="T31" fmla="*/ 131 h 182"/>
                <a:gd name="T32" fmla="*/ 33 w 164"/>
                <a:gd name="T33" fmla="*/ 152 h 182"/>
                <a:gd name="T34" fmla="*/ 33 w 164"/>
                <a:gd name="T35" fmla="*/ 170 h 182"/>
                <a:gd name="T36" fmla="*/ 67 w 164"/>
                <a:gd name="T37" fmla="*/ 182 h 182"/>
                <a:gd name="T38" fmla="*/ 121 w 164"/>
                <a:gd name="T39" fmla="*/ 170 h 182"/>
                <a:gd name="T40" fmla="*/ 164 w 164"/>
                <a:gd name="T41" fmla="*/ 131 h 182"/>
                <a:gd name="T42" fmla="*/ 155 w 164"/>
                <a:gd name="T43" fmla="*/ 106 h 182"/>
                <a:gd name="T44" fmla="*/ 155 w 164"/>
                <a:gd name="T45" fmla="*/ 97 h 182"/>
                <a:gd name="T46" fmla="*/ 143 w 164"/>
                <a:gd name="T47" fmla="*/ 85 h 182"/>
                <a:gd name="T48" fmla="*/ 143 w 164"/>
                <a:gd name="T49" fmla="*/ 76 h 182"/>
                <a:gd name="T50" fmla="*/ 131 w 164"/>
                <a:gd name="T51" fmla="*/ 55 h 182"/>
                <a:gd name="T52" fmla="*/ 131 w 164"/>
                <a:gd name="T53" fmla="*/ 39 h 182"/>
                <a:gd name="T54" fmla="*/ 109 w 164"/>
                <a:gd name="T55" fmla="*/ 30 h 182"/>
                <a:gd name="T56" fmla="*/ 109 w 164"/>
                <a:gd name="T57" fmla="*/ 21 h 182"/>
                <a:gd name="T58" fmla="*/ 121 w 164"/>
                <a:gd name="T59" fmla="*/ 21 h 18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4"/>
                <a:gd name="T91" fmla="*/ 0 h 182"/>
                <a:gd name="T92" fmla="*/ 164 w 164"/>
                <a:gd name="T93" fmla="*/ 182 h 18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4" h="182">
                  <a:moveTo>
                    <a:pt x="121" y="21"/>
                  </a:moveTo>
                  <a:lnTo>
                    <a:pt x="121" y="9"/>
                  </a:lnTo>
                  <a:lnTo>
                    <a:pt x="100" y="0"/>
                  </a:lnTo>
                  <a:lnTo>
                    <a:pt x="76" y="0"/>
                  </a:lnTo>
                  <a:lnTo>
                    <a:pt x="76" y="21"/>
                  </a:lnTo>
                  <a:lnTo>
                    <a:pt x="67" y="21"/>
                  </a:lnTo>
                  <a:lnTo>
                    <a:pt x="33" y="21"/>
                  </a:lnTo>
                  <a:lnTo>
                    <a:pt x="9" y="9"/>
                  </a:lnTo>
                  <a:lnTo>
                    <a:pt x="0" y="21"/>
                  </a:lnTo>
                  <a:lnTo>
                    <a:pt x="45" y="30"/>
                  </a:lnTo>
                  <a:lnTo>
                    <a:pt x="54" y="76"/>
                  </a:lnTo>
                  <a:lnTo>
                    <a:pt x="67" y="76"/>
                  </a:lnTo>
                  <a:lnTo>
                    <a:pt x="76" y="76"/>
                  </a:lnTo>
                  <a:lnTo>
                    <a:pt x="76" y="85"/>
                  </a:lnTo>
                  <a:lnTo>
                    <a:pt x="33" y="131"/>
                  </a:lnTo>
                  <a:lnTo>
                    <a:pt x="24" y="131"/>
                  </a:lnTo>
                  <a:lnTo>
                    <a:pt x="33" y="152"/>
                  </a:lnTo>
                  <a:lnTo>
                    <a:pt x="33" y="170"/>
                  </a:lnTo>
                  <a:lnTo>
                    <a:pt x="67" y="182"/>
                  </a:lnTo>
                  <a:lnTo>
                    <a:pt x="121" y="170"/>
                  </a:lnTo>
                  <a:lnTo>
                    <a:pt x="164" y="131"/>
                  </a:lnTo>
                  <a:lnTo>
                    <a:pt x="155" y="106"/>
                  </a:lnTo>
                  <a:lnTo>
                    <a:pt x="155" y="97"/>
                  </a:lnTo>
                  <a:lnTo>
                    <a:pt x="143" y="85"/>
                  </a:lnTo>
                  <a:lnTo>
                    <a:pt x="143" y="76"/>
                  </a:lnTo>
                  <a:lnTo>
                    <a:pt x="131" y="55"/>
                  </a:lnTo>
                  <a:lnTo>
                    <a:pt x="131" y="39"/>
                  </a:lnTo>
                  <a:lnTo>
                    <a:pt x="109" y="30"/>
                  </a:lnTo>
                  <a:lnTo>
                    <a:pt x="109" y="21"/>
                  </a:lnTo>
                  <a:lnTo>
                    <a:pt x="121" y="21"/>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08" name="Freeform 907"/>
            <p:cNvSpPr>
              <a:spLocks/>
            </p:cNvSpPr>
            <p:nvPr/>
          </p:nvSpPr>
          <p:spPr bwMode="auto">
            <a:xfrm>
              <a:off x="2691653" y="2856584"/>
              <a:ext cx="1157679" cy="596984"/>
            </a:xfrm>
            <a:custGeom>
              <a:avLst/>
              <a:gdLst>
                <a:gd name="T0" fmla="*/ 929 w 1169"/>
                <a:gd name="T1" fmla="*/ 499 h 609"/>
                <a:gd name="T2" fmla="*/ 853 w 1169"/>
                <a:gd name="T3" fmla="*/ 545 h 609"/>
                <a:gd name="T4" fmla="*/ 752 w 1169"/>
                <a:gd name="T5" fmla="*/ 566 h 609"/>
                <a:gd name="T6" fmla="*/ 713 w 1169"/>
                <a:gd name="T7" fmla="*/ 575 h 609"/>
                <a:gd name="T8" fmla="*/ 633 w 1169"/>
                <a:gd name="T9" fmla="*/ 609 h 609"/>
                <a:gd name="T10" fmla="*/ 688 w 1169"/>
                <a:gd name="T11" fmla="*/ 529 h 609"/>
                <a:gd name="T12" fmla="*/ 713 w 1169"/>
                <a:gd name="T13" fmla="*/ 520 h 609"/>
                <a:gd name="T14" fmla="*/ 646 w 1169"/>
                <a:gd name="T15" fmla="*/ 478 h 609"/>
                <a:gd name="T16" fmla="*/ 579 w 1169"/>
                <a:gd name="T17" fmla="*/ 478 h 609"/>
                <a:gd name="T18" fmla="*/ 515 w 1169"/>
                <a:gd name="T19" fmla="*/ 453 h 609"/>
                <a:gd name="T20" fmla="*/ 43 w 1169"/>
                <a:gd name="T21" fmla="*/ 435 h 609"/>
                <a:gd name="T22" fmla="*/ 21 w 1169"/>
                <a:gd name="T23" fmla="*/ 389 h 609"/>
                <a:gd name="T24" fmla="*/ 64 w 1169"/>
                <a:gd name="T25" fmla="*/ 329 h 609"/>
                <a:gd name="T26" fmla="*/ 64 w 1169"/>
                <a:gd name="T27" fmla="*/ 249 h 609"/>
                <a:gd name="T28" fmla="*/ 21 w 1169"/>
                <a:gd name="T29" fmla="*/ 237 h 609"/>
                <a:gd name="T30" fmla="*/ 253 w 1169"/>
                <a:gd name="T31" fmla="*/ 88 h 609"/>
                <a:gd name="T32" fmla="*/ 359 w 1169"/>
                <a:gd name="T33" fmla="*/ 67 h 609"/>
                <a:gd name="T34" fmla="*/ 393 w 1169"/>
                <a:gd name="T35" fmla="*/ 76 h 609"/>
                <a:gd name="T36" fmla="*/ 469 w 1169"/>
                <a:gd name="T37" fmla="*/ 67 h 609"/>
                <a:gd name="T38" fmla="*/ 536 w 1169"/>
                <a:gd name="T39" fmla="*/ 97 h 609"/>
                <a:gd name="T40" fmla="*/ 579 w 1169"/>
                <a:gd name="T41" fmla="*/ 97 h 609"/>
                <a:gd name="T42" fmla="*/ 600 w 1169"/>
                <a:gd name="T43" fmla="*/ 97 h 609"/>
                <a:gd name="T44" fmla="*/ 688 w 1169"/>
                <a:gd name="T45" fmla="*/ 106 h 609"/>
                <a:gd name="T46" fmla="*/ 731 w 1169"/>
                <a:gd name="T47" fmla="*/ 88 h 609"/>
                <a:gd name="T48" fmla="*/ 786 w 1169"/>
                <a:gd name="T49" fmla="*/ 88 h 609"/>
                <a:gd name="T50" fmla="*/ 764 w 1169"/>
                <a:gd name="T51" fmla="*/ 106 h 609"/>
                <a:gd name="T52" fmla="*/ 798 w 1169"/>
                <a:gd name="T53" fmla="*/ 67 h 609"/>
                <a:gd name="T54" fmla="*/ 874 w 1169"/>
                <a:gd name="T55" fmla="*/ 12 h 609"/>
                <a:gd name="T56" fmla="*/ 895 w 1169"/>
                <a:gd name="T57" fmla="*/ 21 h 609"/>
                <a:gd name="T58" fmla="*/ 853 w 1169"/>
                <a:gd name="T59" fmla="*/ 33 h 609"/>
                <a:gd name="T60" fmla="*/ 853 w 1169"/>
                <a:gd name="T61" fmla="*/ 76 h 609"/>
                <a:gd name="T62" fmla="*/ 883 w 1169"/>
                <a:gd name="T63" fmla="*/ 88 h 609"/>
                <a:gd name="T64" fmla="*/ 920 w 1169"/>
                <a:gd name="T65" fmla="*/ 97 h 609"/>
                <a:gd name="T66" fmla="*/ 984 w 1169"/>
                <a:gd name="T67" fmla="*/ 76 h 609"/>
                <a:gd name="T68" fmla="*/ 950 w 1169"/>
                <a:gd name="T69" fmla="*/ 122 h 609"/>
                <a:gd name="T70" fmla="*/ 874 w 1169"/>
                <a:gd name="T71" fmla="*/ 131 h 609"/>
                <a:gd name="T72" fmla="*/ 786 w 1169"/>
                <a:gd name="T73" fmla="*/ 173 h 609"/>
                <a:gd name="T74" fmla="*/ 722 w 1169"/>
                <a:gd name="T75" fmla="*/ 207 h 609"/>
                <a:gd name="T76" fmla="*/ 646 w 1169"/>
                <a:gd name="T77" fmla="*/ 274 h 609"/>
                <a:gd name="T78" fmla="*/ 676 w 1169"/>
                <a:gd name="T79" fmla="*/ 304 h 609"/>
                <a:gd name="T80" fmla="*/ 752 w 1169"/>
                <a:gd name="T81" fmla="*/ 380 h 609"/>
                <a:gd name="T82" fmla="*/ 819 w 1169"/>
                <a:gd name="T83" fmla="*/ 350 h 609"/>
                <a:gd name="T84" fmla="*/ 883 w 1169"/>
                <a:gd name="T85" fmla="*/ 274 h 609"/>
                <a:gd name="T86" fmla="*/ 929 w 1169"/>
                <a:gd name="T87" fmla="*/ 207 h 609"/>
                <a:gd name="T88" fmla="*/ 1014 w 1169"/>
                <a:gd name="T89" fmla="*/ 219 h 609"/>
                <a:gd name="T90" fmla="*/ 1026 w 1169"/>
                <a:gd name="T91" fmla="*/ 262 h 609"/>
                <a:gd name="T92" fmla="*/ 1081 w 1169"/>
                <a:gd name="T93" fmla="*/ 249 h 609"/>
                <a:gd name="T94" fmla="*/ 1102 w 1169"/>
                <a:gd name="T95" fmla="*/ 313 h 609"/>
                <a:gd name="T96" fmla="*/ 1136 w 1169"/>
                <a:gd name="T97" fmla="*/ 338 h 609"/>
                <a:gd name="T98" fmla="*/ 1136 w 1169"/>
                <a:gd name="T99" fmla="*/ 359 h 609"/>
                <a:gd name="T100" fmla="*/ 1169 w 1169"/>
                <a:gd name="T101" fmla="*/ 368 h 609"/>
                <a:gd name="T102" fmla="*/ 1081 w 1169"/>
                <a:gd name="T103" fmla="*/ 435 h 609"/>
                <a:gd name="T104" fmla="*/ 959 w 1169"/>
                <a:gd name="T105" fmla="*/ 453 h 609"/>
                <a:gd name="T106" fmla="*/ 874 w 1169"/>
                <a:gd name="T107" fmla="*/ 499 h 609"/>
                <a:gd name="T108" fmla="*/ 1005 w 1169"/>
                <a:gd name="T109" fmla="*/ 469 h 609"/>
                <a:gd name="T110" fmla="*/ 984 w 1169"/>
                <a:gd name="T111" fmla="*/ 490 h 609"/>
                <a:gd name="T112" fmla="*/ 1026 w 1169"/>
                <a:gd name="T113" fmla="*/ 520 h 609"/>
                <a:gd name="T114" fmla="*/ 1051 w 1169"/>
                <a:gd name="T115" fmla="*/ 520 h 609"/>
                <a:gd name="T116" fmla="*/ 938 w 1169"/>
                <a:gd name="T117" fmla="*/ 575 h 609"/>
                <a:gd name="T118" fmla="*/ 959 w 1169"/>
                <a:gd name="T119" fmla="*/ 529 h 60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169"/>
                <a:gd name="T181" fmla="*/ 0 h 609"/>
                <a:gd name="T182" fmla="*/ 1169 w 1169"/>
                <a:gd name="T183" fmla="*/ 609 h 60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169" h="609">
                  <a:moveTo>
                    <a:pt x="929" y="529"/>
                  </a:moveTo>
                  <a:lnTo>
                    <a:pt x="920" y="529"/>
                  </a:lnTo>
                  <a:lnTo>
                    <a:pt x="929" y="499"/>
                  </a:lnTo>
                  <a:lnTo>
                    <a:pt x="904" y="490"/>
                  </a:lnTo>
                  <a:lnTo>
                    <a:pt x="874" y="529"/>
                  </a:lnTo>
                  <a:lnTo>
                    <a:pt x="853" y="545"/>
                  </a:lnTo>
                  <a:lnTo>
                    <a:pt x="798" y="545"/>
                  </a:lnTo>
                  <a:lnTo>
                    <a:pt x="777" y="554"/>
                  </a:lnTo>
                  <a:lnTo>
                    <a:pt x="752" y="566"/>
                  </a:lnTo>
                  <a:lnTo>
                    <a:pt x="713" y="566"/>
                  </a:lnTo>
                  <a:lnTo>
                    <a:pt x="697" y="575"/>
                  </a:lnTo>
                  <a:lnTo>
                    <a:pt x="713" y="575"/>
                  </a:lnTo>
                  <a:lnTo>
                    <a:pt x="722" y="584"/>
                  </a:lnTo>
                  <a:lnTo>
                    <a:pt x="667" y="584"/>
                  </a:lnTo>
                  <a:lnTo>
                    <a:pt x="633" y="609"/>
                  </a:lnTo>
                  <a:lnTo>
                    <a:pt x="655" y="575"/>
                  </a:lnTo>
                  <a:lnTo>
                    <a:pt x="667" y="575"/>
                  </a:lnTo>
                  <a:lnTo>
                    <a:pt x="688" y="529"/>
                  </a:lnTo>
                  <a:lnTo>
                    <a:pt x="713" y="554"/>
                  </a:lnTo>
                  <a:lnTo>
                    <a:pt x="722" y="545"/>
                  </a:lnTo>
                  <a:lnTo>
                    <a:pt x="713" y="520"/>
                  </a:lnTo>
                  <a:lnTo>
                    <a:pt x="655" y="511"/>
                  </a:lnTo>
                  <a:lnTo>
                    <a:pt x="667" y="478"/>
                  </a:lnTo>
                  <a:lnTo>
                    <a:pt x="646" y="478"/>
                  </a:lnTo>
                  <a:lnTo>
                    <a:pt x="646" y="469"/>
                  </a:lnTo>
                  <a:lnTo>
                    <a:pt x="621" y="453"/>
                  </a:lnTo>
                  <a:lnTo>
                    <a:pt x="579" y="478"/>
                  </a:lnTo>
                  <a:lnTo>
                    <a:pt x="591" y="478"/>
                  </a:lnTo>
                  <a:lnTo>
                    <a:pt x="524" y="469"/>
                  </a:lnTo>
                  <a:lnTo>
                    <a:pt x="515" y="453"/>
                  </a:lnTo>
                  <a:lnTo>
                    <a:pt x="499" y="453"/>
                  </a:lnTo>
                  <a:lnTo>
                    <a:pt x="64" y="453"/>
                  </a:lnTo>
                  <a:lnTo>
                    <a:pt x="43" y="435"/>
                  </a:lnTo>
                  <a:lnTo>
                    <a:pt x="21" y="414"/>
                  </a:lnTo>
                  <a:lnTo>
                    <a:pt x="34" y="389"/>
                  </a:lnTo>
                  <a:lnTo>
                    <a:pt x="21" y="389"/>
                  </a:lnTo>
                  <a:lnTo>
                    <a:pt x="21" y="359"/>
                  </a:lnTo>
                  <a:lnTo>
                    <a:pt x="55" y="350"/>
                  </a:lnTo>
                  <a:lnTo>
                    <a:pt x="64" y="329"/>
                  </a:lnTo>
                  <a:lnTo>
                    <a:pt x="55" y="313"/>
                  </a:lnTo>
                  <a:lnTo>
                    <a:pt x="64" y="274"/>
                  </a:lnTo>
                  <a:lnTo>
                    <a:pt x="64" y="249"/>
                  </a:lnTo>
                  <a:lnTo>
                    <a:pt x="21" y="262"/>
                  </a:lnTo>
                  <a:lnTo>
                    <a:pt x="9" y="249"/>
                  </a:lnTo>
                  <a:lnTo>
                    <a:pt x="21" y="237"/>
                  </a:lnTo>
                  <a:lnTo>
                    <a:pt x="0" y="237"/>
                  </a:lnTo>
                  <a:lnTo>
                    <a:pt x="207" y="76"/>
                  </a:lnTo>
                  <a:lnTo>
                    <a:pt x="253" y="88"/>
                  </a:lnTo>
                  <a:lnTo>
                    <a:pt x="271" y="76"/>
                  </a:lnTo>
                  <a:lnTo>
                    <a:pt x="292" y="76"/>
                  </a:lnTo>
                  <a:lnTo>
                    <a:pt x="359" y="67"/>
                  </a:lnTo>
                  <a:lnTo>
                    <a:pt x="393" y="58"/>
                  </a:lnTo>
                  <a:lnTo>
                    <a:pt x="405" y="67"/>
                  </a:lnTo>
                  <a:lnTo>
                    <a:pt x="393" y="76"/>
                  </a:lnTo>
                  <a:lnTo>
                    <a:pt x="423" y="76"/>
                  </a:lnTo>
                  <a:lnTo>
                    <a:pt x="448" y="67"/>
                  </a:lnTo>
                  <a:lnTo>
                    <a:pt x="469" y="67"/>
                  </a:lnTo>
                  <a:lnTo>
                    <a:pt x="481" y="76"/>
                  </a:lnTo>
                  <a:lnTo>
                    <a:pt x="536" y="88"/>
                  </a:lnTo>
                  <a:lnTo>
                    <a:pt x="536" y="97"/>
                  </a:lnTo>
                  <a:lnTo>
                    <a:pt x="499" y="106"/>
                  </a:lnTo>
                  <a:lnTo>
                    <a:pt x="536" y="106"/>
                  </a:lnTo>
                  <a:lnTo>
                    <a:pt x="579" y="97"/>
                  </a:lnTo>
                  <a:lnTo>
                    <a:pt x="600" y="106"/>
                  </a:lnTo>
                  <a:lnTo>
                    <a:pt x="612" y="97"/>
                  </a:lnTo>
                  <a:lnTo>
                    <a:pt x="600" y="97"/>
                  </a:lnTo>
                  <a:lnTo>
                    <a:pt x="655" y="88"/>
                  </a:lnTo>
                  <a:lnTo>
                    <a:pt x="655" y="97"/>
                  </a:lnTo>
                  <a:lnTo>
                    <a:pt x="688" y="106"/>
                  </a:lnTo>
                  <a:lnTo>
                    <a:pt x="722" y="106"/>
                  </a:lnTo>
                  <a:lnTo>
                    <a:pt x="752" y="88"/>
                  </a:lnTo>
                  <a:lnTo>
                    <a:pt x="731" y="88"/>
                  </a:lnTo>
                  <a:lnTo>
                    <a:pt x="777" y="67"/>
                  </a:lnTo>
                  <a:lnTo>
                    <a:pt x="786" y="76"/>
                  </a:lnTo>
                  <a:lnTo>
                    <a:pt x="786" y="88"/>
                  </a:lnTo>
                  <a:lnTo>
                    <a:pt x="764" y="97"/>
                  </a:lnTo>
                  <a:lnTo>
                    <a:pt x="752" y="106"/>
                  </a:lnTo>
                  <a:lnTo>
                    <a:pt x="764" y="106"/>
                  </a:lnTo>
                  <a:lnTo>
                    <a:pt x="798" y="88"/>
                  </a:lnTo>
                  <a:lnTo>
                    <a:pt x="819" y="76"/>
                  </a:lnTo>
                  <a:lnTo>
                    <a:pt x="798" y="67"/>
                  </a:lnTo>
                  <a:lnTo>
                    <a:pt x="798" y="58"/>
                  </a:lnTo>
                  <a:lnTo>
                    <a:pt x="841" y="33"/>
                  </a:lnTo>
                  <a:lnTo>
                    <a:pt x="874" y="12"/>
                  </a:lnTo>
                  <a:lnTo>
                    <a:pt x="904" y="0"/>
                  </a:lnTo>
                  <a:lnTo>
                    <a:pt x="938" y="0"/>
                  </a:lnTo>
                  <a:lnTo>
                    <a:pt x="895" y="21"/>
                  </a:lnTo>
                  <a:lnTo>
                    <a:pt x="874" y="21"/>
                  </a:lnTo>
                  <a:lnTo>
                    <a:pt x="874" y="33"/>
                  </a:lnTo>
                  <a:lnTo>
                    <a:pt x="853" y="33"/>
                  </a:lnTo>
                  <a:lnTo>
                    <a:pt x="862" y="67"/>
                  </a:lnTo>
                  <a:lnTo>
                    <a:pt x="841" y="67"/>
                  </a:lnTo>
                  <a:lnTo>
                    <a:pt x="853" y="76"/>
                  </a:lnTo>
                  <a:lnTo>
                    <a:pt x="862" y="88"/>
                  </a:lnTo>
                  <a:lnTo>
                    <a:pt x="883" y="76"/>
                  </a:lnTo>
                  <a:lnTo>
                    <a:pt x="883" y="88"/>
                  </a:lnTo>
                  <a:lnTo>
                    <a:pt x="874" y="106"/>
                  </a:lnTo>
                  <a:lnTo>
                    <a:pt x="874" y="122"/>
                  </a:lnTo>
                  <a:lnTo>
                    <a:pt x="920" y="97"/>
                  </a:lnTo>
                  <a:lnTo>
                    <a:pt x="938" y="67"/>
                  </a:lnTo>
                  <a:lnTo>
                    <a:pt x="971" y="76"/>
                  </a:lnTo>
                  <a:lnTo>
                    <a:pt x="984" y="76"/>
                  </a:lnTo>
                  <a:lnTo>
                    <a:pt x="950" y="106"/>
                  </a:lnTo>
                  <a:lnTo>
                    <a:pt x="959" y="106"/>
                  </a:lnTo>
                  <a:lnTo>
                    <a:pt x="950" y="122"/>
                  </a:lnTo>
                  <a:lnTo>
                    <a:pt x="904" y="131"/>
                  </a:lnTo>
                  <a:lnTo>
                    <a:pt x="883" y="131"/>
                  </a:lnTo>
                  <a:lnTo>
                    <a:pt x="874" y="131"/>
                  </a:lnTo>
                  <a:lnTo>
                    <a:pt x="841" y="152"/>
                  </a:lnTo>
                  <a:lnTo>
                    <a:pt x="807" y="173"/>
                  </a:lnTo>
                  <a:lnTo>
                    <a:pt x="786" y="173"/>
                  </a:lnTo>
                  <a:lnTo>
                    <a:pt x="764" y="198"/>
                  </a:lnTo>
                  <a:lnTo>
                    <a:pt x="731" y="198"/>
                  </a:lnTo>
                  <a:lnTo>
                    <a:pt x="722" y="207"/>
                  </a:lnTo>
                  <a:lnTo>
                    <a:pt x="688" y="228"/>
                  </a:lnTo>
                  <a:lnTo>
                    <a:pt x="646" y="262"/>
                  </a:lnTo>
                  <a:lnTo>
                    <a:pt x="646" y="274"/>
                  </a:lnTo>
                  <a:lnTo>
                    <a:pt x="667" y="274"/>
                  </a:lnTo>
                  <a:lnTo>
                    <a:pt x="655" y="304"/>
                  </a:lnTo>
                  <a:lnTo>
                    <a:pt x="676" y="304"/>
                  </a:lnTo>
                  <a:lnTo>
                    <a:pt x="743" y="338"/>
                  </a:lnTo>
                  <a:lnTo>
                    <a:pt x="786" y="350"/>
                  </a:lnTo>
                  <a:lnTo>
                    <a:pt x="752" y="380"/>
                  </a:lnTo>
                  <a:lnTo>
                    <a:pt x="777" y="414"/>
                  </a:lnTo>
                  <a:lnTo>
                    <a:pt x="807" y="405"/>
                  </a:lnTo>
                  <a:lnTo>
                    <a:pt x="819" y="350"/>
                  </a:lnTo>
                  <a:lnTo>
                    <a:pt x="874" y="329"/>
                  </a:lnTo>
                  <a:lnTo>
                    <a:pt x="895" y="283"/>
                  </a:lnTo>
                  <a:lnTo>
                    <a:pt x="883" y="274"/>
                  </a:lnTo>
                  <a:lnTo>
                    <a:pt x="904" y="249"/>
                  </a:lnTo>
                  <a:lnTo>
                    <a:pt x="920" y="228"/>
                  </a:lnTo>
                  <a:lnTo>
                    <a:pt x="929" y="207"/>
                  </a:lnTo>
                  <a:lnTo>
                    <a:pt x="950" y="198"/>
                  </a:lnTo>
                  <a:lnTo>
                    <a:pt x="996" y="207"/>
                  </a:lnTo>
                  <a:lnTo>
                    <a:pt x="1014" y="219"/>
                  </a:lnTo>
                  <a:lnTo>
                    <a:pt x="1014" y="228"/>
                  </a:lnTo>
                  <a:lnTo>
                    <a:pt x="1035" y="228"/>
                  </a:lnTo>
                  <a:lnTo>
                    <a:pt x="1026" y="262"/>
                  </a:lnTo>
                  <a:lnTo>
                    <a:pt x="1035" y="283"/>
                  </a:lnTo>
                  <a:lnTo>
                    <a:pt x="1081" y="262"/>
                  </a:lnTo>
                  <a:lnTo>
                    <a:pt x="1081" y="249"/>
                  </a:lnTo>
                  <a:lnTo>
                    <a:pt x="1102" y="237"/>
                  </a:lnTo>
                  <a:lnTo>
                    <a:pt x="1127" y="304"/>
                  </a:lnTo>
                  <a:lnTo>
                    <a:pt x="1102" y="313"/>
                  </a:lnTo>
                  <a:lnTo>
                    <a:pt x="1127" y="329"/>
                  </a:lnTo>
                  <a:lnTo>
                    <a:pt x="1112" y="338"/>
                  </a:lnTo>
                  <a:lnTo>
                    <a:pt x="1136" y="338"/>
                  </a:lnTo>
                  <a:lnTo>
                    <a:pt x="1136" y="350"/>
                  </a:lnTo>
                  <a:lnTo>
                    <a:pt x="1157" y="350"/>
                  </a:lnTo>
                  <a:lnTo>
                    <a:pt x="1136" y="359"/>
                  </a:lnTo>
                  <a:lnTo>
                    <a:pt x="1157" y="359"/>
                  </a:lnTo>
                  <a:lnTo>
                    <a:pt x="1157" y="368"/>
                  </a:lnTo>
                  <a:lnTo>
                    <a:pt x="1169" y="368"/>
                  </a:lnTo>
                  <a:lnTo>
                    <a:pt x="1169" y="405"/>
                  </a:lnTo>
                  <a:lnTo>
                    <a:pt x="1112" y="414"/>
                  </a:lnTo>
                  <a:lnTo>
                    <a:pt x="1081" y="435"/>
                  </a:lnTo>
                  <a:lnTo>
                    <a:pt x="1014" y="435"/>
                  </a:lnTo>
                  <a:lnTo>
                    <a:pt x="971" y="435"/>
                  </a:lnTo>
                  <a:lnTo>
                    <a:pt x="959" y="453"/>
                  </a:lnTo>
                  <a:lnTo>
                    <a:pt x="950" y="453"/>
                  </a:lnTo>
                  <a:lnTo>
                    <a:pt x="920" y="469"/>
                  </a:lnTo>
                  <a:lnTo>
                    <a:pt x="874" y="499"/>
                  </a:lnTo>
                  <a:lnTo>
                    <a:pt x="929" y="469"/>
                  </a:lnTo>
                  <a:lnTo>
                    <a:pt x="996" y="453"/>
                  </a:lnTo>
                  <a:lnTo>
                    <a:pt x="1005" y="469"/>
                  </a:lnTo>
                  <a:lnTo>
                    <a:pt x="959" y="478"/>
                  </a:lnTo>
                  <a:lnTo>
                    <a:pt x="971" y="490"/>
                  </a:lnTo>
                  <a:lnTo>
                    <a:pt x="984" y="490"/>
                  </a:lnTo>
                  <a:lnTo>
                    <a:pt x="971" y="511"/>
                  </a:lnTo>
                  <a:lnTo>
                    <a:pt x="996" y="520"/>
                  </a:lnTo>
                  <a:lnTo>
                    <a:pt x="1026" y="520"/>
                  </a:lnTo>
                  <a:lnTo>
                    <a:pt x="1051" y="499"/>
                  </a:lnTo>
                  <a:lnTo>
                    <a:pt x="1051" y="511"/>
                  </a:lnTo>
                  <a:lnTo>
                    <a:pt x="1051" y="520"/>
                  </a:lnTo>
                  <a:lnTo>
                    <a:pt x="1026" y="529"/>
                  </a:lnTo>
                  <a:lnTo>
                    <a:pt x="971" y="554"/>
                  </a:lnTo>
                  <a:lnTo>
                    <a:pt x="938" y="575"/>
                  </a:lnTo>
                  <a:lnTo>
                    <a:pt x="938" y="554"/>
                  </a:lnTo>
                  <a:lnTo>
                    <a:pt x="971" y="529"/>
                  </a:lnTo>
                  <a:lnTo>
                    <a:pt x="959" y="529"/>
                  </a:lnTo>
                  <a:lnTo>
                    <a:pt x="971" y="529"/>
                  </a:lnTo>
                  <a:lnTo>
                    <a:pt x="929" y="529"/>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09" name="Freeform 908"/>
            <p:cNvSpPr>
              <a:spLocks/>
            </p:cNvSpPr>
            <p:nvPr/>
          </p:nvSpPr>
          <p:spPr bwMode="auto">
            <a:xfrm>
              <a:off x="2202835" y="2900948"/>
              <a:ext cx="693168" cy="307654"/>
            </a:xfrm>
            <a:custGeom>
              <a:avLst/>
              <a:gdLst>
                <a:gd name="T0" fmla="*/ 700 w 700"/>
                <a:gd name="T1" fmla="*/ 31 h 314"/>
                <a:gd name="T2" fmla="*/ 578 w 700"/>
                <a:gd name="T3" fmla="*/ 13 h 314"/>
                <a:gd name="T4" fmla="*/ 548 w 700"/>
                <a:gd name="T5" fmla="*/ 0 h 314"/>
                <a:gd name="T6" fmla="*/ 438 w 700"/>
                <a:gd name="T7" fmla="*/ 22 h 314"/>
                <a:gd name="T8" fmla="*/ 341 w 700"/>
                <a:gd name="T9" fmla="*/ 43 h 314"/>
                <a:gd name="T10" fmla="*/ 341 w 700"/>
                <a:gd name="T11" fmla="*/ 61 h 314"/>
                <a:gd name="T12" fmla="*/ 341 w 700"/>
                <a:gd name="T13" fmla="*/ 86 h 314"/>
                <a:gd name="T14" fmla="*/ 304 w 700"/>
                <a:gd name="T15" fmla="*/ 86 h 314"/>
                <a:gd name="T16" fmla="*/ 228 w 700"/>
                <a:gd name="T17" fmla="*/ 98 h 314"/>
                <a:gd name="T18" fmla="*/ 228 w 700"/>
                <a:gd name="T19" fmla="*/ 119 h 314"/>
                <a:gd name="T20" fmla="*/ 304 w 700"/>
                <a:gd name="T21" fmla="*/ 107 h 314"/>
                <a:gd name="T22" fmla="*/ 207 w 700"/>
                <a:gd name="T23" fmla="*/ 153 h 314"/>
                <a:gd name="T24" fmla="*/ 143 w 700"/>
                <a:gd name="T25" fmla="*/ 204 h 314"/>
                <a:gd name="T26" fmla="*/ 152 w 700"/>
                <a:gd name="T27" fmla="*/ 229 h 314"/>
                <a:gd name="T28" fmla="*/ 207 w 700"/>
                <a:gd name="T29" fmla="*/ 229 h 314"/>
                <a:gd name="T30" fmla="*/ 0 w 700"/>
                <a:gd name="T31" fmla="*/ 314 h 314"/>
                <a:gd name="T32" fmla="*/ 188 w 700"/>
                <a:gd name="T33" fmla="*/ 259 h 314"/>
                <a:gd name="T34" fmla="*/ 274 w 700"/>
                <a:gd name="T35" fmla="*/ 229 h 314"/>
                <a:gd name="T36" fmla="*/ 304 w 700"/>
                <a:gd name="T37" fmla="*/ 217 h 314"/>
                <a:gd name="T38" fmla="*/ 396 w 700"/>
                <a:gd name="T39" fmla="*/ 183 h 314"/>
                <a:gd name="T40" fmla="*/ 438 w 700"/>
                <a:gd name="T41" fmla="*/ 204 h 314"/>
                <a:gd name="T42" fmla="*/ 502 w 700"/>
                <a:gd name="T43" fmla="*/ 204 h 314"/>
                <a:gd name="T44" fmla="*/ 514 w 700"/>
                <a:gd name="T45" fmla="*/ 238 h 314"/>
                <a:gd name="T46" fmla="*/ 514 w 700"/>
                <a:gd name="T47" fmla="*/ 259 h 314"/>
                <a:gd name="T48" fmla="*/ 536 w 700"/>
                <a:gd name="T49" fmla="*/ 259 h 314"/>
                <a:gd name="T50" fmla="*/ 514 w 700"/>
                <a:gd name="T51" fmla="*/ 259 h 314"/>
                <a:gd name="T52" fmla="*/ 514 w 700"/>
                <a:gd name="T53" fmla="*/ 268 h 314"/>
                <a:gd name="T54" fmla="*/ 514 w 700"/>
                <a:gd name="T55" fmla="*/ 305 h 314"/>
                <a:gd name="T56" fmla="*/ 536 w 700"/>
                <a:gd name="T57" fmla="*/ 284 h 314"/>
                <a:gd name="T58" fmla="*/ 527 w 700"/>
                <a:gd name="T59" fmla="*/ 305 h 314"/>
                <a:gd name="T60" fmla="*/ 548 w 700"/>
                <a:gd name="T61" fmla="*/ 305 h 314"/>
                <a:gd name="T62" fmla="*/ 548 w 700"/>
                <a:gd name="T63" fmla="*/ 268 h 314"/>
                <a:gd name="T64" fmla="*/ 557 w 700"/>
                <a:gd name="T65" fmla="*/ 204 h 314"/>
                <a:gd name="T66" fmla="*/ 502 w 700"/>
                <a:gd name="T67" fmla="*/ 204 h 314"/>
                <a:gd name="T68" fmla="*/ 493 w 700"/>
                <a:gd name="T69" fmla="*/ 192 h 3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00"/>
                <a:gd name="T106" fmla="*/ 0 h 314"/>
                <a:gd name="T107" fmla="*/ 700 w 700"/>
                <a:gd name="T108" fmla="*/ 314 h 31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00" h="314">
                  <a:moveTo>
                    <a:pt x="493" y="192"/>
                  </a:moveTo>
                  <a:lnTo>
                    <a:pt x="700" y="31"/>
                  </a:lnTo>
                  <a:lnTo>
                    <a:pt x="679" y="22"/>
                  </a:lnTo>
                  <a:lnTo>
                    <a:pt x="578" y="13"/>
                  </a:lnTo>
                  <a:lnTo>
                    <a:pt x="548" y="13"/>
                  </a:lnTo>
                  <a:lnTo>
                    <a:pt x="548" y="0"/>
                  </a:lnTo>
                  <a:lnTo>
                    <a:pt x="536" y="0"/>
                  </a:lnTo>
                  <a:lnTo>
                    <a:pt x="438" y="22"/>
                  </a:lnTo>
                  <a:lnTo>
                    <a:pt x="380" y="43"/>
                  </a:lnTo>
                  <a:lnTo>
                    <a:pt x="341" y="43"/>
                  </a:lnTo>
                  <a:lnTo>
                    <a:pt x="329" y="52"/>
                  </a:lnTo>
                  <a:lnTo>
                    <a:pt x="341" y="61"/>
                  </a:lnTo>
                  <a:lnTo>
                    <a:pt x="329" y="77"/>
                  </a:lnTo>
                  <a:lnTo>
                    <a:pt x="341" y="86"/>
                  </a:lnTo>
                  <a:lnTo>
                    <a:pt x="295" y="86"/>
                  </a:lnTo>
                  <a:lnTo>
                    <a:pt x="304" y="86"/>
                  </a:lnTo>
                  <a:lnTo>
                    <a:pt x="295" y="86"/>
                  </a:lnTo>
                  <a:lnTo>
                    <a:pt x="228" y="98"/>
                  </a:lnTo>
                  <a:lnTo>
                    <a:pt x="240" y="107"/>
                  </a:lnTo>
                  <a:lnTo>
                    <a:pt x="228" y="119"/>
                  </a:lnTo>
                  <a:lnTo>
                    <a:pt x="274" y="119"/>
                  </a:lnTo>
                  <a:lnTo>
                    <a:pt x="304" y="107"/>
                  </a:lnTo>
                  <a:lnTo>
                    <a:pt x="274" y="140"/>
                  </a:lnTo>
                  <a:lnTo>
                    <a:pt x="207" y="153"/>
                  </a:lnTo>
                  <a:lnTo>
                    <a:pt x="152" y="174"/>
                  </a:lnTo>
                  <a:lnTo>
                    <a:pt x="143" y="204"/>
                  </a:lnTo>
                  <a:lnTo>
                    <a:pt x="173" y="204"/>
                  </a:lnTo>
                  <a:lnTo>
                    <a:pt x="152" y="229"/>
                  </a:lnTo>
                  <a:lnTo>
                    <a:pt x="188" y="229"/>
                  </a:lnTo>
                  <a:lnTo>
                    <a:pt x="207" y="229"/>
                  </a:lnTo>
                  <a:lnTo>
                    <a:pt x="188" y="247"/>
                  </a:lnTo>
                  <a:lnTo>
                    <a:pt x="0" y="314"/>
                  </a:lnTo>
                  <a:lnTo>
                    <a:pt x="134" y="284"/>
                  </a:lnTo>
                  <a:lnTo>
                    <a:pt x="188" y="259"/>
                  </a:lnTo>
                  <a:lnTo>
                    <a:pt x="265" y="229"/>
                  </a:lnTo>
                  <a:lnTo>
                    <a:pt x="274" y="229"/>
                  </a:lnTo>
                  <a:lnTo>
                    <a:pt x="274" y="217"/>
                  </a:lnTo>
                  <a:lnTo>
                    <a:pt x="304" y="217"/>
                  </a:lnTo>
                  <a:lnTo>
                    <a:pt x="359" y="204"/>
                  </a:lnTo>
                  <a:lnTo>
                    <a:pt x="396" y="183"/>
                  </a:lnTo>
                  <a:lnTo>
                    <a:pt x="417" y="183"/>
                  </a:lnTo>
                  <a:lnTo>
                    <a:pt x="438" y="204"/>
                  </a:lnTo>
                  <a:lnTo>
                    <a:pt x="481" y="204"/>
                  </a:lnTo>
                  <a:lnTo>
                    <a:pt x="502" y="204"/>
                  </a:lnTo>
                  <a:lnTo>
                    <a:pt x="493" y="217"/>
                  </a:lnTo>
                  <a:lnTo>
                    <a:pt x="514" y="238"/>
                  </a:lnTo>
                  <a:lnTo>
                    <a:pt x="527" y="238"/>
                  </a:lnTo>
                  <a:lnTo>
                    <a:pt x="514" y="259"/>
                  </a:lnTo>
                  <a:lnTo>
                    <a:pt x="536" y="247"/>
                  </a:lnTo>
                  <a:lnTo>
                    <a:pt x="536" y="259"/>
                  </a:lnTo>
                  <a:lnTo>
                    <a:pt x="527" y="259"/>
                  </a:lnTo>
                  <a:lnTo>
                    <a:pt x="514" y="259"/>
                  </a:lnTo>
                  <a:lnTo>
                    <a:pt x="502" y="268"/>
                  </a:lnTo>
                  <a:lnTo>
                    <a:pt x="514" y="268"/>
                  </a:lnTo>
                  <a:lnTo>
                    <a:pt x="502" y="293"/>
                  </a:lnTo>
                  <a:lnTo>
                    <a:pt x="514" y="305"/>
                  </a:lnTo>
                  <a:lnTo>
                    <a:pt x="527" y="268"/>
                  </a:lnTo>
                  <a:lnTo>
                    <a:pt x="536" y="284"/>
                  </a:lnTo>
                  <a:lnTo>
                    <a:pt x="527" y="284"/>
                  </a:lnTo>
                  <a:lnTo>
                    <a:pt x="527" y="305"/>
                  </a:lnTo>
                  <a:lnTo>
                    <a:pt x="536" y="305"/>
                  </a:lnTo>
                  <a:lnTo>
                    <a:pt x="548" y="305"/>
                  </a:lnTo>
                  <a:lnTo>
                    <a:pt x="557" y="284"/>
                  </a:lnTo>
                  <a:lnTo>
                    <a:pt x="548" y="268"/>
                  </a:lnTo>
                  <a:lnTo>
                    <a:pt x="557" y="229"/>
                  </a:lnTo>
                  <a:lnTo>
                    <a:pt x="557" y="204"/>
                  </a:lnTo>
                  <a:lnTo>
                    <a:pt x="514" y="217"/>
                  </a:lnTo>
                  <a:lnTo>
                    <a:pt x="502" y="204"/>
                  </a:lnTo>
                  <a:lnTo>
                    <a:pt x="514" y="192"/>
                  </a:lnTo>
                  <a:lnTo>
                    <a:pt x="493" y="192"/>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10" name="Freeform 909"/>
            <p:cNvSpPr>
              <a:spLocks/>
            </p:cNvSpPr>
            <p:nvPr/>
          </p:nvSpPr>
          <p:spPr bwMode="auto">
            <a:xfrm>
              <a:off x="2670948" y="3631024"/>
              <a:ext cx="476215" cy="361662"/>
            </a:xfrm>
            <a:custGeom>
              <a:avLst/>
              <a:gdLst>
                <a:gd name="T0" fmla="*/ 42 w 481"/>
                <a:gd name="T1" fmla="*/ 0 h 369"/>
                <a:gd name="T2" fmla="*/ 185 w 481"/>
                <a:gd name="T3" fmla="*/ 22 h 369"/>
                <a:gd name="T4" fmla="*/ 198 w 481"/>
                <a:gd name="T5" fmla="*/ 55 h 369"/>
                <a:gd name="T6" fmla="*/ 216 w 481"/>
                <a:gd name="T7" fmla="*/ 76 h 369"/>
                <a:gd name="T8" fmla="*/ 252 w 481"/>
                <a:gd name="T9" fmla="*/ 67 h 369"/>
                <a:gd name="T10" fmla="*/ 304 w 481"/>
                <a:gd name="T11" fmla="*/ 140 h 369"/>
                <a:gd name="T12" fmla="*/ 283 w 481"/>
                <a:gd name="T13" fmla="*/ 207 h 369"/>
                <a:gd name="T14" fmla="*/ 329 w 481"/>
                <a:gd name="T15" fmla="*/ 293 h 369"/>
                <a:gd name="T16" fmla="*/ 380 w 481"/>
                <a:gd name="T17" fmla="*/ 293 h 369"/>
                <a:gd name="T18" fmla="*/ 380 w 481"/>
                <a:gd name="T19" fmla="*/ 283 h 369"/>
                <a:gd name="T20" fmla="*/ 414 w 481"/>
                <a:gd name="T21" fmla="*/ 238 h 369"/>
                <a:gd name="T22" fmla="*/ 481 w 481"/>
                <a:gd name="T23" fmla="*/ 229 h 369"/>
                <a:gd name="T24" fmla="*/ 444 w 481"/>
                <a:gd name="T25" fmla="*/ 305 h 369"/>
                <a:gd name="T26" fmla="*/ 426 w 481"/>
                <a:gd name="T27" fmla="*/ 305 h 369"/>
                <a:gd name="T28" fmla="*/ 380 w 481"/>
                <a:gd name="T29" fmla="*/ 317 h 369"/>
                <a:gd name="T30" fmla="*/ 380 w 481"/>
                <a:gd name="T31" fmla="*/ 338 h 369"/>
                <a:gd name="T32" fmla="*/ 329 w 481"/>
                <a:gd name="T33" fmla="*/ 338 h 369"/>
                <a:gd name="T34" fmla="*/ 283 w 481"/>
                <a:gd name="T35" fmla="*/ 347 h 369"/>
                <a:gd name="T36" fmla="*/ 207 w 481"/>
                <a:gd name="T37" fmla="*/ 317 h 369"/>
                <a:gd name="T38" fmla="*/ 161 w 481"/>
                <a:gd name="T39" fmla="*/ 293 h 369"/>
                <a:gd name="T40" fmla="*/ 131 w 481"/>
                <a:gd name="T41" fmla="*/ 253 h 369"/>
                <a:gd name="T42" fmla="*/ 140 w 481"/>
                <a:gd name="T43" fmla="*/ 207 h 369"/>
                <a:gd name="T44" fmla="*/ 85 w 481"/>
                <a:gd name="T45" fmla="*/ 140 h 369"/>
                <a:gd name="T46" fmla="*/ 76 w 481"/>
                <a:gd name="T47" fmla="*/ 110 h 369"/>
                <a:gd name="T48" fmla="*/ 64 w 481"/>
                <a:gd name="T49" fmla="*/ 76 h 369"/>
                <a:gd name="T50" fmla="*/ 55 w 481"/>
                <a:gd name="T51" fmla="*/ 22 h 369"/>
                <a:gd name="T52" fmla="*/ 21 w 481"/>
                <a:gd name="T53" fmla="*/ 55 h 369"/>
                <a:gd name="T54" fmla="*/ 64 w 481"/>
                <a:gd name="T55" fmla="*/ 177 h 369"/>
                <a:gd name="T56" fmla="*/ 64 w 481"/>
                <a:gd name="T57" fmla="*/ 207 h 369"/>
                <a:gd name="T58" fmla="*/ 30 w 481"/>
                <a:gd name="T59" fmla="*/ 162 h 369"/>
                <a:gd name="T60" fmla="*/ 42 w 481"/>
                <a:gd name="T61" fmla="*/ 131 h 369"/>
                <a:gd name="T62" fmla="*/ 0 w 481"/>
                <a:gd name="T63" fmla="*/ 98 h 369"/>
                <a:gd name="T64" fmla="*/ 21 w 481"/>
                <a:gd name="T65" fmla="*/ 86 h 369"/>
                <a:gd name="T66" fmla="*/ 0 w 481"/>
                <a:gd name="T67" fmla="*/ 0 h 36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81"/>
                <a:gd name="T103" fmla="*/ 0 h 369"/>
                <a:gd name="T104" fmla="*/ 481 w 481"/>
                <a:gd name="T105" fmla="*/ 369 h 36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81" h="369">
                  <a:moveTo>
                    <a:pt x="0" y="0"/>
                  </a:moveTo>
                  <a:lnTo>
                    <a:pt x="42" y="0"/>
                  </a:lnTo>
                  <a:lnTo>
                    <a:pt x="97" y="37"/>
                  </a:lnTo>
                  <a:lnTo>
                    <a:pt x="185" y="22"/>
                  </a:lnTo>
                  <a:lnTo>
                    <a:pt x="198" y="46"/>
                  </a:lnTo>
                  <a:lnTo>
                    <a:pt x="198" y="55"/>
                  </a:lnTo>
                  <a:lnTo>
                    <a:pt x="207" y="76"/>
                  </a:lnTo>
                  <a:lnTo>
                    <a:pt x="216" y="76"/>
                  </a:lnTo>
                  <a:lnTo>
                    <a:pt x="228" y="55"/>
                  </a:lnTo>
                  <a:lnTo>
                    <a:pt x="252" y="67"/>
                  </a:lnTo>
                  <a:lnTo>
                    <a:pt x="274" y="131"/>
                  </a:lnTo>
                  <a:lnTo>
                    <a:pt x="304" y="140"/>
                  </a:lnTo>
                  <a:lnTo>
                    <a:pt x="292" y="177"/>
                  </a:lnTo>
                  <a:lnTo>
                    <a:pt x="283" y="207"/>
                  </a:lnTo>
                  <a:lnTo>
                    <a:pt x="304" y="271"/>
                  </a:lnTo>
                  <a:lnTo>
                    <a:pt x="329" y="293"/>
                  </a:lnTo>
                  <a:lnTo>
                    <a:pt x="368" y="293"/>
                  </a:lnTo>
                  <a:lnTo>
                    <a:pt x="380" y="293"/>
                  </a:lnTo>
                  <a:lnTo>
                    <a:pt x="393" y="293"/>
                  </a:lnTo>
                  <a:lnTo>
                    <a:pt x="380" y="283"/>
                  </a:lnTo>
                  <a:lnTo>
                    <a:pt x="405" y="271"/>
                  </a:lnTo>
                  <a:lnTo>
                    <a:pt x="414" y="238"/>
                  </a:lnTo>
                  <a:lnTo>
                    <a:pt x="460" y="229"/>
                  </a:lnTo>
                  <a:lnTo>
                    <a:pt x="481" y="229"/>
                  </a:lnTo>
                  <a:lnTo>
                    <a:pt x="444" y="293"/>
                  </a:lnTo>
                  <a:lnTo>
                    <a:pt x="444" y="305"/>
                  </a:lnTo>
                  <a:lnTo>
                    <a:pt x="435" y="293"/>
                  </a:lnTo>
                  <a:lnTo>
                    <a:pt x="426" y="305"/>
                  </a:lnTo>
                  <a:lnTo>
                    <a:pt x="393" y="305"/>
                  </a:lnTo>
                  <a:lnTo>
                    <a:pt x="380" y="317"/>
                  </a:lnTo>
                  <a:lnTo>
                    <a:pt x="393" y="338"/>
                  </a:lnTo>
                  <a:lnTo>
                    <a:pt x="380" y="338"/>
                  </a:lnTo>
                  <a:lnTo>
                    <a:pt x="359" y="369"/>
                  </a:lnTo>
                  <a:lnTo>
                    <a:pt x="329" y="338"/>
                  </a:lnTo>
                  <a:lnTo>
                    <a:pt x="304" y="338"/>
                  </a:lnTo>
                  <a:lnTo>
                    <a:pt x="283" y="347"/>
                  </a:lnTo>
                  <a:lnTo>
                    <a:pt x="262" y="338"/>
                  </a:lnTo>
                  <a:lnTo>
                    <a:pt x="207" y="317"/>
                  </a:lnTo>
                  <a:lnTo>
                    <a:pt x="198" y="305"/>
                  </a:lnTo>
                  <a:lnTo>
                    <a:pt x="161" y="293"/>
                  </a:lnTo>
                  <a:lnTo>
                    <a:pt x="140" y="262"/>
                  </a:lnTo>
                  <a:lnTo>
                    <a:pt x="131" y="253"/>
                  </a:lnTo>
                  <a:lnTo>
                    <a:pt x="152" y="229"/>
                  </a:lnTo>
                  <a:lnTo>
                    <a:pt x="140" y="207"/>
                  </a:lnTo>
                  <a:lnTo>
                    <a:pt x="106" y="153"/>
                  </a:lnTo>
                  <a:lnTo>
                    <a:pt x="85" y="140"/>
                  </a:lnTo>
                  <a:lnTo>
                    <a:pt x="97" y="131"/>
                  </a:lnTo>
                  <a:lnTo>
                    <a:pt x="76" y="110"/>
                  </a:lnTo>
                  <a:lnTo>
                    <a:pt x="76" y="98"/>
                  </a:lnTo>
                  <a:lnTo>
                    <a:pt x="64" y="76"/>
                  </a:lnTo>
                  <a:lnTo>
                    <a:pt x="55" y="37"/>
                  </a:lnTo>
                  <a:lnTo>
                    <a:pt x="55" y="22"/>
                  </a:lnTo>
                  <a:lnTo>
                    <a:pt x="30" y="22"/>
                  </a:lnTo>
                  <a:lnTo>
                    <a:pt x="21" y="55"/>
                  </a:lnTo>
                  <a:lnTo>
                    <a:pt x="55" y="131"/>
                  </a:lnTo>
                  <a:lnTo>
                    <a:pt x="64" y="177"/>
                  </a:lnTo>
                  <a:lnTo>
                    <a:pt x="76" y="198"/>
                  </a:lnTo>
                  <a:lnTo>
                    <a:pt x="64" y="207"/>
                  </a:lnTo>
                  <a:lnTo>
                    <a:pt x="64" y="186"/>
                  </a:lnTo>
                  <a:lnTo>
                    <a:pt x="30" y="162"/>
                  </a:lnTo>
                  <a:lnTo>
                    <a:pt x="42" y="140"/>
                  </a:lnTo>
                  <a:lnTo>
                    <a:pt x="42" y="131"/>
                  </a:lnTo>
                  <a:lnTo>
                    <a:pt x="9" y="110"/>
                  </a:lnTo>
                  <a:lnTo>
                    <a:pt x="0" y="98"/>
                  </a:lnTo>
                  <a:lnTo>
                    <a:pt x="9" y="98"/>
                  </a:lnTo>
                  <a:lnTo>
                    <a:pt x="21" y="86"/>
                  </a:lnTo>
                  <a:lnTo>
                    <a:pt x="0" y="67"/>
                  </a:lnTo>
                  <a:lnTo>
                    <a:pt x="0" y="0"/>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11" name="Freeform 910"/>
            <p:cNvSpPr>
              <a:spLocks/>
            </p:cNvSpPr>
            <p:nvPr/>
          </p:nvSpPr>
          <p:spPr bwMode="auto">
            <a:xfrm>
              <a:off x="2616035" y="3300223"/>
              <a:ext cx="995641" cy="481252"/>
            </a:xfrm>
            <a:custGeom>
              <a:avLst/>
              <a:gdLst>
                <a:gd name="T0" fmla="*/ 359 w 1005"/>
                <a:gd name="T1" fmla="*/ 478 h 491"/>
                <a:gd name="T2" fmla="*/ 307 w 1005"/>
                <a:gd name="T3" fmla="*/ 405 h 491"/>
                <a:gd name="T4" fmla="*/ 271 w 1005"/>
                <a:gd name="T5" fmla="*/ 414 h 491"/>
                <a:gd name="T6" fmla="*/ 253 w 1005"/>
                <a:gd name="T7" fmla="*/ 393 h 491"/>
                <a:gd name="T8" fmla="*/ 240 w 1005"/>
                <a:gd name="T9" fmla="*/ 360 h 491"/>
                <a:gd name="T10" fmla="*/ 97 w 1005"/>
                <a:gd name="T11" fmla="*/ 338 h 491"/>
                <a:gd name="T12" fmla="*/ 55 w 1005"/>
                <a:gd name="T13" fmla="*/ 329 h 491"/>
                <a:gd name="T14" fmla="*/ 43 w 1005"/>
                <a:gd name="T15" fmla="*/ 308 h 491"/>
                <a:gd name="T16" fmla="*/ 21 w 1005"/>
                <a:gd name="T17" fmla="*/ 284 h 491"/>
                <a:gd name="T18" fmla="*/ 9 w 1005"/>
                <a:gd name="T19" fmla="*/ 244 h 491"/>
                <a:gd name="T20" fmla="*/ 9 w 1005"/>
                <a:gd name="T21" fmla="*/ 220 h 491"/>
                <a:gd name="T22" fmla="*/ 9 w 1005"/>
                <a:gd name="T23" fmla="*/ 198 h 491"/>
                <a:gd name="T24" fmla="*/ 21 w 1005"/>
                <a:gd name="T25" fmla="*/ 156 h 491"/>
                <a:gd name="T26" fmla="*/ 85 w 1005"/>
                <a:gd name="T27" fmla="*/ 67 h 491"/>
                <a:gd name="T28" fmla="*/ 110 w 1005"/>
                <a:gd name="T29" fmla="*/ 16 h 491"/>
                <a:gd name="T30" fmla="*/ 119 w 1005"/>
                <a:gd name="T31" fmla="*/ 37 h 491"/>
                <a:gd name="T32" fmla="*/ 140 w 1005"/>
                <a:gd name="T33" fmla="*/ 16 h 491"/>
                <a:gd name="T34" fmla="*/ 575 w 1005"/>
                <a:gd name="T35" fmla="*/ 0 h 491"/>
                <a:gd name="T36" fmla="*/ 600 w 1005"/>
                <a:gd name="T37" fmla="*/ 16 h 491"/>
                <a:gd name="T38" fmla="*/ 655 w 1005"/>
                <a:gd name="T39" fmla="*/ 25 h 491"/>
                <a:gd name="T40" fmla="*/ 630 w 1005"/>
                <a:gd name="T41" fmla="*/ 46 h 491"/>
                <a:gd name="T42" fmla="*/ 688 w 1005"/>
                <a:gd name="T43" fmla="*/ 37 h 491"/>
                <a:gd name="T44" fmla="*/ 688 w 1005"/>
                <a:gd name="T45" fmla="*/ 46 h 491"/>
                <a:gd name="T46" fmla="*/ 731 w 1005"/>
                <a:gd name="T47" fmla="*/ 58 h 491"/>
                <a:gd name="T48" fmla="*/ 731 w 1005"/>
                <a:gd name="T49" fmla="*/ 58 h 491"/>
                <a:gd name="T50" fmla="*/ 688 w 1005"/>
                <a:gd name="T51" fmla="*/ 67 h 491"/>
                <a:gd name="T52" fmla="*/ 676 w 1005"/>
                <a:gd name="T53" fmla="*/ 92 h 491"/>
                <a:gd name="T54" fmla="*/ 630 w 1005"/>
                <a:gd name="T55" fmla="*/ 143 h 491"/>
                <a:gd name="T56" fmla="*/ 642 w 1005"/>
                <a:gd name="T57" fmla="*/ 156 h 491"/>
                <a:gd name="T58" fmla="*/ 676 w 1005"/>
                <a:gd name="T59" fmla="*/ 113 h 491"/>
                <a:gd name="T60" fmla="*/ 722 w 1005"/>
                <a:gd name="T61" fmla="*/ 76 h 491"/>
                <a:gd name="T62" fmla="*/ 731 w 1005"/>
                <a:gd name="T63" fmla="*/ 101 h 491"/>
                <a:gd name="T64" fmla="*/ 731 w 1005"/>
                <a:gd name="T65" fmla="*/ 113 h 491"/>
                <a:gd name="T66" fmla="*/ 709 w 1005"/>
                <a:gd name="T67" fmla="*/ 156 h 491"/>
                <a:gd name="T68" fmla="*/ 798 w 1005"/>
                <a:gd name="T69" fmla="*/ 131 h 491"/>
                <a:gd name="T70" fmla="*/ 840 w 1005"/>
                <a:gd name="T71" fmla="*/ 122 h 491"/>
                <a:gd name="T72" fmla="*/ 874 w 1005"/>
                <a:gd name="T73" fmla="*/ 92 h 491"/>
                <a:gd name="T74" fmla="*/ 950 w 1005"/>
                <a:gd name="T75" fmla="*/ 76 h 491"/>
                <a:gd name="T76" fmla="*/ 1005 w 1005"/>
                <a:gd name="T77" fmla="*/ 46 h 491"/>
                <a:gd name="T78" fmla="*/ 1005 w 1005"/>
                <a:gd name="T79" fmla="*/ 76 h 491"/>
                <a:gd name="T80" fmla="*/ 971 w 1005"/>
                <a:gd name="T81" fmla="*/ 101 h 491"/>
                <a:gd name="T82" fmla="*/ 917 w 1005"/>
                <a:gd name="T83" fmla="*/ 143 h 491"/>
                <a:gd name="T84" fmla="*/ 929 w 1005"/>
                <a:gd name="T85" fmla="*/ 143 h 491"/>
                <a:gd name="T86" fmla="*/ 904 w 1005"/>
                <a:gd name="T87" fmla="*/ 156 h 491"/>
                <a:gd name="T88" fmla="*/ 853 w 1005"/>
                <a:gd name="T89" fmla="*/ 177 h 491"/>
                <a:gd name="T90" fmla="*/ 828 w 1005"/>
                <a:gd name="T91" fmla="*/ 207 h 491"/>
                <a:gd name="T92" fmla="*/ 819 w 1005"/>
                <a:gd name="T93" fmla="*/ 220 h 491"/>
                <a:gd name="T94" fmla="*/ 807 w 1005"/>
                <a:gd name="T95" fmla="*/ 220 h 491"/>
                <a:gd name="T96" fmla="*/ 798 w 1005"/>
                <a:gd name="T97" fmla="*/ 232 h 491"/>
                <a:gd name="T98" fmla="*/ 798 w 1005"/>
                <a:gd name="T99" fmla="*/ 274 h 491"/>
                <a:gd name="T100" fmla="*/ 688 w 1005"/>
                <a:gd name="T101" fmla="*/ 338 h 491"/>
                <a:gd name="T102" fmla="*/ 667 w 1005"/>
                <a:gd name="T103" fmla="*/ 460 h 491"/>
                <a:gd name="T104" fmla="*/ 655 w 1005"/>
                <a:gd name="T105" fmla="*/ 491 h 491"/>
                <a:gd name="T106" fmla="*/ 630 w 1005"/>
                <a:gd name="T107" fmla="*/ 460 h 491"/>
                <a:gd name="T108" fmla="*/ 621 w 1005"/>
                <a:gd name="T109" fmla="*/ 393 h 491"/>
                <a:gd name="T110" fmla="*/ 591 w 1005"/>
                <a:gd name="T111" fmla="*/ 393 h 491"/>
                <a:gd name="T112" fmla="*/ 545 w 1005"/>
                <a:gd name="T113" fmla="*/ 384 h 491"/>
                <a:gd name="T114" fmla="*/ 515 w 1005"/>
                <a:gd name="T115" fmla="*/ 405 h 491"/>
                <a:gd name="T116" fmla="*/ 499 w 1005"/>
                <a:gd name="T117" fmla="*/ 414 h 491"/>
                <a:gd name="T118" fmla="*/ 481 w 1005"/>
                <a:gd name="T119" fmla="*/ 393 h 491"/>
                <a:gd name="T120" fmla="*/ 435 w 1005"/>
                <a:gd name="T121" fmla="*/ 405 h 491"/>
                <a:gd name="T122" fmla="*/ 368 w 1005"/>
                <a:gd name="T123" fmla="*/ 436 h 4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05"/>
                <a:gd name="T187" fmla="*/ 0 h 491"/>
                <a:gd name="T188" fmla="*/ 1005 w 1005"/>
                <a:gd name="T189" fmla="*/ 491 h 4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05" h="491">
                  <a:moveTo>
                    <a:pt x="368" y="436"/>
                  </a:moveTo>
                  <a:lnTo>
                    <a:pt x="359" y="478"/>
                  </a:lnTo>
                  <a:lnTo>
                    <a:pt x="329" y="469"/>
                  </a:lnTo>
                  <a:lnTo>
                    <a:pt x="307" y="405"/>
                  </a:lnTo>
                  <a:lnTo>
                    <a:pt x="283" y="393"/>
                  </a:lnTo>
                  <a:lnTo>
                    <a:pt x="271" y="414"/>
                  </a:lnTo>
                  <a:lnTo>
                    <a:pt x="262" y="414"/>
                  </a:lnTo>
                  <a:lnTo>
                    <a:pt x="253" y="393"/>
                  </a:lnTo>
                  <a:lnTo>
                    <a:pt x="253" y="384"/>
                  </a:lnTo>
                  <a:lnTo>
                    <a:pt x="240" y="360"/>
                  </a:lnTo>
                  <a:lnTo>
                    <a:pt x="152" y="375"/>
                  </a:lnTo>
                  <a:lnTo>
                    <a:pt x="97" y="338"/>
                  </a:lnTo>
                  <a:lnTo>
                    <a:pt x="55" y="338"/>
                  </a:lnTo>
                  <a:lnTo>
                    <a:pt x="55" y="329"/>
                  </a:lnTo>
                  <a:lnTo>
                    <a:pt x="43" y="317"/>
                  </a:lnTo>
                  <a:lnTo>
                    <a:pt x="43" y="308"/>
                  </a:lnTo>
                  <a:lnTo>
                    <a:pt x="9" y="299"/>
                  </a:lnTo>
                  <a:lnTo>
                    <a:pt x="21" y="284"/>
                  </a:lnTo>
                  <a:lnTo>
                    <a:pt x="9" y="262"/>
                  </a:lnTo>
                  <a:lnTo>
                    <a:pt x="9" y="244"/>
                  </a:lnTo>
                  <a:lnTo>
                    <a:pt x="0" y="232"/>
                  </a:lnTo>
                  <a:lnTo>
                    <a:pt x="9" y="220"/>
                  </a:lnTo>
                  <a:lnTo>
                    <a:pt x="0" y="207"/>
                  </a:lnTo>
                  <a:lnTo>
                    <a:pt x="9" y="198"/>
                  </a:lnTo>
                  <a:lnTo>
                    <a:pt x="9" y="189"/>
                  </a:lnTo>
                  <a:lnTo>
                    <a:pt x="21" y="156"/>
                  </a:lnTo>
                  <a:lnTo>
                    <a:pt x="30" y="131"/>
                  </a:lnTo>
                  <a:lnTo>
                    <a:pt x="85" y="67"/>
                  </a:lnTo>
                  <a:lnTo>
                    <a:pt x="97" y="25"/>
                  </a:lnTo>
                  <a:lnTo>
                    <a:pt x="110" y="16"/>
                  </a:lnTo>
                  <a:lnTo>
                    <a:pt x="131" y="25"/>
                  </a:lnTo>
                  <a:lnTo>
                    <a:pt x="119" y="37"/>
                  </a:lnTo>
                  <a:lnTo>
                    <a:pt x="131" y="37"/>
                  </a:lnTo>
                  <a:lnTo>
                    <a:pt x="140" y="16"/>
                  </a:lnTo>
                  <a:lnTo>
                    <a:pt x="140" y="0"/>
                  </a:lnTo>
                  <a:lnTo>
                    <a:pt x="575" y="0"/>
                  </a:lnTo>
                  <a:lnTo>
                    <a:pt x="591" y="0"/>
                  </a:lnTo>
                  <a:lnTo>
                    <a:pt x="600" y="16"/>
                  </a:lnTo>
                  <a:lnTo>
                    <a:pt x="667" y="25"/>
                  </a:lnTo>
                  <a:lnTo>
                    <a:pt x="655" y="25"/>
                  </a:lnTo>
                  <a:lnTo>
                    <a:pt x="612" y="58"/>
                  </a:lnTo>
                  <a:lnTo>
                    <a:pt x="630" y="46"/>
                  </a:lnTo>
                  <a:lnTo>
                    <a:pt x="630" y="58"/>
                  </a:lnTo>
                  <a:lnTo>
                    <a:pt x="688" y="37"/>
                  </a:lnTo>
                  <a:lnTo>
                    <a:pt x="667" y="58"/>
                  </a:lnTo>
                  <a:lnTo>
                    <a:pt x="688" y="46"/>
                  </a:lnTo>
                  <a:lnTo>
                    <a:pt x="688" y="58"/>
                  </a:lnTo>
                  <a:lnTo>
                    <a:pt x="731" y="58"/>
                  </a:lnTo>
                  <a:lnTo>
                    <a:pt x="722" y="58"/>
                  </a:lnTo>
                  <a:lnTo>
                    <a:pt x="731" y="58"/>
                  </a:lnTo>
                  <a:lnTo>
                    <a:pt x="731" y="67"/>
                  </a:lnTo>
                  <a:lnTo>
                    <a:pt x="688" y="67"/>
                  </a:lnTo>
                  <a:lnTo>
                    <a:pt x="655" y="101"/>
                  </a:lnTo>
                  <a:lnTo>
                    <a:pt x="676" y="92"/>
                  </a:lnTo>
                  <a:lnTo>
                    <a:pt x="642" y="122"/>
                  </a:lnTo>
                  <a:lnTo>
                    <a:pt x="630" y="143"/>
                  </a:lnTo>
                  <a:lnTo>
                    <a:pt x="630" y="156"/>
                  </a:lnTo>
                  <a:lnTo>
                    <a:pt x="642" y="156"/>
                  </a:lnTo>
                  <a:lnTo>
                    <a:pt x="655" y="143"/>
                  </a:lnTo>
                  <a:lnTo>
                    <a:pt x="676" y="113"/>
                  </a:lnTo>
                  <a:lnTo>
                    <a:pt x="688" y="92"/>
                  </a:lnTo>
                  <a:lnTo>
                    <a:pt x="722" y="76"/>
                  </a:lnTo>
                  <a:lnTo>
                    <a:pt x="731" y="76"/>
                  </a:lnTo>
                  <a:lnTo>
                    <a:pt x="731" y="101"/>
                  </a:lnTo>
                  <a:lnTo>
                    <a:pt x="722" y="113"/>
                  </a:lnTo>
                  <a:lnTo>
                    <a:pt x="731" y="113"/>
                  </a:lnTo>
                  <a:lnTo>
                    <a:pt x="731" y="122"/>
                  </a:lnTo>
                  <a:lnTo>
                    <a:pt x="709" y="156"/>
                  </a:lnTo>
                  <a:lnTo>
                    <a:pt x="731" y="156"/>
                  </a:lnTo>
                  <a:lnTo>
                    <a:pt x="798" y="131"/>
                  </a:lnTo>
                  <a:lnTo>
                    <a:pt x="789" y="122"/>
                  </a:lnTo>
                  <a:lnTo>
                    <a:pt x="840" y="122"/>
                  </a:lnTo>
                  <a:lnTo>
                    <a:pt x="853" y="101"/>
                  </a:lnTo>
                  <a:lnTo>
                    <a:pt x="874" y="92"/>
                  </a:lnTo>
                  <a:lnTo>
                    <a:pt x="929" y="92"/>
                  </a:lnTo>
                  <a:lnTo>
                    <a:pt x="950" y="76"/>
                  </a:lnTo>
                  <a:lnTo>
                    <a:pt x="980" y="37"/>
                  </a:lnTo>
                  <a:lnTo>
                    <a:pt x="1005" y="46"/>
                  </a:lnTo>
                  <a:lnTo>
                    <a:pt x="996" y="76"/>
                  </a:lnTo>
                  <a:lnTo>
                    <a:pt x="1005" y="76"/>
                  </a:lnTo>
                  <a:lnTo>
                    <a:pt x="996" y="101"/>
                  </a:lnTo>
                  <a:lnTo>
                    <a:pt x="971" y="101"/>
                  </a:lnTo>
                  <a:lnTo>
                    <a:pt x="938" y="113"/>
                  </a:lnTo>
                  <a:lnTo>
                    <a:pt x="917" y="143"/>
                  </a:lnTo>
                  <a:lnTo>
                    <a:pt x="917" y="156"/>
                  </a:lnTo>
                  <a:lnTo>
                    <a:pt x="929" y="143"/>
                  </a:lnTo>
                  <a:lnTo>
                    <a:pt x="929" y="156"/>
                  </a:lnTo>
                  <a:lnTo>
                    <a:pt x="904" y="156"/>
                  </a:lnTo>
                  <a:lnTo>
                    <a:pt x="904" y="168"/>
                  </a:lnTo>
                  <a:lnTo>
                    <a:pt x="853" y="177"/>
                  </a:lnTo>
                  <a:lnTo>
                    <a:pt x="840" y="198"/>
                  </a:lnTo>
                  <a:lnTo>
                    <a:pt x="828" y="207"/>
                  </a:lnTo>
                  <a:lnTo>
                    <a:pt x="819" y="198"/>
                  </a:lnTo>
                  <a:lnTo>
                    <a:pt x="819" y="220"/>
                  </a:lnTo>
                  <a:lnTo>
                    <a:pt x="807" y="232"/>
                  </a:lnTo>
                  <a:lnTo>
                    <a:pt x="807" y="220"/>
                  </a:lnTo>
                  <a:lnTo>
                    <a:pt x="798" y="220"/>
                  </a:lnTo>
                  <a:lnTo>
                    <a:pt x="798" y="232"/>
                  </a:lnTo>
                  <a:lnTo>
                    <a:pt x="789" y="253"/>
                  </a:lnTo>
                  <a:lnTo>
                    <a:pt x="798" y="274"/>
                  </a:lnTo>
                  <a:lnTo>
                    <a:pt x="789" y="284"/>
                  </a:lnTo>
                  <a:lnTo>
                    <a:pt x="688" y="338"/>
                  </a:lnTo>
                  <a:lnTo>
                    <a:pt x="667" y="375"/>
                  </a:lnTo>
                  <a:lnTo>
                    <a:pt x="667" y="460"/>
                  </a:lnTo>
                  <a:lnTo>
                    <a:pt x="667" y="478"/>
                  </a:lnTo>
                  <a:lnTo>
                    <a:pt x="655" y="491"/>
                  </a:lnTo>
                  <a:lnTo>
                    <a:pt x="642" y="491"/>
                  </a:lnTo>
                  <a:lnTo>
                    <a:pt x="630" y="460"/>
                  </a:lnTo>
                  <a:lnTo>
                    <a:pt x="630" y="414"/>
                  </a:lnTo>
                  <a:lnTo>
                    <a:pt x="621" y="393"/>
                  </a:lnTo>
                  <a:lnTo>
                    <a:pt x="591" y="405"/>
                  </a:lnTo>
                  <a:lnTo>
                    <a:pt x="591" y="393"/>
                  </a:lnTo>
                  <a:lnTo>
                    <a:pt x="575" y="384"/>
                  </a:lnTo>
                  <a:lnTo>
                    <a:pt x="545" y="384"/>
                  </a:lnTo>
                  <a:lnTo>
                    <a:pt x="524" y="393"/>
                  </a:lnTo>
                  <a:lnTo>
                    <a:pt x="515" y="405"/>
                  </a:lnTo>
                  <a:lnTo>
                    <a:pt x="524" y="414"/>
                  </a:lnTo>
                  <a:lnTo>
                    <a:pt x="499" y="414"/>
                  </a:lnTo>
                  <a:lnTo>
                    <a:pt x="481" y="414"/>
                  </a:lnTo>
                  <a:lnTo>
                    <a:pt x="481" y="393"/>
                  </a:lnTo>
                  <a:lnTo>
                    <a:pt x="469" y="405"/>
                  </a:lnTo>
                  <a:lnTo>
                    <a:pt x="435" y="405"/>
                  </a:lnTo>
                  <a:lnTo>
                    <a:pt x="423" y="405"/>
                  </a:lnTo>
                  <a:lnTo>
                    <a:pt x="368" y="436"/>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12" name="Freeform 911"/>
            <p:cNvSpPr>
              <a:spLocks/>
            </p:cNvSpPr>
            <p:nvPr/>
          </p:nvSpPr>
          <p:spPr bwMode="auto">
            <a:xfrm>
              <a:off x="3026534" y="3929997"/>
              <a:ext cx="74718" cy="85835"/>
            </a:xfrm>
            <a:custGeom>
              <a:avLst/>
              <a:gdLst>
                <a:gd name="T0" fmla="*/ 46 w 76"/>
                <a:gd name="T1" fmla="*/ 64 h 88"/>
                <a:gd name="T2" fmla="*/ 76 w 76"/>
                <a:gd name="T3" fmla="*/ 42 h 88"/>
                <a:gd name="T4" fmla="*/ 67 w 76"/>
                <a:gd name="T5" fmla="*/ 42 h 88"/>
                <a:gd name="T6" fmla="*/ 55 w 76"/>
                <a:gd name="T7" fmla="*/ 33 h 88"/>
                <a:gd name="T8" fmla="*/ 67 w 76"/>
                <a:gd name="T9" fmla="*/ 0 h 88"/>
                <a:gd name="T10" fmla="*/ 34 w 76"/>
                <a:gd name="T11" fmla="*/ 0 h 88"/>
                <a:gd name="T12" fmla="*/ 21 w 76"/>
                <a:gd name="T13" fmla="*/ 12 h 88"/>
                <a:gd name="T14" fmla="*/ 34 w 76"/>
                <a:gd name="T15" fmla="*/ 33 h 88"/>
                <a:gd name="T16" fmla="*/ 21 w 76"/>
                <a:gd name="T17" fmla="*/ 33 h 88"/>
                <a:gd name="T18" fmla="*/ 0 w 76"/>
                <a:gd name="T19" fmla="*/ 64 h 88"/>
                <a:gd name="T20" fmla="*/ 0 w 76"/>
                <a:gd name="T21" fmla="*/ 76 h 88"/>
                <a:gd name="T22" fmla="*/ 34 w 76"/>
                <a:gd name="T23" fmla="*/ 88 h 88"/>
                <a:gd name="T24" fmla="*/ 46 w 76"/>
                <a:gd name="T25" fmla="*/ 64 h 8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6"/>
                <a:gd name="T40" fmla="*/ 0 h 88"/>
                <a:gd name="T41" fmla="*/ 76 w 76"/>
                <a:gd name="T42" fmla="*/ 88 h 8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6" h="88">
                  <a:moveTo>
                    <a:pt x="46" y="64"/>
                  </a:moveTo>
                  <a:lnTo>
                    <a:pt x="76" y="42"/>
                  </a:lnTo>
                  <a:lnTo>
                    <a:pt x="67" y="42"/>
                  </a:lnTo>
                  <a:lnTo>
                    <a:pt x="55" y="33"/>
                  </a:lnTo>
                  <a:lnTo>
                    <a:pt x="67" y="0"/>
                  </a:lnTo>
                  <a:lnTo>
                    <a:pt x="34" y="0"/>
                  </a:lnTo>
                  <a:lnTo>
                    <a:pt x="21" y="12"/>
                  </a:lnTo>
                  <a:lnTo>
                    <a:pt x="34" y="33"/>
                  </a:lnTo>
                  <a:lnTo>
                    <a:pt x="21" y="33"/>
                  </a:lnTo>
                  <a:lnTo>
                    <a:pt x="0" y="64"/>
                  </a:lnTo>
                  <a:lnTo>
                    <a:pt x="0" y="76"/>
                  </a:lnTo>
                  <a:lnTo>
                    <a:pt x="34" y="88"/>
                  </a:lnTo>
                  <a:lnTo>
                    <a:pt x="46" y="64"/>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13" name="Freeform 912"/>
            <p:cNvSpPr>
              <a:spLocks/>
            </p:cNvSpPr>
            <p:nvPr/>
          </p:nvSpPr>
          <p:spPr bwMode="auto">
            <a:xfrm>
              <a:off x="3059842" y="3992685"/>
              <a:ext cx="41410" cy="32791"/>
            </a:xfrm>
            <a:custGeom>
              <a:avLst/>
              <a:gdLst>
                <a:gd name="T0" fmla="*/ 42 w 42"/>
                <a:gd name="T1" fmla="*/ 24 h 33"/>
                <a:gd name="T2" fmla="*/ 42 w 42"/>
                <a:gd name="T3" fmla="*/ 33 h 33"/>
                <a:gd name="T4" fmla="*/ 12 w 42"/>
                <a:gd name="T5" fmla="*/ 24 h 33"/>
                <a:gd name="T6" fmla="*/ 0 w 42"/>
                <a:gd name="T7" fmla="*/ 24 h 33"/>
                <a:gd name="T8" fmla="*/ 12 w 42"/>
                <a:gd name="T9" fmla="*/ 0 h 33"/>
                <a:gd name="T10" fmla="*/ 42 w 42"/>
                <a:gd name="T11" fmla="*/ 24 h 33"/>
                <a:gd name="T12" fmla="*/ 0 60000 65536"/>
                <a:gd name="T13" fmla="*/ 0 60000 65536"/>
                <a:gd name="T14" fmla="*/ 0 60000 65536"/>
                <a:gd name="T15" fmla="*/ 0 60000 65536"/>
                <a:gd name="T16" fmla="*/ 0 60000 65536"/>
                <a:gd name="T17" fmla="*/ 0 60000 65536"/>
                <a:gd name="T18" fmla="*/ 0 w 42"/>
                <a:gd name="T19" fmla="*/ 0 h 33"/>
                <a:gd name="T20" fmla="*/ 42 w 42"/>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42" h="33">
                  <a:moveTo>
                    <a:pt x="42" y="24"/>
                  </a:moveTo>
                  <a:lnTo>
                    <a:pt x="42" y="33"/>
                  </a:lnTo>
                  <a:lnTo>
                    <a:pt x="12" y="24"/>
                  </a:lnTo>
                  <a:lnTo>
                    <a:pt x="0" y="24"/>
                  </a:lnTo>
                  <a:lnTo>
                    <a:pt x="12" y="0"/>
                  </a:lnTo>
                  <a:lnTo>
                    <a:pt x="42" y="24"/>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14" name="Freeform 913"/>
            <p:cNvSpPr>
              <a:spLocks/>
            </p:cNvSpPr>
            <p:nvPr/>
          </p:nvSpPr>
          <p:spPr bwMode="auto">
            <a:xfrm>
              <a:off x="3239885" y="4099737"/>
              <a:ext cx="45911" cy="41470"/>
            </a:xfrm>
            <a:custGeom>
              <a:avLst/>
              <a:gdLst>
                <a:gd name="T0" fmla="*/ 46 w 46"/>
                <a:gd name="T1" fmla="*/ 22 h 43"/>
                <a:gd name="T2" fmla="*/ 46 w 46"/>
                <a:gd name="T3" fmla="*/ 34 h 43"/>
                <a:gd name="T4" fmla="*/ 37 w 46"/>
                <a:gd name="T5" fmla="*/ 43 h 43"/>
                <a:gd name="T6" fmla="*/ 25 w 46"/>
                <a:gd name="T7" fmla="*/ 34 h 43"/>
                <a:gd name="T8" fmla="*/ 25 w 46"/>
                <a:gd name="T9" fmla="*/ 22 h 43"/>
                <a:gd name="T10" fmla="*/ 0 w 46"/>
                <a:gd name="T11" fmla="*/ 12 h 43"/>
                <a:gd name="T12" fmla="*/ 0 w 46"/>
                <a:gd name="T13" fmla="*/ 0 h 43"/>
                <a:gd name="T14" fmla="*/ 12 w 46"/>
                <a:gd name="T15" fmla="*/ 0 h 43"/>
                <a:gd name="T16" fmla="*/ 25 w 46"/>
                <a:gd name="T17" fmla="*/ 0 h 43"/>
                <a:gd name="T18" fmla="*/ 46 w 46"/>
                <a:gd name="T19" fmla="*/ 22 h 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
                <a:gd name="T31" fmla="*/ 0 h 43"/>
                <a:gd name="T32" fmla="*/ 46 w 46"/>
                <a:gd name="T33" fmla="*/ 43 h 4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 h="43">
                  <a:moveTo>
                    <a:pt x="46" y="22"/>
                  </a:moveTo>
                  <a:lnTo>
                    <a:pt x="46" y="34"/>
                  </a:lnTo>
                  <a:lnTo>
                    <a:pt x="37" y="43"/>
                  </a:lnTo>
                  <a:lnTo>
                    <a:pt x="25" y="34"/>
                  </a:lnTo>
                  <a:lnTo>
                    <a:pt x="25" y="22"/>
                  </a:lnTo>
                  <a:lnTo>
                    <a:pt x="0" y="12"/>
                  </a:lnTo>
                  <a:lnTo>
                    <a:pt x="0" y="0"/>
                  </a:lnTo>
                  <a:lnTo>
                    <a:pt x="12" y="0"/>
                  </a:lnTo>
                  <a:lnTo>
                    <a:pt x="25" y="0"/>
                  </a:lnTo>
                  <a:lnTo>
                    <a:pt x="46" y="22"/>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15" name="Freeform 914"/>
            <p:cNvSpPr>
              <a:spLocks/>
            </p:cNvSpPr>
            <p:nvPr/>
          </p:nvSpPr>
          <p:spPr bwMode="auto">
            <a:xfrm>
              <a:off x="3176870" y="4099737"/>
              <a:ext cx="63015" cy="41470"/>
            </a:xfrm>
            <a:custGeom>
              <a:avLst/>
              <a:gdLst>
                <a:gd name="T0" fmla="*/ 9 w 64"/>
                <a:gd name="T1" fmla="*/ 0 h 43"/>
                <a:gd name="T2" fmla="*/ 0 w 64"/>
                <a:gd name="T3" fmla="*/ 22 h 43"/>
                <a:gd name="T4" fmla="*/ 34 w 64"/>
                <a:gd name="T5" fmla="*/ 34 h 43"/>
                <a:gd name="T6" fmla="*/ 46 w 64"/>
                <a:gd name="T7" fmla="*/ 43 h 43"/>
                <a:gd name="T8" fmla="*/ 55 w 64"/>
                <a:gd name="T9" fmla="*/ 43 h 43"/>
                <a:gd name="T10" fmla="*/ 46 w 64"/>
                <a:gd name="T11" fmla="*/ 22 h 43"/>
                <a:gd name="T12" fmla="*/ 64 w 64"/>
                <a:gd name="T13" fmla="*/ 12 h 43"/>
                <a:gd name="T14" fmla="*/ 55 w 64"/>
                <a:gd name="T15" fmla="*/ 0 h 43"/>
                <a:gd name="T16" fmla="*/ 34 w 64"/>
                <a:gd name="T17" fmla="*/ 12 h 43"/>
                <a:gd name="T18" fmla="*/ 25 w 64"/>
                <a:gd name="T19" fmla="*/ 12 h 43"/>
                <a:gd name="T20" fmla="*/ 9 w 64"/>
                <a:gd name="T21" fmla="*/ 0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
                <a:gd name="T34" fmla="*/ 0 h 43"/>
                <a:gd name="T35" fmla="*/ 64 w 64"/>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 h="43">
                  <a:moveTo>
                    <a:pt x="9" y="0"/>
                  </a:moveTo>
                  <a:lnTo>
                    <a:pt x="0" y="22"/>
                  </a:lnTo>
                  <a:lnTo>
                    <a:pt x="34" y="34"/>
                  </a:lnTo>
                  <a:lnTo>
                    <a:pt x="46" y="43"/>
                  </a:lnTo>
                  <a:lnTo>
                    <a:pt x="55" y="43"/>
                  </a:lnTo>
                  <a:lnTo>
                    <a:pt x="46" y="22"/>
                  </a:lnTo>
                  <a:lnTo>
                    <a:pt x="64" y="12"/>
                  </a:lnTo>
                  <a:lnTo>
                    <a:pt x="55" y="0"/>
                  </a:lnTo>
                  <a:lnTo>
                    <a:pt x="34" y="12"/>
                  </a:lnTo>
                  <a:lnTo>
                    <a:pt x="25" y="12"/>
                  </a:lnTo>
                  <a:lnTo>
                    <a:pt x="9"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16" name="Freeform 915"/>
            <p:cNvSpPr>
              <a:spLocks/>
            </p:cNvSpPr>
            <p:nvPr/>
          </p:nvSpPr>
          <p:spPr bwMode="auto">
            <a:xfrm>
              <a:off x="3135460" y="4066947"/>
              <a:ext cx="50412" cy="54008"/>
            </a:xfrm>
            <a:custGeom>
              <a:avLst/>
              <a:gdLst>
                <a:gd name="T0" fmla="*/ 51 w 51"/>
                <a:gd name="T1" fmla="*/ 33 h 55"/>
                <a:gd name="T2" fmla="*/ 42 w 51"/>
                <a:gd name="T3" fmla="*/ 55 h 55"/>
                <a:gd name="T4" fmla="*/ 33 w 51"/>
                <a:gd name="T5" fmla="*/ 55 h 55"/>
                <a:gd name="T6" fmla="*/ 33 w 51"/>
                <a:gd name="T7" fmla="*/ 45 h 55"/>
                <a:gd name="T8" fmla="*/ 12 w 51"/>
                <a:gd name="T9" fmla="*/ 24 h 55"/>
                <a:gd name="T10" fmla="*/ 12 w 51"/>
                <a:gd name="T11" fmla="*/ 33 h 55"/>
                <a:gd name="T12" fmla="*/ 0 w 51"/>
                <a:gd name="T13" fmla="*/ 24 h 55"/>
                <a:gd name="T14" fmla="*/ 0 w 51"/>
                <a:gd name="T15" fmla="*/ 0 h 55"/>
                <a:gd name="T16" fmla="*/ 33 w 51"/>
                <a:gd name="T17" fmla="*/ 0 h 55"/>
                <a:gd name="T18" fmla="*/ 42 w 51"/>
                <a:gd name="T19" fmla="*/ 24 h 55"/>
                <a:gd name="T20" fmla="*/ 51 w 51"/>
                <a:gd name="T21" fmla="*/ 33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1"/>
                <a:gd name="T34" fmla="*/ 0 h 55"/>
                <a:gd name="T35" fmla="*/ 51 w 51"/>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1" h="55">
                  <a:moveTo>
                    <a:pt x="51" y="33"/>
                  </a:moveTo>
                  <a:lnTo>
                    <a:pt x="42" y="55"/>
                  </a:lnTo>
                  <a:lnTo>
                    <a:pt x="33" y="55"/>
                  </a:lnTo>
                  <a:lnTo>
                    <a:pt x="33" y="45"/>
                  </a:lnTo>
                  <a:lnTo>
                    <a:pt x="12" y="24"/>
                  </a:lnTo>
                  <a:lnTo>
                    <a:pt x="12" y="33"/>
                  </a:lnTo>
                  <a:lnTo>
                    <a:pt x="0" y="24"/>
                  </a:lnTo>
                  <a:lnTo>
                    <a:pt x="0" y="0"/>
                  </a:lnTo>
                  <a:lnTo>
                    <a:pt x="33" y="0"/>
                  </a:lnTo>
                  <a:lnTo>
                    <a:pt x="42" y="24"/>
                  </a:lnTo>
                  <a:lnTo>
                    <a:pt x="51" y="33"/>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17" name="Freeform 916"/>
            <p:cNvSpPr>
              <a:spLocks/>
            </p:cNvSpPr>
            <p:nvPr/>
          </p:nvSpPr>
          <p:spPr bwMode="auto">
            <a:xfrm>
              <a:off x="3110254" y="3984005"/>
              <a:ext cx="75618" cy="82941"/>
            </a:xfrm>
            <a:custGeom>
              <a:avLst/>
              <a:gdLst>
                <a:gd name="T0" fmla="*/ 58 w 76"/>
                <a:gd name="T1" fmla="*/ 85 h 85"/>
                <a:gd name="T2" fmla="*/ 25 w 76"/>
                <a:gd name="T3" fmla="*/ 85 h 85"/>
                <a:gd name="T4" fmla="*/ 0 w 76"/>
                <a:gd name="T5" fmla="*/ 54 h 85"/>
                <a:gd name="T6" fmla="*/ 0 w 76"/>
                <a:gd name="T7" fmla="*/ 42 h 85"/>
                <a:gd name="T8" fmla="*/ 46 w 76"/>
                <a:gd name="T9" fmla="*/ 9 h 85"/>
                <a:gd name="T10" fmla="*/ 76 w 76"/>
                <a:gd name="T11" fmla="*/ 0 h 85"/>
                <a:gd name="T12" fmla="*/ 76 w 76"/>
                <a:gd name="T13" fmla="*/ 21 h 85"/>
                <a:gd name="T14" fmla="*/ 58 w 76"/>
                <a:gd name="T15" fmla="*/ 85 h 85"/>
                <a:gd name="T16" fmla="*/ 0 60000 65536"/>
                <a:gd name="T17" fmla="*/ 0 60000 65536"/>
                <a:gd name="T18" fmla="*/ 0 60000 65536"/>
                <a:gd name="T19" fmla="*/ 0 60000 65536"/>
                <a:gd name="T20" fmla="*/ 0 60000 65536"/>
                <a:gd name="T21" fmla="*/ 0 60000 65536"/>
                <a:gd name="T22" fmla="*/ 0 60000 65536"/>
                <a:gd name="T23" fmla="*/ 0 60000 65536"/>
                <a:gd name="T24" fmla="*/ 0 w 76"/>
                <a:gd name="T25" fmla="*/ 0 h 85"/>
                <a:gd name="T26" fmla="*/ 76 w 76"/>
                <a:gd name="T27" fmla="*/ 85 h 8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6" h="85">
                  <a:moveTo>
                    <a:pt x="58" y="85"/>
                  </a:moveTo>
                  <a:lnTo>
                    <a:pt x="25" y="85"/>
                  </a:lnTo>
                  <a:lnTo>
                    <a:pt x="0" y="54"/>
                  </a:lnTo>
                  <a:lnTo>
                    <a:pt x="0" y="42"/>
                  </a:lnTo>
                  <a:lnTo>
                    <a:pt x="46" y="9"/>
                  </a:lnTo>
                  <a:lnTo>
                    <a:pt x="76" y="0"/>
                  </a:lnTo>
                  <a:lnTo>
                    <a:pt x="76" y="21"/>
                  </a:lnTo>
                  <a:lnTo>
                    <a:pt x="58" y="85"/>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18" name="Freeform 917"/>
            <p:cNvSpPr>
              <a:spLocks/>
            </p:cNvSpPr>
            <p:nvPr/>
          </p:nvSpPr>
          <p:spPr bwMode="auto">
            <a:xfrm>
              <a:off x="3071545" y="3971467"/>
              <a:ext cx="114328" cy="53044"/>
            </a:xfrm>
            <a:custGeom>
              <a:avLst/>
              <a:gdLst>
                <a:gd name="T0" fmla="*/ 30 w 115"/>
                <a:gd name="T1" fmla="*/ 0 h 55"/>
                <a:gd name="T2" fmla="*/ 0 w 115"/>
                <a:gd name="T3" fmla="*/ 22 h 55"/>
                <a:gd name="T4" fmla="*/ 30 w 115"/>
                <a:gd name="T5" fmla="*/ 46 h 55"/>
                <a:gd name="T6" fmla="*/ 39 w 115"/>
                <a:gd name="T7" fmla="*/ 55 h 55"/>
                <a:gd name="T8" fmla="*/ 85 w 115"/>
                <a:gd name="T9" fmla="*/ 22 h 55"/>
                <a:gd name="T10" fmla="*/ 115 w 115"/>
                <a:gd name="T11" fmla="*/ 13 h 55"/>
                <a:gd name="T12" fmla="*/ 85 w 115"/>
                <a:gd name="T13" fmla="*/ 0 h 55"/>
                <a:gd name="T14" fmla="*/ 30 w 115"/>
                <a:gd name="T15" fmla="*/ 0 h 55"/>
                <a:gd name="T16" fmla="*/ 0 60000 65536"/>
                <a:gd name="T17" fmla="*/ 0 60000 65536"/>
                <a:gd name="T18" fmla="*/ 0 60000 65536"/>
                <a:gd name="T19" fmla="*/ 0 60000 65536"/>
                <a:gd name="T20" fmla="*/ 0 60000 65536"/>
                <a:gd name="T21" fmla="*/ 0 60000 65536"/>
                <a:gd name="T22" fmla="*/ 0 60000 65536"/>
                <a:gd name="T23" fmla="*/ 0 60000 65536"/>
                <a:gd name="T24" fmla="*/ 0 w 115"/>
                <a:gd name="T25" fmla="*/ 0 h 55"/>
                <a:gd name="T26" fmla="*/ 115 w 115"/>
                <a:gd name="T27" fmla="*/ 55 h 5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5" h="55">
                  <a:moveTo>
                    <a:pt x="30" y="0"/>
                  </a:moveTo>
                  <a:lnTo>
                    <a:pt x="0" y="22"/>
                  </a:lnTo>
                  <a:lnTo>
                    <a:pt x="30" y="46"/>
                  </a:lnTo>
                  <a:lnTo>
                    <a:pt x="39" y="55"/>
                  </a:lnTo>
                  <a:lnTo>
                    <a:pt x="85" y="22"/>
                  </a:lnTo>
                  <a:lnTo>
                    <a:pt x="115" y="13"/>
                  </a:lnTo>
                  <a:lnTo>
                    <a:pt x="85" y="0"/>
                  </a:lnTo>
                  <a:lnTo>
                    <a:pt x="30"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19" name="Freeform 918"/>
            <p:cNvSpPr>
              <a:spLocks/>
            </p:cNvSpPr>
            <p:nvPr/>
          </p:nvSpPr>
          <p:spPr bwMode="auto">
            <a:xfrm>
              <a:off x="3397423" y="3887562"/>
              <a:ext cx="63916" cy="54008"/>
            </a:xfrm>
            <a:custGeom>
              <a:avLst/>
              <a:gdLst>
                <a:gd name="T0" fmla="*/ 9 w 64"/>
                <a:gd name="T1" fmla="*/ 0 h 55"/>
                <a:gd name="T2" fmla="*/ 0 w 64"/>
                <a:gd name="T3" fmla="*/ 43 h 55"/>
                <a:gd name="T4" fmla="*/ 9 w 64"/>
                <a:gd name="T5" fmla="*/ 55 h 55"/>
                <a:gd name="T6" fmla="*/ 18 w 64"/>
                <a:gd name="T7" fmla="*/ 31 h 55"/>
                <a:gd name="T8" fmla="*/ 30 w 64"/>
                <a:gd name="T9" fmla="*/ 31 h 55"/>
                <a:gd name="T10" fmla="*/ 18 w 64"/>
                <a:gd name="T11" fmla="*/ 31 h 55"/>
                <a:gd name="T12" fmla="*/ 51 w 64"/>
                <a:gd name="T13" fmla="*/ 31 h 55"/>
                <a:gd name="T14" fmla="*/ 64 w 64"/>
                <a:gd name="T15" fmla="*/ 43 h 55"/>
                <a:gd name="T16" fmla="*/ 64 w 64"/>
                <a:gd name="T17" fmla="*/ 31 h 55"/>
                <a:gd name="T18" fmla="*/ 64 w 64"/>
                <a:gd name="T19" fmla="*/ 21 h 55"/>
                <a:gd name="T20" fmla="*/ 39 w 64"/>
                <a:gd name="T21" fmla="*/ 21 h 55"/>
                <a:gd name="T22" fmla="*/ 51 w 64"/>
                <a:gd name="T23" fmla="*/ 9 h 55"/>
                <a:gd name="T24" fmla="*/ 39 w 64"/>
                <a:gd name="T25" fmla="*/ 9 h 55"/>
                <a:gd name="T26" fmla="*/ 9 w 64"/>
                <a:gd name="T27" fmla="*/ 0 h 5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4"/>
                <a:gd name="T43" fmla="*/ 0 h 55"/>
                <a:gd name="T44" fmla="*/ 64 w 64"/>
                <a:gd name="T45" fmla="*/ 55 h 5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4" h="55">
                  <a:moveTo>
                    <a:pt x="9" y="0"/>
                  </a:moveTo>
                  <a:lnTo>
                    <a:pt x="0" y="43"/>
                  </a:lnTo>
                  <a:lnTo>
                    <a:pt x="9" y="55"/>
                  </a:lnTo>
                  <a:lnTo>
                    <a:pt x="18" y="31"/>
                  </a:lnTo>
                  <a:lnTo>
                    <a:pt x="30" y="31"/>
                  </a:lnTo>
                  <a:lnTo>
                    <a:pt x="18" y="31"/>
                  </a:lnTo>
                  <a:lnTo>
                    <a:pt x="51" y="31"/>
                  </a:lnTo>
                  <a:lnTo>
                    <a:pt x="64" y="43"/>
                  </a:lnTo>
                  <a:lnTo>
                    <a:pt x="64" y="31"/>
                  </a:lnTo>
                  <a:lnTo>
                    <a:pt x="64" y="21"/>
                  </a:lnTo>
                  <a:lnTo>
                    <a:pt x="39" y="21"/>
                  </a:lnTo>
                  <a:lnTo>
                    <a:pt x="51" y="9"/>
                  </a:lnTo>
                  <a:lnTo>
                    <a:pt x="39" y="9"/>
                  </a:lnTo>
                  <a:lnTo>
                    <a:pt x="9"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20" name="Freeform 919"/>
            <p:cNvSpPr>
              <a:spLocks/>
            </p:cNvSpPr>
            <p:nvPr/>
          </p:nvSpPr>
          <p:spPr bwMode="auto">
            <a:xfrm>
              <a:off x="3353313" y="3887562"/>
              <a:ext cx="53112" cy="42436"/>
            </a:xfrm>
            <a:custGeom>
              <a:avLst/>
              <a:gdLst>
                <a:gd name="T0" fmla="*/ 47 w 55"/>
                <a:gd name="T1" fmla="*/ 0 h 43"/>
                <a:gd name="T2" fmla="*/ 38 w 55"/>
                <a:gd name="T3" fmla="*/ 43 h 43"/>
                <a:gd name="T4" fmla="*/ 9 w 55"/>
                <a:gd name="T5" fmla="*/ 43 h 43"/>
                <a:gd name="T6" fmla="*/ 0 w 55"/>
                <a:gd name="T7" fmla="*/ 31 h 43"/>
                <a:gd name="T8" fmla="*/ 9 w 55"/>
                <a:gd name="T9" fmla="*/ 31 h 43"/>
                <a:gd name="T10" fmla="*/ 21 w 55"/>
                <a:gd name="T11" fmla="*/ 31 h 43"/>
                <a:gd name="T12" fmla="*/ 38 w 55"/>
                <a:gd name="T13" fmla="*/ 31 h 43"/>
                <a:gd name="T14" fmla="*/ 27 w 55"/>
                <a:gd name="T15" fmla="*/ 9 h 43"/>
                <a:gd name="T16" fmla="*/ 21 w 55"/>
                <a:gd name="T17" fmla="*/ 9 h 43"/>
                <a:gd name="T18" fmla="*/ 27 w 55"/>
                <a:gd name="T19" fmla="*/ 0 h 43"/>
                <a:gd name="T20" fmla="*/ 47 w 55"/>
                <a:gd name="T21" fmla="*/ 0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43"/>
                <a:gd name="T35" fmla="*/ 55 w 55"/>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43">
                  <a:moveTo>
                    <a:pt x="55" y="0"/>
                  </a:moveTo>
                  <a:lnTo>
                    <a:pt x="46" y="43"/>
                  </a:lnTo>
                  <a:lnTo>
                    <a:pt x="9" y="43"/>
                  </a:lnTo>
                  <a:lnTo>
                    <a:pt x="0" y="31"/>
                  </a:lnTo>
                  <a:lnTo>
                    <a:pt x="9" y="31"/>
                  </a:lnTo>
                  <a:lnTo>
                    <a:pt x="21" y="31"/>
                  </a:lnTo>
                  <a:lnTo>
                    <a:pt x="46" y="31"/>
                  </a:lnTo>
                  <a:lnTo>
                    <a:pt x="30" y="9"/>
                  </a:lnTo>
                  <a:lnTo>
                    <a:pt x="21" y="9"/>
                  </a:lnTo>
                  <a:lnTo>
                    <a:pt x="30" y="0"/>
                  </a:lnTo>
                  <a:lnTo>
                    <a:pt x="55"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21" name="Freeform 920"/>
            <p:cNvSpPr>
              <a:spLocks/>
            </p:cNvSpPr>
            <p:nvPr/>
          </p:nvSpPr>
          <p:spPr bwMode="auto">
            <a:xfrm>
              <a:off x="3688194" y="4895394"/>
              <a:ext cx="82820" cy="96443"/>
            </a:xfrm>
            <a:custGeom>
              <a:avLst/>
              <a:gdLst>
                <a:gd name="T0" fmla="*/ 0 w 85"/>
                <a:gd name="T1" fmla="*/ 76 h 98"/>
                <a:gd name="T2" fmla="*/ 42 w 85"/>
                <a:gd name="T3" fmla="*/ 98 h 98"/>
                <a:gd name="T4" fmla="*/ 68 w 85"/>
                <a:gd name="T5" fmla="*/ 85 h 98"/>
                <a:gd name="T6" fmla="*/ 77 w 85"/>
                <a:gd name="T7" fmla="*/ 76 h 98"/>
                <a:gd name="T8" fmla="*/ 77 w 85"/>
                <a:gd name="T9" fmla="*/ 55 h 98"/>
                <a:gd name="T10" fmla="*/ 68 w 85"/>
                <a:gd name="T11" fmla="*/ 34 h 98"/>
                <a:gd name="T12" fmla="*/ 30 w 85"/>
                <a:gd name="T13" fmla="*/ 9 h 98"/>
                <a:gd name="T14" fmla="*/ 30 w 85"/>
                <a:gd name="T15" fmla="*/ 25 h 98"/>
                <a:gd name="T16" fmla="*/ 9 w 85"/>
                <a:gd name="T17" fmla="*/ 0 h 98"/>
                <a:gd name="T18" fmla="*/ 0 w 85"/>
                <a:gd name="T19" fmla="*/ 0 h 98"/>
                <a:gd name="T20" fmla="*/ 0 w 85"/>
                <a:gd name="T21" fmla="*/ 76 h 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5"/>
                <a:gd name="T34" fmla="*/ 0 h 98"/>
                <a:gd name="T35" fmla="*/ 85 w 85"/>
                <a:gd name="T36" fmla="*/ 98 h 9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5" h="98">
                  <a:moveTo>
                    <a:pt x="0" y="76"/>
                  </a:moveTo>
                  <a:lnTo>
                    <a:pt x="46" y="98"/>
                  </a:lnTo>
                  <a:lnTo>
                    <a:pt x="76" y="85"/>
                  </a:lnTo>
                  <a:lnTo>
                    <a:pt x="85" y="76"/>
                  </a:lnTo>
                  <a:lnTo>
                    <a:pt x="85" y="55"/>
                  </a:lnTo>
                  <a:lnTo>
                    <a:pt x="76" y="34"/>
                  </a:lnTo>
                  <a:lnTo>
                    <a:pt x="30" y="9"/>
                  </a:lnTo>
                  <a:lnTo>
                    <a:pt x="30" y="25"/>
                  </a:lnTo>
                  <a:lnTo>
                    <a:pt x="9" y="0"/>
                  </a:lnTo>
                  <a:lnTo>
                    <a:pt x="0" y="0"/>
                  </a:lnTo>
                  <a:lnTo>
                    <a:pt x="0" y="76"/>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22" name="Freeform 921"/>
            <p:cNvSpPr>
              <a:spLocks/>
            </p:cNvSpPr>
            <p:nvPr/>
          </p:nvSpPr>
          <p:spPr bwMode="auto">
            <a:xfrm>
              <a:off x="3353313" y="4183643"/>
              <a:ext cx="689567" cy="786012"/>
            </a:xfrm>
            <a:custGeom>
              <a:avLst/>
              <a:gdLst>
                <a:gd name="T0" fmla="*/ 397 w 697"/>
                <a:gd name="T1" fmla="*/ 36 h 803"/>
                <a:gd name="T2" fmla="*/ 415 w 697"/>
                <a:gd name="T3" fmla="*/ 76 h 803"/>
                <a:gd name="T4" fmla="*/ 397 w 697"/>
                <a:gd name="T5" fmla="*/ 112 h 803"/>
                <a:gd name="T6" fmla="*/ 406 w 697"/>
                <a:gd name="T7" fmla="*/ 143 h 803"/>
                <a:gd name="T8" fmla="*/ 437 w 697"/>
                <a:gd name="T9" fmla="*/ 112 h 803"/>
                <a:gd name="T10" fmla="*/ 437 w 697"/>
                <a:gd name="T11" fmla="*/ 143 h 803"/>
                <a:gd name="T12" fmla="*/ 461 w 697"/>
                <a:gd name="T13" fmla="*/ 121 h 803"/>
                <a:gd name="T14" fmla="*/ 504 w 697"/>
                <a:gd name="T15" fmla="*/ 143 h 803"/>
                <a:gd name="T16" fmla="*/ 516 w 697"/>
                <a:gd name="T17" fmla="*/ 152 h 803"/>
                <a:gd name="T18" fmla="*/ 537 w 697"/>
                <a:gd name="T19" fmla="*/ 152 h 803"/>
                <a:gd name="T20" fmla="*/ 604 w 697"/>
                <a:gd name="T21" fmla="*/ 164 h 803"/>
                <a:gd name="T22" fmla="*/ 680 w 697"/>
                <a:gd name="T23" fmla="*/ 219 h 803"/>
                <a:gd name="T24" fmla="*/ 689 w 697"/>
                <a:gd name="T25" fmla="*/ 274 h 803"/>
                <a:gd name="T26" fmla="*/ 625 w 697"/>
                <a:gd name="T27" fmla="*/ 380 h 803"/>
                <a:gd name="T28" fmla="*/ 625 w 697"/>
                <a:gd name="T29" fmla="*/ 478 h 803"/>
                <a:gd name="T30" fmla="*/ 604 w 697"/>
                <a:gd name="T31" fmla="*/ 545 h 803"/>
                <a:gd name="T32" fmla="*/ 583 w 697"/>
                <a:gd name="T33" fmla="*/ 566 h 803"/>
                <a:gd name="T34" fmla="*/ 537 w 697"/>
                <a:gd name="T35" fmla="*/ 575 h 803"/>
                <a:gd name="T36" fmla="*/ 528 w 697"/>
                <a:gd name="T37" fmla="*/ 587 h 803"/>
                <a:gd name="T38" fmla="*/ 516 w 697"/>
                <a:gd name="T39" fmla="*/ 596 h 803"/>
                <a:gd name="T40" fmla="*/ 473 w 697"/>
                <a:gd name="T41" fmla="*/ 642 h 803"/>
                <a:gd name="T42" fmla="*/ 461 w 697"/>
                <a:gd name="T43" fmla="*/ 715 h 803"/>
                <a:gd name="T44" fmla="*/ 427 w 697"/>
                <a:gd name="T45" fmla="*/ 773 h 803"/>
                <a:gd name="T46" fmla="*/ 415 w 697"/>
                <a:gd name="T47" fmla="*/ 782 h 803"/>
                <a:gd name="T48" fmla="*/ 360 w 697"/>
                <a:gd name="T49" fmla="*/ 736 h 803"/>
                <a:gd name="T50" fmla="*/ 347 w 697"/>
                <a:gd name="T51" fmla="*/ 727 h 803"/>
                <a:gd name="T52" fmla="*/ 376 w 697"/>
                <a:gd name="T53" fmla="*/ 675 h 803"/>
                <a:gd name="T54" fmla="*/ 376 w 697"/>
                <a:gd name="T55" fmla="*/ 630 h 803"/>
                <a:gd name="T56" fmla="*/ 360 w 697"/>
                <a:gd name="T57" fmla="*/ 596 h 803"/>
                <a:gd name="T58" fmla="*/ 347 w 697"/>
                <a:gd name="T59" fmla="*/ 566 h 803"/>
                <a:gd name="T60" fmla="*/ 304 w 697"/>
                <a:gd name="T61" fmla="*/ 554 h 803"/>
                <a:gd name="T62" fmla="*/ 304 w 697"/>
                <a:gd name="T63" fmla="*/ 478 h 803"/>
                <a:gd name="T64" fmla="*/ 283 w 697"/>
                <a:gd name="T65" fmla="*/ 444 h 803"/>
                <a:gd name="T66" fmla="*/ 253 w 697"/>
                <a:gd name="T67" fmla="*/ 426 h 803"/>
                <a:gd name="T68" fmla="*/ 237 w 697"/>
                <a:gd name="T69" fmla="*/ 392 h 803"/>
                <a:gd name="T70" fmla="*/ 152 w 697"/>
                <a:gd name="T71" fmla="*/ 338 h 803"/>
                <a:gd name="T72" fmla="*/ 119 w 697"/>
                <a:gd name="T73" fmla="*/ 304 h 803"/>
                <a:gd name="T74" fmla="*/ 76 w 697"/>
                <a:gd name="T75" fmla="*/ 328 h 803"/>
                <a:gd name="T76" fmla="*/ 55 w 697"/>
                <a:gd name="T77" fmla="*/ 304 h 803"/>
                <a:gd name="T78" fmla="*/ 9 w 697"/>
                <a:gd name="T79" fmla="*/ 295 h 803"/>
                <a:gd name="T80" fmla="*/ 9 w 697"/>
                <a:gd name="T81" fmla="*/ 228 h 803"/>
                <a:gd name="T82" fmla="*/ 64 w 697"/>
                <a:gd name="T83" fmla="*/ 197 h 803"/>
                <a:gd name="T84" fmla="*/ 55 w 697"/>
                <a:gd name="T85" fmla="*/ 97 h 803"/>
                <a:gd name="T86" fmla="*/ 64 w 697"/>
                <a:gd name="T87" fmla="*/ 88 h 803"/>
                <a:gd name="T88" fmla="*/ 110 w 697"/>
                <a:gd name="T89" fmla="*/ 67 h 803"/>
                <a:gd name="T90" fmla="*/ 119 w 697"/>
                <a:gd name="T91" fmla="*/ 88 h 803"/>
                <a:gd name="T92" fmla="*/ 174 w 697"/>
                <a:gd name="T93" fmla="*/ 67 h 803"/>
                <a:gd name="T94" fmla="*/ 161 w 697"/>
                <a:gd name="T95" fmla="*/ 36 h 803"/>
                <a:gd name="T96" fmla="*/ 186 w 697"/>
                <a:gd name="T97" fmla="*/ 36 h 803"/>
                <a:gd name="T98" fmla="*/ 228 w 697"/>
                <a:gd name="T99" fmla="*/ 0 h 803"/>
                <a:gd name="T100" fmla="*/ 253 w 697"/>
                <a:gd name="T101" fmla="*/ 21 h 803"/>
                <a:gd name="T102" fmla="*/ 253 w 697"/>
                <a:gd name="T103" fmla="*/ 76 h 803"/>
                <a:gd name="T104" fmla="*/ 292 w 697"/>
                <a:gd name="T105" fmla="*/ 67 h 803"/>
                <a:gd name="T106" fmla="*/ 317 w 697"/>
                <a:gd name="T107" fmla="*/ 67 h 803"/>
                <a:gd name="T108" fmla="*/ 347 w 697"/>
                <a:gd name="T109" fmla="*/ 67 h 803"/>
                <a:gd name="T110" fmla="*/ 385 w 697"/>
                <a:gd name="T111" fmla="*/ 21 h 80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97"/>
                <a:gd name="T169" fmla="*/ 0 h 803"/>
                <a:gd name="T170" fmla="*/ 697 w 697"/>
                <a:gd name="T171" fmla="*/ 803 h 80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97" h="803">
                  <a:moveTo>
                    <a:pt x="393" y="21"/>
                  </a:moveTo>
                  <a:lnTo>
                    <a:pt x="405" y="36"/>
                  </a:lnTo>
                  <a:lnTo>
                    <a:pt x="414" y="67"/>
                  </a:lnTo>
                  <a:lnTo>
                    <a:pt x="423" y="76"/>
                  </a:lnTo>
                  <a:lnTo>
                    <a:pt x="423" y="88"/>
                  </a:lnTo>
                  <a:lnTo>
                    <a:pt x="405" y="112"/>
                  </a:lnTo>
                  <a:lnTo>
                    <a:pt x="405" y="130"/>
                  </a:lnTo>
                  <a:lnTo>
                    <a:pt x="414" y="143"/>
                  </a:lnTo>
                  <a:lnTo>
                    <a:pt x="414" y="121"/>
                  </a:lnTo>
                  <a:lnTo>
                    <a:pt x="445" y="112"/>
                  </a:lnTo>
                  <a:lnTo>
                    <a:pt x="460" y="112"/>
                  </a:lnTo>
                  <a:lnTo>
                    <a:pt x="445" y="143"/>
                  </a:lnTo>
                  <a:lnTo>
                    <a:pt x="460" y="121"/>
                  </a:lnTo>
                  <a:lnTo>
                    <a:pt x="469" y="121"/>
                  </a:lnTo>
                  <a:lnTo>
                    <a:pt x="502" y="130"/>
                  </a:lnTo>
                  <a:lnTo>
                    <a:pt x="512" y="143"/>
                  </a:lnTo>
                  <a:lnTo>
                    <a:pt x="524" y="143"/>
                  </a:lnTo>
                  <a:lnTo>
                    <a:pt x="524" y="152"/>
                  </a:lnTo>
                  <a:lnTo>
                    <a:pt x="524" y="164"/>
                  </a:lnTo>
                  <a:lnTo>
                    <a:pt x="545" y="152"/>
                  </a:lnTo>
                  <a:lnTo>
                    <a:pt x="579" y="173"/>
                  </a:lnTo>
                  <a:lnTo>
                    <a:pt x="612" y="164"/>
                  </a:lnTo>
                  <a:lnTo>
                    <a:pt x="667" y="207"/>
                  </a:lnTo>
                  <a:lnTo>
                    <a:pt x="688" y="219"/>
                  </a:lnTo>
                  <a:lnTo>
                    <a:pt x="697" y="252"/>
                  </a:lnTo>
                  <a:lnTo>
                    <a:pt x="697" y="274"/>
                  </a:lnTo>
                  <a:lnTo>
                    <a:pt x="688" y="304"/>
                  </a:lnTo>
                  <a:lnTo>
                    <a:pt x="633" y="380"/>
                  </a:lnTo>
                  <a:lnTo>
                    <a:pt x="633" y="468"/>
                  </a:lnTo>
                  <a:lnTo>
                    <a:pt x="633" y="478"/>
                  </a:lnTo>
                  <a:lnTo>
                    <a:pt x="633" y="511"/>
                  </a:lnTo>
                  <a:lnTo>
                    <a:pt x="612" y="545"/>
                  </a:lnTo>
                  <a:lnTo>
                    <a:pt x="612" y="554"/>
                  </a:lnTo>
                  <a:lnTo>
                    <a:pt x="591" y="566"/>
                  </a:lnTo>
                  <a:lnTo>
                    <a:pt x="591" y="575"/>
                  </a:lnTo>
                  <a:lnTo>
                    <a:pt x="545" y="575"/>
                  </a:lnTo>
                  <a:lnTo>
                    <a:pt x="545" y="587"/>
                  </a:lnTo>
                  <a:lnTo>
                    <a:pt x="536" y="587"/>
                  </a:lnTo>
                  <a:lnTo>
                    <a:pt x="536" y="596"/>
                  </a:lnTo>
                  <a:lnTo>
                    <a:pt x="524" y="596"/>
                  </a:lnTo>
                  <a:lnTo>
                    <a:pt x="512" y="608"/>
                  </a:lnTo>
                  <a:lnTo>
                    <a:pt x="481" y="642"/>
                  </a:lnTo>
                  <a:lnTo>
                    <a:pt x="490" y="697"/>
                  </a:lnTo>
                  <a:lnTo>
                    <a:pt x="469" y="715"/>
                  </a:lnTo>
                  <a:lnTo>
                    <a:pt x="460" y="752"/>
                  </a:lnTo>
                  <a:lnTo>
                    <a:pt x="435" y="773"/>
                  </a:lnTo>
                  <a:lnTo>
                    <a:pt x="423" y="803"/>
                  </a:lnTo>
                  <a:lnTo>
                    <a:pt x="423" y="782"/>
                  </a:lnTo>
                  <a:lnTo>
                    <a:pt x="414" y="761"/>
                  </a:lnTo>
                  <a:lnTo>
                    <a:pt x="368" y="736"/>
                  </a:lnTo>
                  <a:lnTo>
                    <a:pt x="368" y="752"/>
                  </a:lnTo>
                  <a:lnTo>
                    <a:pt x="347" y="727"/>
                  </a:lnTo>
                  <a:lnTo>
                    <a:pt x="338" y="727"/>
                  </a:lnTo>
                  <a:lnTo>
                    <a:pt x="384" y="675"/>
                  </a:lnTo>
                  <a:lnTo>
                    <a:pt x="393" y="660"/>
                  </a:lnTo>
                  <a:lnTo>
                    <a:pt x="384" y="630"/>
                  </a:lnTo>
                  <a:lnTo>
                    <a:pt x="368" y="630"/>
                  </a:lnTo>
                  <a:lnTo>
                    <a:pt x="368" y="596"/>
                  </a:lnTo>
                  <a:lnTo>
                    <a:pt x="347" y="596"/>
                  </a:lnTo>
                  <a:lnTo>
                    <a:pt x="347" y="566"/>
                  </a:lnTo>
                  <a:lnTo>
                    <a:pt x="338" y="566"/>
                  </a:lnTo>
                  <a:lnTo>
                    <a:pt x="304" y="554"/>
                  </a:lnTo>
                  <a:lnTo>
                    <a:pt x="292" y="520"/>
                  </a:lnTo>
                  <a:lnTo>
                    <a:pt x="304" y="478"/>
                  </a:lnTo>
                  <a:lnTo>
                    <a:pt x="283" y="456"/>
                  </a:lnTo>
                  <a:lnTo>
                    <a:pt x="283" y="444"/>
                  </a:lnTo>
                  <a:lnTo>
                    <a:pt x="253" y="435"/>
                  </a:lnTo>
                  <a:lnTo>
                    <a:pt x="253" y="426"/>
                  </a:lnTo>
                  <a:lnTo>
                    <a:pt x="253" y="414"/>
                  </a:lnTo>
                  <a:lnTo>
                    <a:pt x="237" y="392"/>
                  </a:lnTo>
                  <a:lnTo>
                    <a:pt x="161" y="359"/>
                  </a:lnTo>
                  <a:lnTo>
                    <a:pt x="152" y="338"/>
                  </a:lnTo>
                  <a:lnTo>
                    <a:pt x="152" y="304"/>
                  </a:lnTo>
                  <a:lnTo>
                    <a:pt x="119" y="304"/>
                  </a:lnTo>
                  <a:lnTo>
                    <a:pt x="97" y="338"/>
                  </a:lnTo>
                  <a:lnTo>
                    <a:pt x="76" y="328"/>
                  </a:lnTo>
                  <a:lnTo>
                    <a:pt x="55" y="328"/>
                  </a:lnTo>
                  <a:lnTo>
                    <a:pt x="55" y="304"/>
                  </a:lnTo>
                  <a:lnTo>
                    <a:pt x="30" y="313"/>
                  </a:lnTo>
                  <a:lnTo>
                    <a:pt x="9" y="295"/>
                  </a:lnTo>
                  <a:lnTo>
                    <a:pt x="0" y="261"/>
                  </a:lnTo>
                  <a:lnTo>
                    <a:pt x="9" y="228"/>
                  </a:lnTo>
                  <a:lnTo>
                    <a:pt x="21" y="207"/>
                  </a:lnTo>
                  <a:lnTo>
                    <a:pt x="64" y="197"/>
                  </a:lnTo>
                  <a:lnTo>
                    <a:pt x="64" y="130"/>
                  </a:lnTo>
                  <a:lnTo>
                    <a:pt x="55" y="97"/>
                  </a:lnTo>
                  <a:lnTo>
                    <a:pt x="76" y="97"/>
                  </a:lnTo>
                  <a:lnTo>
                    <a:pt x="64" y="88"/>
                  </a:lnTo>
                  <a:lnTo>
                    <a:pt x="64" y="76"/>
                  </a:lnTo>
                  <a:lnTo>
                    <a:pt x="110" y="67"/>
                  </a:lnTo>
                  <a:lnTo>
                    <a:pt x="119" y="76"/>
                  </a:lnTo>
                  <a:lnTo>
                    <a:pt x="119" y="88"/>
                  </a:lnTo>
                  <a:lnTo>
                    <a:pt x="140" y="88"/>
                  </a:lnTo>
                  <a:lnTo>
                    <a:pt x="174" y="67"/>
                  </a:lnTo>
                  <a:lnTo>
                    <a:pt x="161" y="54"/>
                  </a:lnTo>
                  <a:lnTo>
                    <a:pt x="161" y="36"/>
                  </a:lnTo>
                  <a:lnTo>
                    <a:pt x="152" y="21"/>
                  </a:lnTo>
                  <a:lnTo>
                    <a:pt x="186" y="36"/>
                  </a:lnTo>
                  <a:lnTo>
                    <a:pt x="228" y="12"/>
                  </a:lnTo>
                  <a:lnTo>
                    <a:pt x="228" y="0"/>
                  </a:lnTo>
                  <a:lnTo>
                    <a:pt x="237" y="0"/>
                  </a:lnTo>
                  <a:lnTo>
                    <a:pt x="253" y="21"/>
                  </a:lnTo>
                  <a:lnTo>
                    <a:pt x="237" y="54"/>
                  </a:lnTo>
                  <a:lnTo>
                    <a:pt x="253" y="76"/>
                  </a:lnTo>
                  <a:lnTo>
                    <a:pt x="262" y="76"/>
                  </a:lnTo>
                  <a:lnTo>
                    <a:pt x="292" y="67"/>
                  </a:lnTo>
                  <a:lnTo>
                    <a:pt x="304" y="67"/>
                  </a:lnTo>
                  <a:lnTo>
                    <a:pt x="317" y="67"/>
                  </a:lnTo>
                  <a:lnTo>
                    <a:pt x="317" y="54"/>
                  </a:lnTo>
                  <a:lnTo>
                    <a:pt x="347" y="67"/>
                  </a:lnTo>
                  <a:lnTo>
                    <a:pt x="368" y="67"/>
                  </a:lnTo>
                  <a:lnTo>
                    <a:pt x="393" y="21"/>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23" name="Freeform 922"/>
            <p:cNvSpPr>
              <a:spLocks/>
            </p:cNvSpPr>
            <p:nvPr/>
          </p:nvSpPr>
          <p:spPr bwMode="auto">
            <a:xfrm>
              <a:off x="3641383" y="5342889"/>
              <a:ext cx="75618" cy="51116"/>
            </a:xfrm>
            <a:custGeom>
              <a:avLst/>
              <a:gdLst>
                <a:gd name="T0" fmla="*/ 0 w 76"/>
                <a:gd name="T1" fmla="*/ 0 h 52"/>
                <a:gd name="T2" fmla="*/ 37 w 76"/>
                <a:gd name="T3" fmla="*/ 52 h 52"/>
                <a:gd name="T4" fmla="*/ 46 w 76"/>
                <a:gd name="T5" fmla="*/ 52 h 52"/>
                <a:gd name="T6" fmla="*/ 76 w 76"/>
                <a:gd name="T7" fmla="*/ 43 h 52"/>
                <a:gd name="T8" fmla="*/ 25 w 76"/>
                <a:gd name="T9" fmla="*/ 21 h 52"/>
                <a:gd name="T10" fmla="*/ 0 w 76"/>
                <a:gd name="T11" fmla="*/ 0 h 52"/>
                <a:gd name="T12" fmla="*/ 0 60000 65536"/>
                <a:gd name="T13" fmla="*/ 0 60000 65536"/>
                <a:gd name="T14" fmla="*/ 0 60000 65536"/>
                <a:gd name="T15" fmla="*/ 0 60000 65536"/>
                <a:gd name="T16" fmla="*/ 0 60000 65536"/>
                <a:gd name="T17" fmla="*/ 0 60000 65536"/>
                <a:gd name="T18" fmla="*/ 0 w 76"/>
                <a:gd name="T19" fmla="*/ 0 h 52"/>
                <a:gd name="T20" fmla="*/ 76 w 76"/>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76" h="52">
                  <a:moveTo>
                    <a:pt x="0" y="0"/>
                  </a:moveTo>
                  <a:lnTo>
                    <a:pt x="37" y="52"/>
                  </a:lnTo>
                  <a:lnTo>
                    <a:pt x="46" y="52"/>
                  </a:lnTo>
                  <a:lnTo>
                    <a:pt x="76" y="43"/>
                  </a:lnTo>
                  <a:lnTo>
                    <a:pt x="25" y="21"/>
                  </a:lnTo>
                  <a:lnTo>
                    <a:pt x="0"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24" name="Freeform 923"/>
            <p:cNvSpPr>
              <a:spLocks/>
            </p:cNvSpPr>
            <p:nvPr/>
          </p:nvSpPr>
          <p:spPr bwMode="auto">
            <a:xfrm>
              <a:off x="3578367" y="5342889"/>
              <a:ext cx="99924" cy="51116"/>
            </a:xfrm>
            <a:custGeom>
              <a:avLst/>
              <a:gdLst>
                <a:gd name="T0" fmla="*/ 64 w 101"/>
                <a:gd name="T1" fmla="*/ 0 h 52"/>
                <a:gd name="T2" fmla="*/ 101 w 101"/>
                <a:gd name="T3" fmla="*/ 52 h 52"/>
                <a:gd name="T4" fmla="*/ 76 w 101"/>
                <a:gd name="T5" fmla="*/ 52 h 52"/>
                <a:gd name="T6" fmla="*/ 76 w 101"/>
                <a:gd name="T7" fmla="*/ 43 h 52"/>
                <a:gd name="T8" fmla="*/ 55 w 101"/>
                <a:gd name="T9" fmla="*/ 43 h 52"/>
                <a:gd name="T10" fmla="*/ 25 w 101"/>
                <a:gd name="T11" fmla="*/ 30 h 52"/>
                <a:gd name="T12" fmla="*/ 9 w 101"/>
                <a:gd name="T13" fmla="*/ 30 h 52"/>
                <a:gd name="T14" fmla="*/ 0 w 101"/>
                <a:gd name="T15" fmla="*/ 21 h 52"/>
                <a:gd name="T16" fmla="*/ 0 w 101"/>
                <a:gd name="T17" fmla="*/ 9 h 52"/>
                <a:gd name="T18" fmla="*/ 55 w 101"/>
                <a:gd name="T19" fmla="*/ 30 h 52"/>
                <a:gd name="T20" fmla="*/ 55 w 101"/>
                <a:gd name="T21" fmla="*/ 21 h 52"/>
                <a:gd name="T22" fmla="*/ 64 w 101"/>
                <a:gd name="T23" fmla="*/ 9 h 52"/>
                <a:gd name="T24" fmla="*/ 55 w 101"/>
                <a:gd name="T25" fmla="*/ 9 h 52"/>
                <a:gd name="T26" fmla="*/ 43 w 101"/>
                <a:gd name="T27" fmla="*/ 0 h 52"/>
                <a:gd name="T28" fmla="*/ 64 w 101"/>
                <a:gd name="T29" fmla="*/ 0 h 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1"/>
                <a:gd name="T46" fmla="*/ 0 h 52"/>
                <a:gd name="T47" fmla="*/ 101 w 101"/>
                <a:gd name="T48" fmla="*/ 52 h 5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1" h="52">
                  <a:moveTo>
                    <a:pt x="64" y="0"/>
                  </a:moveTo>
                  <a:lnTo>
                    <a:pt x="101" y="52"/>
                  </a:lnTo>
                  <a:lnTo>
                    <a:pt x="76" y="52"/>
                  </a:lnTo>
                  <a:lnTo>
                    <a:pt x="76" y="43"/>
                  </a:lnTo>
                  <a:lnTo>
                    <a:pt x="55" y="43"/>
                  </a:lnTo>
                  <a:lnTo>
                    <a:pt x="25" y="30"/>
                  </a:lnTo>
                  <a:lnTo>
                    <a:pt x="9" y="30"/>
                  </a:lnTo>
                  <a:lnTo>
                    <a:pt x="0" y="21"/>
                  </a:lnTo>
                  <a:lnTo>
                    <a:pt x="0" y="9"/>
                  </a:lnTo>
                  <a:lnTo>
                    <a:pt x="55" y="30"/>
                  </a:lnTo>
                  <a:lnTo>
                    <a:pt x="55" y="21"/>
                  </a:lnTo>
                  <a:lnTo>
                    <a:pt x="64" y="9"/>
                  </a:lnTo>
                  <a:lnTo>
                    <a:pt x="55" y="9"/>
                  </a:lnTo>
                  <a:lnTo>
                    <a:pt x="43" y="0"/>
                  </a:lnTo>
                  <a:lnTo>
                    <a:pt x="64"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25" name="Freeform 924"/>
            <p:cNvSpPr>
              <a:spLocks/>
            </p:cNvSpPr>
            <p:nvPr/>
          </p:nvSpPr>
          <p:spPr bwMode="auto">
            <a:xfrm>
              <a:off x="3211979" y="4293588"/>
              <a:ext cx="236758" cy="357804"/>
            </a:xfrm>
            <a:custGeom>
              <a:avLst/>
              <a:gdLst>
                <a:gd name="T0" fmla="*/ 12 w 240"/>
                <a:gd name="T1" fmla="*/ 61 h 366"/>
                <a:gd name="T2" fmla="*/ 12 w 240"/>
                <a:gd name="T3" fmla="*/ 85 h 366"/>
                <a:gd name="T4" fmla="*/ 30 w 240"/>
                <a:gd name="T5" fmla="*/ 95 h 366"/>
                <a:gd name="T6" fmla="*/ 55 w 240"/>
                <a:gd name="T7" fmla="*/ 61 h 366"/>
                <a:gd name="T8" fmla="*/ 88 w 240"/>
                <a:gd name="T9" fmla="*/ 52 h 366"/>
                <a:gd name="T10" fmla="*/ 97 w 240"/>
                <a:gd name="T11" fmla="*/ 31 h 366"/>
                <a:gd name="T12" fmla="*/ 109 w 240"/>
                <a:gd name="T13" fmla="*/ 18 h 366"/>
                <a:gd name="T14" fmla="*/ 97 w 240"/>
                <a:gd name="T15" fmla="*/ 0 h 366"/>
                <a:gd name="T16" fmla="*/ 109 w 240"/>
                <a:gd name="T17" fmla="*/ 0 h 366"/>
                <a:gd name="T18" fmla="*/ 123 w 240"/>
                <a:gd name="T19" fmla="*/ 18 h 366"/>
                <a:gd name="T20" fmla="*/ 135 w 240"/>
                <a:gd name="T21" fmla="*/ 52 h 366"/>
                <a:gd name="T22" fmla="*/ 181 w 240"/>
                <a:gd name="T23" fmla="*/ 40 h 366"/>
                <a:gd name="T24" fmla="*/ 190 w 240"/>
                <a:gd name="T25" fmla="*/ 52 h 366"/>
                <a:gd name="T26" fmla="*/ 190 w 240"/>
                <a:gd name="T27" fmla="*/ 73 h 366"/>
                <a:gd name="T28" fmla="*/ 199 w 240"/>
                <a:gd name="T29" fmla="*/ 85 h 366"/>
                <a:gd name="T30" fmla="*/ 156 w 240"/>
                <a:gd name="T31" fmla="*/ 95 h 366"/>
                <a:gd name="T32" fmla="*/ 144 w 240"/>
                <a:gd name="T33" fmla="*/ 116 h 366"/>
                <a:gd name="T34" fmla="*/ 135 w 240"/>
                <a:gd name="T35" fmla="*/ 149 h 366"/>
                <a:gd name="T36" fmla="*/ 144 w 240"/>
                <a:gd name="T37" fmla="*/ 183 h 366"/>
                <a:gd name="T38" fmla="*/ 165 w 240"/>
                <a:gd name="T39" fmla="*/ 201 h 366"/>
                <a:gd name="T40" fmla="*/ 190 w 240"/>
                <a:gd name="T41" fmla="*/ 192 h 366"/>
                <a:gd name="T42" fmla="*/ 190 w 240"/>
                <a:gd name="T43" fmla="*/ 216 h 366"/>
                <a:gd name="T44" fmla="*/ 211 w 240"/>
                <a:gd name="T45" fmla="*/ 216 h 366"/>
                <a:gd name="T46" fmla="*/ 220 w 240"/>
                <a:gd name="T47" fmla="*/ 247 h 366"/>
                <a:gd name="T48" fmla="*/ 220 w 240"/>
                <a:gd name="T49" fmla="*/ 323 h 366"/>
                <a:gd name="T50" fmla="*/ 232 w 240"/>
                <a:gd name="T51" fmla="*/ 332 h 366"/>
                <a:gd name="T52" fmla="*/ 220 w 240"/>
                <a:gd name="T53" fmla="*/ 356 h 366"/>
                <a:gd name="T54" fmla="*/ 199 w 240"/>
                <a:gd name="T55" fmla="*/ 366 h 366"/>
                <a:gd name="T56" fmla="*/ 109 w 240"/>
                <a:gd name="T57" fmla="*/ 302 h 366"/>
                <a:gd name="T58" fmla="*/ 42 w 240"/>
                <a:gd name="T59" fmla="*/ 171 h 366"/>
                <a:gd name="T60" fmla="*/ 21 w 240"/>
                <a:gd name="T61" fmla="*/ 140 h 366"/>
                <a:gd name="T62" fmla="*/ 0 w 240"/>
                <a:gd name="T63" fmla="*/ 116 h 366"/>
                <a:gd name="T64" fmla="*/ 12 w 240"/>
                <a:gd name="T65" fmla="*/ 116 h 366"/>
                <a:gd name="T66" fmla="*/ 0 w 240"/>
                <a:gd name="T67" fmla="*/ 85 h 366"/>
                <a:gd name="T68" fmla="*/ 12 w 240"/>
                <a:gd name="T69" fmla="*/ 61 h 36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0"/>
                <a:gd name="T106" fmla="*/ 0 h 366"/>
                <a:gd name="T107" fmla="*/ 240 w 240"/>
                <a:gd name="T108" fmla="*/ 366 h 36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0" h="366">
                  <a:moveTo>
                    <a:pt x="12" y="61"/>
                  </a:moveTo>
                  <a:lnTo>
                    <a:pt x="12" y="85"/>
                  </a:lnTo>
                  <a:lnTo>
                    <a:pt x="30" y="95"/>
                  </a:lnTo>
                  <a:lnTo>
                    <a:pt x="55" y="61"/>
                  </a:lnTo>
                  <a:lnTo>
                    <a:pt x="88" y="52"/>
                  </a:lnTo>
                  <a:lnTo>
                    <a:pt x="97" y="31"/>
                  </a:lnTo>
                  <a:lnTo>
                    <a:pt x="109" y="18"/>
                  </a:lnTo>
                  <a:lnTo>
                    <a:pt x="97" y="0"/>
                  </a:lnTo>
                  <a:lnTo>
                    <a:pt x="109" y="0"/>
                  </a:lnTo>
                  <a:lnTo>
                    <a:pt x="131" y="18"/>
                  </a:lnTo>
                  <a:lnTo>
                    <a:pt x="143" y="52"/>
                  </a:lnTo>
                  <a:lnTo>
                    <a:pt x="189" y="40"/>
                  </a:lnTo>
                  <a:lnTo>
                    <a:pt x="198" y="52"/>
                  </a:lnTo>
                  <a:lnTo>
                    <a:pt x="198" y="73"/>
                  </a:lnTo>
                  <a:lnTo>
                    <a:pt x="207" y="85"/>
                  </a:lnTo>
                  <a:lnTo>
                    <a:pt x="164" y="95"/>
                  </a:lnTo>
                  <a:lnTo>
                    <a:pt x="152" y="116"/>
                  </a:lnTo>
                  <a:lnTo>
                    <a:pt x="143" y="149"/>
                  </a:lnTo>
                  <a:lnTo>
                    <a:pt x="152" y="183"/>
                  </a:lnTo>
                  <a:lnTo>
                    <a:pt x="173" y="201"/>
                  </a:lnTo>
                  <a:lnTo>
                    <a:pt x="198" y="192"/>
                  </a:lnTo>
                  <a:lnTo>
                    <a:pt x="198" y="216"/>
                  </a:lnTo>
                  <a:lnTo>
                    <a:pt x="219" y="216"/>
                  </a:lnTo>
                  <a:lnTo>
                    <a:pt x="228" y="247"/>
                  </a:lnTo>
                  <a:lnTo>
                    <a:pt x="228" y="323"/>
                  </a:lnTo>
                  <a:lnTo>
                    <a:pt x="240" y="332"/>
                  </a:lnTo>
                  <a:lnTo>
                    <a:pt x="228" y="356"/>
                  </a:lnTo>
                  <a:lnTo>
                    <a:pt x="207" y="366"/>
                  </a:lnTo>
                  <a:lnTo>
                    <a:pt x="109" y="302"/>
                  </a:lnTo>
                  <a:lnTo>
                    <a:pt x="42" y="171"/>
                  </a:lnTo>
                  <a:lnTo>
                    <a:pt x="21" y="140"/>
                  </a:lnTo>
                  <a:lnTo>
                    <a:pt x="0" y="116"/>
                  </a:lnTo>
                  <a:lnTo>
                    <a:pt x="12" y="116"/>
                  </a:lnTo>
                  <a:lnTo>
                    <a:pt x="0" y="85"/>
                  </a:lnTo>
                  <a:lnTo>
                    <a:pt x="12" y="61"/>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26" name="Freeform 925"/>
            <p:cNvSpPr>
              <a:spLocks/>
            </p:cNvSpPr>
            <p:nvPr/>
          </p:nvSpPr>
          <p:spPr bwMode="auto">
            <a:xfrm>
              <a:off x="3211979" y="4257904"/>
              <a:ext cx="106226" cy="128269"/>
            </a:xfrm>
            <a:custGeom>
              <a:avLst/>
              <a:gdLst>
                <a:gd name="T0" fmla="*/ 12 w 109"/>
                <a:gd name="T1" fmla="*/ 97 h 131"/>
                <a:gd name="T2" fmla="*/ 21 w 109"/>
                <a:gd name="T3" fmla="*/ 97 h 131"/>
                <a:gd name="T4" fmla="*/ 0 w 109"/>
                <a:gd name="T5" fmla="*/ 76 h 131"/>
                <a:gd name="T6" fmla="*/ 0 w 109"/>
                <a:gd name="T7" fmla="*/ 54 h 131"/>
                <a:gd name="T8" fmla="*/ 12 w 109"/>
                <a:gd name="T9" fmla="*/ 45 h 131"/>
                <a:gd name="T10" fmla="*/ 12 w 109"/>
                <a:gd name="T11" fmla="*/ 36 h 131"/>
                <a:gd name="T12" fmla="*/ 21 w 109"/>
                <a:gd name="T13" fmla="*/ 36 h 131"/>
                <a:gd name="T14" fmla="*/ 21 w 109"/>
                <a:gd name="T15" fmla="*/ 21 h 131"/>
                <a:gd name="T16" fmla="*/ 42 w 109"/>
                <a:gd name="T17" fmla="*/ 0 h 131"/>
                <a:gd name="T18" fmla="*/ 59 w 109"/>
                <a:gd name="T19" fmla="*/ 36 h 131"/>
                <a:gd name="T20" fmla="*/ 89 w 109"/>
                <a:gd name="T21" fmla="*/ 21 h 131"/>
                <a:gd name="T22" fmla="*/ 101 w 109"/>
                <a:gd name="T23" fmla="*/ 36 h 131"/>
                <a:gd name="T24" fmla="*/ 89 w 109"/>
                <a:gd name="T25" fmla="*/ 36 h 131"/>
                <a:gd name="T26" fmla="*/ 101 w 109"/>
                <a:gd name="T27" fmla="*/ 54 h 131"/>
                <a:gd name="T28" fmla="*/ 89 w 109"/>
                <a:gd name="T29" fmla="*/ 67 h 131"/>
                <a:gd name="T30" fmla="*/ 80 w 109"/>
                <a:gd name="T31" fmla="*/ 88 h 131"/>
                <a:gd name="T32" fmla="*/ 54 w 109"/>
                <a:gd name="T33" fmla="*/ 97 h 131"/>
                <a:gd name="T34" fmla="*/ 30 w 109"/>
                <a:gd name="T35" fmla="*/ 131 h 131"/>
                <a:gd name="T36" fmla="*/ 12 w 109"/>
                <a:gd name="T37" fmla="*/ 121 h 131"/>
                <a:gd name="T38" fmla="*/ 12 w 109"/>
                <a:gd name="T39" fmla="*/ 97 h 13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9"/>
                <a:gd name="T61" fmla="*/ 0 h 131"/>
                <a:gd name="T62" fmla="*/ 109 w 109"/>
                <a:gd name="T63" fmla="*/ 131 h 13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9" h="131">
                  <a:moveTo>
                    <a:pt x="12" y="97"/>
                  </a:moveTo>
                  <a:lnTo>
                    <a:pt x="21" y="97"/>
                  </a:lnTo>
                  <a:lnTo>
                    <a:pt x="0" y="76"/>
                  </a:lnTo>
                  <a:lnTo>
                    <a:pt x="0" y="54"/>
                  </a:lnTo>
                  <a:lnTo>
                    <a:pt x="12" y="45"/>
                  </a:lnTo>
                  <a:lnTo>
                    <a:pt x="12" y="36"/>
                  </a:lnTo>
                  <a:lnTo>
                    <a:pt x="21" y="36"/>
                  </a:lnTo>
                  <a:lnTo>
                    <a:pt x="21" y="21"/>
                  </a:lnTo>
                  <a:lnTo>
                    <a:pt x="42" y="0"/>
                  </a:lnTo>
                  <a:lnTo>
                    <a:pt x="67" y="36"/>
                  </a:lnTo>
                  <a:lnTo>
                    <a:pt x="97" y="21"/>
                  </a:lnTo>
                  <a:lnTo>
                    <a:pt x="109" y="36"/>
                  </a:lnTo>
                  <a:lnTo>
                    <a:pt x="97" y="36"/>
                  </a:lnTo>
                  <a:lnTo>
                    <a:pt x="109" y="54"/>
                  </a:lnTo>
                  <a:lnTo>
                    <a:pt x="97" y="67"/>
                  </a:lnTo>
                  <a:lnTo>
                    <a:pt x="88" y="88"/>
                  </a:lnTo>
                  <a:lnTo>
                    <a:pt x="55" y="97"/>
                  </a:lnTo>
                  <a:lnTo>
                    <a:pt x="30" y="131"/>
                  </a:lnTo>
                  <a:lnTo>
                    <a:pt x="12" y="121"/>
                  </a:lnTo>
                  <a:lnTo>
                    <a:pt x="12" y="97"/>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27" name="Freeform 926"/>
            <p:cNvSpPr>
              <a:spLocks/>
            </p:cNvSpPr>
            <p:nvPr/>
          </p:nvSpPr>
          <p:spPr bwMode="auto">
            <a:xfrm>
              <a:off x="3252489" y="4037049"/>
              <a:ext cx="217853" cy="339480"/>
            </a:xfrm>
            <a:custGeom>
              <a:avLst/>
              <a:gdLst>
                <a:gd name="T0" fmla="*/ 0 w 220"/>
                <a:gd name="T1" fmla="*/ 226 h 347"/>
                <a:gd name="T2" fmla="*/ 25 w 220"/>
                <a:gd name="T3" fmla="*/ 262 h 347"/>
                <a:gd name="T4" fmla="*/ 55 w 220"/>
                <a:gd name="T5" fmla="*/ 247 h 347"/>
                <a:gd name="T6" fmla="*/ 67 w 220"/>
                <a:gd name="T7" fmla="*/ 262 h 347"/>
                <a:gd name="T8" fmla="*/ 89 w 220"/>
                <a:gd name="T9" fmla="*/ 280 h 347"/>
                <a:gd name="T10" fmla="*/ 101 w 220"/>
                <a:gd name="T11" fmla="*/ 314 h 347"/>
                <a:gd name="T12" fmla="*/ 147 w 220"/>
                <a:gd name="T13" fmla="*/ 302 h 347"/>
                <a:gd name="T14" fmla="*/ 156 w 220"/>
                <a:gd name="T15" fmla="*/ 314 h 347"/>
                <a:gd name="T16" fmla="*/ 156 w 220"/>
                <a:gd name="T17" fmla="*/ 335 h 347"/>
                <a:gd name="T18" fmla="*/ 165 w 220"/>
                <a:gd name="T19" fmla="*/ 347 h 347"/>
                <a:gd name="T20" fmla="*/ 165 w 220"/>
                <a:gd name="T21" fmla="*/ 280 h 347"/>
                <a:gd name="T22" fmla="*/ 156 w 220"/>
                <a:gd name="T23" fmla="*/ 247 h 347"/>
                <a:gd name="T24" fmla="*/ 177 w 220"/>
                <a:gd name="T25" fmla="*/ 247 h 347"/>
                <a:gd name="T26" fmla="*/ 165 w 220"/>
                <a:gd name="T27" fmla="*/ 238 h 347"/>
                <a:gd name="T28" fmla="*/ 165 w 220"/>
                <a:gd name="T29" fmla="*/ 226 h 347"/>
                <a:gd name="T30" fmla="*/ 211 w 220"/>
                <a:gd name="T31" fmla="*/ 217 h 347"/>
                <a:gd name="T32" fmla="*/ 220 w 220"/>
                <a:gd name="T33" fmla="*/ 226 h 347"/>
                <a:gd name="T34" fmla="*/ 198 w 220"/>
                <a:gd name="T35" fmla="*/ 195 h 347"/>
                <a:gd name="T36" fmla="*/ 211 w 220"/>
                <a:gd name="T37" fmla="*/ 195 h 347"/>
                <a:gd name="T38" fmla="*/ 198 w 220"/>
                <a:gd name="T39" fmla="*/ 162 h 347"/>
                <a:gd name="T40" fmla="*/ 211 w 220"/>
                <a:gd name="T41" fmla="*/ 131 h 347"/>
                <a:gd name="T42" fmla="*/ 177 w 220"/>
                <a:gd name="T43" fmla="*/ 131 h 347"/>
                <a:gd name="T44" fmla="*/ 165 w 220"/>
                <a:gd name="T45" fmla="*/ 119 h 347"/>
                <a:gd name="T46" fmla="*/ 131 w 220"/>
                <a:gd name="T47" fmla="*/ 107 h 347"/>
                <a:gd name="T48" fmla="*/ 122 w 220"/>
                <a:gd name="T49" fmla="*/ 107 h 347"/>
                <a:gd name="T50" fmla="*/ 122 w 220"/>
                <a:gd name="T51" fmla="*/ 98 h 347"/>
                <a:gd name="T52" fmla="*/ 110 w 220"/>
                <a:gd name="T53" fmla="*/ 64 h 347"/>
                <a:gd name="T54" fmla="*/ 122 w 220"/>
                <a:gd name="T55" fmla="*/ 31 h 347"/>
                <a:gd name="T56" fmla="*/ 131 w 220"/>
                <a:gd name="T57" fmla="*/ 22 h 347"/>
                <a:gd name="T58" fmla="*/ 147 w 220"/>
                <a:gd name="T59" fmla="*/ 10 h 347"/>
                <a:gd name="T60" fmla="*/ 147 w 220"/>
                <a:gd name="T61" fmla="*/ 0 h 347"/>
                <a:gd name="T62" fmla="*/ 101 w 220"/>
                <a:gd name="T63" fmla="*/ 31 h 347"/>
                <a:gd name="T64" fmla="*/ 89 w 220"/>
                <a:gd name="T65" fmla="*/ 31 h 347"/>
                <a:gd name="T66" fmla="*/ 67 w 220"/>
                <a:gd name="T67" fmla="*/ 31 h 347"/>
                <a:gd name="T68" fmla="*/ 67 w 220"/>
                <a:gd name="T69" fmla="*/ 64 h 347"/>
                <a:gd name="T70" fmla="*/ 46 w 220"/>
                <a:gd name="T71" fmla="*/ 86 h 347"/>
                <a:gd name="T72" fmla="*/ 46 w 220"/>
                <a:gd name="T73" fmla="*/ 98 h 347"/>
                <a:gd name="T74" fmla="*/ 34 w 220"/>
                <a:gd name="T75" fmla="*/ 86 h 347"/>
                <a:gd name="T76" fmla="*/ 34 w 220"/>
                <a:gd name="T77" fmla="*/ 98 h 347"/>
                <a:gd name="T78" fmla="*/ 25 w 220"/>
                <a:gd name="T79" fmla="*/ 107 h 347"/>
                <a:gd name="T80" fmla="*/ 25 w 220"/>
                <a:gd name="T81" fmla="*/ 119 h 347"/>
                <a:gd name="T82" fmla="*/ 25 w 220"/>
                <a:gd name="T83" fmla="*/ 171 h 347"/>
                <a:gd name="T84" fmla="*/ 34 w 220"/>
                <a:gd name="T85" fmla="*/ 186 h 347"/>
                <a:gd name="T86" fmla="*/ 25 w 220"/>
                <a:gd name="T87" fmla="*/ 204 h 347"/>
                <a:gd name="T88" fmla="*/ 13 w 220"/>
                <a:gd name="T89" fmla="*/ 204 h 347"/>
                <a:gd name="T90" fmla="*/ 0 w 220"/>
                <a:gd name="T91" fmla="*/ 226 h 34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0"/>
                <a:gd name="T139" fmla="*/ 0 h 347"/>
                <a:gd name="T140" fmla="*/ 220 w 220"/>
                <a:gd name="T141" fmla="*/ 347 h 34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0" h="347">
                  <a:moveTo>
                    <a:pt x="0" y="226"/>
                  </a:moveTo>
                  <a:lnTo>
                    <a:pt x="25" y="262"/>
                  </a:lnTo>
                  <a:lnTo>
                    <a:pt x="55" y="247"/>
                  </a:lnTo>
                  <a:lnTo>
                    <a:pt x="67" y="262"/>
                  </a:lnTo>
                  <a:lnTo>
                    <a:pt x="89" y="280"/>
                  </a:lnTo>
                  <a:lnTo>
                    <a:pt x="101" y="314"/>
                  </a:lnTo>
                  <a:lnTo>
                    <a:pt x="147" y="302"/>
                  </a:lnTo>
                  <a:lnTo>
                    <a:pt x="156" y="314"/>
                  </a:lnTo>
                  <a:lnTo>
                    <a:pt x="156" y="335"/>
                  </a:lnTo>
                  <a:lnTo>
                    <a:pt x="165" y="347"/>
                  </a:lnTo>
                  <a:lnTo>
                    <a:pt x="165" y="280"/>
                  </a:lnTo>
                  <a:lnTo>
                    <a:pt x="156" y="247"/>
                  </a:lnTo>
                  <a:lnTo>
                    <a:pt x="177" y="247"/>
                  </a:lnTo>
                  <a:lnTo>
                    <a:pt x="165" y="238"/>
                  </a:lnTo>
                  <a:lnTo>
                    <a:pt x="165" y="226"/>
                  </a:lnTo>
                  <a:lnTo>
                    <a:pt x="211" y="217"/>
                  </a:lnTo>
                  <a:lnTo>
                    <a:pt x="220" y="226"/>
                  </a:lnTo>
                  <a:lnTo>
                    <a:pt x="198" y="195"/>
                  </a:lnTo>
                  <a:lnTo>
                    <a:pt x="211" y="195"/>
                  </a:lnTo>
                  <a:lnTo>
                    <a:pt x="198" y="162"/>
                  </a:lnTo>
                  <a:lnTo>
                    <a:pt x="211" y="131"/>
                  </a:lnTo>
                  <a:lnTo>
                    <a:pt x="177" y="131"/>
                  </a:lnTo>
                  <a:lnTo>
                    <a:pt x="165" y="119"/>
                  </a:lnTo>
                  <a:lnTo>
                    <a:pt x="131" y="107"/>
                  </a:lnTo>
                  <a:lnTo>
                    <a:pt x="122" y="107"/>
                  </a:lnTo>
                  <a:lnTo>
                    <a:pt x="122" y="98"/>
                  </a:lnTo>
                  <a:lnTo>
                    <a:pt x="110" y="64"/>
                  </a:lnTo>
                  <a:lnTo>
                    <a:pt x="122" y="31"/>
                  </a:lnTo>
                  <a:lnTo>
                    <a:pt x="131" y="22"/>
                  </a:lnTo>
                  <a:lnTo>
                    <a:pt x="147" y="10"/>
                  </a:lnTo>
                  <a:lnTo>
                    <a:pt x="147" y="0"/>
                  </a:lnTo>
                  <a:lnTo>
                    <a:pt x="101" y="31"/>
                  </a:lnTo>
                  <a:lnTo>
                    <a:pt x="89" y="31"/>
                  </a:lnTo>
                  <a:lnTo>
                    <a:pt x="67" y="31"/>
                  </a:lnTo>
                  <a:lnTo>
                    <a:pt x="67" y="64"/>
                  </a:lnTo>
                  <a:lnTo>
                    <a:pt x="46" y="86"/>
                  </a:lnTo>
                  <a:lnTo>
                    <a:pt x="46" y="98"/>
                  </a:lnTo>
                  <a:lnTo>
                    <a:pt x="34" y="86"/>
                  </a:lnTo>
                  <a:lnTo>
                    <a:pt x="34" y="98"/>
                  </a:lnTo>
                  <a:lnTo>
                    <a:pt x="25" y="107"/>
                  </a:lnTo>
                  <a:lnTo>
                    <a:pt x="25" y="119"/>
                  </a:lnTo>
                  <a:lnTo>
                    <a:pt x="25" y="171"/>
                  </a:lnTo>
                  <a:lnTo>
                    <a:pt x="34" y="186"/>
                  </a:lnTo>
                  <a:lnTo>
                    <a:pt x="25" y="204"/>
                  </a:lnTo>
                  <a:lnTo>
                    <a:pt x="13" y="204"/>
                  </a:lnTo>
                  <a:lnTo>
                    <a:pt x="0" y="226"/>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28" name="Freeform 927"/>
            <p:cNvSpPr>
              <a:spLocks/>
            </p:cNvSpPr>
            <p:nvPr/>
          </p:nvSpPr>
          <p:spPr bwMode="auto">
            <a:xfrm>
              <a:off x="3361415" y="4046693"/>
              <a:ext cx="241258" cy="222784"/>
            </a:xfrm>
            <a:custGeom>
              <a:avLst/>
              <a:gdLst>
                <a:gd name="T0" fmla="*/ 244 w 244"/>
                <a:gd name="T1" fmla="*/ 76 h 228"/>
                <a:gd name="T2" fmla="*/ 228 w 244"/>
                <a:gd name="T3" fmla="*/ 76 h 228"/>
                <a:gd name="T4" fmla="*/ 219 w 244"/>
                <a:gd name="T5" fmla="*/ 76 h 228"/>
                <a:gd name="T6" fmla="*/ 219 w 244"/>
                <a:gd name="T7" fmla="*/ 54 h 228"/>
                <a:gd name="T8" fmla="*/ 198 w 244"/>
                <a:gd name="T9" fmla="*/ 45 h 228"/>
                <a:gd name="T10" fmla="*/ 186 w 244"/>
                <a:gd name="T11" fmla="*/ 33 h 228"/>
                <a:gd name="T12" fmla="*/ 198 w 244"/>
                <a:gd name="T13" fmla="*/ 33 h 228"/>
                <a:gd name="T14" fmla="*/ 165 w 244"/>
                <a:gd name="T15" fmla="*/ 33 h 228"/>
                <a:gd name="T16" fmla="*/ 143 w 244"/>
                <a:gd name="T17" fmla="*/ 45 h 228"/>
                <a:gd name="T18" fmla="*/ 122 w 244"/>
                <a:gd name="T19" fmla="*/ 33 h 228"/>
                <a:gd name="T20" fmla="*/ 88 w 244"/>
                <a:gd name="T21" fmla="*/ 33 h 228"/>
                <a:gd name="T22" fmla="*/ 88 w 244"/>
                <a:gd name="T23" fmla="*/ 21 h 228"/>
                <a:gd name="T24" fmla="*/ 67 w 244"/>
                <a:gd name="T25" fmla="*/ 12 h 228"/>
                <a:gd name="T26" fmla="*/ 55 w 244"/>
                <a:gd name="T27" fmla="*/ 0 h 228"/>
                <a:gd name="T28" fmla="*/ 55 w 244"/>
                <a:gd name="T29" fmla="*/ 12 h 228"/>
                <a:gd name="T30" fmla="*/ 37 w 244"/>
                <a:gd name="T31" fmla="*/ 21 h 228"/>
                <a:gd name="T32" fmla="*/ 37 w 244"/>
                <a:gd name="T33" fmla="*/ 54 h 228"/>
                <a:gd name="T34" fmla="*/ 21 w 244"/>
                <a:gd name="T35" fmla="*/ 66 h 228"/>
                <a:gd name="T36" fmla="*/ 21 w 244"/>
                <a:gd name="T37" fmla="*/ 45 h 228"/>
                <a:gd name="T38" fmla="*/ 37 w 244"/>
                <a:gd name="T39" fmla="*/ 33 h 228"/>
                <a:gd name="T40" fmla="*/ 21 w 244"/>
                <a:gd name="T41" fmla="*/ 12 h 228"/>
                <a:gd name="T42" fmla="*/ 12 w 244"/>
                <a:gd name="T43" fmla="*/ 21 h 228"/>
                <a:gd name="T44" fmla="*/ 0 w 244"/>
                <a:gd name="T45" fmla="*/ 54 h 228"/>
                <a:gd name="T46" fmla="*/ 12 w 244"/>
                <a:gd name="T47" fmla="*/ 88 h 228"/>
                <a:gd name="T48" fmla="*/ 12 w 244"/>
                <a:gd name="T49" fmla="*/ 97 h 228"/>
                <a:gd name="T50" fmla="*/ 21 w 244"/>
                <a:gd name="T51" fmla="*/ 97 h 228"/>
                <a:gd name="T52" fmla="*/ 55 w 244"/>
                <a:gd name="T53" fmla="*/ 109 h 228"/>
                <a:gd name="T54" fmla="*/ 67 w 244"/>
                <a:gd name="T55" fmla="*/ 121 h 228"/>
                <a:gd name="T56" fmla="*/ 101 w 244"/>
                <a:gd name="T57" fmla="*/ 121 h 228"/>
                <a:gd name="T58" fmla="*/ 88 w 244"/>
                <a:gd name="T59" fmla="*/ 152 h 228"/>
                <a:gd name="T60" fmla="*/ 101 w 244"/>
                <a:gd name="T61" fmla="*/ 185 h 228"/>
                <a:gd name="T62" fmla="*/ 88 w 244"/>
                <a:gd name="T63" fmla="*/ 185 h 228"/>
                <a:gd name="T64" fmla="*/ 110 w 244"/>
                <a:gd name="T65" fmla="*/ 216 h 228"/>
                <a:gd name="T66" fmla="*/ 110 w 244"/>
                <a:gd name="T67" fmla="*/ 228 h 228"/>
                <a:gd name="T68" fmla="*/ 131 w 244"/>
                <a:gd name="T69" fmla="*/ 228 h 228"/>
                <a:gd name="T70" fmla="*/ 165 w 244"/>
                <a:gd name="T71" fmla="*/ 207 h 228"/>
                <a:gd name="T72" fmla="*/ 152 w 244"/>
                <a:gd name="T73" fmla="*/ 194 h 228"/>
                <a:gd name="T74" fmla="*/ 152 w 244"/>
                <a:gd name="T75" fmla="*/ 176 h 228"/>
                <a:gd name="T76" fmla="*/ 143 w 244"/>
                <a:gd name="T77" fmla="*/ 161 h 228"/>
                <a:gd name="T78" fmla="*/ 177 w 244"/>
                <a:gd name="T79" fmla="*/ 176 h 228"/>
                <a:gd name="T80" fmla="*/ 219 w 244"/>
                <a:gd name="T81" fmla="*/ 152 h 228"/>
                <a:gd name="T82" fmla="*/ 219 w 244"/>
                <a:gd name="T83" fmla="*/ 140 h 228"/>
                <a:gd name="T84" fmla="*/ 207 w 244"/>
                <a:gd name="T85" fmla="*/ 130 h 228"/>
                <a:gd name="T86" fmla="*/ 219 w 244"/>
                <a:gd name="T87" fmla="*/ 109 h 228"/>
                <a:gd name="T88" fmla="*/ 228 w 244"/>
                <a:gd name="T89" fmla="*/ 109 h 228"/>
                <a:gd name="T90" fmla="*/ 219 w 244"/>
                <a:gd name="T91" fmla="*/ 97 h 228"/>
                <a:gd name="T92" fmla="*/ 219 w 244"/>
                <a:gd name="T93" fmla="*/ 88 h 228"/>
                <a:gd name="T94" fmla="*/ 244 w 244"/>
                <a:gd name="T95" fmla="*/ 76 h 22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44"/>
                <a:gd name="T145" fmla="*/ 0 h 228"/>
                <a:gd name="T146" fmla="*/ 244 w 244"/>
                <a:gd name="T147" fmla="*/ 228 h 22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44" h="228">
                  <a:moveTo>
                    <a:pt x="244" y="76"/>
                  </a:moveTo>
                  <a:lnTo>
                    <a:pt x="228" y="76"/>
                  </a:lnTo>
                  <a:lnTo>
                    <a:pt x="219" y="76"/>
                  </a:lnTo>
                  <a:lnTo>
                    <a:pt x="219" y="54"/>
                  </a:lnTo>
                  <a:lnTo>
                    <a:pt x="198" y="45"/>
                  </a:lnTo>
                  <a:lnTo>
                    <a:pt x="186" y="33"/>
                  </a:lnTo>
                  <a:lnTo>
                    <a:pt x="198" y="33"/>
                  </a:lnTo>
                  <a:lnTo>
                    <a:pt x="165" y="33"/>
                  </a:lnTo>
                  <a:lnTo>
                    <a:pt x="143" y="45"/>
                  </a:lnTo>
                  <a:lnTo>
                    <a:pt x="122" y="33"/>
                  </a:lnTo>
                  <a:lnTo>
                    <a:pt x="88" y="33"/>
                  </a:lnTo>
                  <a:lnTo>
                    <a:pt x="88" y="21"/>
                  </a:lnTo>
                  <a:lnTo>
                    <a:pt x="67" y="12"/>
                  </a:lnTo>
                  <a:lnTo>
                    <a:pt x="55" y="0"/>
                  </a:lnTo>
                  <a:lnTo>
                    <a:pt x="55" y="12"/>
                  </a:lnTo>
                  <a:lnTo>
                    <a:pt x="37" y="21"/>
                  </a:lnTo>
                  <a:lnTo>
                    <a:pt x="37" y="54"/>
                  </a:lnTo>
                  <a:lnTo>
                    <a:pt x="21" y="66"/>
                  </a:lnTo>
                  <a:lnTo>
                    <a:pt x="21" y="45"/>
                  </a:lnTo>
                  <a:lnTo>
                    <a:pt x="37" y="33"/>
                  </a:lnTo>
                  <a:lnTo>
                    <a:pt x="21" y="12"/>
                  </a:lnTo>
                  <a:lnTo>
                    <a:pt x="12" y="21"/>
                  </a:lnTo>
                  <a:lnTo>
                    <a:pt x="0" y="54"/>
                  </a:lnTo>
                  <a:lnTo>
                    <a:pt x="12" y="88"/>
                  </a:lnTo>
                  <a:lnTo>
                    <a:pt x="12" y="97"/>
                  </a:lnTo>
                  <a:lnTo>
                    <a:pt x="21" y="97"/>
                  </a:lnTo>
                  <a:lnTo>
                    <a:pt x="55" y="109"/>
                  </a:lnTo>
                  <a:lnTo>
                    <a:pt x="67" y="121"/>
                  </a:lnTo>
                  <a:lnTo>
                    <a:pt x="101" y="121"/>
                  </a:lnTo>
                  <a:lnTo>
                    <a:pt x="88" y="152"/>
                  </a:lnTo>
                  <a:lnTo>
                    <a:pt x="101" y="185"/>
                  </a:lnTo>
                  <a:lnTo>
                    <a:pt x="88" y="185"/>
                  </a:lnTo>
                  <a:lnTo>
                    <a:pt x="110" y="216"/>
                  </a:lnTo>
                  <a:lnTo>
                    <a:pt x="110" y="228"/>
                  </a:lnTo>
                  <a:lnTo>
                    <a:pt x="131" y="228"/>
                  </a:lnTo>
                  <a:lnTo>
                    <a:pt x="165" y="207"/>
                  </a:lnTo>
                  <a:lnTo>
                    <a:pt x="152" y="194"/>
                  </a:lnTo>
                  <a:lnTo>
                    <a:pt x="152" y="176"/>
                  </a:lnTo>
                  <a:lnTo>
                    <a:pt x="143" y="161"/>
                  </a:lnTo>
                  <a:lnTo>
                    <a:pt x="177" y="176"/>
                  </a:lnTo>
                  <a:lnTo>
                    <a:pt x="219" y="152"/>
                  </a:lnTo>
                  <a:lnTo>
                    <a:pt x="219" y="140"/>
                  </a:lnTo>
                  <a:lnTo>
                    <a:pt x="207" y="130"/>
                  </a:lnTo>
                  <a:lnTo>
                    <a:pt x="219" y="109"/>
                  </a:lnTo>
                  <a:lnTo>
                    <a:pt x="228" y="109"/>
                  </a:lnTo>
                  <a:lnTo>
                    <a:pt x="219" y="97"/>
                  </a:lnTo>
                  <a:lnTo>
                    <a:pt x="219" y="88"/>
                  </a:lnTo>
                  <a:lnTo>
                    <a:pt x="244" y="76"/>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29" name="Freeform 928"/>
            <p:cNvSpPr>
              <a:spLocks/>
            </p:cNvSpPr>
            <p:nvPr/>
          </p:nvSpPr>
          <p:spPr bwMode="auto">
            <a:xfrm>
              <a:off x="3696296" y="4173998"/>
              <a:ext cx="45011" cy="75226"/>
            </a:xfrm>
            <a:custGeom>
              <a:avLst/>
              <a:gdLst>
                <a:gd name="T0" fmla="*/ 46 w 46"/>
                <a:gd name="T1" fmla="*/ 31 h 77"/>
                <a:gd name="T2" fmla="*/ 0 w 46"/>
                <a:gd name="T3" fmla="*/ 0 h 77"/>
                <a:gd name="T4" fmla="*/ 0 w 46"/>
                <a:gd name="T5" fmla="*/ 22 h 77"/>
                <a:gd name="T6" fmla="*/ 0 w 46"/>
                <a:gd name="T7" fmla="*/ 46 h 77"/>
                <a:gd name="T8" fmla="*/ 0 w 46"/>
                <a:gd name="T9" fmla="*/ 77 h 77"/>
                <a:gd name="T10" fmla="*/ 21 w 46"/>
                <a:gd name="T11" fmla="*/ 77 h 77"/>
                <a:gd name="T12" fmla="*/ 46 w 46"/>
                <a:gd name="T13" fmla="*/ 31 h 77"/>
                <a:gd name="T14" fmla="*/ 0 60000 65536"/>
                <a:gd name="T15" fmla="*/ 0 60000 65536"/>
                <a:gd name="T16" fmla="*/ 0 60000 65536"/>
                <a:gd name="T17" fmla="*/ 0 60000 65536"/>
                <a:gd name="T18" fmla="*/ 0 60000 65536"/>
                <a:gd name="T19" fmla="*/ 0 60000 65536"/>
                <a:gd name="T20" fmla="*/ 0 60000 65536"/>
                <a:gd name="T21" fmla="*/ 0 w 46"/>
                <a:gd name="T22" fmla="*/ 0 h 77"/>
                <a:gd name="T23" fmla="*/ 46 w 46"/>
                <a:gd name="T24" fmla="*/ 77 h 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77">
                  <a:moveTo>
                    <a:pt x="46" y="31"/>
                  </a:moveTo>
                  <a:lnTo>
                    <a:pt x="0" y="0"/>
                  </a:lnTo>
                  <a:lnTo>
                    <a:pt x="0" y="22"/>
                  </a:lnTo>
                  <a:lnTo>
                    <a:pt x="0" y="46"/>
                  </a:lnTo>
                  <a:lnTo>
                    <a:pt x="0" y="77"/>
                  </a:lnTo>
                  <a:lnTo>
                    <a:pt x="21" y="77"/>
                  </a:lnTo>
                  <a:lnTo>
                    <a:pt x="46" y="31"/>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30" name="Freeform 929"/>
            <p:cNvSpPr>
              <a:spLocks/>
            </p:cNvSpPr>
            <p:nvPr/>
          </p:nvSpPr>
          <p:spPr bwMode="auto">
            <a:xfrm>
              <a:off x="3632381" y="4173998"/>
              <a:ext cx="63915" cy="75226"/>
            </a:xfrm>
            <a:custGeom>
              <a:avLst/>
              <a:gdLst>
                <a:gd name="T0" fmla="*/ 64 w 64"/>
                <a:gd name="T1" fmla="*/ 0 h 77"/>
                <a:gd name="T2" fmla="*/ 64 w 64"/>
                <a:gd name="T3" fmla="*/ 22 h 77"/>
                <a:gd name="T4" fmla="*/ 64 w 64"/>
                <a:gd name="T5" fmla="*/ 46 h 77"/>
                <a:gd name="T6" fmla="*/ 64 w 64"/>
                <a:gd name="T7" fmla="*/ 77 h 77"/>
                <a:gd name="T8" fmla="*/ 34 w 64"/>
                <a:gd name="T9" fmla="*/ 64 h 77"/>
                <a:gd name="T10" fmla="*/ 34 w 64"/>
                <a:gd name="T11" fmla="*/ 77 h 77"/>
                <a:gd name="T12" fmla="*/ 21 w 64"/>
                <a:gd name="T13" fmla="*/ 77 h 77"/>
                <a:gd name="T14" fmla="*/ 0 w 64"/>
                <a:gd name="T15" fmla="*/ 31 h 77"/>
                <a:gd name="T16" fmla="*/ 9 w 64"/>
                <a:gd name="T17" fmla="*/ 0 h 77"/>
                <a:gd name="T18" fmla="*/ 55 w 64"/>
                <a:gd name="T19" fmla="*/ 0 h 77"/>
                <a:gd name="T20" fmla="*/ 64 w 64"/>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
                <a:gd name="T34" fmla="*/ 0 h 77"/>
                <a:gd name="T35" fmla="*/ 64 w 64"/>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 h="77">
                  <a:moveTo>
                    <a:pt x="64" y="0"/>
                  </a:moveTo>
                  <a:lnTo>
                    <a:pt x="64" y="22"/>
                  </a:lnTo>
                  <a:lnTo>
                    <a:pt x="64" y="46"/>
                  </a:lnTo>
                  <a:lnTo>
                    <a:pt x="64" y="77"/>
                  </a:lnTo>
                  <a:lnTo>
                    <a:pt x="34" y="64"/>
                  </a:lnTo>
                  <a:lnTo>
                    <a:pt x="34" y="77"/>
                  </a:lnTo>
                  <a:lnTo>
                    <a:pt x="21" y="77"/>
                  </a:lnTo>
                  <a:lnTo>
                    <a:pt x="0" y="31"/>
                  </a:lnTo>
                  <a:lnTo>
                    <a:pt x="9" y="0"/>
                  </a:lnTo>
                  <a:lnTo>
                    <a:pt x="55" y="0"/>
                  </a:lnTo>
                  <a:lnTo>
                    <a:pt x="64"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31" name="Freeform 930"/>
            <p:cNvSpPr>
              <a:spLocks/>
            </p:cNvSpPr>
            <p:nvPr/>
          </p:nvSpPr>
          <p:spPr bwMode="auto">
            <a:xfrm>
              <a:off x="3415427" y="4641748"/>
              <a:ext cx="216952" cy="722358"/>
            </a:xfrm>
            <a:custGeom>
              <a:avLst/>
              <a:gdLst>
                <a:gd name="T0" fmla="*/ 21 w 219"/>
                <a:gd name="T1" fmla="*/ 86 h 737"/>
                <a:gd name="T2" fmla="*/ 33 w 219"/>
                <a:gd name="T3" fmla="*/ 183 h 737"/>
                <a:gd name="T4" fmla="*/ 33 w 219"/>
                <a:gd name="T5" fmla="*/ 259 h 737"/>
                <a:gd name="T6" fmla="*/ 46 w 219"/>
                <a:gd name="T7" fmla="*/ 305 h 737"/>
                <a:gd name="T8" fmla="*/ 46 w 219"/>
                <a:gd name="T9" fmla="*/ 399 h 737"/>
                <a:gd name="T10" fmla="*/ 33 w 219"/>
                <a:gd name="T11" fmla="*/ 408 h 737"/>
                <a:gd name="T12" fmla="*/ 55 w 219"/>
                <a:gd name="T13" fmla="*/ 475 h 737"/>
                <a:gd name="T14" fmla="*/ 67 w 219"/>
                <a:gd name="T15" fmla="*/ 485 h 737"/>
                <a:gd name="T16" fmla="*/ 88 w 219"/>
                <a:gd name="T17" fmla="*/ 539 h 737"/>
                <a:gd name="T18" fmla="*/ 76 w 219"/>
                <a:gd name="T19" fmla="*/ 576 h 737"/>
                <a:gd name="T20" fmla="*/ 67 w 219"/>
                <a:gd name="T21" fmla="*/ 597 h 737"/>
                <a:gd name="T22" fmla="*/ 97 w 219"/>
                <a:gd name="T23" fmla="*/ 628 h 737"/>
                <a:gd name="T24" fmla="*/ 88 w 219"/>
                <a:gd name="T25" fmla="*/ 628 h 737"/>
                <a:gd name="T26" fmla="*/ 110 w 219"/>
                <a:gd name="T27" fmla="*/ 661 h 737"/>
                <a:gd name="T28" fmla="*/ 122 w 219"/>
                <a:gd name="T29" fmla="*/ 661 h 737"/>
                <a:gd name="T30" fmla="*/ 122 w 219"/>
                <a:gd name="T31" fmla="*/ 692 h 737"/>
                <a:gd name="T32" fmla="*/ 131 w 219"/>
                <a:gd name="T33" fmla="*/ 682 h 737"/>
                <a:gd name="T34" fmla="*/ 131 w 219"/>
                <a:gd name="T35" fmla="*/ 692 h 737"/>
                <a:gd name="T36" fmla="*/ 143 w 219"/>
                <a:gd name="T37" fmla="*/ 716 h 737"/>
                <a:gd name="T38" fmla="*/ 207 w 219"/>
                <a:gd name="T39" fmla="*/ 737 h 737"/>
                <a:gd name="T40" fmla="*/ 219 w 219"/>
                <a:gd name="T41" fmla="*/ 716 h 737"/>
                <a:gd name="T42" fmla="*/ 173 w 219"/>
                <a:gd name="T43" fmla="*/ 701 h 737"/>
                <a:gd name="T44" fmla="*/ 143 w 219"/>
                <a:gd name="T45" fmla="*/ 670 h 737"/>
                <a:gd name="T46" fmla="*/ 131 w 219"/>
                <a:gd name="T47" fmla="*/ 597 h 737"/>
                <a:gd name="T48" fmla="*/ 122 w 219"/>
                <a:gd name="T49" fmla="*/ 564 h 737"/>
                <a:gd name="T50" fmla="*/ 97 w 219"/>
                <a:gd name="T51" fmla="*/ 521 h 737"/>
                <a:gd name="T52" fmla="*/ 88 w 219"/>
                <a:gd name="T53" fmla="*/ 485 h 737"/>
                <a:gd name="T54" fmla="*/ 67 w 219"/>
                <a:gd name="T55" fmla="*/ 399 h 737"/>
                <a:gd name="T56" fmla="*/ 67 w 219"/>
                <a:gd name="T57" fmla="*/ 369 h 737"/>
                <a:gd name="T58" fmla="*/ 55 w 219"/>
                <a:gd name="T59" fmla="*/ 284 h 737"/>
                <a:gd name="T60" fmla="*/ 67 w 219"/>
                <a:gd name="T61" fmla="*/ 183 h 737"/>
                <a:gd name="T62" fmla="*/ 76 w 219"/>
                <a:gd name="T63" fmla="*/ 128 h 737"/>
                <a:gd name="T64" fmla="*/ 67 w 219"/>
                <a:gd name="T65" fmla="*/ 107 h 737"/>
                <a:gd name="T66" fmla="*/ 46 w 219"/>
                <a:gd name="T67" fmla="*/ 31 h 737"/>
                <a:gd name="T68" fmla="*/ 0 w 219"/>
                <a:gd name="T69" fmla="*/ 10 h 73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19"/>
                <a:gd name="T106" fmla="*/ 0 h 737"/>
                <a:gd name="T107" fmla="*/ 219 w 219"/>
                <a:gd name="T108" fmla="*/ 737 h 73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19" h="737">
                  <a:moveTo>
                    <a:pt x="0" y="10"/>
                  </a:moveTo>
                  <a:lnTo>
                    <a:pt x="21" y="86"/>
                  </a:lnTo>
                  <a:lnTo>
                    <a:pt x="21" y="107"/>
                  </a:lnTo>
                  <a:lnTo>
                    <a:pt x="33" y="183"/>
                  </a:lnTo>
                  <a:lnTo>
                    <a:pt x="21" y="238"/>
                  </a:lnTo>
                  <a:lnTo>
                    <a:pt x="33" y="259"/>
                  </a:lnTo>
                  <a:lnTo>
                    <a:pt x="21" y="268"/>
                  </a:lnTo>
                  <a:lnTo>
                    <a:pt x="46" y="305"/>
                  </a:lnTo>
                  <a:lnTo>
                    <a:pt x="46" y="335"/>
                  </a:lnTo>
                  <a:lnTo>
                    <a:pt x="46" y="399"/>
                  </a:lnTo>
                  <a:lnTo>
                    <a:pt x="33" y="399"/>
                  </a:lnTo>
                  <a:lnTo>
                    <a:pt x="33" y="408"/>
                  </a:lnTo>
                  <a:lnTo>
                    <a:pt x="55" y="454"/>
                  </a:lnTo>
                  <a:lnTo>
                    <a:pt x="55" y="475"/>
                  </a:lnTo>
                  <a:lnTo>
                    <a:pt x="67" y="500"/>
                  </a:lnTo>
                  <a:lnTo>
                    <a:pt x="67" y="485"/>
                  </a:lnTo>
                  <a:lnTo>
                    <a:pt x="76" y="500"/>
                  </a:lnTo>
                  <a:lnTo>
                    <a:pt x="88" y="539"/>
                  </a:lnTo>
                  <a:lnTo>
                    <a:pt x="67" y="539"/>
                  </a:lnTo>
                  <a:lnTo>
                    <a:pt x="76" y="576"/>
                  </a:lnTo>
                  <a:lnTo>
                    <a:pt x="76" y="585"/>
                  </a:lnTo>
                  <a:lnTo>
                    <a:pt x="67" y="597"/>
                  </a:lnTo>
                  <a:lnTo>
                    <a:pt x="97" y="597"/>
                  </a:lnTo>
                  <a:lnTo>
                    <a:pt x="97" y="628"/>
                  </a:lnTo>
                  <a:lnTo>
                    <a:pt x="88" y="615"/>
                  </a:lnTo>
                  <a:lnTo>
                    <a:pt x="88" y="628"/>
                  </a:lnTo>
                  <a:lnTo>
                    <a:pt x="97" y="661"/>
                  </a:lnTo>
                  <a:lnTo>
                    <a:pt x="110" y="661"/>
                  </a:lnTo>
                  <a:lnTo>
                    <a:pt x="110" y="670"/>
                  </a:lnTo>
                  <a:lnTo>
                    <a:pt x="122" y="661"/>
                  </a:lnTo>
                  <a:lnTo>
                    <a:pt x="122" y="670"/>
                  </a:lnTo>
                  <a:lnTo>
                    <a:pt x="122" y="692"/>
                  </a:lnTo>
                  <a:lnTo>
                    <a:pt x="131" y="692"/>
                  </a:lnTo>
                  <a:lnTo>
                    <a:pt x="131" y="682"/>
                  </a:lnTo>
                  <a:lnTo>
                    <a:pt x="143" y="692"/>
                  </a:lnTo>
                  <a:lnTo>
                    <a:pt x="131" y="692"/>
                  </a:lnTo>
                  <a:lnTo>
                    <a:pt x="131" y="701"/>
                  </a:lnTo>
                  <a:lnTo>
                    <a:pt x="143" y="716"/>
                  </a:lnTo>
                  <a:lnTo>
                    <a:pt x="143" y="701"/>
                  </a:lnTo>
                  <a:lnTo>
                    <a:pt x="207" y="737"/>
                  </a:lnTo>
                  <a:lnTo>
                    <a:pt x="207" y="716"/>
                  </a:lnTo>
                  <a:lnTo>
                    <a:pt x="219" y="716"/>
                  </a:lnTo>
                  <a:lnTo>
                    <a:pt x="219" y="701"/>
                  </a:lnTo>
                  <a:lnTo>
                    <a:pt x="173" y="701"/>
                  </a:lnTo>
                  <a:lnTo>
                    <a:pt x="152" y="670"/>
                  </a:lnTo>
                  <a:lnTo>
                    <a:pt x="143" y="670"/>
                  </a:lnTo>
                  <a:lnTo>
                    <a:pt x="131" y="661"/>
                  </a:lnTo>
                  <a:lnTo>
                    <a:pt x="131" y="597"/>
                  </a:lnTo>
                  <a:lnTo>
                    <a:pt x="122" y="551"/>
                  </a:lnTo>
                  <a:lnTo>
                    <a:pt x="122" y="564"/>
                  </a:lnTo>
                  <a:lnTo>
                    <a:pt x="110" y="551"/>
                  </a:lnTo>
                  <a:lnTo>
                    <a:pt x="97" y="521"/>
                  </a:lnTo>
                  <a:lnTo>
                    <a:pt x="97" y="500"/>
                  </a:lnTo>
                  <a:lnTo>
                    <a:pt x="88" y="485"/>
                  </a:lnTo>
                  <a:lnTo>
                    <a:pt x="88" y="433"/>
                  </a:lnTo>
                  <a:lnTo>
                    <a:pt x="67" y="399"/>
                  </a:lnTo>
                  <a:lnTo>
                    <a:pt x="76" y="378"/>
                  </a:lnTo>
                  <a:lnTo>
                    <a:pt x="67" y="369"/>
                  </a:lnTo>
                  <a:lnTo>
                    <a:pt x="76" y="335"/>
                  </a:lnTo>
                  <a:lnTo>
                    <a:pt x="55" y="284"/>
                  </a:lnTo>
                  <a:lnTo>
                    <a:pt x="55" y="217"/>
                  </a:lnTo>
                  <a:lnTo>
                    <a:pt x="67" y="183"/>
                  </a:lnTo>
                  <a:lnTo>
                    <a:pt x="55" y="140"/>
                  </a:lnTo>
                  <a:lnTo>
                    <a:pt x="76" y="128"/>
                  </a:lnTo>
                  <a:lnTo>
                    <a:pt x="76" y="107"/>
                  </a:lnTo>
                  <a:lnTo>
                    <a:pt x="67" y="107"/>
                  </a:lnTo>
                  <a:lnTo>
                    <a:pt x="46" y="52"/>
                  </a:lnTo>
                  <a:lnTo>
                    <a:pt x="46" y="31"/>
                  </a:lnTo>
                  <a:lnTo>
                    <a:pt x="21" y="0"/>
                  </a:lnTo>
                  <a:lnTo>
                    <a:pt x="0" y="10"/>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32" name="Freeform 931"/>
            <p:cNvSpPr>
              <a:spLocks/>
            </p:cNvSpPr>
            <p:nvPr/>
          </p:nvSpPr>
          <p:spPr bwMode="auto">
            <a:xfrm>
              <a:off x="3427131" y="4481653"/>
              <a:ext cx="225955" cy="265218"/>
            </a:xfrm>
            <a:custGeom>
              <a:avLst/>
              <a:gdLst>
                <a:gd name="T0" fmla="*/ 0 w 228"/>
                <a:gd name="T1" fmla="*/ 24 h 271"/>
                <a:gd name="T2" fmla="*/ 9 w 228"/>
                <a:gd name="T3" fmla="*/ 55 h 271"/>
                <a:gd name="T4" fmla="*/ 9 w 228"/>
                <a:gd name="T5" fmla="*/ 131 h 271"/>
                <a:gd name="T6" fmla="*/ 21 w 228"/>
                <a:gd name="T7" fmla="*/ 140 h 271"/>
                <a:gd name="T8" fmla="*/ 9 w 228"/>
                <a:gd name="T9" fmla="*/ 164 h 271"/>
                <a:gd name="T10" fmla="*/ 34 w 228"/>
                <a:gd name="T11" fmla="*/ 195 h 271"/>
                <a:gd name="T12" fmla="*/ 34 w 228"/>
                <a:gd name="T13" fmla="*/ 216 h 271"/>
                <a:gd name="T14" fmla="*/ 55 w 228"/>
                <a:gd name="T15" fmla="*/ 271 h 271"/>
                <a:gd name="T16" fmla="*/ 64 w 228"/>
                <a:gd name="T17" fmla="*/ 271 h 271"/>
                <a:gd name="T18" fmla="*/ 85 w 228"/>
                <a:gd name="T19" fmla="*/ 250 h 271"/>
                <a:gd name="T20" fmla="*/ 119 w 228"/>
                <a:gd name="T21" fmla="*/ 262 h 271"/>
                <a:gd name="T22" fmla="*/ 140 w 228"/>
                <a:gd name="T23" fmla="*/ 262 h 271"/>
                <a:gd name="T24" fmla="*/ 152 w 228"/>
                <a:gd name="T25" fmla="*/ 207 h 271"/>
                <a:gd name="T26" fmla="*/ 207 w 228"/>
                <a:gd name="T27" fmla="*/ 195 h 271"/>
                <a:gd name="T28" fmla="*/ 216 w 228"/>
                <a:gd name="T29" fmla="*/ 216 h 271"/>
                <a:gd name="T30" fmla="*/ 228 w 228"/>
                <a:gd name="T31" fmla="*/ 174 h 271"/>
                <a:gd name="T32" fmla="*/ 207 w 228"/>
                <a:gd name="T33" fmla="*/ 152 h 271"/>
                <a:gd name="T34" fmla="*/ 207 w 228"/>
                <a:gd name="T35" fmla="*/ 140 h 271"/>
                <a:gd name="T36" fmla="*/ 177 w 228"/>
                <a:gd name="T37" fmla="*/ 131 h 271"/>
                <a:gd name="T38" fmla="*/ 177 w 228"/>
                <a:gd name="T39" fmla="*/ 122 h 271"/>
                <a:gd name="T40" fmla="*/ 177 w 228"/>
                <a:gd name="T41" fmla="*/ 110 h 271"/>
                <a:gd name="T42" fmla="*/ 161 w 228"/>
                <a:gd name="T43" fmla="*/ 88 h 271"/>
                <a:gd name="T44" fmla="*/ 85 w 228"/>
                <a:gd name="T45" fmla="*/ 55 h 271"/>
                <a:gd name="T46" fmla="*/ 76 w 228"/>
                <a:gd name="T47" fmla="*/ 34 h 271"/>
                <a:gd name="T48" fmla="*/ 76 w 228"/>
                <a:gd name="T49" fmla="*/ 0 h 271"/>
                <a:gd name="T50" fmla="*/ 43 w 228"/>
                <a:gd name="T51" fmla="*/ 0 h 271"/>
                <a:gd name="T52" fmla="*/ 21 w 228"/>
                <a:gd name="T53" fmla="*/ 34 h 271"/>
                <a:gd name="T54" fmla="*/ 0 w 228"/>
                <a:gd name="T55" fmla="*/ 24 h 2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8"/>
                <a:gd name="T85" fmla="*/ 0 h 271"/>
                <a:gd name="T86" fmla="*/ 228 w 228"/>
                <a:gd name="T87" fmla="*/ 271 h 2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8" h="271">
                  <a:moveTo>
                    <a:pt x="0" y="24"/>
                  </a:moveTo>
                  <a:lnTo>
                    <a:pt x="9" y="55"/>
                  </a:lnTo>
                  <a:lnTo>
                    <a:pt x="9" y="131"/>
                  </a:lnTo>
                  <a:lnTo>
                    <a:pt x="21" y="140"/>
                  </a:lnTo>
                  <a:lnTo>
                    <a:pt x="9" y="164"/>
                  </a:lnTo>
                  <a:lnTo>
                    <a:pt x="34" y="195"/>
                  </a:lnTo>
                  <a:lnTo>
                    <a:pt x="34" y="216"/>
                  </a:lnTo>
                  <a:lnTo>
                    <a:pt x="55" y="271"/>
                  </a:lnTo>
                  <a:lnTo>
                    <a:pt x="64" y="271"/>
                  </a:lnTo>
                  <a:lnTo>
                    <a:pt x="85" y="250"/>
                  </a:lnTo>
                  <a:lnTo>
                    <a:pt x="119" y="262"/>
                  </a:lnTo>
                  <a:lnTo>
                    <a:pt x="140" y="262"/>
                  </a:lnTo>
                  <a:lnTo>
                    <a:pt x="152" y="207"/>
                  </a:lnTo>
                  <a:lnTo>
                    <a:pt x="207" y="195"/>
                  </a:lnTo>
                  <a:lnTo>
                    <a:pt x="216" y="216"/>
                  </a:lnTo>
                  <a:lnTo>
                    <a:pt x="228" y="174"/>
                  </a:lnTo>
                  <a:lnTo>
                    <a:pt x="207" y="152"/>
                  </a:lnTo>
                  <a:lnTo>
                    <a:pt x="207" y="140"/>
                  </a:lnTo>
                  <a:lnTo>
                    <a:pt x="177" y="131"/>
                  </a:lnTo>
                  <a:lnTo>
                    <a:pt x="177" y="122"/>
                  </a:lnTo>
                  <a:lnTo>
                    <a:pt x="177" y="110"/>
                  </a:lnTo>
                  <a:lnTo>
                    <a:pt x="161" y="88"/>
                  </a:lnTo>
                  <a:lnTo>
                    <a:pt x="85" y="55"/>
                  </a:lnTo>
                  <a:lnTo>
                    <a:pt x="76" y="34"/>
                  </a:lnTo>
                  <a:lnTo>
                    <a:pt x="76" y="0"/>
                  </a:lnTo>
                  <a:lnTo>
                    <a:pt x="43" y="0"/>
                  </a:lnTo>
                  <a:lnTo>
                    <a:pt x="21" y="34"/>
                  </a:lnTo>
                  <a:lnTo>
                    <a:pt x="0" y="24"/>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33" name="Freeform 932"/>
            <p:cNvSpPr>
              <a:spLocks/>
            </p:cNvSpPr>
            <p:nvPr/>
          </p:nvSpPr>
          <p:spPr bwMode="auto">
            <a:xfrm>
              <a:off x="3566665" y="4672610"/>
              <a:ext cx="150336" cy="171668"/>
            </a:xfrm>
            <a:custGeom>
              <a:avLst/>
              <a:gdLst>
                <a:gd name="T0" fmla="*/ 152 w 152"/>
                <a:gd name="T1" fmla="*/ 131 h 176"/>
                <a:gd name="T2" fmla="*/ 152 w 152"/>
                <a:gd name="T3" fmla="*/ 152 h 176"/>
                <a:gd name="T4" fmla="*/ 143 w 152"/>
                <a:gd name="T5" fmla="*/ 176 h 176"/>
                <a:gd name="T6" fmla="*/ 131 w 152"/>
                <a:gd name="T7" fmla="*/ 176 h 176"/>
                <a:gd name="T8" fmla="*/ 88 w 152"/>
                <a:gd name="T9" fmla="*/ 161 h 176"/>
                <a:gd name="T10" fmla="*/ 101 w 152"/>
                <a:gd name="T11" fmla="*/ 143 h 176"/>
                <a:gd name="T12" fmla="*/ 101 w 152"/>
                <a:gd name="T13" fmla="*/ 122 h 176"/>
                <a:gd name="T14" fmla="*/ 67 w 152"/>
                <a:gd name="T15" fmla="*/ 109 h 176"/>
                <a:gd name="T16" fmla="*/ 46 w 152"/>
                <a:gd name="T17" fmla="*/ 97 h 176"/>
                <a:gd name="T18" fmla="*/ 0 w 152"/>
                <a:gd name="T19" fmla="*/ 67 h 176"/>
                <a:gd name="T20" fmla="*/ 12 w 152"/>
                <a:gd name="T21" fmla="*/ 12 h 176"/>
                <a:gd name="T22" fmla="*/ 67 w 152"/>
                <a:gd name="T23" fmla="*/ 0 h 176"/>
                <a:gd name="T24" fmla="*/ 76 w 152"/>
                <a:gd name="T25" fmla="*/ 21 h 176"/>
                <a:gd name="T26" fmla="*/ 88 w 152"/>
                <a:gd name="T27" fmla="*/ 55 h 176"/>
                <a:gd name="T28" fmla="*/ 122 w 152"/>
                <a:gd name="T29" fmla="*/ 67 h 176"/>
                <a:gd name="T30" fmla="*/ 131 w 152"/>
                <a:gd name="T31" fmla="*/ 67 h 176"/>
                <a:gd name="T32" fmla="*/ 131 w 152"/>
                <a:gd name="T33" fmla="*/ 97 h 176"/>
                <a:gd name="T34" fmla="*/ 152 w 152"/>
                <a:gd name="T35" fmla="*/ 97 h 176"/>
                <a:gd name="T36" fmla="*/ 152 w 152"/>
                <a:gd name="T37" fmla="*/ 131 h 17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2"/>
                <a:gd name="T58" fmla="*/ 0 h 176"/>
                <a:gd name="T59" fmla="*/ 152 w 152"/>
                <a:gd name="T60" fmla="*/ 176 h 17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2" h="176">
                  <a:moveTo>
                    <a:pt x="152" y="131"/>
                  </a:moveTo>
                  <a:lnTo>
                    <a:pt x="152" y="152"/>
                  </a:lnTo>
                  <a:lnTo>
                    <a:pt x="143" y="176"/>
                  </a:lnTo>
                  <a:lnTo>
                    <a:pt x="131" y="176"/>
                  </a:lnTo>
                  <a:lnTo>
                    <a:pt x="88" y="161"/>
                  </a:lnTo>
                  <a:lnTo>
                    <a:pt x="101" y="143"/>
                  </a:lnTo>
                  <a:lnTo>
                    <a:pt x="101" y="122"/>
                  </a:lnTo>
                  <a:lnTo>
                    <a:pt x="67" y="109"/>
                  </a:lnTo>
                  <a:lnTo>
                    <a:pt x="46" y="97"/>
                  </a:lnTo>
                  <a:lnTo>
                    <a:pt x="0" y="67"/>
                  </a:lnTo>
                  <a:lnTo>
                    <a:pt x="12" y="12"/>
                  </a:lnTo>
                  <a:lnTo>
                    <a:pt x="67" y="0"/>
                  </a:lnTo>
                  <a:lnTo>
                    <a:pt x="76" y="21"/>
                  </a:lnTo>
                  <a:lnTo>
                    <a:pt x="88" y="55"/>
                  </a:lnTo>
                  <a:lnTo>
                    <a:pt x="122" y="67"/>
                  </a:lnTo>
                  <a:lnTo>
                    <a:pt x="131" y="67"/>
                  </a:lnTo>
                  <a:lnTo>
                    <a:pt x="131" y="97"/>
                  </a:lnTo>
                  <a:lnTo>
                    <a:pt x="152" y="97"/>
                  </a:lnTo>
                  <a:lnTo>
                    <a:pt x="152" y="131"/>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34" name="Freeform 933"/>
            <p:cNvSpPr>
              <a:spLocks/>
            </p:cNvSpPr>
            <p:nvPr/>
          </p:nvSpPr>
          <p:spPr bwMode="auto">
            <a:xfrm>
              <a:off x="3470341" y="4726618"/>
              <a:ext cx="270965" cy="601806"/>
            </a:xfrm>
            <a:custGeom>
              <a:avLst/>
              <a:gdLst>
                <a:gd name="T0" fmla="*/ 265 w 274"/>
                <a:gd name="T1" fmla="*/ 121 h 615"/>
                <a:gd name="T2" fmla="*/ 265 w 274"/>
                <a:gd name="T3" fmla="*/ 76 h 615"/>
                <a:gd name="T4" fmla="*/ 249 w 274"/>
                <a:gd name="T5" fmla="*/ 97 h 615"/>
                <a:gd name="T6" fmla="*/ 228 w 274"/>
                <a:gd name="T7" fmla="*/ 121 h 615"/>
                <a:gd name="T8" fmla="*/ 198 w 274"/>
                <a:gd name="T9" fmla="*/ 88 h 615"/>
                <a:gd name="T10" fmla="*/ 164 w 274"/>
                <a:gd name="T11" fmla="*/ 54 h 615"/>
                <a:gd name="T12" fmla="*/ 97 w 274"/>
                <a:gd name="T13" fmla="*/ 12 h 615"/>
                <a:gd name="T14" fmla="*/ 42 w 274"/>
                <a:gd name="T15" fmla="*/ 0 h 615"/>
                <a:gd name="T16" fmla="*/ 21 w 274"/>
                <a:gd name="T17" fmla="*/ 42 h 615"/>
                <a:gd name="T18" fmla="*/ 12 w 274"/>
                <a:gd name="T19" fmla="*/ 97 h 615"/>
                <a:gd name="T20" fmla="*/ 0 w 274"/>
                <a:gd name="T21" fmla="*/ 198 h 615"/>
                <a:gd name="T22" fmla="*/ 12 w 274"/>
                <a:gd name="T23" fmla="*/ 283 h 615"/>
                <a:gd name="T24" fmla="*/ 12 w 274"/>
                <a:gd name="T25" fmla="*/ 313 h 615"/>
                <a:gd name="T26" fmla="*/ 33 w 274"/>
                <a:gd name="T27" fmla="*/ 399 h 615"/>
                <a:gd name="T28" fmla="*/ 42 w 274"/>
                <a:gd name="T29" fmla="*/ 435 h 615"/>
                <a:gd name="T30" fmla="*/ 67 w 274"/>
                <a:gd name="T31" fmla="*/ 478 h 615"/>
                <a:gd name="T32" fmla="*/ 76 w 274"/>
                <a:gd name="T33" fmla="*/ 511 h 615"/>
                <a:gd name="T34" fmla="*/ 88 w 274"/>
                <a:gd name="T35" fmla="*/ 584 h 615"/>
                <a:gd name="T36" fmla="*/ 118 w 274"/>
                <a:gd name="T37" fmla="*/ 615 h 615"/>
                <a:gd name="T38" fmla="*/ 185 w 274"/>
                <a:gd name="T39" fmla="*/ 615 h 615"/>
                <a:gd name="T40" fmla="*/ 152 w 274"/>
                <a:gd name="T41" fmla="*/ 584 h 615"/>
                <a:gd name="T42" fmla="*/ 164 w 274"/>
                <a:gd name="T43" fmla="*/ 554 h 615"/>
                <a:gd name="T44" fmla="*/ 173 w 274"/>
                <a:gd name="T45" fmla="*/ 520 h 615"/>
                <a:gd name="T46" fmla="*/ 143 w 274"/>
                <a:gd name="T47" fmla="*/ 511 h 615"/>
                <a:gd name="T48" fmla="*/ 143 w 274"/>
                <a:gd name="T49" fmla="*/ 478 h 615"/>
                <a:gd name="T50" fmla="*/ 164 w 274"/>
                <a:gd name="T51" fmla="*/ 465 h 615"/>
                <a:gd name="T52" fmla="*/ 173 w 274"/>
                <a:gd name="T53" fmla="*/ 435 h 615"/>
                <a:gd name="T54" fmla="*/ 164 w 274"/>
                <a:gd name="T55" fmla="*/ 423 h 615"/>
                <a:gd name="T56" fmla="*/ 185 w 274"/>
                <a:gd name="T57" fmla="*/ 435 h 615"/>
                <a:gd name="T58" fmla="*/ 173 w 274"/>
                <a:gd name="T59" fmla="*/ 414 h 615"/>
                <a:gd name="T60" fmla="*/ 152 w 274"/>
                <a:gd name="T61" fmla="*/ 414 h 615"/>
                <a:gd name="T62" fmla="*/ 164 w 274"/>
                <a:gd name="T63" fmla="*/ 399 h 615"/>
                <a:gd name="T64" fmla="*/ 185 w 274"/>
                <a:gd name="T65" fmla="*/ 359 h 615"/>
                <a:gd name="T66" fmla="*/ 249 w 274"/>
                <a:gd name="T67" fmla="*/ 338 h 615"/>
                <a:gd name="T68" fmla="*/ 265 w 274"/>
                <a:gd name="T69" fmla="*/ 304 h 615"/>
                <a:gd name="T70" fmla="*/ 249 w 274"/>
                <a:gd name="T71" fmla="*/ 283 h 615"/>
                <a:gd name="T72" fmla="*/ 219 w 274"/>
                <a:gd name="T73" fmla="*/ 249 h 61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74"/>
                <a:gd name="T112" fmla="*/ 0 h 615"/>
                <a:gd name="T113" fmla="*/ 274 w 274"/>
                <a:gd name="T114" fmla="*/ 615 h 61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74" h="615">
                  <a:moveTo>
                    <a:pt x="219" y="173"/>
                  </a:moveTo>
                  <a:lnTo>
                    <a:pt x="265" y="121"/>
                  </a:lnTo>
                  <a:lnTo>
                    <a:pt x="274" y="106"/>
                  </a:lnTo>
                  <a:lnTo>
                    <a:pt x="265" y="76"/>
                  </a:lnTo>
                  <a:lnTo>
                    <a:pt x="249" y="76"/>
                  </a:lnTo>
                  <a:lnTo>
                    <a:pt x="249" y="97"/>
                  </a:lnTo>
                  <a:lnTo>
                    <a:pt x="240" y="121"/>
                  </a:lnTo>
                  <a:lnTo>
                    <a:pt x="228" y="121"/>
                  </a:lnTo>
                  <a:lnTo>
                    <a:pt x="185" y="106"/>
                  </a:lnTo>
                  <a:lnTo>
                    <a:pt x="198" y="88"/>
                  </a:lnTo>
                  <a:lnTo>
                    <a:pt x="198" y="67"/>
                  </a:lnTo>
                  <a:lnTo>
                    <a:pt x="164" y="54"/>
                  </a:lnTo>
                  <a:lnTo>
                    <a:pt x="143" y="42"/>
                  </a:lnTo>
                  <a:lnTo>
                    <a:pt x="97" y="12"/>
                  </a:lnTo>
                  <a:lnTo>
                    <a:pt x="76" y="12"/>
                  </a:lnTo>
                  <a:lnTo>
                    <a:pt x="42" y="0"/>
                  </a:lnTo>
                  <a:lnTo>
                    <a:pt x="21" y="21"/>
                  </a:lnTo>
                  <a:lnTo>
                    <a:pt x="21" y="42"/>
                  </a:lnTo>
                  <a:lnTo>
                    <a:pt x="0" y="54"/>
                  </a:lnTo>
                  <a:lnTo>
                    <a:pt x="12" y="97"/>
                  </a:lnTo>
                  <a:lnTo>
                    <a:pt x="0" y="131"/>
                  </a:lnTo>
                  <a:lnTo>
                    <a:pt x="0" y="198"/>
                  </a:lnTo>
                  <a:lnTo>
                    <a:pt x="21" y="249"/>
                  </a:lnTo>
                  <a:lnTo>
                    <a:pt x="12" y="283"/>
                  </a:lnTo>
                  <a:lnTo>
                    <a:pt x="21" y="292"/>
                  </a:lnTo>
                  <a:lnTo>
                    <a:pt x="12" y="313"/>
                  </a:lnTo>
                  <a:lnTo>
                    <a:pt x="33" y="347"/>
                  </a:lnTo>
                  <a:lnTo>
                    <a:pt x="33" y="399"/>
                  </a:lnTo>
                  <a:lnTo>
                    <a:pt x="42" y="414"/>
                  </a:lnTo>
                  <a:lnTo>
                    <a:pt x="42" y="435"/>
                  </a:lnTo>
                  <a:lnTo>
                    <a:pt x="55" y="465"/>
                  </a:lnTo>
                  <a:lnTo>
                    <a:pt x="67" y="478"/>
                  </a:lnTo>
                  <a:lnTo>
                    <a:pt x="67" y="465"/>
                  </a:lnTo>
                  <a:lnTo>
                    <a:pt x="76" y="511"/>
                  </a:lnTo>
                  <a:lnTo>
                    <a:pt x="76" y="575"/>
                  </a:lnTo>
                  <a:lnTo>
                    <a:pt x="88" y="584"/>
                  </a:lnTo>
                  <a:lnTo>
                    <a:pt x="97" y="584"/>
                  </a:lnTo>
                  <a:lnTo>
                    <a:pt x="118" y="615"/>
                  </a:lnTo>
                  <a:lnTo>
                    <a:pt x="164" y="615"/>
                  </a:lnTo>
                  <a:lnTo>
                    <a:pt x="185" y="615"/>
                  </a:lnTo>
                  <a:lnTo>
                    <a:pt x="152" y="596"/>
                  </a:lnTo>
                  <a:lnTo>
                    <a:pt x="152" y="584"/>
                  </a:lnTo>
                  <a:lnTo>
                    <a:pt x="164" y="575"/>
                  </a:lnTo>
                  <a:lnTo>
                    <a:pt x="164" y="554"/>
                  </a:lnTo>
                  <a:lnTo>
                    <a:pt x="185" y="529"/>
                  </a:lnTo>
                  <a:lnTo>
                    <a:pt x="173" y="520"/>
                  </a:lnTo>
                  <a:lnTo>
                    <a:pt x="164" y="520"/>
                  </a:lnTo>
                  <a:lnTo>
                    <a:pt x="143" y="511"/>
                  </a:lnTo>
                  <a:lnTo>
                    <a:pt x="143" y="499"/>
                  </a:lnTo>
                  <a:lnTo>
                    <a:pt x="143" y="478"/>
                  </a:lnTo>
                  <a:lnTo>
                    <a:pt x="164" y="478"/>
                  </a:lnTo>
                  <a:lnTo>
                    <a:pt x="164" y="465"/>
                  </a:lnTo>
                  <a:lnTo>
                    <a:pt x="164" y="444"/>
                  </a:lnTo>
                  <a:lnTo>
                    <a:pt x="173" y="435"/>
                  </a:lnTo>
                  <a:lnTo>
                    <a:pt x="164" y="435"/>
                  </a:lnTo>
                  <a:lnTo>
                    <a:pt x="164" y="423"/>
                  </a:lnTo>
                  <a:lnTo>
                    <a:pt x="173" y="435"/>
                  </a:lnTo>
                  <a:lnTo>
                    <a:pt x="185" y="435"/>
                  </a:lnTo>
                  <a:lnTo>
                    <a:pt x="185" y="423"/>
                  </a:lnTo>
                  <a:lnTo>
                    <a:pt x="173" y="414"/>
                  </a:lnTo>
                  <a:lnTo>
                    <a:pt x="164" y="423"/>
                  </a:lnTo>
                  <a:lnTo>
                    <a:pt x="152" y="414"/>
                  </a:lnTo>
                  <a:lnTo>
                    <a:pt x="143" y="389"/>
                  </a:lnTo>
                  <a:lnTo>
                    <a:pt x="164" y="399"/>
                  </a:lnTo>
                  <a:lnTo>
                    <a:pt x="185" y="389"/>
                  </a:lnTo>
                  <a:lnTo>
                    <a:pt x="185" y="359"/>
                  </a:lnTo>
                  <a:lnTo>
                    <a:pt x="210" y="347"/>
                  </a:lnTo>
                  <a:lnTo>
                    <a:pt x="249" y="338"/>
                  </a:lnTo>
                  <a:lnTo>
                    <a:pt x="265" y="313"/>
                  </a:lnTo>
                  <a:lnTo>
                    <a:pt x="265" y="304"/>
                  </a:lnTo>
                  <a:lnTo>
                    <a:pt x="240" y="292"/>
                  </a:lnTo>
                  <a:lnTo>
                    <a:pt x="249" y="283"/>
                  </a:lnTo>
                  <a:lnTo>
                    <a:pt x="219" y="258"/>
                  </a:lnTo>
                  <a:lnTo>
                    <a:pt x="219" y="249"/>
                  </a:lnTo>
                  <a:lnTo>
                    <a:pt x="219" y="173"/>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35" name="Freeform 934"/>
            <p:cNvSpPr>
              <a:spLocks/>
            </p:cNvSpPr>
            <p:nvPr/>
          </p:nvSpPr>
          <p:spPr bwMode="auto">
            <a:xfrm>
              <a:off x="3566665" y="4120955"/>
              <a:ext cx="86421" cy="136948"/>
            </a:xfrm>
            <a:custGeom>
              <a:avLst/>
              <a:gdLst>
                <a:gd name="T0" fmla="*/ 37 w 88"/>
                <a:gd name="T1" fmla="*/ 0 h 140"/>
                <a:gd name="T2" fmla="*/ 55 w 88"/>
                <a:gd name="T3" fmla="*/ 12 h 140"/>
                <a:gd name="T4" fmla="*/ 55 w 88"/>
                <a:gd name="T5" fmla="*/ 33 h 140"/>
                <a:gd name="T6" fmla="*/ 76 w 88"/>
                <a:gd name="T7" fmla="*/ 54 h 140"/>
                <a:gd name="T8" fmla="*/ 67 w 88"/>
                <a:gd name="T9" fmla="*/ 85 h 140"/>
                <a:gd name="T10" fmla="*/ 88 w 88"/>
                <a:gd name="T11" fmla="*/ 131 h 140"/>
                <a:gd name="T12" fmla="*/ 76 w 88"/>
                <a:gd name="T13" fmla="*/ 131 h 140"/>
                <a:gd name="T14" fmla="*/ 46 w 88"/>
                <a:gd name="T15" fmla="*/ 140 h 140"/>
                <a:gd name="T16" fmla="*/ 37 w 88"/>
                <a:gd name="T17" fmla="*/ 140 h 140"/>
                <a:gd name="T18" fmla="*/ 21 w 88"/>
                <a:gd name="T19" fmla="*/ 118 h 140"/>
                <a:gd name="T20" fmla="*/ 37 w 88"/>
                <a:gd name="T21" fmla="*/ 85 h 140"/>
                <a:gd name="T22" fmla="*/ 21 w 88"/>
                <a:gd name="T23" fmla="*/ 64 h 140"/>
                <a:gd name="T24" fmla="*/ 12 w 88"/>
                <a:gd name="T25" fmla="*/ 64 h 140"/>
                <a:gd name="T26" fmla="*/ 0 w 88"/>
                <a:gd name="T27" fmla="*/ 54 h 140"/>
                <a:gd name="T28" fmla="*/ 12 w 88"/>
                <a:gd name="T29" fmla="*/ 33 h 140"/>
                <a:gd name="T30" fmla="*/ 21 w 88"/>
                <a:gd name="T31" fmla="*/ 33 h 140"/>
                <a:gd name="T32" fmla="*/ 12 w 88"/>
                <a:gd name="T33" fmla="*/ 21 h 140"/>
                <a:gd name="T34" fmla="*/ 12 w 88"/>
                <a:gd name="T35" fmla="*/ 12 h 140"/>
                <a:gd name="T36" fmla="*/ 37 w 88"/>
                <a:gd name="T37" fmla="*/ 0 h 14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8"/>
                <a:gd name="T58" fmla="*/ 0 h 140"/>
                <a:gd name="T59" fmla="*/ 88 w 88"/>
                <a:gd name="T60" fmla="*/ 140 h 14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8" h="140">
                  <a:moveTo>
                    <a:pt x="37" y="0"/>
                  </a:moveTo>
                  <a:lnTo>
                    <a:pt x="55" y="12"/>
                  </a:lnTo>
                  <a:lnTo>
                    <a:pt x="55" y="33"/>
                  </a:lnTo>
                  <a:lnTo>
                    <a:pt x="76" y="54"/>
                  </a:lnTo>
                  <a:lnTo>
                    <a:pt x="67" y="85"/>
                  </a:lnTo>
                  <a:lnTo>
                    <a:pt x="88" y="131"/>
                  </a:lnTo>
                  <a:lnTo>
                    <a:pt x="76" y="131"/>
                  </a:lnTo>
                  <a:lnTo>
                    <a:pt x="46" y="140"/>
                  </a:lnTo>
                  <a:lnTo>
                    <a:pt x="37" y="140"/>
                  </a:lnTo>
                  <a:lnTo>
                    <a:pt x="21" y="118"/>
                  </a:lnTo>
                  <a:lnTo>
                    <a:pt x="37" y="85"/>
                  </a:lnTo>
                  <a:lnTo>
                    <a:pt x="21" y="64"/>
                  </a:lnTo>
                  <a:lnTo>
                    <a:pt x="12" y="64"/>
                  </a:lnTo>
                  <a:lnTo>
                    <a:pt x="0" y="54"/>
                  </a:lnTo>
                  <a:lnTo>
                    <a:pt x="12" y="33"/>
                  </a:lnTo>
                  <a:lnTo>
                    <a:pt x="21" y="33"/>
                  </a:lnTo>
                  <a:lnTo>
                    <a:pt x="12" y="21"/>
                  </a:lnTo>
                  <a:lnTo>
                    <a:pt x="12" y="12"/>
                  </a:lnTo>
                  <a:lnTo>
                    <a:pt x="37"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36" name="Freeform 935"/>
            <p:cNvSpPr>
              <a:spLocks/>
            </p:cNvSpPr>
            <p:nvPr/>
          </p:nvSpPr>
          <p:spPr bwMode="auto">
            <a:xfrm>
              <a:off x="4834171" y="3143021"/>
              <a:ext cx="45011" cy="56901"/>
            </a:xfrm>
            <a:custGeom>
              <a:avLst/>
              <a:gdLst>
                <a:gd name="T0" fmla="*/ 12 w 46"/>
                <a:gd name="T1" fmla="*/ 58 h 58"/>
                <a:gd name="T2" fmla="*/ 12 w 46"/>
                <a:gd name="T3" fmla="*/ 46 h 58"/>
                <a:gd name="T4" fmla="*/ 0 w 46"/>
                <a:gd name="T5" fmla="*/ 37 h 58"/>
                <a:gd name="T6" fmla="*/ 0 w 46"/>
                <a:gd name="T7" fmla="*/ 21 h 58"/>
                <a:gd name="T8" fmla="*/ 12 w 46"/>
                <a:gd name="T9" fmla="*/ 12 h 58"/>
                <a:gd name="T10" fmla="*/ 26 w 46"/>
                <a:gd name="T11" fmla="*/ 0 h 58"/>
                <a:gd name="T12" fmla="*/ 26 w 46"/>
                <a:gd name="T13" fmla="*/ 21 h 58"/>
                <a:gd name="T14" fmla="*/ 38 w 46"/>
                <a:gd name="T15" fmla="*/ 21 h 58"/>
                <a:gd name="T16" fmla="*/ 26 w 46"/>
                <a:gd name="T17" fmla="*/ 37 h 58"/>
                <a:gd name="T18" fmla="*/ 22 w 46"/>
                <a:gd name="T19" fmla="*/ 58 h 58"/>
                <a:gd name="T20" fmla="*/ 12 w 46"/>
                <a:gd name="T21" fmla="*/ 58 h 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
                <a:gd name="T34" fmla="*/ 0 h 58"/>
                <a:gd name="T35" fmla="*/ 46 w 46"/>
                <a:gd name="T36" fmla="*/ 58 h 5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 h="58">
                  <a:moveTo>
                    <a:pt x="12" y="58"/>
                  </a:moveTo>
                  <a:lnTo>
                    <a:pt x="12" y="46"/>
                  </a:lnTo>
                  <a:lnTo>
                    <a:pt x="0" y="37"/>
                  </a:lnTo>
                  <a:lnTo>
                    <a:pt x="0" y="21"/>
                  </a:lnTo>
                  <a:lnTo>
                    <a:pt x="12" y="12"/>
                  </a:lnTo>
                  <a:lnTo>
                    <a:pt x="34" y="0"/>
                  </a:lnTo>
                  <a:lnTo>
                    <a:pt x="34" y="21"/>
                  </a:lnTo>
                  <a:lnTo>
                    <a:pt x="46" y="21"/>
                  </a:lnTo>
                  <a:lnTo>
                    <a:pt x="34" y="37"/>
                  </a:lnTo>
                  <a:lnTo>
                    <a:pt x="22" y="58"/>
                  </a:lnTo>
                  <a:lnTo>
                    <a:pt x="12" y="58"/>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37" name="Freeform 936"/>
            <p:cNvSpPr>
              <a:spLocks/>
            </p:cNvSpPr>
            <p:nvPr/>
          </p:nvSpPr>
          <p:spPr bwMode="auto">
            <a:xfrm>
              <a:off x="4855776" y="3300223"/>
              <a:ext cx="120629" cy="56902"/>
            </a:xfrm>
            <a:custGeom>
              <a:avLst/>
              <a:gdLst>
                <a:gd name="T0" fmla="*/ 0 w 121"/>
                <a:gd name="T1" fmla="*/ 37 h 58"/>
                <a:gd name="T2" fmla="*/ 54 w 121"/>
                <a:gd name="T3" fmla="*/ 37 h 58"/>
                <a:gd name="T4" fmla="*/ 45 w 121"/>
                <a:gd name="T5" fmla="*/ 25 h 58"/>
                <a:gd name="T6" fmla="*/ 75 w 121"/>
                <a:gd name="T7" fmla="*/ 16 h 58"/>
                <a:gd name="T8" fmla="*/ 84 w 121"/>
                <a:gd name="T9" fmla="*/ 16 h 58"/>
                <a:gd name="T10" fmla="*/ 96 w 121"/>
                <a:gd name="T11" fmla="*/ 0 h 58"/>
                <a:gd name="T12" fmla="*/ 120 w 121"/>
                <a:gd name="T13" fmla="*/ 16 h 58"/>
                <a:gd name="T14" fmla="*/ 129 w 121"/>
                <a:gd name="T15" fmla="*/ 25 h 58"/>
                <a:gd name="T16" fmla="*/ 108 w 121"/>
                <a:gd name="T17" fmla="*/ 46 h 58"/>
                <a:gd name="T18" fmla="*/ 75 w 121"/>
                <a:gd name="T19" fmla="*/ 58 h 58"/>
                <a:gd name="T20" fmla="*/ 45 w 121"/>
                <a:gd name="T21" fmla="*/ 46 h 58"/>
                <a:gd name="T22" fmla="*/ 36 w 121"/>
                <a:gd name="T23" fmla="*/ 46 h 58"/>
                <a:gd name="T24" fmla="*/ 12 w 121"/>
                <a:gd name="T25" fmla="*/ 46 h 58"/>
                <a:gd name="T26" fmla="*/ 0 w 121"/>
                <a:gd name="T27" fmla="*/ 46 h 58"/>
                <a:gd name="T28" fmla="*/ 0 w 121"/>
                <a:gd name="T29" fmla="*/ 37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1"/>
                <a:gd name="T46" fmla="*/ 0 h 58"/>
                <a:gd name="T47" fmla="*/ 121 w 121"/>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1" h="58">
                  <a:moveTo>
                    <a:pt x="0" y="37"/>
                  </a:moveTo>
                  <a:lnTo>
                    <a:pt x="54" y="37"/>
                  </a:lnTo>
                  <a:lnTo>
                    <a:pt x="45" y="25"/>
                  </a:lnTo>
                  <a:lnTo>
                    <a:pt x="67" y="16"/>
                  </a:lnTo>
                  <a:lnTo>
                    <a:pt x="76" y="16"/>
                  </a:lnTo>
                  <a:lnTo>
                    <a:pt x="88" y="0"/>
                  </a:lnTo>
                  <a:lnTo>
                    <a:pt x="112" y="16"/>
                  </a:lnTo>
                  <a:lnTo>
                    <a:pt x="121" y="25"/>
                  </a:lnTo>
                  <a:lnTo>
                    <a:pt x="100" y="46"/>
                  </a:lnTo>
                  <a:lnTo>
                    <a:pt x="67" y="58"/>
                  </a:lnTo>
                  <a:lnTo>
                    <a:pt x="45" y="46"/>
                  </a:lnTo>
                  <a:lnTo>
                    <a:pt x="36" y="46"/>
                  </a:lnTo>
                  <a:lnTo>
                    <a:pt x="12" y="46"/>
                  </a:lnTo>
                  <a:lnTo>
                    <a:pt x="0" y="46"/>
                  </a:lnTo>
                  <a:lnTo>
                    <a:pt x="0" y="37"/>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38" name="Freeform 937"/>
            <p:cNvSpPr>
              <a:spLocks/>
            </p:cNvSpPr>
            <p:nvPr/>
          </p:nvSpPr>
          <p:spPr bwMode="auto">
            <a:xfrm>
              <a:off x="4791862" y="3336872"/>
              <a:ext cx="75618" cy="28933"/>
            </a:xfrm>
            <a:custGeom>
              <a:avLst/>
              <a:gdLst>
                <a:gd name="T0" fmla="*/ 24 w 76"/>
                <a:gd name="T1" fmla="*/ 30 h 30"/>
                <a:gd name="T2" fmla="*/ 42 w 76"/>
                <a:gd name="T3" fmla="*/ 21 h 30"/>
                <a:gd name="T4" fmla="*/ 54 w 76"/>
                <a:gd name="T5" fmla="*/ 30 h 30"/>
                <a:gd name="T6" fmla="*/ 54 w 76"/>
                <a:gd name="T7" fmla="*/ 21 h 30"/>
                <a:gd name="T8" fmla="*/ 64 w 76"/>
                <a:gd name="T9" fmla="*/ 21 h 30"/>
                <a:gd name="T10" fmla="*/ 76 w 76"/>
                <a:gd name="T11" fmla="*/ 9 h 30"/>
                <a:gd name="T12" fmla="*/ 64 w 76"/>
                <a:gd name="T13" fmla="*/ 9 h 30"/>
                <a:gd name="T14" fmla="*/ 64 w 76"/>
                <a:gd name="T15" fmla="*/ 0 h 30"/>
                <a:gd name="T16" fmla="*/ 33 w 76"/>
                <a:gd name="T17" fmla="*/ 0 h 30"/>
                <a:gd name="T18" fmla="*/ 24 w 76"/>
                <a:gd name="T19" fmla="*/ 0 h 30"/>
                <a:gd name="T20" fmla="*/ 0 w 76"/>
                <a:gd name="T21" fmla="*/ 21 h 30"/>
                <a:gd name="T22" fmla="*/ 9 w 76"/>
                <a:gd name="T23" fmla="*/ 30 h 30"/>
                <a:gd name="T24" fmla="*/ 9 w 76"/>
                <a:gd name="T25" fmla="*/ 21 h 30"/>
                <a:gd name="T26" fmla="*/ 24 w 76"/>
                <a:gd name="T27" fmla="*/ 3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6"/>
                <a:gd name="T43" fmla="*/ 0 h 30"/>
                <a:gd name="T44" fmla="*/ 76 w 76"/>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6" h="30">
                  <a:moveTo>
                    <a:pt x="24" y="30"/>
                  </a:moveTo>
                  <a:lnTo>
                    <a:pt x="42" y="21"/>
                  </a:lnTo>
                  <a:lnTo>
                    <a:pt x="54" y="30"/>
                  </a:lnTo>
                  <a:lnTo>
                    <a:pt x="54" y="21"/>
                  </a:lnTo>
                  <a:lnTo>
                    <a:pt x="64" y="21"/>
                  </a:lnTo>
                  <a:lnTo>
                    <a:pt x="76" y="9"/>
                  </a:lnTo>
                  <a:lnTo>
                    <a:pt x="64" y="9"/>
                  </a:lnTo>
                  <a:lnTo>
                    <a:pt x="64" y="0"/>
                  </a:lnTo>
                  <a:lnTo>
                    <a:pt x="33" y="0"/>
                  </a:lnTo>
                  <a:lnTo>
                    <a:pt x="24" y="0"/>
                  </a:lnTo>
                  <a:lnTo>
                    <a:pt x="0" y="21"/>
                  </a:lnTo>
                  <a:lnTo>
                    <a:pt x="9" y="30"/>
                  </a:lnTo>
                  <a:lnTo>
                    <a:pt x="9" y="21"/>
                  </a:lnTo>
                  <a:lnTo>
                    <a:pt x="24" y="30"/>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39" name="Freeform 938"/>
            <p:cNvSpPr>
              <a:spLocks/>
            </p:cNvSpPr>
            <p:nvPr/>
          </p:nvSpPr>
          <p:spPr bwMode="auto">
            <a:xfrm>
              <a:off x="5020517" y="3428493"/>
              <a:ext cx="21605" cy="65581"/>
            </a:xfrm>
            <a:custGeom>
              <a:avLst/>
              <a:gdLst>
                <a:gd name="T0" fmla="*/ 9 w 21"/>
                <a:gd name="T1" fmla="*/ 25 h 67"/>
                <a:gd name="T2" fmla="*/ 9 w 21"/>
                <a:gd name="T3" fmla="*/ 0 h 67"/>
                <a:gd name="T4" fmla="*/ 0 w 21"/>
                <a:gd name="T5" fmla="*/ 0 h 67"/>
                <a:gd name="T6" fmla="*/ 0 w 21"/>
                <a:gd name="T7" fmla="*/ 25 h 67"/>
                <a:gd name="T8" fmla="*/ 0 w 21"/>
                <a:gd name="T9" fmla="*/ 58 h 67"/>
                <a:gd name="T10" fmla="*/ 9 w 21"/>
                <a:gd name="T11" fmla="*/ 67 h 67"/>
                <a:gd name="T12" fmla="*/ 21 w 21"/>
                <a:gd name="T13" fmla="*/ 46 h 67"/>
                <a:gd name="T14" fmla="*/ 9 w 21"/>
                <a:gd name="T15" fmla="*/ 25 h 67"/>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67"/>
                <a:gd name="T26" fmla="*/ 21 w 21"/>
                <a:gd name="T27" fmla="*/ 67 h 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67">
                  <a:moveTo>
                    <a:pt x="9" y="25"/>
                  </a:moveTo>
                  <a:lnTo>
                    <a:pt x="9" y="0"/>
                  </a:lnTo>
                  <a:lnTo>
                    <a:pt x="0" y="0"/>
                  </a:lnTo>
                  <a:lnTo>
                    <a:pt x="0" y="25"/>
                  </a:lnTo>
                  <a:lnTo>
                    <a:pt x="0" y="58"/>
                  </a:lnTo>
                  <a:lnTo>
                    <a:pt x="9" y="67"/>
                  </a:lnTo>
                  <a:lnTo>
                    <a:pt x="21" y="46"/>
                  </a:lnTo>
                  <a:lnTo>
                    <a:pt x="9" y="25"/>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40" name="Freeform 939"/>
            <p:cNvSpPr>
              <a:spLocks/>
            </p:cNvSpPr>
            <p:nvPr/>
          </p:nvSpPr>
          <p:spPr bwMode="auto">
            <a:xfrm>
              <a:off x="4954800" y="3315654"/>
              <a:ext cx="108927" cy="50151"/>
            </a:xfrm>
            <a:custGeom>
              <a:avLst/>
              <a:gdLst>
                <a:gd name="T0" fmla="*/ 12 w 110"/>
                <a:gd name="T1" fmla="*/ 42 h 51"/>
                <a:gd name="T2" fmla="*/ 0 w 110"/>
                <a:gd name="T3" fmla="*/ 30 h 51"/>
                <a:gd name="T4" fmla="*/ 21 w 110"/>
                <a:gd name="T5" fmla="*/ 9 h 51"/>
                <a:gd name="T6" fmla="*/ 43 w 110"/>
                <a:gd name="T7" fmla="*/ 21 h 51"/>
                <a:gd name="T8" fmla="*/ 76 w 110"/>
                <a:gd name="T9" fmla="*/ 0 h 51"/>
                <a:gd name="T10" fmla="*/ 97 w 110"/>
                <a:gd name="T11" fmla="*/ 0 h 51"/>
                <a:gd name="T12" fmla="*/ 97 w 110"/>
                <a:gd name="T13" fmla="*/ 9 h 51"/>
                <a:gd name="T14" fmla="*/ 110 w 110"/>
                <a:gd name="T15" fmla="*/ 9 h 51"/>
                <a:gd name="T16" fmla="*/ 97 w 110"/>
                <a:gd name="T17" fmla="*/ 21 h 51"/>
                <a:gd name="T18" fmla="*/ 88 w 110"/>
                <a:gd name="T19" fmla="*/ 42 h 51"/>
                <a:gd name="T20" fmla="*/ 76 w 110"/>
                <a:gd name="T21" fmla="*/ 51 h 51"/>
                <a:gd name="T22" fmla="*/ 30 w 110"/>
                <a:gd name="T23" fmla="*/ 51 h 51"/>
                <a:gd name="T24" fmla="*/ 12 w 110"/>
                <a:gd name="T25" fmla="*/ 42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0"/>
                <a:gd name="T40" fmla="*/ 0 h 51"/>
                <a:gd name="T41" fmla="*/ 110 w 110"/>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0" h="51">
                  <a:moveTo>
                    <a:pt x="12" y="42"/>
                  </a:moveTo>
                  <a:lnTo>
                    <a:pt x="0" y="30"/>
                  </a:lnTo>
                  <a:lnTo>
                    <a:pt x="21" y="9"/>
                  </a:lnTo>
                  <a:lnTo>
                    <a:pt x="43" y="21"/>
                  </a:lnTo>
                  <a:lnTo>
                    <a:pt x="76" y="0"/>
                  </a:lnTo>
                  <a:lnTo>
                    <a:pt x="97" y="0"/>
                  </a:lnTo>
                  <a:lnTo>
                    <a:pt x="97" y="9"/>
                  </a:lnTo>
                  <a:lnTo>
                    <a:pt x="110" y="9"/>
                  </a:lnTo>
                  <a:lnTo>
                    <a:pt x="97" y="21"/>
                  </a:lnTo>
                  <a:lnTo>
                    <a:pt x="88" y="42"/>
                  </a:lnTo>
                  <a:lnTo>
                    <a:pt x="76" y="51"/>
                  </a:lnTo>
                  <a:lnTo>
                    <a:pt x="30" y="51"/>
                  </a:lnTo>
                  <a:lnTo>
                    <a:pt x="12" y="42"/>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41" name="Freeform 940"/>
            <p:cNvSpPr>
              <a:spLocks/>
            </p:cNvSpPr>
            <p:nvPr/>
          </p:nvSpPr>
          <p:spPr bwMode="auto">
            <a:xfrm>
              <a:off x="5461624" y="3696605"/>
              <a:ext cx="36009" cy="8680"/>
            </a:xfrm>
            <a:custGeom>
              <a:avLst/>
              <a:gdLst>
                <a:gd name="T0" fmla="*/ 0 w 36"/>
                <a:gd name="T1" fmla="*/ 9 h 9"/>
                <a:gd name="T2" fmla="*/ 12 w 36"/>
                <a:gd name="T3" fmla="*/ 9 h 9"/>
                <a:gd name="T4" fmla="*/ 36 w 36"/>
                <a:gd name="T5" fmla="*/ 9 h 9"/>
                <a:gd name="T6" fmla="*/ 12 w 36"/>
                <a:gd name="T7" fmla="*/ 0 h 9"/>
                <a:gd name="T8" fmla="*/ 0 w 36"/>
                <a:gd name="T9" fmla="*/ 9 h 9"/>
                <a:gd name="T10" fmla="*/ 0 60000 65536"/>
                <a:gd name="T11" fmla="*/ 0 60000 65536"/>
                <a:gd name="T12" fmla="*/ 0 60000 65536"/>
                <a:gd name="T13" fmla="*/ 0 60000 65536"/>
                <a:gd name="T14" fmla="*/ 0 60000 65536"/>
                <a:gd name="T15" fmla="*/ 0 w 36"/>
                <a:gd name="T16" fmla="*/ 0 h 9"/>
                <a:gd name="T17" fmla="*/ 36 w 36"/>
                <a:gd name="T18" fmla="*/ 9 h 9"/>
              </a:gdLst>
              <a:ahLst/>
              <a:cxnLst>
                <a:cxn ang="T10">
                  <a:pos x="T0" y="T1"/>
                </a:cxn>
                <a:cxn ang="T11">
                  <a:pos x="T2" y="T3"/>
                </a:cxn>
                <a:cxn ang="T12">
                  <a:pos x="T4" y="T5"/>
                </a:cxn>
                <a:cxn ang="T13">
                  <a:pos x="T6" y="T7"/>
                </a:cxn>
                <a:cxn ang="T14">
                  <a:pos x="T8" y="T9"/>
                </a:cxn>
              </a:cxnLst>
              <a:rect l="T15" t="T16" r="T17" b="T18"/>
              <a:pathLst>
                <a:path w="36" h="9">
                  <a:moveTo>
                    <a:pt x="0" y="9"/>
                  </a:moveTo>
                  <a:lnTo>
                    <a:pt x="12" y="9"/>
                  </a:lnTo>
                  <a:lnTo>
                    <a:pt x="36" y="9"/>
                  </a:lnTo>
                  <a:lnTo>
                    <a:pt x="12" y="0"/>
                  </a:lnTo>
                  <a:lnTo>
                    <a:pt x="0" y="9"/>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42" name="Freeform 941"/>
            <p:cNvSpPr>
              <a:spLocks/>
            </p:cNvSpPr>
            <p:nvPr/>
          </p:nvSpPr>
          <p:spPr bwMode="auto">
            <a:xfrm>
              <a:off x="4456980" y="3568336"/>
              <a:ext cx="205249" cy="159132"/>
            </a:xfrm>
            <a:custGeom>
              <a:avLst/>
              <a:gdLst>
                <a:gd name="T0" fmla="*/ 207 w 207"/>
                <a:gd name="T1" fmla="*/ 25 h 162"/>
                <a:gd name="T2" fmla="*/ 194 w 207"/>
                <a:gd name="T3" fmla="*/ 10 h 162"/>
                <a:gd name="T4" fmla="*/ 185 w 207"/>
                <a:gd name="T5" fmla="*/ 10 h 162"/>
                <a:gd name="T6" fmla="*/ 149 w 207"/>
                <a:gd name="T7" fmla="*/ 10 h 162"/>
                <a:gd name="T8" fmla="*/ 140 w 207"/>
                <a:gd name="T9" fmla="*/ 0 h 162"/>
                <a:gd name="T10" fmla="*/ 130 w 207"/>
                <a:gd name="T11" fmla="*/ 0 h 162"/>
                <a:gd name="T12" fmla="*/ 118 w 207"/>
                <a:gd name="T13" fmla="*/ 34 h 162"/>
                <a:gd name="T14" fmla="*/ 88 w 207"/>
                <a:gd name="T15" fmla="*/ 55 h 162"/>
                <a:gd name="T16" fmla="*/ 73 w 207"/>
                <a:gd name="T17" fmla="*/ 64 h 162"/>
                <a:gd name="T18" fmla="*/ 63 w 207"/>
                <a:gd name="T19" fmla="*/ 86 h 162"/>
                <a:gd name="T20" fmla="*/ 63 w 207"/>
                <a:gd name="T21" fmla="*/ 110 h 162"/>
                <a:gd name="T22" fmla="*/ 54 w 207"/>
                <a:gd name="T23" fmla="*/ 131 h 162"/>
                <a:gd name="T24" fmla="*/ 33 w 207"/>
                <a:gd name="T25" fmla="*/ 150 h 162"/>
                <a:gd name="T26" fmla="*/ 0 w 207"/>
                <a:gd name="T27" fmla="*/ 162 h 162"/>
                <a:gd name="T28" fmla="*/ 73 w 207"/>
                <a:gd name="T29" fmla="*/ 162 h 162"/>
                <a:gd name="T30" fmla="*/ 73 w 207"/>
                <a:gd name="T31" fmla="*/ 140 h 162"/>
                <a:gd name="T32" fmla="*/ 88 w 207"/>
                <a:gd name="T33" fmla="*/ 131 h 162"/>
                <a:gd name="T34" fmla="*/ 140 w 207"/>
                <a:gd name="T35" fmla="*/ 119 h 162"/>
                <a:gd name="T36" fmla="*/ 164 w 207"/>
                <a:gd name="T37" fmla="*/ 101 h 162"/>
                <a:gd name="T38" fmla="*/ 164 w 207"/>
                <a:gd name="T39" fmla="*/ 86 h 162"/>
                <a:gd name="T40" fmla="*/ 207 w 207"/>
                <a:gd name="T41" fmla="*/ 76 h 162"/>
                <a:gd name="T42" fmla="*/ 207 w 207"/>
                <a:gd name="T43" fmla="*/ 25 h 16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7"/>
                <a:gd name="T67" fmla="*/ 0 h 162"/>
                <a:gd name="T68" fmla="*/ 207 w 207"/>
                <a:gd name="T69" fmla="*/ 162 h 16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7" h="162">
                  <a:moveTo>
                    <a:pt x="207" y="25"/>
                  </a:moveTo>
                  <a:lnTo>
                    <a:pt x="194" y="10"/>
                  </a:lnTo>
                  <a:lnTo>
                    <a:pt x="185" y="10"/>
                  </a:lnTo>
                  <a:lnTo>
                    <a:pt x="149" y="10"/>
                  </a:lnTo>
                  <a:lnTo>
                    <a:pt x="140" y="0"/>
                  </a:lnTo>
                  <a:lnTo>
                    <a:pt x="130" y="0"/>
                  </a:lnTo>
                  <a:lnTo>
                    <a:pt x="118" y="34"/>
                  </a:lnTo>
                  <a:lnTo>
                    <a:pt x="88" y="55"/>
                  </a:lnTo>
                  <a:lnTo>
                    <a:pt x="73" y="64"/>
                  </a:lnTo>
                  <a:lnTo>
                    <a:pt x="63" y="86"/>
                  </a:lnTo>
                  <a:lnTo>
                    <a:pt x="63" y="110"/>
                  </a:lnTo>
                  <a:lnTo>
                    <a:pt x="54" y="131"/>
                  </a:lnTo>
                  <a:lnTo>
                    <a:pt x="33" y="150"/>
                  </a:lnTo>
                  <a:lnTo>
                    <a:pt x="0" y="162"/>
                  </a:lnTo>
                  <a:lnTo>
                    <a:pt x="73" y="162"/>
                  </a:lnTo>
                  <a:lnTo>
                    <a:pt x="73" y="140"/>
                  </a:lnTo>
                  <a:lnTo>
                    <a:pt x="88" y="131"/>
                  </a:lnTo>
                  <a:lnTo>
                    <a:pt x="140" y="119"/>
                  </a:lnTo>
                  <a:lnTo>
                    <a:pt x="164" y="101"/>
                  </a:lnTo>
                  <a:lnTo>
                    <a:pt x="164" y="86"/>
                  </a:lnTo>
                  <a:lnTo>
                    <a:pt x="207" y="76"/>
                  </a:lnTo>
                  <a:lnTo>
                    <a:pt x="207" y="25"/>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43" name="Freeform 942"/>
            <p:cNvSpPr>
              <a:spLocks/>
            </p:cNvSpPr>
            <p:nvPr/>
          </p:nvSpPr>
          <p:spPr bwMode="auto">
            <a:xfrm>
              <a:off x="5422014" y="4046693"/>
              <a:ext cx="181844" cy="276792"/>
            </a:xfrm>
            <a:custGeom>
              <a:avLst/>
              <a:gdLst>
                <a:gd name="T0" fmla="*/ 9 w 183"/>
                <a:gd name="T1" fmla="*/ 161 h 283"/>
                <a:gd name="T2" fmla="*/ 40 w 183"/>
                <a:gd name="T3" fmla="*/ 152 h 283"/>
                <a:gd name="T4" fmla="*/ 76 w 183"/>
                <a:gd name="T5" fmla="*/ 140 h 283"/>
                <a:gd name="T6" fmla="*/ 116 w 183"/>
                <a:gd name="T7" fmla="*/ 88 h 283"/>
                <a:gd name="T8" fmla="*/ 107 w 183"/>
                <a:gd name="T9" fmla="*/ 88 h 283"/>
                <a:gd name="T10" fmla="*/ 52 w 183"/>
                <a:gd name="T11" fmla="*/ 66 h 283"/>
                <a:gd name="T12" fmla="*/ 31 w 183"/>
                <a:gd name="T13" fmla="*/ 33 h 283"/>
                <a:gd name="T14" fmla="*/ 31 w 183"/>
                <a:gd name="T15" fmla="*/ 21 h 283"/>
                <a:gd name="T16" fmla="*/ 31 w 183"/>
                <a:gd name="T17" fmla="*/ 12 h 283"/>
                <a:gd name="T18" fmla="*/ 52 w 183"/>
                <a:gd name="T19" fmla="*/ 33 h 283"/>
                <a:gd name="T20" fmla="*/ 61 w 183"/>
                <a:gd name="T21" fmla="*/ 33 h 283"/>
                <a:gd name="T22" fmla="*/ 107 w 183"/>
                <a:gd name="T23" fmla="*/ 21 h 283"/>
                <a:gd name="T24" fmla="*/ 140 w 183"/>
                <a:gd name="T25" fmla="*/ 21 h 283"/>
                <a:gd name="T26" fmla="*/ 161 w 183"/>
                <a:gd name="T27" fmla="*/ 12 h 283"/>
                <a:gd name="T28" fmla="*/ 171 w 183"/>
                <a:gd name="T29" fmla="*/ 0 h 283"/>
                <a:gd name="T30" fmla="*/ 183 w 183"/>
                <a:gd name="T31" fmla="*/ 12 h 283"/>
                <a:gd name="T32" fmla="*/ 171 w 183"/>
                <a:gd name="T33" fmla="*/ 33 h 283"/>
                <a:gd name="T34" fmla="*/ 140 w 183"/>
                <a:gd name="T35" fmla="*/ 130 h 283"/>
                <a:gd name="T36" fmla="*/ 116 w 183"/>
                <a:gd name="T37" fmla="*/ 161 h 283"/>
                <a:gd name="T38" fmla="*/ 97 w 183"/>
                <a:gd name="T39" fmla="*/ 194 h 283"/>
                <a:gd name="T40" fmla="*/ 40 w 183"/>
                <a:gd name="T41" fmla="*/ 237 h 283"/>
                <a:gd name="T42" fmla="*/ 9 w 183"/>
                <a:gd name="T43" fmla="*/ 283 h 283"/>
                <a:gd name="T44" fmla="*/ 0 w 183"/>
                <a:gd name="T45" fmla="*/ 261 h 283"/>
                <a:gd name="T46" fmla="*/ 0 w 183"/>
                <a:gd name="T47" fmla="*/ 194 h 283"/>
                <a:gd name="T48" fmla="*/ 9 w 183"/>
                <a:gd name="T49" fmla="*/ 161 h 2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83"/>
                <a:gd name="T76" fmla="*/ 0 h 283"/>
                <a:gd name="T77" fmla="*/ 183 w 183"/>
                <a:gd name="T78" fmla="*/ 283 h 2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83" h="283">
                  <a:moveTo>
                    <a:pt x="9" y="161"/>
                  </a:moveTo>
                  <a:lnTo>
                    <a:pt x="40" y="152"/>
                  </a:lnTo>
                  <a:lnTo>
                    <a:pt x="76" y="140"/>
                  </a:lnTo>
                  <a:lnTo>
                    <a:pt x="116" y="88"/>
                  </a:lnTo>
                  <a:lnTo>
                    <a:pt x="107" y="88"/>
                  </a:lnTo>
                  <a:lnTo>
                    <a:pt x="52" y="66"/>
                  </a:lnTo>
                  <a:lnTo>
                    <a:pt x="31" y="33"/>
                  </a:lnTo>
                  <a:lnTo>
                    <a:pt x="31" y="21"/>
                  </a:lnTo>
                  <a:lnTo>
                    <a:pt x="31" y="12"/>
                  </a:lnTo>
                  <a:lnTo>
                    <a:pt x="52" y="33"/>
                  </a:lnTo>
                  <a:lnTo>
                    <a:pt x="61" y="33"/>
                  </a:lnTo>
                  <a:lnTo>
                    <a:pt x="107" y="21"/>
                  </a:lnTo>
                  <a:lnTo>
                    <a:pt x="140" y="21"/>
                  </a:lnTo>
                  <a:lnTo>
                    <a:pt x="161" y="12"/>
                  </a:lnTo>
                  <a:lnTo>
                    <a:pt x="171" y="0"/>
                  </a:lnTo>
                  <a:lnTo>
                    <a:pt x="183" y="12"/>
                  </a:lnTo>
                  <a:lnTo>
                    <a:pt x="171" y="33"/>
                  </a:lnTo>
                  <a:lnTo>
                    <a:pt x="140" y="130"/>
                  </a:lnTo>
                  <a:lnTo>
                    <a:pt x="116" y="161"/>
                  </a:lnTo>
                  <a:lnTo>
                    <a:pt x="97" y="194"/>
                  </a:lnTo>
                  <a:lnTo>
                    <a:pt x="40" y="237"/>
                  </a:lnTo>
                  <a:lnTo>
                    <a:pt x="9" y="283"/>
                  </a:lnTo>
                  <a:lnTo>
                    <a:pt x="0" y="261"/>
                  </a:lnTo>
                  <a:lnTo>
                    <a:pt x="0" y="194"/>
                  </a:lnTo>
                  <a:lnTo>
                    <a:pt x="9" y="161"/>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44" name="Freeform 943"/>
            <p:cNvSpPr>
              <a:spLocks/>
            </p:cNvSpPr>
            <p:nvPr/>
          </p:nvSpPr>
          <p:spPr bwMode="auto">
            <a:xfrm>
              <a:off x="4380462" y="4004259"/>
              <a:ext cx="54913" cy="21217"/>
            </a:xfrm>
            <a:custGeom>
              <a:avLst/>
              <a:gdLst>
                <a:gd name="T0" fmla="*/ 0 w 55"/>
                <a:gd name="T1" fmla="*/ 21 h 21"/>
                <a:gd name="T2" fmla="*/ 0 w 55"/>
                <a:gd name="T3" fmla="*/ 12 h 21"/>
                <a:gd name="T4" fmla="*/ 19 w 55"/>
                <a:gd name="T5" fmla="*/ 0 h 21"/>
                <a:gd name="T6" fmla="*/ 55 w 55"/>
                <a:gd name="T7" fmla="*/ 12 h 21"/>
                <a:gd name="T8" fmla="*/ 43 w 55"/>
                <a:gd name="T9" fmla="*/ 21 h 21"/>
                <a:gd name="T10" fmla="*/ 19 w 55"/>
                <a:gd name="T11" fmla="*/ 12 h 21"/>
                <a:gd name="T12" fmla="*/ 0 w 55"/>
                <a:gd name="T13" fmla="*/ 21 h 21"/>
                <a:gd name="T14" fmla="*/ 0 60000 65536"/>
                <a:gd name="T15" fmla="*/ 0 60000 65536"/>
                <a:gd name="T16" fmla="*/ 0 60000 65536"/>
                <a:gd name="T17" fmla="*/ 0 60000 65536"/>
                <a:gd name="T18" fmla="*/ 0 60000 65536"/>
                <a:gd name="T19" fmla="*/ 0 60000 65536"/>
                <a:gd name="T20" fmla="*/ 0 60000 65536"/>
                <a:gd name="T21" fmla="*/ 0 w 55"/>
                <a:gd name="T22" fmla="*/ 0 h 21"/>
                <a:gd name="T23" fmla="*/ 55 w 55"/>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21">
                  <a:moveTo>
                    <a:pt x="0" y="21"/>
                  </a:moveTo>
                  <a:lnTo>
                    <a:pt x="0" y="12"/>
                  </a:lnTo>
                  <a:lnTo>
                    <a:pt x="19" y="0"/>
                  </a:lnTo>
                  <a:lnTo>
                    <a:pt x="55" y="12"/>
                  </a:lnTo>
                  <a:lnTo>
                    <a:pt x="43" y="21"/>
                  </a:lnTo>
                  <a:lnTo>
                    <a:pt x="19" y="12"/>
                  </a:lnTo>
                  <a:lnTo>
                    <a:pt x="0" y="21"/>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45" name="Freeform 944"/>
            <p:cNvSpPr>
              <a:spLocks/>
            </p:cNvSpPr>
            <p:nvPr/>
          </p:nvSpPr>
          <p:spPr bwMode="auto">
            <a:xfrm>
              <a:off x="4380462" y="4037049"/>
              <a:ext cx="54913" cy="29897"/>
            </a:xfrm>
            <a:custGeom>
              <a:avLst/>
              <a:gdLst>
                <a:gd name="T0" fmla="*/ 55 w 55"/>
                <a:gd name="T1" fmla="*/ 0 h 31"/>
                <a:gd name="T2" fmla="*/ 0 w 55"/>
                <a:gd name="T3" fmla="*/ 0 h 31"/>
                <a:gd name="T4" fmla="*/ 10 w 55"/>
                <a:gd name="T5" fmla="*/ 10 h 31"/>
                <a:gd name="T6" fmla="*/ 19 w 55"/>
                <a:gd name="T7" fmla="*/ 10 h 31"/>
                <a:gd name="T8" fmla="*/ 19 w 55"/>
                <a:gd name="T9" fmla="*/ 31 h 31"/>
                <a:gd name="T10" fmla="*/ 34 w 55"/>
                <a:gd name="T11" fmla="*/ 31 h 31"/>
                <a:gd name="T12" fmla="*/ 34 w 55"/>
                <a:gd name="T13" fmla="*/ 22 h 31"/>
                <a:gd name="T14" fmla="*/ 55 w 55"/>
                <a:gd name="T15" fmla="*/ 22 h 31"/>
                <a:gd name="T16" fmla="*/ 55 w 55"/>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5"/>
                <a:gd name="T28" fmla="*/ 0 h 31"/>
                <a:gd name="T29" fmla="*/ 55 w 55"/>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5" h="31">
                  <a:moveTo>
                    <a:pt x="55" y="0"/>
                  </a:moveTo>
                  <a:lnTo>
                    <a:pt x="0" y="0"/>
                  </a:lnTo>
                  <a:lnTo>
                    <a:pt x="10" y="10"/>
                  </a:lnTo>
                  <a:lnTo>
                    <a:pt x="19" y="10"/>
                  </a:lnTo>
                  <a:lnTo>
                    <a:pt x="19" y="31"/>
                  </a:lnTo>
                  <a:lnTo>
                    <a:pt x="34" y="31"/>
                  </a:lnTo>
                  <a:lnTo>
                    <a:pt x="34" y="22"/>
                  </a:lnTo>
                  <a:lnTo>
                    <a:pt x="55" y="22"/>
                  </a:lnTo>
                  <a:lnTo>
                    <a:pt x="55"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46" name="Freeform 945"/>
            <p:cNvSpPr>
              <a:spLocks/>
            </p:cNvSpPr>
            <p:nvPr/>
          </p:nvSpPr>
          <p:spPr bwMode="auto">
            <a:xfrm>
              <a:off x="4435375" y="4091057"/>
              <a:ext cx="54013" cy="62688"/>
            </a:xfrm>
            <a:custGeom>
              <a:avLst/>
              <a:gdLst>
                <a:gd name="T0" fmla="*/ 0 w 55"/>
                <a:gd name="T1" fmla="*/ 9 h 64"/>
                <a:gd name="T2" fmla="*/ 22 w 55"/>
                <a:gd name="T3" fmla="*/ 0 h 64"/>
                <a:gd name="T4" fmla="*/ 43 w 55"/>
                <a:gd name="T5" fmla="*/ 0 h 64"/>
                <a:gd name="T6" fmla="*/ 55 w 55"/>
                <a:gd name="T7" fmla="*/ 21 h 64"/>
                <a:gd name="T8" fmla="*/ 55 w 55"/>
                <a:gd name="T9" fmla="*/ 31 h 64"/>
                <a:gd name="T10" fmla="*/ 31 w 55"/>
                <a:gd name="T11" fmla="*/ 64 h 64"/>
                <a:gd name="T12" fmla="*/ 9 w 55"/>
                <a:gd name="T13" fmla="*/ 43 h 64"/>
                <a:gd name="T14" fmla="*/ 0 w 55"/>
                <a:gd name="T15" fmla="*/ 9 h 64"/>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64"/>
                <a:gd name="T26" fmla="*/ 55 w 55"/>
                <a:gd name="T27" fmla="*/ 64 h 6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64">
                  <a:moveTo>
                    <a:pt x="0" y="9"/>
                  </a:moveTo>
                  <a:lnTo>
                    <a:pt x="22" y="0"/>
                  </a:lnTo>
                  <a:lnTo>
                    <a:pt x="43" y="0"/>
                  </a:lnTo>
                  <a:lnTo>
                    <a:pt x="55" y="21"/>
                  </a:lnTo>
                  <a:lnTo>
                    <a:pt x="55" y="31"/>
                  </a:lnTo>
                  <a:lnTo>
                    <a:pt x="31" y="64"/>
                  </a:lnTo>
                  <a:lnTo>
                    <a:pt x="9" y="43"/>
                  </a:lnTo>
                  <a:lnTo>
                    <a:pt x="0" y="9"/>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47" name="Freeform 946"/>
            <p:cNvSpPr>
              <a:spLocks/>
            </p:cNvSpPr>
            <p:nvPr/>
          </p:nvSpPr>
          <p:spPr bwMode="auto">
            <a:xfrm>
              <a:off x="5202361" y="4332165"/>
              <a:ext cx="32408" cy="44364"/>
            </a:xfrm>
            <a:custGeom>
              <a:avLst/>
              <a:gdLst>
                <a:gd name="T0" fmla="*/ 0 w 33"/>
                <a:gd name="T1" fmla="*/ 12 h 45"/>
                <a:gd name="T2" fmla="*/ 15 w 33"/>
                <a:gd name="T3" fmla="*/ 21 h 45"/>
                <a:gd name="T4" fmla="*/ 15 w 33"/>
                <a:gd name="T5" fmla="*/ 45 h 45"/>
                <a:gd name="T6" fmla="*/ 33 w 33"/>
                <a:gd name="T7" fmla="*/ 21 h 45"/>
                <a:gd name="T8" fmla="*/ 33 w 33"/>
                <a:gd name="T9" fmla="*/ 0 h 45"/>
                <a:gd name="T10" fmla="*/ 0 w 33"/>
                <a:gd name="T11" fmla="*/ 12 h 45"/>
                <a:gd name="T12" fmla="*/ 0 60000 65536"/>
                <a:gd name="T13" fmla="*/ 0 60000 65536"/>
                <a:gd name="T14" fmla="*/ 0 60000 65536"/>
                <a:gd name="T15" fmla="*/ 0 60000 65536"/>
                <a:gd name="T16" fmla="*/ 0 60000 65536"/>
                <a:gd name="T17" fmla="*/ 0 60000 65536"/>
                <a:gd name="T18" fmla="*/ 0 w 33"/>
                <a:gd name="T19" fmla="*/ 0 h 45"/>
                <a:gd name="T20" fmla="*/ 33 w 33"/>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33" h="45">
                  <a:moveTo>
                    <a:pt x="0" y="12"/>
                  </a:moveTo>
                  <a:lnTo>
                    <a:pt x="15" y="21"/>
                  </a:lnTo>
                  <a:lnTo>
                    <a:pt x="15" y="45"/>
                  </a:lnTo>
                  <a:lnTo>
                    <a:pt x="33" y="21"/>
                  </a:lnTo>
                  <a:lnTo>
                    <a:pt x="33" y="0"/>
                  </a:lnTo>
                  <a:lnTo>
                    <a:pt x="0" y="12"/>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48" name="Freeform 947"/>
            <p:cNvSpPr>
              <a:spLocks/>
            </p:cNvSpPr>
            <p:nvPr/>
          </p:nvSpPr>
          <p:spPr bwMode="auto">
            <a:xfrm>
              <a:off x="5029519" y="4651392"/>
              <a:ext cx="172842" cy="178419"/>
            </a:xfrm>
            <a:custGeom>
              <a:avLst/>
              <a:gdLst>
                <a:gd name="T0" fmla="*/ 98 w 174"/>
                <a:gd name="T1" fmla="*/ 0 h 182"/>
                <a:gd name="T2" fmla="*/ 76 w 174"/>
                <a:gd name="T3" fmla="*/ 0 h 182"/>
                <a:gd name="T4" fmla="*/ 67 w 174"/>
                <a:gd name="T5" fmla="*/ 12 h 182"/>
                <a:gd name="T6" fmla="*/ 67 w 174"/>
                <a:gd name="T7" fmla="*/ 0 h 182"/>
                <a:gd name="T8" fmla="*/ 21 w 174"/>
                <a:gd name="T9" fmla="*/ 12 h 182"/>
                <a:gd name="T10" fmla="*/ 21 w 174"/>
                <a:gd name="T11" fmla="*/ 76 h 182"/>
                <a:gd name="T12" fmla="*/ 0 w 174"/>
                <a:gd name="T13" fmla="*/ 88 h 182"/>
                <a:gd name="T14" fmla="*/ 0 w 174"/>
                <a:gd name="T15" fmla="*/ 143 h 182"/>
                <a:gd name="T16" fmla="*/ 21 w 174"/>
                <a:gd name="T17" fmla="*/ 152 h 182"/>
                <a:gd name="T18" fmla="*/ 12 w 174"/>
                <a:gd name="T19" fmla="*/ 173 h 182"/>
                <a:gd name="T20" fmla="*/ 21 w 174"/>
                <a:gd name="T21" fmla="*/ 182 h 182"/>
                <a:gd name="T22" fmla="*/ 43 w 174"/>
                <a:gd name="T23" fmla="*/ 173 h 182"/>
                <a:gd name="T24" fmla="*/ 67 w 174"/>
                <a:gd name="T25" fmla="*/ 152 h 182"/>
                <a:gd name="T26" fmla="*/ 88 w 174"/>
                <a:gd name="T27" fmla="*/ 152 h 182"/>
                <a:gd name="T28" fmla="*/ 98 w 174"/>
                <a:gd name="T29" fmla="*/ 152 h 182"/>
                <a:gd name="T30" fmla="*/ 143 w 174"/>
                <a:gd name="T31" fmla="*/ 109 h 182"/>
                <a:gd name="T32" fmla="*/ 174 w 174"/>
                <a:gd name="T33" fmla="*/ 88 h 182"/>
                <a:gd name="T34" fmla="*/ 152 w 174"/>
                <a:gd name="T35" fmla="*/ 76 h 182"/>
                <a:gd name="T36" fmla="*/ 143 w 174"/>
                <a:gd name="T37" fmla="*/ 51 h 182"/>
                <a:gd name="T38" fmla="*/ 122 w 174"/>
                <a:gd name="T39" fmla="*/ 33 h 182"/>
                <a:gd name="T40" fmla="*/ 98 w 174"/>
                <a:gd name="T41" fmla="*/ 0 h 18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4"/>
                <a:gd name="T64" fmla="*/ 0 h 182"/>
                <a:gd name="T65" fmla="*/ 174 w 174"/>
                <a:gd name="T66" fmla="*/ 182 h 18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4" h="182">
                  <a:moveTo>
                    <a:pt x="98" y="0"/>
                  </a:moveTo>
                  <a:lnTo>
                    <a:pt x="76" y="0"/>
                  </a:lnTo>
                  <a:lnTo>
                    <a:pt x="67" y="12"/>
                  </a:lnTo>
                  <a:lnTo>
                    <a:pt x="67" y="0"/>
                  </a:lnTo>
                  <a:lnTo>
                    <a:pt x="21" y="12"/>
                  </a:lnTo>
                  <a:lnTo>
                    <a:pt x="21" y="76"/>
                  </a:lnTo>
                  <a:lnTo>
                    <a:pt x="0" y="88"/>
                  </a:lnTo>
                  <a:lnTo>
                    <a:pt x="0" y="143"/>
                  </a:lnTo>
                  <a:lnTo>
                    <a:pt x="21" y="152"/>
                  </a:lnTo>
                  <a:lnTo>
                    <a:pt x="12" y="173"/>
                  </a:lnTo>
                  <a:lnTo>
                    <a:pt x="21" y="182"/>
                  </a:lnTo>
                  <a:lnTo>
                    <a:pt x="43" y="173"/>
                  </a:lnTo>
                  <a:lnTo>
                    <a:pt x="67" y="152"/>
                  </a:lnTo>
                  <a:lnTo>
                    <a:pt x="88" y="152"/>
                  </a:lnTo>
                  <a:lnTo>
                    <a:pt x="98" y="152"/>
                  </a:lnTo>
                  <a:lnTo>
                    <a:pt x="143" y="109"/>
                  </a:lnTo>
                  <a:lnTo>
                    <a:pt x="174" y="88"/>
                  </a:lnTo>
                  <a:lnTo>
                    <a:pt x="152" y="76"/>
                  </a:lnTo>
                  <a:lnTo>
                    <a:pt x="143" y="51"/>
                  </a:lnTo>
                  <a:lnTo>
                    <a:pt x="122" y="33"/>
                  </a:lnTo>
                  <a:lnTo>
                    <a:pt x="98"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49" name="Freeform 948"/>
            <p:cNvSpPr>
              <a:spLocks/>
            </p:cNvSpPr>
            <p:nvPr/>
          </p:nvSpPr>
          <p:spPr bwMode="auto">
            <a:xfrm>
              <a:off x="3762912" y="5319744"/>
              <a:ext cx="45011" cy="8680"/>
            </a:xfrm>
            <a:custGeom>
              <a:avLst/>
              <a:gdLst>
                <a:gd name="T0" fmla="*/ 0 w 46"/>
                <a:gd name="T1" fmla="*/ 0 h 9"/>
                <a:gd name="T2" fmla="*/ 9 w 46"/>
                <a:gd name="T3" fmla="*/ 9 h 9"/>
                <a:gd name="T4" fmla="*/ 9 w 46"/>
                <a:gd name="T5" fmla="*/ 0 h 9"/>
                <a:gd name="T6" fmla="*/ 0 w 46"/>
                <a:gd name="T7" fmla="*/ 0 h 9"/>
                <a:gd name="T8" fmla="*/ 9 w 46"/>
                <a:gd name="T9" fmla="*/ 0 h 9"/>
                <a:gd name="T10" fmla="*/ 31 w 46"/>
                <a:gd name="T11" fmla="*/ 0 h 9"/>
                <a:gd name="T12" fmla="*/ 46 w 46"/>
                <a:gd name="T13" fmla="*/ 0 h 9"/>
                <a:gd name="T14" fmla="*/ 21 w 46"/>
                <a:gd name="T15" fmla="*/ 9 h 9"/>
                <a:gd name="T16" fmla="*/ 0 w 46"/>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6"/>
                <a:gd name="T28" fmla="*/ 0 h 9"/>
                <a:gd name="T29" fmla="*/ 46 w 46"/>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6" h="9">
                  <a:moveTo>
                    <a:pt x="0" y="0"/>
                  </a:moveTo>
                  <a:lnTo>
                    <a:pt x="9" y="9"/>
                  </a:lnTo>
                  <a:lnTo>
                    <a:pt x="9" y="0"/>
                  </a:lnTo>
                  <a:lnTo>
                    <a:pt x="0" y="0"/>
                  </a:lnTo>
                  <a:lnTo>
                    <a:pt x="9" y="0"/>
                  </a:lnTo>
                  <a:lnTo>
                    <a:pt x="31" y="0"/>
                  </a:lnTo>
                  <a:lnTo>
                    <a:pt x="46" y="0"/>
                  </a:lnTo>
                  <a:lnTo>
                    <a:pt x="21" y="9"/>
                  </a:lnTo>
                  <a:lnTo>
                    <a:pt x="0"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50" name="Freeform 949"/>
            <p:cNvSpPr>
              <a:spLocks/>
            </p:cNvSpPr>
            <p:nvPr/>
          </p:nvSpPr>
          <p:spPr bwMode="auto">
            <a:xfrm>
              <a:off x="3176870" y="3824874"/>
              <a:ext cx="184544" cy="62688"/>
            </a:xfrm>
            <a:custGeom>
              <a:avLst/>
              <a:gdLst>
                <a:gd name="T0" fmla="*/ 0 w 186"/>
                <a:gd name="T1" fmla="*/ 31 h 64"/>
                <a:gd name="T2" fmla="*/ 25 w 186"/>
                <a:gd name="T3" fmla="*/ 9 h 64"/>
                <a:gd name="T4" fmla="*/ 64 w 186"/>
                <a:gd name="T5" fmla="*/ 0 h 64"/>
                <a:gd name="T6" fmla="*/ 122 w 186"/>
                <a:gd name="T7" fmla="*/ 18 h 64"/>
                <a:gd name="T8" fmla="*/ 143 w 186"/>
                <a:gd name="T9" fmla="*/ 40 h 64"/>
                <a:gd name="T10" fmla="*/ 165 w 186"/>
                <a:gd name="T11" fmla="*/ 40 h 64"/>
                <a:gd name="T12" fmla="*/ 165 w 186"/>
                <a:gd name="T13" fmla="*/ 55 h 64"/>
                <a:gd name="T14" fmla="*/ 177 w 186"/>
                <a:gd name="T15" fmla="*/ 55 h 64"/>
                <a:gd name="T16" fmla="*/ 186 w 186"/>
                <a:gd name="T17" fmla="*/ 64 h 64"/>
                <a:gd name="T18" fmla="*/ 122 w 186"/>
                <a:gd name="T19" fmla="*/ 64 h 64"/>
                <a:gd name="T20" fmla="*/ 131 w 186"/>
                <a:gd name="T21" fmla="*/ 55 h 64"/>
                <a:gd name="T22" fmla="*/ 122 w 186"/>
                <a:gd name="T23" fmla="*/ 55 h 64"/>
                <a:gd name="T24" fmla="*/ 110 w 186"/>
                <a:gd name="T25" fmla="*/ 31 h 64"/>
                <a:gd name="T26" fmla="*/ 55 w 186"/>
                <a:gd name="T27" fmla="*/ 18 h 64"/>
                <a:gd name="T28" fmla="*/ 64 w 186"/>
                <a:gd name="T29" fmla="*/ 9 h 64"/>
                <a:gd name="T30" fmla="*/ 46 w 186"/>
                <a:gd name="T31" fmla="*/ 9 h 64"/>
                <a:gd name="T32" fmla="*/ 9 w 186"/>
                <a:gd name="T33" fmla="*/ 31 h 64"/>
                <a:gd name="T34" fmla="*/ 0 w 186"/>
                <a:gd name="T35" fmla="*/ 31 h 6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6"/>
                <a:gd name="T55" fmla="*/ 0 h 64"/>
                <a:gd name="T56" fmla="*/ 186 w 186"/>
                <a:gd name="T57" fmla="*/ 64 h 6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6" h="64">
                  <a:moveTo>
                    <a:pt x="0" y="31"/>
                  </a:moveTo>
                  <a:lnTo>
                    <a:pt x="25" y="9"/>
                  </a:lnTo>
                  <a:lnTo>
                    <a:pt x="64" y="0"/>
                  </a:lnTo>
                  <a:lnTo>
                    <a:pt x="122" y="18"/>
                  </a:lnTo>
                  <a:lnTo>
                    <a:pt x="143" y="40"/>
                  </a:lnTo>
                  <a:lnTo>
                    <a:pt x="165" y="40"/>
                  </a:lnTo>
                  <a:lnTo>
                    <a:pt x="165" y="55"/>
                  </a:lnTo>
                  <a:lnTo>
                    <a:pt x="177" y="55"/>
                  </a:lnTo>
                  <a:lnTo>
                    <a:pt x="186" y="64"/>
                  </a:lnTo>
                  <a:lnTo>
                    <a:pt x="122" y="64"/>
                  </a:lnTo>
                  <a:lnTo>
                    <a:pt x="131" y="55"/>
                  </a:lnTo>
                  <a:lnTo>
                    <a:pt x="122" y="55"/>
                  </a:lnTo>
                  <a:lnTo>
                    <a:pt x="110" y="31"/>
                  </a:lnTo>
                  <a:lnTo>
                    <a:pt x="55" y="18"/>
                  </a:lnTo>
                  <a:lnTo>
                    <a:pt x="64" y="9"/>
                  </a:lnTo>
                  <a:lnTo>
                    <a:pt x="46" y="9"/>
                  </a:lnTo>
                  <a:lnTo>
                    <a:pt x="9" y="31"/>
                  </a:lnTo>
                  <a:lnTo>
                    <a:pt x="0" y="31"/>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51" name="Freeform 950"/>
            <p:cNvSpPr>
              <a:spLocks/>
            </p:cNvSpPr>
            <p:nvPr/>
          </p:nvSpPr>
          <p:spPr bwMode="auto">
            <a:xfrm>
              <a:off x="3688194" y="3291544"/>
              <a:ext cx="44110" cy="8680"/>
            </a:xfrm>
            <a:custGeom>
              <a:avLst/>
              <a:gdLst>
                <a:gd name="T0" fmla="*/ 0 w 46"/>
                <a:gd name="T1" fmla="*/ 0 h 9"/>
                <a:gd name="T2" fmla="*/ 21 w 46"/>
                <a:gd name="T3" fmla="*/ 0 h 9"/>
                <a:gd name="T4" fmla="*/ 38 w 46"/>
                <a:gd name="T5" fmla="*/ 9 h 9"/>
                <a:gd name="T6" fmla="*/ 21 w 46"/>
                <a:gd name="T7" fmla="*/ 9 h 9"/>
                <a:gd name="T8" fmla="*/ 0 w 46"/>
                <a:gd name="T9" fmla="*/ 0 h 9"/>
                <a:gd name="T10" fmla="*/ 0 60000 65536"/>
                <a:gd name="T11" fmla="*/ 0 60000 65536"/>
                <a:gd name="T12" fmla="*/ 0 60000 65536"/>
                <a:gd name="T13" fmla="*/ 0 60000 65536"/>
                <a:gd name="T14" fmla="*/ 0 60000 65536"/>
                <a:gd name="T15" fmla="*/ 0 w 46"/>
                <a:gd name="T16" fmla="*/ 0 h 9"/>
                <a:gd name="T17" fmla="*/ 46 w 46"/>
                <a:gd name="T18" fmla="*/ 9 h 9"/>
              </a:gdLst>
              <a:ahLst/>
              <a:cxnLst>
                <a:cxn ang="T10">
                  <a:pos x="T0" y="T1"/>
                </a:cxn>
                <a:cxn ang="T11">
                  <a:pos x="T2" y="T3"/>
                </a:cxn>
                <a:cxn ang="T12">
                  <a:pos x="T4" y="T5"/>
                </a:cxn>
                <a:cxn ang="T13">
                  <a:pos x="T6" y="T7"/>
                </a:cxn>
                <a:cxn ang="T14">
                  <a:pos x="T8" y="T9"/>
                </a:cxn>
              </a:cxnLst>
              <a:rect l="T15" t="T16" r="T17" b="T18"/>
              <a:pathLst>
                <a:path w="46" h="9">
                  <a:moveTo>
                    <a:pt x="0" y="0"/>
                  </a:moveTo>
                  <a:lnTo>
                    <a:pt x="21" y="0"/>
                  </a:lnTo>
                  <a:lnTo>
                    <a:pt x="46" y="9"/>
                  </a:lnTo>
                  <a:lnTo>
                    <a:pt x="21" y="9"/>
                  </a:lnTo>
                  <a:lnTo>
                    <a:pt x="0"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52" name="Freeform 951"/>
            <p:cNvSpPr>
              <a:spLocks/>
            </p:cNvSpPr>
            <p:nvPr/>
          </p:nvSpPr>
          <p:spPr bwMode="auto">
            <a:xfrm>
              <a:off x="3753910" y="3262611"/>
              <a:ext cx="105326" cy="94515"/>
            </a:xfrm>
            <a:custGeom>
              <a:avLst/>
              <a:gdLst>
                <a:gd name="T0" fmla="*/ 0 w 107"/>
                <a:gd name="T1" fmla="*/ 64 h 97"/>
                <a:gd name="T2" fmla="*/ 18 w 107"/>
                <a:gd name="T3" fmla="*/ 55 h 97"/>
                <a:gd name="T4" fmla="*/ 76 w 107"/>
                <a:gd name="T5" fmla="*/ 0 h 97"/>
                <a:gd name="T6" fmla="*/ 85 w 107"/>
                <a:gd name="T7" fmla="*/ 0 h 97"/>
                <a:gd name="T8" fmla="*/ 55 w 107"/>
                <a:gd name="T9" fmla="*/ 30 h 97"/>
                <a:gd name="T10" fmla="*/ 76 w 107"/>
                <a:gd name="T11" fmla="*/ 21 h 97"/>
                <a:gd name="T12" fmla="*/ 76 w 107"/>
                <a:gd name="T13" fmla="*/ 30 h 97"/>
                <a:gd name="T14" fmla="*/ 76 w 107"/>
                <a:gd name="T15" fmla="*/ 39 h 97"/>
                <a:gd name="T16" fmla="*/ 107 w 107"/>
                <a:gd name="T17" fmla="*/ 39 h 97"/>
                <a:gd name="T18" fmla="*/ 97 w 107"/>
                <a:gd name="T19" fmla="*/ 55 h 97"/>
                <a:gd name="T20" fmla="*/ 107 w 107"/>
                <a:gd name="T21" fmla="*/ 55 h 97"/>
                <a:gd name="T22" fmla="*/ 85 w 107"/>
                <a:gd name="T23" fmla="*/ 76 h 97"/>
                <a:gd name="T24" fmla="*/ 107 w 107"/>
                <a:gd name="T25" fmla="*/ 64 h 97"/>
                <a:gd name="T26" fmla="*/ 97 w 107"/>
                <a:gd name="T27" fmla="*/ 76 h 97"/>
                <a:gd name="T28" fmla="*/ 107 w 107"/>
                <a:gd name="T29" fmla="*/ 76 h 97"/>
                <a:gd name="T30" fmla="*/ 97 w 107"/>
                <a:gd name="T31" fmla="*/ 97 h 97"/>
                <a:gd name="T32" fmla="*/ 85 w 107"/>
                <a:gd name="T33" fmla="*/ 97 h 97"/>
                <a:gd name="T34" fmla="*/ 85 w 107"/>
                <a:gd name="T35" fmla="*/ 85 h 97"/>
                <a:gd name="T36" fmla="*/ 76 w 107"/>
                <a:gd name="T37" fmla="*/ 85 h 97"/>
                <a:gd name="T38" fmla="*/ 85 w 107"/>
                <a:gd name="T39" fmla="*/ 76 h 97"/>
                <a:gd name="T40" fmla="*/ 76 w 107"/>
                <a:gd name="T41" fmla="*/ 76 h 97"/>
                <a:gd name="T42" fmla="*/ 64 w 107"/>
                <a:gd name="T43" fmla="*/ 85 h 97"/>
                <a:gd name="T44" fmla="*/ 55 w 107"/>
                <a:gd name="T45" fmla="*/ 85 h 97"/>
                <a:gd name="T46" fmla="*/ 64 w 107"/>
                <a:gd name="T47" fmla="*/ 76 h 97"/>
                <a:gd name="T48" fmla="*/ 0 w 107"/>
                <a:gd name="T49" fmla="*/ 76 h 97"/>
                <a:gd name="T50" fmla="*/ 0 w 107"/>
                <a:gd name="T51" fmla="*/ 64 h 9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97"/>
                <a:gd name="T80" fmla="*/ 107 w 107"/>
                <a:gd name="T81" fmla="*/ 97 h 9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97">
                  <a:moveTo>
                    <a:pt x="0" y="64"/>
                  </a:moveTo>
                  <a:lnTo>
                    <a:pt x="18" y="55"/>
                  </a:lnTo>
                  <a:lnTo>
                    <a:pt x="76" y="0"/>
                  </a:lnTo>
                  <a:lnTo>
                    <a:pt x="85" y="0"/>
                  </a:lnTo>
                  <a:lnTo>
                    <a:pt x="55" y="30"/>
                  </a:lnTo>
                  <a:lnTo>
                    <a:pt x="76" y="21"/>
                  </a:lnTo>
                  <a:lnTo>
                    <a:pt x="76" y="30"/>
                  </a:lnTo>
                  <a:lnTo>
                    <a:pt x="76" y="39"/>
                  </a:lnTo>
                  <a:lnTo>
                    <a:pt x="107" y="39"/>
                  </a:lnTo>
                  <a:lnTo>
                    <a:pt x="97" y="55"/>
                  </a:lnTo>
                  <a:lnTo>
                    <a:pt x="107" y="55"/>
                  </a:lnTo>
                  <a:lnTo>
                    <a:pt x="85" y="76"/>
                  </a:lnTo>
                  <a:lnTo>
                    <a:pt x="107" y="64"/>
                  </a:lnTo>
                  <a:lnTo>
                    <a:pt x="97" y="76"/>
                  </a:lnTo>
                  <a:lnTo>
                    <a:pt x="107" y="76"/>
                  </a:lnTo>
                  <a:lnTo>
                    <a:pt x="97" y="97"/>
                  </a:lnTo>
                  <a:lnTo>
                    <a:pt x="85" y="97"/>
                  </a:lnTo>
                  <a:lnTo>
                    <a:pt x="85" y="85"/>
                  </a:lnTo>
                  <a:lnTo>
                    <a:pt x="76" y="85"/>
                  </a:lnTo>
                  <a:lnTo>
                    <a:pt x="85" y="76"/>
                  </a:lnTo>
                  <a:lnTo>
                    <a:pt x="76" y="76"/>
                  </a:lnTo>
                  <a:lnTo>
                    <a:pt x="64" y="85"/>
                  </a:lnTo>
                  <a:lnTo>
                    <a:pt x="55" y="85"/>
                  </a:lnTo>
                  <a:lnTo>
                    <a:pt x="64" y="76"/>
                  </a:lnTo>
                  <a:lnTo>
                    <a:pt x="0" y="76"/>
                  </a:lnTo>
                  <a:lnTo>
                    <a:pt x="0" y="64"/>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53" name="Freeform 952"/>
            <p:cNvSpPr>
              <a:spLocks/>
            </p:cNvSpPr>
            <p:nvPr/>
          </p:nvSpPr>
          <p:spPr bwMode="auto">
            <a:xfrm>
              <a:off x="3502749" y="2984855"/>
              <a:ext cx="108926" cy="53044"/>
            </a:xfrm>
            <a:custGeom>
              <a:avLst/>
              <a:gdLst>
                <a:gd name="T0" fmla="*/ 0 w 110"/>
                <a:gd name="T1" fmla="*/ 42 h 54"/>
                <a:gd name="T2" fmla="*/ 22 w 110"/>
                <a:gd name="T3" fmla="*/ 42 h 54"/>
                <a:gd name="T4" fmla="*/ 43 w 110"/>
                <a:gd name="T5" fmla="*/ 21 h 54"/>
                <a:gd name="T6" fmla="*/ 64 w 110"/>
                <a:gd name="T7" fmla="*/ 0 h 54"/>
                <a:gd name="T8" fmla="*/ 64 w 110"/>
                <a:gd name="T9" fmla="*/ 12 h 54"/>
                <a:gd name="T10" fmla="*/ 110 w 110"/>
                <a:gd name="T11" fmla="*/ 42 h 54"/>
                <a:gd name="T12" fmla="*/ 85 w 110"/>
                <a:gd name="T13" fmla="*/ 54 h 54"/>
                <a:gd name="T14" fmla="*/ 64 w 110"/>
                <a:gd name="T15" fmla="*/ 42 h 54"/>
                <a:gd name="T16" fmla="*/ 55 w 110"/>
                <a:gd name="T17" fmla="*/ 42 h 54"/>
                <a:gd name="T18" fmla="*/ 22 w 110"/>
                <a:gd name="T19" fmla="*/ 54 h 54"/>
                <a:gd name="T20" fmla="*/ 22 w 110"/>
                <a:gd name="T21" fmla="*/ 42 h 54"/>
                <a:gd name="T22" fmla="*/ 0 w 110"/>
                <a:gd name="T23" fmla="*/ 42 h 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0"/>
                <a:gd name="T37" fmla="*/ 0 h 54"/>
                <a:gd name="T38" fmla="*/ 110 w 110"/>
                <a:gd name="T39" fmla="*/ 54 h 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0" h="54">
                  <a:moveTo>
                    <a:pt x="0" y="42"/>
                  </a:moveTo>
                  <a:lnTo>
                    <a:pt x="22" y="42"/>
                  </a:lnTo>
                  <a:lnTo>
                    <a:pt x="43" y="21"/>
                  </a:lnTo>
                  <a:lnTo>
                    <a:pt x="64" y="0"/>
                  </a:lnTo>
                  <a:lnTo>
                    <a:pt x="64" y="12"/>
                  </a:lnTo>
                  <a:lnTo>
                    <a:pt x="110" y="42"/>
                  </a:lnTo>
                  <a:lnTo>
                    <a:pt x="85" y="54"/>
                  </a:lnTo>
                  <a:lnTo>
                    <a:pt x="64" y="42"/>
                  </a:lnTo>
                  <a:lnTo>
                    <a:pt x="55" y="42"/>
                  </a:lnTo>
                  <a:lnTo>
                    <a:pt x="22" y="54"/>
                  </a:lnTo>
                  <a:lnTo>
                    <a:pt x="22" y="42"/>
                  </a:lnTo>
                  <a:lnTo>
                    <a:pt x="0" y="42"/>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54" name="Freeform 953"/>
            <p:cNvSpPr>
              <a:spLocks/>
            </p:cNvSpPr>
            <p:nvPr/>
          </p:nvSpPr>
          <p:spPr bwMode="auto">
            <a:xfrm>
              <a:off x="3696296" y="2952064"/>
              <a:ext cx="36009" cy="24111"/>
            </a:xfrm>
            <a:custGeom>
              <a:avLst/>
              <a:gdLst>
                <a:gd name="T0" fmla="*/ 0 w 37"/>
                <a:gd name="T1" fmla="*/ 9 h 25"/>
                <a:gd name="T2" fmla="*/ 21 w 37"/>
                <a:gd name="T3" fmla="*/ 0 h 25"/>
                <a:gd name="T4" fmla="*/ 37 w 37"/>
                <a:gd name="T5" fmla="*/ 0 h 25"/>
                <a:gd name="T6" fmla="*/ 12 w 37"/>
                <a:gd name="T7" fmla="*/ 25 h 25"/>
                <a:gd name="T8" fmla="*/ 0 w 37"/>
                <a:gd name="T9" fmla="*/ 25 h 25"/>
                <a:gd name="T10" fmla="*/ 0 w 37"/>
                <a:gd name="T11" fmla="*/ 9 h 25"/>
                <a:gd name="T12" fmla="*/ 0 60000 65536"/>
                <a:gd name="T13" fmla="*/ 0 60000 65536"/>
                <a:gd name="T14" fmla="*/ 0 60000 65536"/>
                <a:gd name="T15" fmla="*/ 0 60000 65536"/>
                <a:gd name="T16" fmla="*/ 0 60000 65536"/>
                <a:gd name="T17" fmla="*/ 0 60000 65536"/>
                <a:gd name="T18" fmla="*/ 0 w 37"/>
                <a:gd name="T19" fmla="*/ 0 h 25"/>
                <a:gd name="T20" fmla="*/ 37 w 37"/>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37" h="25">
                  <a:moveTo>
                    <a:pt x="0" y="9"/>
                  </a:moveTo>
                  <a:lnTo>
                    <a:pt x="21" y="0"/>
                  </a:lnTo>
                  <a:lnTo>
                    <a:pt x="37" y="0"/>
                  </a:lnTo>
                  <a:lnTo>
                    <a:pt x="12" y="25"/>
                  </a:lnTo>
                  <a:lnTo>
                    <a:pt x="0" y="25"/>
                  </a:lnTo>
                  <a:lnTo>
                    <a:pt x="0" y="9"/>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55" name="Freeform 954"/>
            <p:cNvSpPr>
              <a:spLocks/>
            </p:cNvSpPr>
            <p:nvPr/>
          </p:nvSpPr>
          <p:spPr bwMode="auto">
            <a:xfrm>
              <a:off x="3587370" y="2856584"/>
              <a:ext cx="305173" cy="202530"/>
            </a:xfrm>
            <a:custGeom>
              <a:avLst/>
              <a:gdLst>
                <a:gd name="T0" fmla="*/ 0 w 308"/>
                <a:gd name="T1" fmla="*/ 33 h 207"/>
                <a:gd name="T2" fmla="*/ 34 w 308"/>
                <a:gd name="T3" fmla="*/ 12 h 207"/>
                <a:gd name="T4" fmla="*/ 80 w 308"/>
                <a:gd name="T5" fmla="*/ 0 h 207"/>
                <a:gd name="T6" fmla="*/ 110 w 308"/>
                <a:gd name="T7" fmla="*/ 0 h 207"/>
                <a:gd name="T8" fmla="*/ 122 w 308"/>
                <a:gd name="T9" fmla="*/ 0 h 207"/>
                <a:gd name="T10" fmla="*/ 147 w 308"/>
                <a:gd name="T11" fmla="*/ 12 h 207"/>
                <a:gd name="T12" fmla="*/ 122 w 308"/>
                <a:gd name="T13" fmla="*/ 33 h 207"/>
                <a:gd name="T14" fmla="*/ 177 w 308"/>
                <a:gd name="T15" fmla="*/ 21 h 207"/>
                <a:gd name="T16" fmla="*/ 223 w 308"/>
                <a:gd name="T17" fmla="*/ 21 h 207"/>
                <a:gd name="T18" fmla="*/ 208 w 308"/>
                <a:gd name="T19" fmla="*/ 33 h 207"/>
                <a:gd name="T20" fmla="*/ 244 w 308"/>
                <a:gd name="T21" fmla="*/ 45 h 207"/>
                <a:gd name="T22" fmla="*/ 275 w 308"/>
                <a:gd name="T23" fmla="*/ 67 h 207"/>
                <a:gd name="T24" fmla="*/ 275 w 308"/>
                <a:gd name="T25" fmla="*/ 76 h 207"/>
                <a:gd name="T26" fmla="*/ 253 w 308"/>
                <a:gd name="T27" fmla="*/ 88 h 207"/>
                <a:gd name="T28" fmla="*/ 244 w 308"/>
                <a:gd name="T29" fmla="*/ 88 h 207"/>
                <a:gd name="T30" fmla="*/ 253 w 308"/>
                <a:gd name="T31" fmla="*/ 97 h 207"/>
                <a:gd name="T32" fmla="*/ 275 w 308"/>
                <a:gd name="T33" fmla="*/ 97 h 207"/>
                <a:gd name="T34" fmla="*/ 308 w 308"/>
                <a:gd name="T35" fmla="*/ 122 h 207"/>
                <a:gd name="T36" fmla="*/ 265 w 308"/>
                <a:gd name="T37" fmla="*/ 152 h 207"/>
                <a:gd name="T38" fmla="*/ 253 w 308"/>
                <a:gd name="T39" fmla="*/ 152 h 207"/>
                <a:gd name="T40" fmla="*/ 253 w 308"/>
                <a:gd name="T41" fmla="*/ 143 h 207"/>
                <a:gd name="T42" fmla="*/ 232 w 308"/>
                <a:gd name="T43" fmla="*/ 131 h 207"/>
                <a:gd name="T44" fmla="*/ 223 w 308"/>
                <a:gd name="T45" fmla="*/ 143 h 207"/>
                <a:gd name="T46" fmla="*/ 244 w 308"/>
                <a:gd name="T47" fmla="*/ 164 h 207"/>
                <a:gd name="T48" fmla="*/ 232 w 308"/>
                <a:gd name="T49" fmla="*/ 173 h 207"/>
                <a:gd name="T50" fmla="*/ 244 w 308"/>
                <a:gd name="T51" fmla="*/ 185 h 207"/>
                <a:gd name="T52" fmla="*/ 232 w 308"/>
                <a:gd name="T53" fmla="*/ 198 h 207"/>
                <a:gd name="T54" fmla="*/ 208 w 308"/>
                <a:gd name="T55" fmla="*/ 198 h 207"/>
                <a:gd name="T56" fmla="*/ 177 w 308"/>
                <a:gd name="T57" fmla="*/ 173 h 207"/>
                <a:gd name="T58" fmla="*/ 177 w 308"/>
                <a:gd name="T59" fmla="*/ 185 h 207"/>
                <a:gd name="T60" fmla="*/ 198 w 308"/>
                <a:gd name="T61" fmla="*/ 207 h 207"/>
                <a:gd name="T62" fmla="*/ 168 w 308"/>
                <a:gd name="T63" fmla="*/ 207 h 207"/>
                <a:gd name="T64" fmla="*/ 131 w 308"/>
                <a:gd name="T65" fmla="*/ 198 h 207"/>
                <a:gd name="T66" fmla="*/ 131 w 308"/>
                <a:gd name="T67" fmla="*/ 173 h 207"/>
                <a:gd name="T68" fmla="*/ 122 w 308"/>
                <a:gd name="T69" fmla="*/ 173 h 207"/>
                <a:gd name="T70" fmla="*/ 92 w 308"/>
                <a:gd name="T71" fmla="*/ 164 h 207"/>
                <a:gd name="T72" fmla="*/ 55 w 308"/>
                <a:gd name="T73" fmla="*/ 164 h 207"/>
                <a:gd name="T74" fmla="*/ 80 w 308"/>
                <a:gd name="T75" fmla="*/ 143 h 207"/>
                <a:gd name="T76" fmla="*/ 110 w 308"/>
                <a:gd name="T77" fmla="*/ 152 h 207"/>
                <a:gd name="T78" fmla="*/ 131 w 308"/>
                <a:gd name="T79" fmla="*/ 143 h 207"/>
                <a:gd name="T80" fmla="*/ 122 w 308"/>
                <a:gd name="T81" fmla="*/ 131 h 207"/>
                <a:gd name="T82" fmla="*/ 177 w 308"/>
                <a:gd name="T83" fmla="*/ 122 h 207"/>
                <a:gd name="T84" fmla="*/ 177 w 308"/>
                <a:gd name="T85" fmla="*/ 97 h 207"/>
                <a:gd name="T86" fmla="*/ 168 w 308"/>
                <a:gd name="T87" fmla="*/ 88 h 207"/>
                <a:gd name="T88" fmla="*/ 156 w 308"/>
                <a:gd name="T89" fmla="*/ 88 h 207"/>
                <a:gd name="T90" fmla="*/ 131 w 308"/>
                <a:gd name="T91" fmla="*/ 88 h 207"/>
                <a:gd name="T92" fmla="*/ 156 w 308"/>
                <a:gd name="T93" fmla="*/ 76 h 207"/>
                <a:gd name="T94" fmla="*/ 131 w 308"/>
                <a:gd name="T95" fmla="*/ 67 h 207"/>
                <a:gd name="T96" fmla="*/ 101 w 308"/>
                <a:gd name="T97" fmla="*/ 76 h 207"/>
                <a:gd name="T98" fmla="*/ 92 w 308"/>
                <a:gd name="T99" fmla="*/ 67 h 207"/>
                <a:gd name="T100" fmla="*/ 34 w 308"/>
                <a:gd name="T101" fmla="*/ 67 h 207"/>
                <a:gd name="T102" fmla="*/ 16 w 308"/>
                <a:gd name="T103" fmla="*/ 58 h 207"/>
                <a:gd name="T104" fmla="*/ 0 w 308"/>
                <a:gd name="T105" fmla="*/ 33 h 20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08"/>
                <a:gd name="T160" fmla="*/ 0 h 207"/>
                <a:gd name="T161" fmla="*/ 308 w 308"/>
                <a:gd name="T162" fmla="*/ 207 h 20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08" h="207">
                  <a:moveTo>
                    <a:pt x="0" y="33"/>
                  </a:moveTo>
                  <a:lnTo>
                    <a:pt x="34" y="12"/>
                  </a:lnTo>
                  <a:lnTo>
                    <a:pt x="80" y="0"/>
                  </a:lnTo>
                  <a:lnTo>
                    <a:pt x="110" y="0"/>
                  </a:lnTo>
                  <a:lnTo>
                    <a:pt x="122" y="0"/>
                  </a:lnTo>
                  <a:lnTo>
                    <a:pt x="147" y="12"/>
                  </a:lnTo>
                  <a:lnTo>
                    <a:pt x="122" y="33"/>
                  </a:lnTo>
                  <a:lnTo>
                    <a:pt x="177" y="21"/>
                  </a:lnTo>
                  <a:lnTo>
                    <a:pt x="223" y="21"/>
                  </a:lnTo>
                  <a:lnTo>
                    <a:pt x="208" y="33"/>
                  </a:lnTo>
                  <a:lnTo>
                    <a:pt x="244" y="45"/>
                  </a:lnTo>
                  <a:lnTo>
                    <a:pt x="275" y="67"/>
                  </a:lnTo>
                  <a:lnTo>
                    <a:pt x="275" y="76"/>
                  </a:lnTo>
                  <a:lnTo>
                    <a:pt x="253" y="88"/>
                  </a:lnTo>
                  <a:lnTo>
                    <a:pt x="244" y="88"/>
                  </a:lnTo>
                  <a:lnTo>
                    <a:pt x="253" y="97"/>
                  </a:lnTo>
                  <a:lnTo>
                    <a:pt x="275" y="97"/>
                  </a:lnTo>
                  <a:lnTo>
                    <a:pt x="308" y="122"/>
                  </a:lnTo>
                  <a:lnTo>
                    <a:pt x="265" y="152"/>
                  </a:lnTo>
                  <a:lnTo>
                    <a:pt x="253" y="152"/>
                  </a:lnTo>
                  <a:lnTo>
                    <a:pt x="253" y="143"/>
                  </a:lnTo>
                  <a:lnTo>
                    <a:pt x="232" y="131"/>
                  </a:lnTo>
                  <a:lnTo>
                    <a:pt x="223" y="143"/>
                  </a:lnTo>
                  <a:lnTo>
                    <a:pt x="244" y="164"/>
                  </a:lnTo>
                  <a:lnTo>
                    <a:pt x="232" y="173"/>
                  </a:lnTo>
                  <a:lnTo>
                    <a:pt x="244" y="185"/>
                  </a:lnTo>
                  <a:lnTo>
                    <a:pt x="232" y="198"/>
                  </a:lnTo>
                  <a:lnTo>
                    <a:pt x="208" y="198"/>
                  </a:lnTo>
                  <a:lnTo>
                    <a:pt x="177" y="173"/>
                  </a:lnTo>
                  <a:lnTo>
                    <a:pt x="177" y="185"/>
                  </a:lnTo>
                  <a:lnTo>
                    <a:pt x="198" y="207"/>
                  </a:lnTo>
                  <a:lnTo>
                    <a:pt x="168" y="207"/>
                  </a:lnTo>
                  <a:lnTo>
                    <a:pt x="131" y="198"/>
                  </a:lnTo>
                  <a:lnTo>
                    <a:pt x="131" y="173"/>
                  </a:lnTo>
                  <a:lnTo>
                    <a:pt x="122" y="173"/>
                  </a:lnTo>
                  <a:lnTo>
                    <a:pt x="92" y="164"/>
                  </a:lnTo>
                  <a:lnTo>
                    <a:pt x="55" y="164"/>
                  </a:lnTo>
                  <a:lnTo>
                    <a:pt x="80" y="143"/>
                  </a:lnTo>
                  <a:lnTo>
                    <a:pt x="110" y="152"/>
                  </a:lnTo>
                  <a:lnTo>
                    <a:pt x="131" y="143"/>
                  </a:lnTo>
                  <a:lnTo>
                    <a:pt x="122" y="131"/>
                  </a:lnTo>
                  <a:lnTo>
                    <a:pt x="177" y="122"/>
                  </a:lnTo>
                  <a:lnTo>
                    <a:pt x="177" y="97"/>
                  </a:lnTo>
                  <a:lnTo>
                    <a:pt x="168" y="88"/>
                  </a:lnTo>
                  <a:lnTo>
                    <a:pt x="156" y="88"/>
                  </a:lnTo>
                  <a:lnTo>
                    <a:pt x="131" y="88"/>
                  </a:lnTo>
                  <a:lnTo>
                    <a:pt x="156" y="76"/>
                  </a:lnTo>
                  <a:lnTo>
                    <a:pt x="131" y="67"/>
                  </a:lnTo>
                  <a:lnTo>
                    <a:pt x="101" y="76"/>
                  </a:lnTo>
                  <a:lnTo>
                    <a:pt x="92" y="67"/>
                  </a:lnTo>
                  <a:lnTo>
                    <a:pt x="34" y="67"/>
                  </a:lnTo>
                  <a:lnTo>
                    <a:pt x="16" y="58"/>
                  </a:lnTo>
                  <a:lnTo>
                    <a:pt x="0" y="33"/>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56" name="Freeform 955"/>
            <p:cNvSpPr>
              <a:spLocks/>
            </p:cNvSpPr>
            <p:nvPr/>
          </p:nvSpPr>
          <p:spPr bwMode="auto">
            <a:xfrm>
              <a:off x="3732304" y="2856584"/>
              <a:ext cx="51313" cy="20254"/>
            </a:xfrm>
            <a:custGeom>
              <a:avLst/>
              <a:gdLst>
                <a:gd name="T0" fmla="*/ 9 w 51"/>
                <a:gd name="T1" fmla="*/ 0 h 21"/>
                <a:gd name="T2" fmla="*/ 51 w 51"/>
                <a:gd name="T3" fmla="*/ 12 h 21"/>
                <a:gd name="T4" fmla="*/ 39 w 51"/>
                <a:gd name="T5" fmla="*/ 21 h 21"/>
                <a:gd name="T6" fmla="*/ 9 w 51"/>
                <a:gd name="T7" fmla="*/ 21 h 21"/>
                <a:gd name="T8" fmla="*/ 0 w 51"/>
                <a:gd name="T9" fmla="*/ 12 h 21"/>
                <a:gd name="T10" fmla="*/ 9 w 51"/>
                <a:gd name="T11" fmla="*/ 0 h 21"/>
                <a:gd name="T12" fmla="*/ 0 60000 65536"/>
                <a:gd name="T13" fmla="*/ 0 60000 65536"/>
                <a:gd name="T14" fmla="*/ 0 60000 65536"/>
                <a:gd name="T15" fmla="*/ 0 60000 65536"/>
                <a:gd name="T16" fmla="*/ 0 60000 65536"/>
                <a:gd name="T17" fmla="*/ 0 60000 65536"/>
                <a:gd name="T18" fmla="*/ 0 w 51"/>
                <a:gd name="T19" fmla="*/ 0 h 21"/>
                <a:gd name="T20" fmla="*/ 51 w 51"/>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51" h="21">
                  <a:moveTo>
                    <a:pt x="9" y="0"/>
                  </a:moveTo>
                  <a:lnTo>
                    <a:pt x="51" y="12"/>
                  </a:lnTo>
                  <a:lnTo>
                    <a:pt x="39" y="21"/>
                  </a:lnTo>
                  <a:lnTo>
                    <a:pt x="9" y="21"/>
                  </a:lnTo>
                  <a:lnTo>
                    <a:pt x="0" y="12"/>
                  </a:lnTo>
                  <a:lnTo>
                    <a:pt x="9"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57" name="Freeform 956"/>
            <p:cNvSpPr>
              <a:spLocks/>
            </p:cNvSpPr>
            <p:nvPr/>
          </p:nvSpPr>
          <p:spPr bwMode="auto">
            <a:xfrm>
              <a:off x="3602673" y="2814150"/>
              <a:ext cx="168341" cy="33756"/>
            </a:xfrm>
            <a:custGeom>
              <a:avLst/>
              <a:gdLst>
                <a:gd name="T0" fmla="*/ 9 w 170"/>
                <a:gd name="T1" fmla="*/ 0 h 34"/>
                <a:gd name="T2" fmla="*/ 64 w 170"/>
                <a:gd name="T3" fmla="*/ 0 h 34"/>
                <a:gd name="T4" fmla="*/ 64 w 170"/>
                <a:gd name="T5" fmla="*/ 12 h 34"/>
                <a:gd name="T6" fmla="*/ 76 w 170"/>
                <a:gd name="T7" fmla="*/ 12 h 34"/>
                <a:gd name="T8" fmla="*/ 170 w 170"/>
                <a:gd name="T9" fmla="*/ 24 h 34"/>
                <a:gd name="T10" fmla="*/ 152 w 170"/>
                <a:gd name="T11" fmla="*/ 34 h 34"/>
                <a:gd name="T12" fmla="*/ 131 w 170"/>
                <a:gd name="T13" fmla="*/ 34 h 34"/>
                <a:gd name="T14" fmla="*/ 115 w 170"/>
                <a:gd name="T15" fmla="*/ 34 h 34"/>
                <a:gd name="T16" fmla="*/ 94 w 170"/>
                <a:gd name="T17" fmla="*/ 34 h 34"/>
                <a:gd name="T18" fmla="*/ 30 w 170"/>
                <a:gd name="T19" fmla="*/ 34 h 34"/>
                <a:gd name="T20" fmla="*/ 18 w 170"/>
                <a:gd name="T21" fmla="*/ 34 h 34"/>
                <a:gd name="T22" fmla="*/ 39 w 170"/>
                <a:gd name="T23" fmla="*/ 12 h 34"/>
                <a:gd name="T24" fmla="*/ 9 w 170"/>
                <a:gd name="T25" fmla="*/ 12 h 34"/>
                <a:gd name="T26" fmla="*/ 0 w 170"/>
                <a:gd name="T27" fmla="*/ 0 h 34"/>
                <a:gd name="T28" fmla="*/ 9 w 170"/>
                <a:gd name="T29" fmla="*/ 0 h 3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0"/>
                <a:gd name="T46" fmla="*/ 0 h 34"/>
                <a:gd name="T47" fmla="*/ 170 w 170"/>
                <a:gd name="T48" fmla="*/ 34 h 3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0" h="34">
                  <a:moveTo>
                    <a:pt x="9" y="0"/>
                  </a:moveTo>
                  <a:lnTo>
                    <a:pt x="64" y="0"/>
                  </a:lnTo>
                  <a:lnTo>
                    <a:pt x="64" y="12"/>
                  </a:lnTo>
                  <a:lnTo>
                    <a:pt x="76" y="12"/>
                  </a:lnTo>
                  <a:lnTo>
                    <a:pt x="170" y="24"/>
                  </a:lnTo>
                  <a:lnTo>
                    <a:pt x="152" y="34"/>
                  </a:lnTo>
                  <a:lnTo>
                    <a:pt x="131" y="34"/>
                  </a:lnTo>
                  <a:lnTo>
                    <a:pt x="115" y="34"/>
                  </a:lnTo>
                  <a:lnTo>
                    <a:pt x="94" y="34"/>
                  </a:lnTo>
                  <a:lnTo>
                    <a:pt x="30" y="34"/>
                  </a:lnTo>
                  <a:lnTo>
                    <a:pt x="18" y="34"/>
                  </a:lnTo>
                  <a:lnTo>
                    <a:pt x="39" y="12"/>
                  </a:lnTo>
                  <a:lnTo>
                    <a:pt x="9" y="12"/>
                  </a:lnTo>
                  <a:lnTo>
                    <a:pt x="0" y="0"/>
                  </a:lnTo>
                  <a:lnTo>
                    <a:pt x="9"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58" name="Freeform 957"/>
            <p:cNvSpPr>
              <a:spLocks/>
            </p:cNvSpPr>
            <p:nvPr/>
          </p:nvSpPr>
          <p:spPr bwMode="auto">
            <a:xfrm>
              <a:off x="3678292" y="2748568"/>
              <a:ext cx="92722" cy="45328"/>
            </a:xfrm>
            <a:custGeom>
              <a:avLst/>
              <a:gdLst>
                <a:gd name="T0" fmla="*/ 9 w 94"/>
                <a:gd name="T1" fmla="*/ 15 h 46"/>
                <a:gd name="T2" fmla="*/ 39 w 94"/>
                <a:gd name="T3" fmla="*/ 0 h 46"/>
                <a:gd name="T4" fmla="*/ 64 w 94"/>
                <a:gd name="T5" fmla="*/ 0 h 46"/>
                <a:gd name="T6" fmla="*/ 76 w 94"/>
                <a:gd name="T7" fmla="*/ 15 h 46"/>
                <a:gd name="T8" fmla="*/ 94 w 94"/>
                <a:gd name="T9" fmla="*/ 15 h 46"/>
                <a:gd name="T10" fmla="*/ 85 w 94"/>
                <a:gd name="T11" fmla="*/ 24 h 46"/>
                <a:gd name="T12" fmla="*/ 30 w 94"/>
                <a:gd name="T13" fmla="*/ 46 h 46"/>
                <a:gd name="T14" fmla="*/ 0 w 94"/>
                <a:gd name="T15" fmla="*/ 46 h 46"/>
                <a:gd name="T16" fmla="*/ 0 w 94"/>
                <a:gd name="T17" fmla="*/ 37 h 46"/>
                <a:gd name="T18" fmla="*/ 9 w 94"/>
                <a:gd name="T19" fmla="*/ 24 h 46"/>
                <a:gd name="T20" fmla="*/ 9 w 94"/>
                <a:gd name="T21" fmla="*/ 15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4"/>
                <a:gd name="T34" fmla="*/ 0 h 46"/>
                <a:gd name="T35" fmla="*/ 94 w 94"/>
                <a:gd name="T36" fmla="*/ 46 h 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4" h="46">
                  <a:moveTo>
                    <a:pt x="9" y="15"/>
                  </a:moveTo>
                  <a:lnTo>
                    <a:pt x="39" y="0"/>
                  </a:lnTo>
                  <a:lnTo>
                    <a:pt x="64" y="0"/>
                  </a:lnTo>
                  <a:lnTo>
                    <a:pt x="76" y="15"/>
                  </a:lnTo>
                  <a:lnTo>
                    <a:pt x="94" y="15"/>
                  </a:lnTo>
                  <a:lnTo>
                    <a:pt x="85" y="24"/>
                  </a:lnTo>
                  <a:lnTo>
                    <a:pt x="30" y="46"/>
                  </a:lnTo>
                  <a:lnTo>
                    <a:pt x="0" y="46"/>
                  </a:lnTo>
                  <a:lnTo>
                    <a:pt x="0" y="37"/>
                  </a:lnTo>
                  <a:lnTo>
                    <a:pt x="9" y="24"/>
                  </a:lnTo>
                  <a:lnTo>
                    <a:pt x="9" y="15"/>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59" name="Freeform 958"/>
            <p:cNvSpPr>
              <a:spLocks/>
            </p:cNvSpPr>
            <p:nvPr/>
          </p:nvSpPr>
          <p:spPr bwMode="auto">
            <a:xfrm>
              <a:off x="3678292" y="2731209"/>
              <a:ext cx="419501" cy="95479"/>
            </a:xfrm>
            <a:custGeom>
              <a:avLst/>
              <a:gdLst>
                <a:gd name="T0" fmla="*/ 85 w 423"/>
                <a:gd name="T1" fmla="*/ 18 h 97"/>
                <a:gd name="T2" fmla="*/ 262 w 423"/>
                <a:gd name="T3" fmla="*/ 0 h 97"/>
                <a:gd name="T4" fmla="*/ 338 w 423"/>
                <a:gd name="T5" fmla="*/ 0 h 97"/>
                <a:gd name="T6" fmla="*/ 423 w 423"/>
                <a:gd name="T7" fmla="*/ 9 h 97"/>
                <a:gd name="T8" fmla="*/ 237 w 423"/>
                <a:gd name="T9" fmla="*/ 42 h 97"/>
                <a:gd name="T10" fmla="*/ 195 w 423"/>
                <a:gd name="T11" fmla="*/ 64 h 97"/>
                <a:gd name="T12" fmla="*/ 161 w 423"/>
                <a:gd name="T13" fmla="*/ 64 h 97"/>
                <a:gd name="T14" fmla="*/ 161 w 423"/>
                <a:gd name="T15" fmla="*/ 73 h 97"/>
                <a:gd name="T16" fmla="*/ 140 w 423"/>
                <a:gd name="T17" fmla="*/ 73 h 97"/>
                <a:gd name="T18" fmla="*/ 152 w 423"/>
                <a:gd name="T19" fmla="*/ 85 h 97"/>
                <a:gd name="T20" fmla="*/ 94 w 423"/>
                <a:gd name="T21" fmla="*/ 97 h 97"/>
                <a:gd name="T22" fmla="*/ 94 w 423"/>
                <a:gd name="T23" fmla="*/ 85 h 97"/>
                <a:gd name="T24" fmla="*/ 0 w 423"/>
                <a:gd name="T25" fmla="*/ 85 h 97"/>
                <a:gd name="T26" fmla="*/ 9 w 423"/>
                <a:gd name="T27" fmla="*/ 85 h 97"/>
                <a:gd name="T28" fmla="*/ 39 w 423"/>
                <a:gd name="T29" fmla="*/ 64 h 97"/>
                <a:gd name="T30" fmla="*/ 106 w 423"/>
                <a:gd name="T31" fmla="*/ 55 h 97"/>
                <a:gd name="T32" fmla="*/ 106 w 423"/>
                <a:gd name="T33" fmla="*/ 42 h 97"/>
                <a:gd name="T34" fmla="*/ 94 w 423"/>
                <a:gd name="T35" fmla="*/ 42 h 97"/>
                <a:gd name="T36" fmla="*/ 116 w 423"/>
                <a:gd name="T37" fmla="*/ 33 h 97"/>
                <a:gd name="T38" fmla="*/ 94 w 423"/>
                <a:gd name="T39" fmla="*/ 33 h 97"/>
                <a:gd name="T40" fmla="*/ 85 w 423"/>
                <a:gd name="T41" fmla="*/ 18 h 9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23"/>
                <a:gd name="T64" fmla="*/ 0 h 97"/>
                <a:gd name="T65" fmla="*/ 423 w 423"/>
                <a:gd name="T66" fmla="*/ 97 h 9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23" h="97">
                  <a:moveTo>
                    <a:pt x="85" y="18"/>
                  </a:moveTo>
                  <a:lnTo>
                    <a:pt x="262" y="0"/>
                  </a:lnTo>
                  <a:lnTo>
                    <a:pt x="338" y="0"/>
                  </a:lnTo>
                  <a:lnTo>
                    <a:pt x="423" y="9"/>
                  </a:lnTo>
                  <a:lnTo>
                    <a:pt x="237" y="42"/>
                  </a:lnTo>
                  <a:lnTo>
                    <a:pt x="195" y="64"/>
                  </a:lnTo>
                  <a:lnTo>
                    <a:pt x="161" y="64"/>
                  </a:lnTo>
                  <a:lnTo>
                    <a:pt x="161" y="73"/>
                  </a:lnTo>
                  <a:lnTo>
                    <a:pt x="140" y="73"/>
                  </a:lnTo>
                  <a:lnTo>
                    <a:pt x="152" y="85"/>
                  </a:lnTo>
                  <a:lnTo>
                    <a:pt x="94" y="97"/>
                  </a:lnTo>
                  <a:lnTo>
                    <a:pt x="94" y="85"/>
                  </a:lnTo>
                  <a:lnTo>
                    <a:pt x="0" y="85"/>
                  </a:lnTo>
                  <a:lnTo>
                    <a:pt x="9" y="85"/>
                  </a:lnTo>
                  <a:lnTo>
                    <a:pt x="39" y="64"/>
                  </a:lnTo>
                  <a:lnTo>
                    <a:pt x="106" y="55"/>
                  </a:lnTo>
                  <a:lnTo>
                    <a:pt x="106" y="42"/>
                  </a:lnTo>
                  <a:lnTo>
                    <a:pt x="94" y="42"/>
                  </a:lnTo>
                  <a:lnTo>
                    <a:pt x="116" y="33"/>
                  </a:lnTo>
                  <a:lnTo>
                    <a:pt x="94" y="33"/>
                  </a:lnTo>
                  <a:lnTo>
                    <a:pt x="85" y="18"/>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60" name="Freeform 959"/>
            <p:cNvSpPr>
              <a:spLocks/>
            </p:cNvSpPr>
            <p:nvPr/>
          </p:nvSpPr>
          <p:spPr bwMode="auto">
            <a:xfrm>
              <a:off x="3536958" y="2785216"/>
              <a:ext cx="104425" cy="17360"/>
            </a:xfrm>
            <a:custGeom>
              <a:avLst/>
              <a:gdLst>
                <a:gd name="T0" fmla="*/ 0 w 106"/>
                <a:gd name="T1" fmla="*/ 0 h 18"/>
                <a:gd name="T2" fmla="*/ 51 w 106"/>
                <a:gd name="T3" fmla="*/ 0 h 18"/>
                <a:gd name="T4" fmla="*/ 67 w 106"/>
                <a:gd name="T5" fmla="*/ 0 h 18"/>
                <a:gd name="T6" fmla="*/ 51 w 106"/>
                <a:gd name="T7" fmla="*/ 9 h 18"/>
                <a:gd name="T8" fmla="*/ 67 w 106"/>
                <a:gd name="T9" fmla="*/ 9 h 18"/>
                <a:gd name="T10" fmla="*/ 85 w 106"/>
                <a:gd name="T11" fmla="*/ 0 h 18"/>
                <a:gd name="T12" fmla="*/ 106 w 106"/>
                <a:gd name="T13" fmla="*/ 9 h 18"/>
                <a:gd name="T14" fmla="*/ 42 w 106"/>
                <a:gd name="T15" fmla="*/ 18 h 18"/>
                <a:gd name="T16" fmla="*/ 42 w 106"/>
                <a:gd name="T17" fmla="*/ 9 h 18"/>
                <a:gd name="T18" fmla="*/ 9 w 106"/>
                <a:gd name="T19" fmla="*/ 9 h 18"/>
                <a:gd name="T20" fmla="*/ 0 w 106"/>
                <a:gd name="T21" fmla="*/ 0 h 18"/>
                <a:gd name="T22" fmla="*/ 21 w 106"/>
                <a:gd name="T23" fmla="*/ 0 h 18"/>
                <a:gd name="T24" fmla="*/ 0 w 106"/>
                <a:gd name="T25" fmla="*/ 0 h 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6"/>
                <a:gd name="T40" fmla="*/ 0 h 18"/>
                <a:gd name="T41" fmla="*/ 106 w 106"/>
                <a:gd name="T42" fmla="*/ 18 h 1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6" h="18">
                  <a:moveTo>
                    <a:pt x="0" y="0"/>
                  </a:moveTo>
                  <a:lnTo>
                    <a:pt x="51" y="0"/>
                  </a:lnTo>
                  <a:lnTo>
                    <a:pt x="67" y="0"/>
                  </a:lnTo>
                  <a:lnTo>
                    <a:pt x="51" y="9"/>
                  </a:lnTo>
                  <a:lnTo>
                    <a:pt x="67" y="9"/>
                  </a:lnTo>
                  <a:lnTo>
                    <a:pt x="85" y="0"/>
                  </a:lnTo>
                  <a:lnTo>
                    <a:pt x="106" y="9"/>
                  </a:lnTo>
                  <a:lnTo>
                    <a:pt x="42" y="18"/>
                  </a:lnTo>
                  <a:lnTo>
                    <a:pt x="42" y="9"/>
                  </a:lnTo>
                  <a:lnTo>
                    <a:pt x="9" y="9"/>
                  </a:lnTo>
                  <a:lnTo>
                    <a:pt x="0" y="0"/>
                  </a:lnTo>
                  <a:lnTo>
                    <a:pt x="21" y="0"/>
                  </a:lnTo>
                  <a:lnTo>
                    <a:pt x="0"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61" name="Freeform 960"/>
            <p:cNvSpPr>
              <a:spLocks/>
            </p:cNvSpPr>
            <p:nvPr/>
          </p:nvSpPr>
          <p:spPr bwMode="auto">
            <a:xfrm>
              <a:off x="3611675" y="2793897"/>
              <a:ext cx="54913" cy="8680"/>
            </a:xfrm>
            <a:custGeom>
              <a:avLst/>
              <a:gdLst>
                <a:gd name="T0" fmla="*/ 0 w 55"/>
                <a:gd name="T1" fmla="*/ 9 h 9"/>
                <a:gd name="T2" fmla="*/ 55 w 55"/>
                <a:gd name="T3" fmla="*/ 0 h 9"/>
                <a:gd name="T4" fmla="*/ 42 w 55"/>
                <a:gd name="T5" fmla="*/ 9 h 9"/>
                <a:gd name="T6" fmla="*/ 0 w 55"/>
                <a:gd name="T7" fmla="*/ 9 h 9"/>
                <a:gd name="T8" fmla="*/ 0 60000 65536"/>
                <a:gd name="T9" fmla="*/ 0 60000 65536"/>
                <a:gd name="T10" fmla="*/ 0 60000 65536"/>
                <a:gd name="T11" fmla="*/ 0 60000 65536"/>
                <a:gd name="T12" fmla="*/ 0 w 55"/>
                <a:gd name="T13" fmla="*/ 0 h 9"/>
                <a:gd name="T14" fmla="*/ 55 w 55"/>
                <a:gd name="T15" fmla="*/ 9 h 9"/>
              </a:gdLst>
              <a:ahLst/>
              <a:cxnLst>
                <a:cxn ang="T8">
                  <a:pos x="T0" y="T1"/>
                </a:cxn>
                <a:cxn ang="T9">
                  <a:pos x="T2" y="T3"/>
                </a:cxn>
                <a:cxn ang="T10">
                  <a:pos x="T4" y="T5"/>
                </a:cxn>
                <a:cxn ang="T11">
                  <a:pos x="T6" y="T7"/>
                </a:cxn>
              </a:cxnLst>
              <a:rect l="T12" t="T13" r="T14" b="T15"/>
              <a:pathLst>
                <a:path w="55" h="9">
                  <a:moveTo>
                    <a:pt x="0" y="9"/>
                  </a:moveTo>
                  <a:lnTo>
                    <a:pt x="55" y="0"/>
                  </a:lnTo>
                  <a:lnTo>
                    <a:pt x="42" y="9"/>
                  </a:lnTo>
                  <a:lnTo>
                    <a:pt x="0" y="9"/>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62" name="Freeform 961"/>
            <p:cNvSpPr>
              <a:spLocks/>
            </p:cNvSpPr>
            <p:nvPr/>
          </p:nvSpPr>
          <p:spPr bwMode="auto">
            <a:xfrm>
              <a:off x="3491046" y="2814150"/>
              <a:ext cx="87321" cy="24111"/>
            </a:xfrm>
            <a:custGeom>
              <a:avLst/>
              <a:gdLst>
                <a:gd name="T0" fmla="*/ 0 w 88"/>
                <a:gd name="T1" fmla="*/ 0 h 24"/>
                <a:gd name="T2" fmla="*/ 21 w 88"/>
                <a:gd name="T3" fmla="*/ 0 h 24"/>
                <a:gd name="T4" fmla="*/ 34 w 88"/>
                <a:gd name="T5" fmla="*/ 12 h 24"/>
                <a:gd name="T6" fmla="*/ 55 w 88"/>
                <a:gd name="T7" fmla="*/ 0 h 24"/>
                <a:gd name="T8" fmla="*/ 88 w 88"/>
                <a:gd name="T9" fmla="*/ 0 h 24"/>
                <a:gd name="T10" fmla="*/ 55 w 88"/>
                <a:gd name="T11" fmla="*/ 24 h 24"/>
                <a:gd name="T12" fmla="*/ 21 w 88"/>
                <a:gd name="T13" fmla="*/ 24 h 24"/>
                <a:gd name="T14" fmla="*/ 0 w 88"/>
                <a:gd name="T15" fmla="*/ 24 h 24"/>
                <a:gd name="T16" fmla="*/ 0 w 88"/>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8"/>
                <a:gd name="T28" fmla="*/ 0 h 24"/>
                <a:gd name="T29" fmla="*/ 88 w 88"/>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8" h="24">
                  <a:moveTo>
                    <a:pt x="0" y="0"/>
                  </a:moveTo>
                  <a:lnTo>
                    <a:pt x="21" y="0"/>
                  </a:lnTo>
                  <a:lnTo>
                    <a:pt x="34" y="12"/>
                  </a:lnTo>
                  <a:lnTo>
                    <a:pt x="55" y="0"/>
                  </a:lnTo>
                  <a:lnTo>
                    <a:pt x="88" y="0"/>
                  </a:lnTo>
                  <a:lnTo>
                    <a:pt x="55" y="24"/>
                  </a:lnTo>
                  <a:lnTo>
                    <a:pt x="21" y="24"/>
                  </a:lnTo>
                  <a:lnTo>
                    <a:pt x="0" y="24"/>
                  </a:lnTo>
                  <a:lnTo>
                    <a:pt x="0"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63" name="Freeform 962"/>
            <p:cNvSpPr>
              <a:spLocks/>
            </p:cNvSpPr>
            <p:nvPr/>
          </p:nvSpPr>
          <p:spPr bwMode="auto">
            <a:xfrm>
              <a:off x="3448736" y="2856584"/>
              <a:ext cx="88222" cy="44364"/>
            </a:xfrm>
            <a:custGeom>
              <a:avLst/>
              <a:gdLst>
                <a:gd name="T0" fmla="*/ 0 w 89"/>
                <a:gd name="T1" fmla="*/ 21 h 45"/>
                <a:gd name="T2" fmla="*/ 34 w 89"/>
                <a:gd name="T3" fmla="*/ 12 h 45"/>
                <a:gd name="T4" fmla="*/ 34 w 89"/>
                <a:gd name="T5" fmla="*/ 0 h 45"/>
                <a:gd name="T6" fmla="*/ 89 w 89"/>
                <a:gd name="T7" fmla="*/ 0 h 45"/>
                <a:gd name="T8" fmla="*/ 77 w 89"/>
                <a:gd name="T9" fmla="*/ 12 h 45"/>
                <a:gd name="T10" fmla="*/ 64 w 89"/>
                <a:gd name="T11" fmla="*/ 33 h 45"/>
                <a:gd name="T12" fmla="*/ 22 w 89"/>
                <a:gd name="T13" fmla="*/ 45 h 45"/>
                <a:gd name="T14" fmla="*/ 13 w 89"/>
                <a:gd name="T15" fmla="*/ 33 h 45"/>
                <a:gd name="T16" fmla="*/ 0 w 89"/>
                <a:gd name="T17" fmla="*/ 33 h 45"/>
                <a:gd name="T18" fmla="*/ 0 w 89"/>
                <a:gd name="T19" fmla="*/ 21 h 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9"/>
                <a:gd name="T31" fmla="*/ 0 h 45"/>
                <a:gd name="T32" fmla="*/ 89 w 89"/>
                <a:gd name="T33" fmla="*/ 45 h 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9" h="45">
                  <a:moveTo>
                    <a:pt x="0" y="21"/>
                  </a:moveTo>
                  <a:lnTo>
                    <a:pt x="34" y="12"/>
                  </a:lnTo>
                  <a:lnTo>
                    <a:pt x="34" y="0"/>
                  </a:lnTo>
                  <a:lnTo>
                    <a:pt x="89" y="0"/>
                  </a:lnTo>
                  <a:lnTo>
                    <a:pt x="77" y="12"/>
                  </a:lnTo>
                  <a:lnTo>
                    <a:pt x="64" y="33"/>
                  </a:lnTo>
                  <a:lnTo>
                    <a:pt x="22" y="45"/>
                  </a:lnTo>
                  <a:lnTo>
                    <a:pt x="13" y="33"/>
                  </a:lnTo>
                  <a:lnTo>
                    <a:pt x="0" y="33"/>
                  </a:lnTo>
                  <a:lnTo>
                    <a:pt x="0" y="21"/>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64" name="Freeform 963"/>
            <p:cNvSpPr>
              <a:spLocks/>
            </p:cNvSpPr>
            <p:nvPr/>
          </p:nvSpPr>
          <p:spPr bwMode="auto">
            <a:xfrm>
              <a:off x="3265092" y="2802576"/>
              <a:ext cx="117029" cy="24111"/>
            </a:xfrm>
            <a:custGeom>
              <a:avLst/>
              <a:gdLst>
                <a:gd name="T0" fmla="*/ 0 w 118"/>
                <a:gd name="T1" fmla="*/ 24 h 24"/>
                <a:gd name="T2" fmla="*/ 76 w 118"/>
                <a:gd name="T3" fmla="*/ 0 h 24"/>
                <a:gd name="T4" fmla="*/ 118 w 118"/>
                <a:gd name="T5" fmla="*/ 0 h 24"/>
                <a:gd name="T6" fmla="*/ 76 w 118"/>
                <a:gd name="T7" fmla="*/ 24 h 24"/>
                <a:gd name="T8" fmla="*/ 67 w 118"/>
                <a:gd name="T9" fmla="*/ 12 h 24"/>
                <a:gd name="T10" fmla="*/ 33 w 118"/>
                <a:gd name="T11" fmla="*/ 24 h 24"/>
                <a:gd name="T12" fmla="*/ 0 w 118"/>
                <a:gd name="T13" fmla="*/ 24 h 24"/>
                <a:gd name="T14" fmla="*/ 0 60000 65536"/>
                <a:gd name="T15" fmla="*/ 0 60000 65536"/>
                <a:gd name="T16" fmla="*/ 0 60000 65536"/>
                <a:gd name="T17" fmla="*/ 0 60000 65536"/>
                <a:gd name="T18" fmla="*/ 0 60000 65536"/>
                <a:gd name="T19" fmla="*/ 0 60000 65536"/>
                <a:gd name="T20" fmla="*/ 0 60000 65536"/>
                <a:gd name="T21" fmla="*/ 0 w 118"/>
                <a:gd name="T22" fmla="*/ 0 h 24"/>
                <a:gd name="T23" fmla="*/ 118 w 1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8" h="24">
                  <a:moveTo>
                    <a:pt x="0" y="24"/>
                  </a:moveTo>
                  <a:lnTo>
                    <a:pt x="76" y="0"/>
                  </a:lnTo>
                  <a:lnTo>
                    <a:pt x="118" y="0"/>
                  </a:lnTo>
                  <a:lnTo>
                    <a:pt x="76" y="24"/>
                  </a:lnTo>
                  <a:lnTo>
                    <a:pt x="67" y="12"/>
                  </a:lnTo>
                  <a:lnTo>
                    <a:pt x="33" y="24"/>
                  </a:lnTo>
                  <a:lnTo>
                    <a:pt x="0" y="24"/>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65" name="Freeform 964"/>
            <p:cNvSpPr>
              <a:spLocks/>
            </p:cNvSpPr>
            <p:nvPr/>
          </p:nvSpPr>
          <p:spPr bwMode="auto">
            <a:xfrm>
              <a:off x="3306502" y="2814150"/>
              <a:ext cx="163840" cy="33756"/>
            </a:xfrm>
            <a:custGeom>
              <a:avLst/>
              <a:gdLst>
                <a:gd name="T0" fmla="*/ 0 w 165"/>
                <a:gd name="T1" fmla="*/ 24 h 34"/>
                <a:gd name="T2" fmla="*/ 55 w 165"/>
                <a:gd name="T3" fmla="*/ 0 h 34"/>
                <a:gd name="T4" fmla="*/ 92 w 165"/>
                <a:gd name="T5" fmla="*/ 12 h 34"/>
                <a:gd name="T6" fmla="*/ 92 w 165"/>
                <a:gd name="T7" fmla="*/ 24 h 34"/>
                <a:gd name="T8" fmla="*/ 110 w 165"/>
                <a:gd name="T9" fmla="*/ 24 h 34"/>
                <a:gd name="T10" fmla="*/ 110 w 165"/>
                <a:gd name="T11" fmla="*/ 12 h 34"/>
                <a:gd name="T12" fmla="*/ 122 w 165"/>
                <a:gd name="T13" fmla="*/ 12 h 34"/>
                <a:gd name="T14" fmla="*/ 110 w 165"/>
                <a:gd name="T15" fmla="*/ 12 h 34"/>
                <a:gd name="T16" fmla="*/ 143 w 165"/>
                <a:gd name="T17" fmla="*/ 0 h 34"/>
                <a:gd name="T18" fmla="*/ 143 w 165"/>
                <a:gd name="T19" fmla="*/ 12 h 34"/>
                <a:gd name="T20" fmla="*/ 165 w 165"/>
                <a:gd name="T21" fmla="*/ 12 h 34"/>
                <a:gd name="T22" fmla="*/ 143 w 165"/>
                <a:gd name="T23" fmla="*/ 24 h 34"/>
                <a:gd name="T24" fmla="*/ 55 w 165"/>
                <a:gd name="T25" fmla="*/ 34 h 34"/>
                <a:gd name="T26" fmla="*/ 46 w 165"/>
                <a:gd name="T27" fmla="*/ 24 h 34"/>
                <a:gd name="T28" fmla="*/ 34 w 165"/>
                <a:gd name="T29" fmla="*/ 24 h 34"/>
                <a:gd name="T30" fmla="*/ 0 w 165"/>
                <a:gd name="T31" fmla="*/ 24 h 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5"/>
                <a:gd name="T49" fmla="*/ 0 h 34"/>
                <a:gd name="T50" fmla="*/ 165 w 165"/>
                <a:gd name="T51" fmla="*/ 34 h 3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5" h="34">
                  <a:moveTo>
                    <a:pt x="0" y="24"/>
                  </a:moveTo>
                  <a:lnTo>
                    <a:pt x="55" y="0"/>
                  </a:lnTo>
                  <a:lnTo>
                    <a:pt x="92" y="12"/>
                  </a:lnTo>
                  <a:lnTo>
                    <a:pt x="92" y="24"/>
                  </a:lnTo>
                  <a:lnTo>
                    <a:pt x="110" y="24"/>
                  </a:lnTo>
                  <a:lnTo>
                    <a:pt x="110" y="12"/>
                  </a:lnTo>
                  <a:lnTo>
                    <a:pt x="122" y="12"/>
                  </a:lnTo>
                  <a:lnTo>
                    <a:pt x="110" y="12"/>
                  </a:lnTo>
                  <a:lnTo>
                    <a:pt x="143" y="0"/>
                  </a:lnTo>
                  <a:lnTo>
                    <a:pt x="143" y="12"/>
                  </a:lnTo>
                  <a:lnTo>
                    <a:pt x="165" y="12"/>
                  </a:lnTo>
                  <a:lnTo>
                    <a:pt x="143" y="24"/>
                  </a:lnTo>
                  <a:lnTo>
                    <a:pt x="55" y="34"/>
                  </a:lnTo>
                  <a:lnTo>
                    <a:pt x="46" y="24"/>
                  </a:lnTo>
                  <a:lnTo>
                    <a:pt x="34" y="24"/>
                  </a:lnTo>
                  <a:lnTo>
                    <a:pt x="0" y="24"/>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66" name="Freeform 965"/>
            <p:cNvSpPr>
              <a:spLocks/>
            </p:cNvSpPr>
            <p:nvPr/>
          </p:nvSpPr>
          <p:spPr bwMode="auto">
            <a:xfrm>
              <a:off x="3211979" y="2856584"/>
              <a:ext cx="224155" cy="86799"/>
            </a:xfrm>
            <a:custGeom>
              <a:avLst/>
              <a:gdLst>
                <a:gd name="T0" fmla="*/ 12 w 228"/>
                <a:gd name="T1" fmla="*/ 45 h 88"/>
                <a:gd name="T2" fmla="*/ 42 w 228"/>
                <a:gd name="T3" fmla="*/ 21 h 88"/>
                <a:gd name="T4" fmla="*/ 97 w 228"/>
                <a:gd name="T5" fmla="*/ 12 h 88"/>
                <a:gd name="T6" fmla="*/ 109 w 228"/>
                <a:gd name="T7" fmla="*/ 12 h 88"/>
                <a:gd name="T8" fmla="*/ 109 w 228"/>
                <a:gd name="T9" fmla="*/ 21 h 88"/>
                <a:gd name="T10" fmla="*/ 123 w 228"/>
                <a:gd name="T11" fmla="*/ 12 h 88"/>
                <a:gd name="T12" fmla="*/ 165 w 228"/>
                <a:gd name="T13" fmla="*/ 21 h 88"/>
                <a:gd name="T14" fmla="*/ 199 w 228"/>
                <a:gd name="T15" fmla="*/ 0 h 88"/>
                <a:gd name="T16" fmla="*/ 220 w 228"/>
                <a:gd name="T17" fmla="*/ 12 h 88"/>
                <a:gd name="T18" fmla="*/ 190 w 228"/>
                <a:gd name="T19" fmla="*/ 21 h 88"/>
                <a:gd name="T20" fmla="*/ 190 w 228"/>
                <a:gd name="T21" fmla="*/ 45 h 88"/>
                <a:gd name="T22" fmla="*/ 181 w 228"/>
                <a:gd name="T23" fmla="*/ 45 h 88"/>
                <a:gd name="T24" fmla="*/ 181 w 228"/>
                <a:gd name="T25" fmla="*/ 58 h 88"/>
                <a:gd name="T26" fmla="*/ 211 w 228"/>
                <a:gd name="T27" fmla="*/ 67 h 88"/>
                <a:gd name="T28" fmla="*/ 165 w 228"/>
                <a:gd name="T29" fmla="*/ 88 h 88"/>
                <a:gd name="T30" fmla="*/ 144 w 228"/>
                <a:gd name="T31" fmla="*/ 88 h 88"/>
                <a:gd name="T32" fmla="*/ 123 w 228"/>
                <a:gd name="T33" fmla="*/ 76 h 88"/>
                <a:gd name="T34" fmla="*/ 21 w 228"/>
                <a:gd name="T35" fmla="*/ 88 h 88"/>
                <a:gd name="T36" fmla="*/ 30 w 228"/>
                <a:gd name="T37" fmla="*/ 76 h 88"/>
                <a:gd name="T38" fmla="*/ 0 w 228"/>
                <a:gd name="T39" fmla="*/ 76 h 88"/>
                <a:gd name="T40" fmla="*/ 12 w 228"/>
                <a:gd name="T41" fmla="*/ 67 h 88"/>
                <a:gd name="T42" fmla="*/ 67 w 228"/>
                <a:gd name="T43" fmla="*/ 58 h 88"/>
                <a:gd name="T44" fmla="*/ 12 w 228"/>
                <a:gd name="T45" fmla="*/ 58 h 88"/>
                <a:gd name="T46" fmla="*/ 12 w 228"/>
                <a:gd name="T47" fmla="*/ 45 h 8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8"/>
                <a:gd name="T73" fmla="*/ 0 h 88"/>
                <a:gd name="T74" fmla="*/ 228 w 228"/>
                <a:gd name="T75" fmla="*/ 88 h 8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8" h="88">
                  <a:moveTo>
                    <a:pt x="12" y="45"/>
                  </a:moveTo>
                  <a:lnTo>
                    <a:pt x="42" y="21"/>
                  </a:lnTo>
                  <a:lnTo>
                    <a:pt x="97" y="12"/>
                  </a:lnTo>
                  <a:lnTo>
                    <a:pt x="109" y="12"/>
                  </a:lnTo>
                  <a:lnTo>
                    <a:pt x="109" y="21"/>
                  </a:lnTo>
                  <a:lnTo>
                    <a:pt x="131" y="12"/>
                  </a:lnTo>
                  <a:lnTo>
                    <a:pt x="173" y="21"/>
                  </a:lnTo>
                  <a:lnTo>
                    <a:pt x="207" y="0"/>
                  </a:lnTo>
                  <a:lnTo>
                    <a:pt x="228" y="12"/>
                  </a:lnTo>
                  <a:lnTo>
                    <a:pt x="198" y="21"/>
                  </a:lnTo>
                  <a:lnTo>
                    <a:pt x="198" y="45"/>
                  </a:lnTo>
                  <a:lnTo>
                    <a:pt x="189" y="45"/>
                  </a:lnTo>
                  <a:lnTo>
                    <a:pt x="189" y="58"/>
                  </a:lnTo>
                  <a:lnTo>
                    <a:pt x="219" y="67"/>
                  </a:lnTo>
                  <a:lnTo>
                    <a:pt x="173" y="88"/>
                  </a:lnTo>
                  <a:lnTo>
                    <a:pt x="152" y="88"/>
                  </a:lnTo>
                  <a:lnTo>
                    <a:pt x="131" y="76"/>
                  </a:lnTo>
                  <a:lnTo>
                    <a:pt x="21" y="88"/>
                  </a:lnTo>
                  <a:lnTo>
                    <a:pt x="30" y="76"/>
                  </a:lnTo>
                  <a:lnTo>
                    <a:pt x="0" y="76"/>
                  </a:lnTo>
                  <a:lnTo>
                    <a:pt x="12" y="67"/>
                  </a:lnTo>
                  <a:lnTo>
                    <a:pt x="67" y="58"/>
                  </a:lnTo>
                  <a:lnTo>
                    <a:pt x="12" y="58"/>
                  </a:lnTo>
                  <a:lnTo>
                    <a:pt x="12" y="45"/>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67" name="Freeform 966"/>
            <p:cNvSpPr>
              <a:spLocks/>
            </p:cNvSpPr>
            <p:nvPr/>
          </p:nvSpPr>
          <p:spPr bwMode="auto">
            <a:xfrm>
              <a:off x="3147163" y="2847905"/>
              <a:ext cx="159339" cy="53044"/>
            </a:xfrm>
            <a:custGeom>
              <a:avLst/>
              <a:gdLst>
                <a:gd name="T0" fmla="*/ 0 w 161"/>
                <a:gd name="T1" fmla="*/ 42 h 54"/>
                <a:gd name="T2" fmla="*/ 55 w 161"/>
                <a:gd name="T3" fmla="*/ 21 h 54"/>
                <a:gd name="T4" fmla="*/ 55 w 161"/>
                <a:gd name="T5" fmla="*/ 9 h 54"/>
                <a:gd name="T6" fmla="*/ 106 w 161"/>
                <a:gd name="T7" fmla="*/ 0 h 54"/>
                <a:gd name="T8" fmla="*/ 152 w 161"/>
                <a:gd name="T9" fmla="*/ 9 h 54"/>
                <a:gd name="T10" fmla="*/ 161 w 161"/>
                <a:gd name="T11" fmla="*/ 21 h 54"/>
                <a:gd name="T12" fmla="*/ 85 w 161"/>
                <a:gd name="T13" fmla="*/ 30 h 54"/>
                <a:gd name="T14" fmla="*/ 39 w 161"/>
                <a:gd name="T15" fmla="*/ 54 h 54"/>
                <a:gd name="T16" fmla="*/ 9 w 161"/>
                <a:gd name="T17" fmla="*/ 54 h 54"/>
                <a:gd name="T18" fmla="*/ 9 w 161"/>
                <a:gd name="T19" fmla="*/ 42 h 54"/>
                <a:gd name="T20" fmla="*/ 0 w 161"/>
                <a:gd name="T21" fmla="*/ 42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1"/>
                <a:gd name="T34" fmla="*/ 0 h 54"/>
                <a:gd name="T35" fmla="*/ 161 w 161"/>
                <a:gd name="T36" fmla="*/ 54 h 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1" h="54">
                  <a:moveTo>
                    <a:pt x="0" y="42"/>
                  </a:moveTo>
                  <a:lnTo>
                    <a:pt x="55" y="21"/>
                  </a:lnTo>
                  <a:lnTo>
                    <a:pt x="55" y="9"/>
                  </a:lnTo>
                  <a:lnTo>
                    <a:pt x="106" y="0"/>
                  </a:lnTo>
                  <a:lnTo>
                    <a:pt x="152" y="9"/>
                  </a:lnTo>
                  <a:lnTo>
                    <a:pt x="161" y="21"/>
                  </a:lnTo>
                  <a:lnTo>
                    <a:pt x="85" y="30"/>
                  </a:lnTo>
                  <a:lnTo>
                    <a:pt x="39" y="54"/>
                  </a:lnTo>
                  <a:lnTo>
                    <a:pt x="9" y="54"/>
                  </a:lnTo>
                  <a:lnTo>
                    <a:pt x="9" y="42"/>
                  </a:lnTo>
                  <a:lnTo>
                    <a:pt x="0" y="42"/>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68" name="Freeform 967"/>
            <p:cNvSpPr>
              <a:spLocks/>
            </p:cNvSpPr>
            <p:nvPr/>
          </p:nvSpPr>
          <p:spPr bwMode="auto">
            <a:xfrm>
              <a:off x="7347580" y="3026325"/>
              <a:ext cx="54013" cy="11573"/>
            </a:xfrm>
            <a:custGeom>
              <a:avLst/>
              <a:gdLst>
                <a:gd name="T0" fmla="*/ 0 w 55"/>
                <a:gd name="T1" fmla="*/ 0 h 12"/>
                <a:gd name="T2" fmla="*/ 55 w 55"/>
                <a:gd name="T3" fmla="*/ 12 h 12"/>
                <a:gd name="T4" fmla="*/ 46 w 55"/>
                <a:gd name="T5" fmla="*/ 12 h 12"/>
                <a:gd name="T6" fmla="*/ 9 w 55"/>
                <a:gd name="T7" fmla="*/ 12 h 12"/>
                <a:gd name="T8" fmla="*/ 0 w 55"/>
                <a:gd name="T9" fmla="*/ 0 h 12"/>
                <a:gd name="T10" fmla="*/ 0 60000 65536"/>
                <a:gd name="T11" fmla="*/ 0 60000 65536"/>
                <a:gd name="T12" fmla="*/ 0 60000 65536"/>
                <a:gd name="T13" fmla="*/ 0 60000 65536"/>
                <a:gd name="T14" fmla="*/ 0 60000 65536"/>
                <a:gd name="T15" fmla="*/ 0 w 55"/>
                <a:gd name="T16" fmla="*/ 0 h 12"/>
                <a:gd name="T17" fmla="*/ 55 w 55"/>
                <a:gd name="T18" fmla="*/ 12 h 12"/>
              </a:gdLst>
              <a:ahLst/>
              <a:cxnLst>
                <a:cxn ang="T10">
                  <a:pos x="T0" y="T1"/>
                </a:cxn>
                <a:cxn ang="T11">
                  <a:pos x="T2" y="T3"/>
                </a:cxn>
                <a:cxn ang="T12">
                  <a:pos x="T4" y="T5"/>
                </a:cxn>
                <a:cxn ang="T13">
                  <a:pos x="T6" y="T7"/>
                </a:cxn>
                <a:cxn ang="T14">
                  <a:pos x="T8" y="T9"/>
                </a:cxn>
              </a:cxnLst>
              <a:rect l="T15" t="T16" r="T17" b="T18"/>
              <a:pathLst>
                <a:path w="55" h="12">
                  <a:moveTo>
                    <a:pt x="0" y="0"/>
                  </a:moveTo>
                  <a:lnTo>
                    <a:pt x="55" y="12"/>
                  </a:lnTo>
                  <a:lnTo>
                    <a:pt x="46" y="12"/>
                  </a:lnTo>
                  <a:lnTo>
                    <a:pt x="9" y="12"/>
                  </a:lnTo>
                  <a:lnTo>
                    <a:pt x="0"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69" name="Freeform 968"/>
            <p:cNvSpPr>
              <a:spLocks/>
            </p:cNvSpPr>
            <p:nvPr/>
          </p:nvSpPr>
          <p:spPr bwMode="auto">
            <a:xfrm>
              <a:off x="2670948" y="3208602"/>
              <a:ext cx="29707" cy="44364"/>
            </a:xfrm>
            <a:custGeom>
              <a:avLst/>
              <a:gdLst>
                <a:gd name="T0" fmla="*/ 9 w 30"/>
                <a:gd name="T1" fmla="*/ 0 h 46"/>
                <a:gd name="T2" fmla="*/ 30 w 30"/>
                <a:gd name="T3" fmla="*/ 0 h 46"/>
                <a:gd name="T4" fmla="*/ 9 w 30"/>
                <a:gd name="T5" fmla="*/ 30 h 46"/>
                <a:gd name="T6" fmla="*/ 9 w 30"/>
                <a:gd name="T7" fmla="*/ 46 h 46"/>
                <a:gd name="T8" fmla="*/ 0 w 30"/>
                <a:gd name="T9" fmla="*/ 30 h 46"/>
                <a:gd name="T10" fmla="*/ 0 w 30"/>
                <a:gd name="T11" fmla="*/ 9 h 46"/>
                <a:gd name="T12" fmla="*/ 9 w 30"/>
                <a:gd name="T13" fmla="*/ 0 h 46"/>
                <a:gd name="T14" fmla="*/ 0 60000 65536"/>
                <a:gd name="T15" fmla="*/ 0 60000 65536"/>
                <a:gd name="T16" fmla="*/ 0 60000 65536"/>
                <a:gd name="T17" fmla="*/ 0 60000 65536"/>
                <a:gd name="T18" fmla="*/ 0 60000 65536"/>
                <a:gd name="T19" fmla="*/ 0 60000 65536"/>
                <a:gd name="T20" fmla="*/ 0 60000 65536"/>
                <a:gd name="T21" fmla="*/ 0 w 30"/>
                <a:gd name="T22" fmla="*/ 0 h 46"/>
                <a:gd name="T23" fmla="*/ 30 w 30"/>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46">
                  <a:moveTo>
                    <a:pt x="9" y="0"/>
                  </a:moveTo>
                  <a:lnTo>
                    <a:pt x="30" y="0"/>
                  </a:lnTo>
                  <a:lnTo>
                    <a:pt x="9" y="30"/>
                  </a:lnTo>
                  <a:lnTo>
                    <a:pt x="9" y="46"/>
                  </a:lnTo>
                  <a:lnTo>
                    <a:pt x="0" y="30"/>
                  </a:lnTo>
                  <a:lnTo>
                    <a:pt x="0" y="9"/>
                  </a:lnTo>
                  <a:lnTo>
                    <a:pt x="9"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70" name="Freeform 969"/>
            <p:cNvSpPr>
              <a:spLocks/>
            </p:cNvSpPr>
            <p:nvPr/>
          </p:nvSpPr>
          <p:spPr bwMode="auto">
            <a:xfrm>
              <a:off x="2700655" y="3271290"/>
              <a:ext cx="45011" cy="54008"/>
            </a:xfrm>
            <a:custGeom>
              <a:avLst/>
              <a:gdLst>
                <a:gd name="T0" fmla="*/ 0 w 46"/>
                <a:gd name="T1" fmla="*/ 0 h 55"/>
                <a:gd name="T2" fmla="*/ 34 w 46"/>
                <a:gd name="T3" fmla="*/ 12 h 55"/>
                <a:gd name="T4" fmla="*/ 46 w 46"/>
                <a:gd name="T5" fmla="*/ 46 h 55"/>
                <a:gd name="T6" fmla="*/ 34 w 46"/>
                <a:gd name="T7" fmla="*/ 55 h 55"/>
                <a:gd name="T8" fmla="*/ 25 w 46"/>
                <a:gd name="T9" fmla="*/ 46 h 55"/>
                <a:gd name="T10" fmla="*/ 25 w 46"/>
                <a:gd name="T11" fmla="*/ 30 h 55"/>
                <a:gd name="T12" fmla="*/ 12 w 46"/>
                <a:gd name="T13" fmla="*/ 30 h 55"/>
                <a:gd name="T14" fmla="*/ 12 w 46"/>
                <a:gd name="T15" fmla="*/ 21 h 55"/>
                <a:gd name="T16" fmla="*/ 0 w 46"/>
                <a:gd name="T17" fmla="*/ 12 h 55"/>
                <a:gd name="T18" fmla="*/ 0 w 46"/>
                <a:gd name="T19" fmla="*/ 0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
                <a:gd name="T31" fmla="*/ 0 h 55"/>
                <a:gd name="T32" fmla="*/ 46 w 46"/>
                <a:gd name="T33" fmla="*/ 55 h 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 h="55">
                  <a:moveTo>
                    <a:pt x="0" y="0"/>
                  </a:moveTo>
                  <a:lnTo>
                    <a:pt x="34" y="12"/>
                  </a:lnTo>
                  <a:lnTo>
                    <a:pt x="46" y="46"/>
                  </a:lnTo>
                  <a:lnTo>
                    <a:pt x="34" y="55"/>
                  </a:lnTo>
                  <a:lnTo>
                    <a:pt x="25" y="46"/>
                  </a:lnTo>
                  <a:lnTo>
                    <a:pt x="25" y="30"/>
                  </a:lnTo>
                  <a:lnTo>
                    <a:pt x="12" y="30"/>
                  </a:lnTo>
                  <a:lnTo>
                    <a:pt x="12" y="21"/>
                  </a:lnTo>
                  <a:lnTo>
                    <a:pt x="0" y="12"/>
                  </a:lnTo>
                  <a:lnTo>
                    <a:pt x="0"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71" name="Freeform 970"/>
            <p:cNvSpPr>
              <a:spLocks/>
            </p:cNvSpPr>
            <p:nvPr/>
          </p:nvSpPr>
          <p:spPr bwMode="auto">
            <a:xfrm>
              <a:off x="3904246" y="2719636"/>
              <a:ext cx="724675" cy="380952"/>
            </a:xfrm>
            <a:custGeom>
              <a:avLst/>
              <a:gdLst>
                <a:gd name="T0" fmla="*/ 9 w 731"/>
                <a:gd name="T1" fmla="*/ 67 h 389"/>
                <a:gd name="T2" fmla="*/ 119 w 731"/>
                <a:gd name="T3" fmla="*/ 54 h 389"/>
                <a:gd name="T4" fmla="*/ 86 w 731"/>
                <a:gd name="T5" fmla="*/ 45 h 389"/>
                <a:gd name="T6" fmla="*/ 186 w 731"/>
                <a:gd name="T7" fmla="*/ 30 h 389"/>
                <a:gd name="T8" fmla="*/ 293 w 731"/>
                <a:gd name="T9" fmla="*/ 21 h 389"/>
                <a:gd name="T10" fmla="*/ 567 w 731"/>
                <a:gd name="T11" fmla="*/ 0 h 389"/>
                <a:gd name="T12" fmla="*/ 621 w 731"/>
                <a:gd name="T13" fmla="*/ 21 h 389"/>
                <a:gd name="T14" fmla="*/ 731 w 731"/>
                <a:gd name="T15" fmla="*/ 30 h 389"/>
                <a:gd name="T16" fmla="*/ 631 w 731"/>
                <a:gd name="T17" fmla="*/ 67 h 389"/>
                <a:gd name="T18" fmla="*/ 621 w 731"/>
                <a:gd name="T19" fmla="*/ 76 h 389"/>
                <a:gd name="T20" fmla="*/ 631 w 731"/>
                <a:gd name="T21" fmla="*/ 97 h 389"/>
                <a:gd name="T22" fmla="*/ 591 w 731"/>
                <a:gd name="T23" fmla="*/ 109 h 389"/>
                <a:gd name="T24" fmla="*/ 600 w 731"/>
                <a:gd name="T25" fmla="*/ 131 h 389"/>
                <a:gd name="T26" fmla="*/ 600 w 731"/>
                <a:gd name="T27" fmla="*/ 140 h 389"/>
                <a:gd name="T28" fmla="*/ 558 w 731"/>
                <a:gd name="T29" fmla="*/ 152 h 389"/>
                <a:gd name="T30" fmla="*/ 558 w 731"/>
                <a:gd name="T31" fmla="*/ 173 h 389"/>
                <a:gd name="T32" fmla="*/ 558 w 731"/>
                <a:gd name="T33" fmla="*/ 198 h 389"/>
                <a:gd name="T34" fmla="*/ 515 w 731"/>
                <a:gd name="T35" fmla="*/ 185 h 389"/>
                <a:gd name="T36" fmla="*/ 545 w 731"/>
                <a:gd name="T37" fmla="*/ 207 h 389"/>
                <a:gd name="T38" fmla="*/ 481 w 731"/>
                <a:gd name="T39" fmla="*/ 228 h 389"/>
                <a:gd name="T40" fmla="*/ 338 w 731"/>
                <a:gd name="T41" fmla="*/ 283 h 389"/>
                <a:gd name="T42" fmla="*/ 271 w 731"/>
                <a:gd name="T43" fmla="*/ 292 h 389"/>
                <a:gd name="T44" fmla="*/ 262 w 731"/>
                <a:gd name="T45" fmla="*/ 304 h 389"/>
                <a:gd name="T46" fmla="*/ 216 w 731"/>
                <a:gd name="T47" fmla="*/ 338 h 389"/>
                <a:gd name="T48" fmla="*/ 186 w 731"/>
                <a:gd name="T49" fmla="*/ 389 h 389"/>
                <a:gd name="T50" fmla="*/ 131 w 731"/>
                <a:gd name="T51" fmla="*/ 368 h 389"/>
                <a:gd name="T52" fmla="*/ 110 w 731"/>
                <a:gd name="T53" fmla="*/ 325 h 389"/>
                <a:gd name="T54" fmla="*/ 101 w 731"/>
                <a:gd name="T55" fmla="*/ 304 h 389"/>
                <a:gd name="T56" fmla="*/ 101 w 731"/>
                <a:gd name="T57" fmla="*/ 283 h 389"/>
                <a:gd name="T58" fmla="*/ 131 w 731"/>
                <a:gd name="T59" fmla="*/ 228 h 389"/>
                <a:gd name="T60" fmla="*/ 162 w 731"/>
                <a:gd name="T61" fmla="*/ 216 h 389"/>
                <a:gd name="T62" fmla="*/ 131 w 731"/>
                <a:gd name="T63" fmla="*/ 216 h 389"/>
                <a:gd name="T64" fmla="*/ 131 w 731"/>
                <a:gd name="T65" fmla="*/ 198 h 389"/>
                <a:gd name="T66" fmla="*/ 153 w 731"/>
                <a:gd name="T67" fmla="*/ 185 h 389"/>
                <a:gd name="T68" fmla="*/ 140 w 731"/>
                <a:gd name="T69" fmla="*/ 185 h 389"/>
                <a:gd name="T70" fmla="*/ 131 w 731"/>
                <a:gd name="T71" fmla="*/ 173 h 389"/>
                <a:gd name="T72" fmla="*/ 140 w 731"/>
                <a:gd name="T73" fmla="*/ 152 h 389"/>
                <a:gd name="T74" fmla="*/ 131 w 731"/>
                <a:gd name="T75" fmla="*/ 121 h 389"/>
                <a:gd name="T76" fmla="*/ 101 w 731"/>
                <a:gd name="T77" fmla="*/ 109 h 389"/>
                <a:gd name="T78" fmla="*/ 0 w 731"/>
                <a:gd name="T79" fmla="*/ 97 h 389"/>
                <a:gd name="T80" fmla="*/ 22 w 731"/>
                <a:gd name="T81" fmla="*/ 76 h 38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31"/>
                <a:gd name="T124" fmla="*/ 0 h 389"/>
                <a:gd name="T125" fmla="*/ 731 w 731"/>
                <a:gd name="T126" fmla="*/ 389 h 38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31" h="389">
                  <a:moveTo>
                    <a:pt x="0" y="76"/>
                  </a:moveTo>
                  <a:lnTo>
                    <a:pt x="9" y="67"/>
                  </a:lnTo>
                  <a:lnTo>
                    <a:pt x="101" y="67"/>
                  </a:lnTo>
                  <a:lnTo>
                    <a:pt x="119" y="54"/>
                  </a:lnTo>
                  <a:lnTo>
                    <a:pt x="119" y="45"/>
                  </a:lnTo>
                  <a:lnTo>
                    <a:pt x="86" y="45"/>
                  </a:lnTo>
                  <a:lnTo>
                    <a:pt x="153" y="30"/>
                  </a:lnTo>
                  <a:lnTo>
                    <a:pt x="186" y="30"/>
                  </a:lnTo>
                  <a:lnTo>
                    <a:pt x="177" y="21"/>
                  </a:lnTo>
                  <a:lnTo>
                    <a:pt x="293" y="21"/>
                  </a:lnTo>
                  <a:lnTo>
                    <a:pt x="393" y="12"/>
                  </a:lnTo>
                  <a:lnTo>
                    <a:pt x="567" y="0"/>
                  </a:lnTo>
                  <a:lnTo>
                    <a:pt x="646" y="12"/>
                  </a:lnTo>
                  <a:lnTo>
                    <a:pt x="621" y="21"/>
                  </a:lnTo>
                  <a:lnTo>
                    <a:pt x="676" y="21"/>
                  </a:lnTo>
                  <a:lnTo>
                    <a:pt x="731" y="30"/>
                  </a:lnTo>
                  <a:lnTo>
                    <a:pt x="676" y="45"/>
                  </a:lnTo>
                  <a:lnTo>
                    <a:pt x="631" y="67"/>
                  </a:lnTo>
                  <a:lnTo>
                    <a:pt x="631" y="76"/>
                  </a:lnTo>
                  <a:lnTo>
                    <a:pt x="621" y="76"/>
                  </a:lnTo>
                  <a:lnTo>
                    <a:pt x="631" y="85"/>
                  </a:lnTo>
                  <a:lnTo>
                    <a:pt x="631" y="97"/>
                  </a:lnTo>
                  <a:lnTo>
                    <a:pt x="591" y="97"/>
                  </a:lnTo>
                  <a:lnTo>
                    <a:pt x="591" y="109"/>
                  </a:lnTo>
                  <a:lnTo>
                    <a:pt x="612" y="109"/>
                  </a:lnTo>
                  <a:lnTo>
                    <a:pt x="600" y="131"/>
                  </a:lnTo>
                  <a:lnTo>
                    <a:pt x="612" y="131"/>
                  </a:lnTo>
                  <a:lnTo>
                    <a:pt x="600" y="140"/>
                  </a:lnTo>
                  <a:lnTo>
                    <a:pt x="591" y="152"/>
                  </a:lnTo>
                  <a:lnTo>
                    <a:pt x="558" y="152"/>
                  </a:lnTo>
                  <a:lnTo>
                    <a:pt x="567" y="161"/>
                  </a:lnTo>
                  <a:lnTo>
                    <a:pt x="558" y="173"/>
                  </a:lnTo>
                  <a:lnTo>
                    <a:pt x="558" y="185"/>
                  </a:lnTo>
                  <a:lnTo>
                    <a:pt x="558" y="198"/>
                  </a:lnTo>
                  <a:lnTo>
                    <a:pt x="524" y="185"/>
                  </a:lnTo>
                  <a:lnTo>
                    <a:pt x="515" y="185"/>
                  </a:lnTo>
                  <a:lnTo>
                    <a:pt x="515" y="198"/>
                  </a:lnTo>
                  <a:lnTo>
                    <a:pt x="545" y="207"/>
                  </a:lnTo>
                  <a:lnTo>
                    <a:pt x="536" y="207"/>
                  </a:lnTo>
                  <a:lnTo>
                    <a:pt x="481" y="228"/>
                  </a:lnTo>
                  <a:lnTo>
                    <a:pt x="405" y="237"/>
                  </a:lnTo>
                  <a:lnTo>
                    <a:pt x="338" y="283"/>
                  </a:lnTo>
                  <a:lnTo>
                    <a:pt x="283" y="283"/>
                  </a:lnTo>
                  <a:lnTo>
                    <a:pt x="271" y="292"/>
                  </a:lnTo>
                  <a:lnTo>
                    <a:pt x="262" y="292"/>
                  </a:lnTo>
                  <a:lnTo>
                    <a:pt x="262" y="304"/>
                  </a:lnTo>
                  <a:lnTo>
                    <a:pt x="253" y="325"/>
                  </a:lnTo>
                  <a:lnTo>
                    <a:pt x="216" y="338"/>
                  </a:lnTo>
                  <a:lnTo>
                    <a:pt x="216" y="347"/>
                  </a:lnTo>
                  <a:lnTo>
                    <a:pt x="186" y="389"/>
                  </a:lnTo>
                  <a:lnTo>
                    <a:pt x="177" y="389"/>
                  </a:lnTo>
                  <a:lnTo>
                    <a:pt x="131" y="368"/>
                  </a:lnTo>
                  <a:lnTo>
                    <a:pt x="119" y="359"/>
                  </a:lnTo>
                  <a:lnTo>
                    <a:pt x="110" y="325"/>
                  </a:lnTo>
                  <a:lnTo>
                    <a:pt x="110" y="313"/>
                  </a:lnTo>
                  <a:lnTo>
                    <a:pt x="101" y="304"/>
                  </a:lnTo>
                  <a:lnTo>
                    <a:pt x="110" y="283"/>
                  </a:lnTo>
                  <a:lnTo>
                    <a:pt x="101" y="283"/>
                  </a:lnTo>
                  <a:lnTo>
                    <a:pt x="119" y="237"/>
                  </a:lnTo>
                  <a:lnTo>
                    <a:pt x="131" y="228"/>
                  </a:lnTo>
                  <a:lnTo>
                    <a:pt x="153" y="228"/>
                  </a:lnTo>
                  <a:lnTo>
                    <a:pt x="162" y="216"/>
                  </a:lnTo>
                  <a:lnTo>
                    <a:pt x="162" y="207"/>
                  </a:lnTo>
                  <a:lnTo>
                    <a:pt x="131" y="216"/>
                  </a:lnTo>
                  <a:lnTo>
                    <a:pt x="110" y="216"/>
                  </a:lnTo>
                  <a:lnTo>
                    <a:pt x="131" y="198"/>
                  </a:lnTo>
                  <a:lnTo>
                    <a:pt x="177" y="198"/>
                  </a:lnTo>
                  <a:lnTo>
                    <a:pt x="153" y="185"/>
                  </a:lnTo>
                  <a:lnTo>
                    <a:pt x="153" y="173"/>
                  </a:lnTo>
                  <a:lnTo>
                    <a:pt x="140" y="185"/>
                  </a:lnTo>
                  <a:lnTo>
                    <a:pt x="119" y="173"/>
                  </a:lnTo>
                  <a:lnTo>
                    <a:pt x="131" y="173"/>
                  </a:lnTo>
                  <a:lnTo>
                    <a:pt x="131" y="161"/>
                  </a:lnTo>
                  <a:lnTo>
                    <a:pt x="140" y="152"/>
                  </a:lnTo>
                  <a:lnTo>
                    <a:pt x="140" y="131"/>
                  </a:lnTo>
                  <a:lnTo>
                    <a:pt x="131" y="121"/>
                  </a:lnTo>
                  <a:lnTo>
                    <a:pt x="140" y="109"/>
                  </a:lnTo>
                  <a:lnTo>
                    <a:pt x="101" y="109"/>
                  </a:lnTo>
                  <a:lnTo>
                    <a:pt x="22" y="109"/>
                  </a:lnTo>
                  <a:lnTo>
                    <a:pt x="0" y="97"/>
                  </a:lnTo>
                  <a:lnTo>
                    <a:pt x="22" y="85"/>
                  </a:lnTo>
                  <a:lnTo>
                    <a:pt x="22" y="76"/>
                  </a:lnTo>
                  <a:lnTo>
                    <a:pt x="0" y="76"/>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72" name="Freeform 971"/>
            <p:cNvSpPr>
              <a:spLocks/>
            </p:cNvSpPr>
            <p:nvPr/>
          </p:nvSpPr>
          <p:spPr bwMode="auto">
            <a:xfrm>
              <a:off x="4390364" y="2984855"/>
              <a:ext cx="153937" cy="53044"/>
            </a:xfrm>
            <a:custGeom>
              <a:avLst/>
              <a:gdLst>
                <a:gd name="T0" fmla="*/ 0 w 155"/>
                <a:gd name="T1" fmla="*/ 12 h 54"/>
                <a:gd name="T2" fmla="*/ 24 w 155"/>
                <a:gd name="T3" fmla="*/ 0 h 54"/>
                <a:gd name="T4" fmla="*/ 45 w 155"/>
                <a:gd name="T5" fmla="*/ 12 h 54"/>
                <a:gd name="T6" fmla="*/ 45 w 155"/>
                <a:gd name="T7" fmla="*/ 21 h 54"/>
                <a:gd name="T8" fmla="*/ 67 w 155"/>
                <a:gd name="T9" fmla="*/ 0 h 54"/>
                <a:gd name="T10" fmla="*/ 67 w 155"/>
                <a:gd name="T11" fmla="*/ 12 h 54"/>
                <a:gd name="T12" fmla="*/ 100 w 155"/>
                <a:gd name="T13" fmla="*/ 12 h 54"/>
                <a:gd name="T14" fmla="*/ 121 w 155"/>
                <a:gd name="T15" fmla="*/ 0 h 54"/>
                <a:gd name="T16" fmla="*/ 140 w 155"/>
                <a:gd name="T17" fmla="*/ 0 h 54"/>
                <a:gd name="T18" fmla="*/ 140 w 155"/>
                <a:gd name="T19" fmla="*/ 12 h 54"/>
                <a:gd name="T20" fmla="*/ 155 w 155"/>
                <a:gd name="T21" fmla="*/ 12 h 54"/>
                <a:gd name="T22" fmla="*/ 140 w 155"/>
                <a:gd name="T23" fmla="*/ 21 h 54"/>
                <a:gd name="T24" fmla="*/ 130 w 155"/>
                <a:gd name="T25" fmla="*/ 33 h 54"/>
                <a:gd name="T26" fmla="*/ 67 w 155"/>
                <a:gd name="T27" fmla="*/ 54 h 54"/>
                <a:gd name="T28" fmla="*/ 9 w 155"/>
                <a:gd name="T29" fmla="*/ 42 h 54"/>
                <a:gd name="T30" fmla="*/ 33 w 155"/>
                <a:gd name="T31" fmla="*/ 33 h 54"/>
                <a:gd name="T32" fmla="*/ 0 w 155"/>
                <a:gd name="T33" fmla="*/ 33 h 54"/>
                <a:gd name="T34" fmla="*/ 33 w 155"/>
                <a:gd name="T35" fmla="*/ 21 h 54"/>
                <a:gd name="T36" fmla="*/ 0 w 155"/>
                <a:gd name="T37" fmla="*/ 12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5"/>
                <a:gd name="T58" fmla="*/ 0 h 54"/>
                <a:gd name="T59" fmla="*/ 155 w 155"/>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5" h="54">
                  <a:moveTo>
                    <a:pt x="0" y="12"/>
                  </a:moveTo>
                  <a:lnTo>
                    <a:pt x="24" y="0"/>
                  </a:lnTo>
                  <a:lnTo>
                    <a:pt x="45" y="12"/>
                  </a:lnTo>
                  <a:lnTo>
                    <a:pt x="45" y="21"/>
                  </a:lnTo>
                  <a:lnTo>
                    <a:pt x="67" y="0"/>
                  </a:lnTo>
                  <a:lnTo>
                    <a:pt x="67" y="12"/>
                  </a:lnTo>
                  <a:lnTo>
                    <a:pt x="100" y="12"/>
                  </a:lnTo>
                  <a:lnTo>
                    <a:pt x="121" y="0"/>
                  </a:lnTo>
                  <a:lnTo>
                    <a:pt x="140" y="0"/>
                  </a:lnTo>
                  <a:lnTo>
                    <a:pt x="140" y="12"/>
                  </a:lnTo>
                  <a:lnTo>
                    <a:pt x="155" y="12"/>
                  </a:lnTo>
                  <a:lnTo>
                    <a:pt x="140" y="21"/>
                  </a:lnTo>
                  <a:lnTo>
                    <a:pt x="130" y="33"/>
                  </a:lnTo>
                  <a:lnTo>
                    <a:pt x="67" y="54"/>
                  </a:lnTo>
                  <a:lnTo>
                    <a:pt x="9" y="42"/>
                  </a:lnTo>
                  <a:lnTo>
                    <a:pt x="33" y="33"/>
                  </a:lnTo>
                  <a:lnTo>
                    <a:pt x="0" y="33"/>
                  </a:lnTo>
                  <a:lnTo>
                    <a:pt x="33" y="21"/>
                  </a:lnTo>
                  <a:lnTo>
                    <a:pt x="0" y="12"/>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73" name="Freeform 972"/>
            <p:cNvSpPr>
              <a:spLocks/>
            </p:cNvSpPr>
            <p:nvPr/>
          </p:nvSpPr>
          <p:spPr bwMode="auto">
            <a:xfrm>
              <a:off x="5452621" y="4535661"/>
              <a:ext cx="128731" cy="265219"/>
            </a:xfrm>
            <a:custGeom>
              <a:avLst/>
              <a:gdLst>
                <a:gd name="T0" fmla="*/ 0 w 130"/>
                <a:gd name="T1" fmla="*/ 195 h 271"/>
                <a:gd name="T2" fmla="*/ 21 w 130"/>
                <a:gd name="T3" fmla="*/ 161 h 271"/>
                <a:gd name="T4" fmla="*/ 9 w 130"/>
                <a:gd name="T5" fmla="*/ 109 h 271"/>
                <a:gd name="T6" fmla="*/ 21 w 130"/>
                <a:gd name="T7" fmla="*/ 76 h 271"/>
                <a:gd name="T8" fmla="*/ 85 w 130"/>
                <a:gd name="T9" fmla="*/ 55 h 271"/>
                <a:gd name="T10" fmla="*/ 85 w 130"/>
                <a:gd name="T11" fmla="*/ 33 h 271"/>
                <a:gd name="T12" fmla="*/ 97 w 130"/>
                <a:gd name="T13" fmla="*/ 21 h 271"/>
                <a:gd name="T14" fmla="*/ 109 w 130"/>
                <a:gd name="T15" fmla="*/ 0 h 271"/>
                <a:gd name="T16" fmla="*/ 121 w 130"/>
                <a:gd name="T17" fmla="*/ 9 h 271"/>
                <a:gd name="T18" fmla="*/ 130 w 130"/>
                <a:gd name="T19" fmla="*/ 67 h 271"/>
                <a:gd name="T20" fmla="*/ 121 w 130"/>
                <a:gd name="T21" fmla="*/ 76 h 271"/>
                <a:gd name="T22" fmla="*/ 121 w 130"/>
                <a:gd name="T23" fmla="*/ 67 h 271"/>
                <a:gd name="T24" fmla="*/ 109 w 130"/>
                <a:gd name="T25" fmla="*/ 131 h 271"/>
                <a:gd name="T26" fmla="*/ 66 w 130"/>
                <a:gd name="T27" fmla="*/ 262 h 271"/>
                <a:gd name="T28" fmla="*/ 54 w 130"/>
                <a:gd name="T29" fmla="*/ 262 h 271"/>
                <a:gd name="T30" fmla="*/ 21 w 130"/>
                <a:gd name="T31" fmla="*/ 271 h 271"/>
                <a:gd name="T32" fmla="*/ 9 w 130"/>
                <a:gd name="T33" fmla="*/ 271 h 271"/>
                <a:gd name="T34" fmla="*/ 0 w 130"/>
                <a:gd name="T35" fmla="*/ 249 h 271"/>
                <a:gd name="T36" fmla="*/ 0 w 130"/>
                <a:gd name="T37" fmla="*/ 195 h 2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0"/>
                <a:gd name="T58" fmla="*/ 0 h 271"/>
                <a:gd name="T59" fmla="*/ 130 w 130"/>
                <a:gd name="T60" fmla="*/ 271 h 27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0" h="271">
                  <a:moveTo>
                    <a:pt x="0" y="195"/>
                  </a:moveTo>
                  <a:lnTo>
                    <a:pt x="21" y="161"/>
                  </a:lnTo>
                  <a:lnTo>
                    <a:pt x="9" y="109"/>
                  </a:lnTo>
                  <a:lnTo>
                    <a:pt x="21" y="76"/>
                  </a:lnTo>
                  <a:lnTo>
                    <a:pt x="85" y="55"/>
                  </a:lnTo>
                  <a:lnTo>
                    <a:pt x="85" y="33"/>
                  </a:lnTo>
                  <a:lnTo>
                    <a:pt x="97" y="21"/>
                  </a:lnTo>
                  <a:lnTo>
                    <a:pt x="109" y="0"/>
                  </a:lnTo>
                  <a:lnTo>
                    <a:pt x="121" y="9"/>
                  </a:lnTo>
                  <a:lnTo>
                    <a:pt x="130" y="67"/>
                  </a:lnTo>
                  <a:lnTo>
                    <a:pt x="121" y="76"/>
                  </a:lnTo>
                  <a:lnTo>
                    <a:pt x="121" y="67"/>
                  </a:lnTo>
                  <a:lnTo>
                    <a:pt x="109" y="131"/>
                  </a:lnTo>
                  <a:lnTo>
                    <a:pt x="66" y="262"/>
                  </a:lnTo>
                  <a:lnTo>
                    <a:pt x="54" y="262"/>
                  </a:lnTo>
                  <a:lnTo>
                    <a:pt x="21" y="271"/>
                  </a:lnTo>
                  <a:lnTo>
                    <a:pt x="9" y="271"/>
                  </a:lnTo>
                  <a:lnTo>
                    <a:pt x="0" y="249"/>
                  </a:lnTo>
                  <a:lnTo>
                    <a:pt x="0" y="195"/>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74" name="Freeform 973"/>
            <p:cNvSpPr>
              <a:spLocks/>
            </p:cNvSpPr>
            <p:nvPr/>
          </p:nvSpPr>
          <p:spPr bwMode="auto">
            <a:xfrm>
              <a:off x="6112481" y="4091058"/>
              <a:ext cx="43210" cy="74261"/>
            </a:xfrm>
            <a:custGeom>
              <a:avLst/>
              <a:gdLst>
                <a:gd name="T0" fmla="*/ 0 w 43"/>
                <a:gd name="T1" fmla="*/ 43 h 76"/>
                <a:gd name="T2" fmla="*/ 10 w 43"/>
                <a:gd name="T3" fmla="*/ 9 h 76"/>
                <a:gd name="T4" fmla="*/ 10 w 43"/>
                <a:gd name="T5" fmla="*/ 0 h 76"/>
                <a:gd name="T6" fmla="*/ 22 w 43"/>
                <a:gd name="T7" fmla="*/ 9 h 76"/>
                <a:gd name="T8" fmla="*/ 43 w 43"/>
                <a:gd name="T9" fmla="*/ 43 h 76"/>
                <a:gd name="T10" fmla="*/ 43 w 43"/>
                <a:gd name="T11" fmla="*/ 76 h 76"/>
                <a:gd name="T12" fmla="*/ 31 w 43"/>
                <a:gd name="T13" fmla="*/ 76 h 76"/>
                <a:gd name="T14" fmla="*/ 10 w 43"/>
                <a:gd name="T15" fmla="*/ 76 h 76"/>
                <a:gd name="T16" fmla="*/ 0 w 43"/>
                <a:gd name="T17" fmla="*/ 43 h 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
                <a:gd name="T28" fmla="*/ 0 h 76"/>
                <a:gd name="T29" fmla="*/ 43 w 43"/>
                <a:gd name="T30" fmla="*/ 76 h 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 h="76">
                  <a:moveTo>
                    <a:pt x="0" y="43"/>
                  </a:moveTo>
                  <a:lnTo>
                    <a:pt x="10" y="9"/>
                  </a:lnTo>
                  <a:lnTo>
                    <a:pt x="10" y="0"/>
                  </a:lnTo>
                  <a:lnTo>
                    <a:pt x="22" y="9"/>
                  </a:lnTo>
                  <a:lnTo>
                    <a:pt x="43" y="43"/>
                  </a:lnTo>
                  <a:lnTo>
                    <a:pt x="43" y="76"/>
                  </a:lnTo>
                  <a:lnTo>
                    <a:pt x="31" y="76"/>
                  </a:lnTo>
                  <a:lnTo>
                    <a:pt x="10" y="76"/>
                  </a:lnTo>
                  <a:lnTo>
                    <a:pt x="0" y="43"/>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75" name="Freeform 974"/>
            <p:cNvSpPr>
              <a:spLocks/>
            </p:cNvSpPr>
            <p:nvPr/>
          </p:nvSpPr>
          <p:spPr bwMode="auto">
            <a:xfrm>
              <a:off x="6612102" y="3887562"/>
              <a:ext cx="41410" cy="30862"/>
            </a:xfrm>
            <a:custGeom>
              <a:avLst/>
              <a:gdLst>
                <a:gd name="T0" fmla="*/ 0 w 43"/>
                <a:gd name="T1" fmla="*/ 9 h 31"/>
                <a:gd name="T2" fmla="*/ 21 w 43"/>
                <a:gd name="T3" fmla="*/ 0 h 31"/>
                <a:gd name="T4" fmla="*/ 35 w 43"/>
                <a:gd name="T5" fmla="*/ 0 h 31"/>
                <a:gd name="T6" fmla="*/ 35 w 43"/>
                <a:gd name="T7" fmla="*/ 21 h 31"/>
                <a:gd name="T8" fmla="*/ 21 w 43"/>
                <a:gd name="T9" fmla="*/ 31 h 31"/>
                <a:gd name="T10" fmla="*/ 9 w 43"/>
                <a:gd name="T11" fmla="*/ 31 h 31"/>
                <a:gd name="T12" fmla="*/ 0 w 43"/>
                <a:gd name="T13" fmla="*/ 9 h 31"/>
                <a:gd name="T14" fmla="*/ 0 60000 65536"/>
                <a:gd name="T15" fmla="*/ 0 60000 65536"/>
                <a:gd name="T16" fmla="*/ 0 60000 65536"/>
                <a:gd name="T17" fmla="*/ 0 60000 65536"/>
                <a:gd name="T18" fmla="*/ 0 60000 65536"/>
                <a:gd name="T19" fmla="*/ 0 60000 65536"/>
                <a:gd name="T20" fmla="*/ 0 60000 65536"/>
                <a:gd name="T21" fmla="*/ 0 w 43"/>
                <a:gd name="T22" fmla="*/ 0 h 31"/>
                <a:gd name="T23" fmla="*/ 43 w 43"/>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31">
                  <a:moveTo>
                    <a:pt x="0" y="9"/>
                  </a:moveTo>
                  <a:lnTo>
                    <a:pt x="24" y="0"/>
                  </a:lnTo>
                  <a:lnTo>
                    <a:pt x="43" y="0"/>
                  </a:lnTo>
                  <a:lnTo>
                    <a:pt x="43" y="21"/>
                  </a:lnTo>
                  <a:lnTo>
                    <a:pt x="24" y="31"/>
                  </a:lnTo>
                  <a:lnTo>
                    <a:pt x="9" y="31"/>
                  </a:lnTo>
                  <a:lnTo>
                    <a:pt x="0" y="9"/>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76" name="Freeform 975"/>
            <p:cNvSpPr>
              <a:spLocks/>
            </p:cNvSpPr>
            <p:nvPr/>
          </p:nvSpPr>
          <p:spPr bwMode="auto">
            <a:xfrm>
              <a:off x="6805648" y="3781476"/>
              <a:ext cx="19805" cy="61724"/>
            </a:xfrm>
            <a:custGeom>
              <a:avLst/>
              <a:gdLst>
                <a:gd name="T0" fmla="*/ 0 w 21"/>
                <a:gd name="T1" fmla="*/ 33 h 63"/>
                <a:gd name="T2" fmla="*/ 10 w 21"/>
                <a:gd name="T3" fmla="*/ 9 h 63"/>
                <a:gd name="T4" fmla="*/ 13 w 21"/>
                <a:gd name="T5" fmla="*/ 0 h 63"/>
                <a:gd name="T6" fmla="*/ 13 w 21"/>
                <a:gd name="T7" fmla="*/ 63 h 63"/>
                <a:gd name="T8" fmla="*/ 10 w 21"/>
                <a:gd name="T9" fmla="*/ 54 h 63"/>
                <a:gd name="T10" fmla="*/ 0 w 21"/>
                <a:gd name="T11" fmla="*/ 33 h 63"/>
                <a:gd name="T12" fmla="*/ 0 60000 65536"/>
                <a:gd name="T13" fmla="*/ 0 60000 65536"/>
                <a:gd name="T14" fmla="*/ 0 60000 65536"/>
                <a:gd name="T15" fmla="*/ 0 60000 65536"/>
                <a:gd name="T16" fmla="*/ 0 60000 65536"/>
                <a:gd name="T17" fmla="*/ 0 60000 65536"/>
                <a:gd name="T18" fmla="*/ 0 w 21"/>
                <a:gd name="T19" fmla="*/ 0 h 63"/>
                <a:gd name="T20" fmla="*/ 21 w 21"/>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21" h="63">
                  <a:moveTo>
                    <a:pt x="0" y="33"/>
                  </a:moveTo>
                  <a:lnTo>
                    <a:pt x="12" y="9"/>
                  </a:lnTo>
                  <a:lnTo>
                    <a:pt x="21" y="0"/>
                  </a:lnTo>
                  <a:lnTo>
                    <a:pt x="21" y="63"/>
                  </a:lnTo>
                  <a:lnTo>
                    <a:pt x="12" y="54"/>
                  </a:lnTo>
                  <a:lnTo>
                    <a:pt x="0" y="33"/>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77" name="Freeform 976"/>
            <p:cNvSpPr>
              <a:spLocks/>
            </p:cNvSpPr>
            <p:nvPr/>
          </p:nvSpPr>
          <p:spPr bwMode="auto">
            <a:xfrm>
              <a:off x="6915474" y="3610771"/>
              <a:ext cx="39610" cy="56902"/>
            </a:xfrm>
            <a:custGeom>
              <a:avLst/>
              <a:gdLst>
                <a:gd name="T0" fmla="*/ 0 w 40"/>
                <a:gd name="T1" fmla="*/ 12 h 58"/>
                <a:gd name="T2" fmla="*/ 10 w 40"/>
                <a:gd name="T3" fmla="*/ 0 h 58"/>
                <a:gd name="T4" fmla="*/ 31 w 40"/>
                <a:gd name="T5" fmla="*/ 0 h 58"/>
                <a:gd name="T6" fmla="*/ 40 w 40"/>
                <a:gd name="T7" fmla="*/ 21 h 58"/>
                <a:gd name="T8" fmla="*/ 40 w 40"/>
                <a:gd name="T9" fmla="*/ 43 h 58"/>
                <a:gd name="T10" fmla="*/ 31 w 40"/>
                <a:gd name="T11" fmla="*/ 58 h 58"/>
                <a:gd name="T12" fmla="*/ 22 w 40"/>
                <a:gd name="T13" fmla="*/ 58 h 58"/>
                <a:gd name="T14" fmla="*/ 22 w 40"/>
                <a:gd name="T15" fmla="*/ 21 h 58"/>
                <a:gd name="T16" fmla="*/ 10 w 40"/>
                <a:gd name="T17" fmla="*/ 12 h 58"/>
                <a:gd name="T18" fmla="*/ 10 w 40"/>
                <a:gd name="T19" fmla="*/ 21 h 58"/>
                <a:gd name="T20" fmla="*/ 0 w 40"/>
                <a:gd name="T21" fmla="*/ 12 h 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0"/>
                <a:gd name="T34" fmla="*/ 0 h 58"/>
                <a:gd name="T35" fmla="*/ 40 w 40"/>
                <a:gd name="T36" fmla="*/ 58 h 5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0" h="58">
                  <a:moveTo>
                    <a:pt x="0" y="12"/>
                  </a:moveTo>
                  <a:lnTo>
                    <a:pt x="10" y="0"/>
                  </a:lnTo>
                  <a:lnTo>
                    <a:pt x="31" y="0"/>
                  </a:lnTo>
                  <a:lnTo>
                    <a:pt x="40" y="21"/>
                  </a:lnTo>
                  <a:lnTo>
                    <a:pt x="40" y="43"/>
                  </a:lnTo>
                  <a:lnTo>
                    <a:pt x="31" y="58"/>
                  </a:lnTo>
                  <a:lnTo>
                    <a:pt x="22" y="58"/>
                  </a:lnTo>
                  <a:lnTo>
                    <a:pt x="22" y="21"/>
                  </a:lnTo>
                  <a:lnTo>
                    <a:pt x="10" y="12"/>
                  </a:lnTo>
                  <a:lnTo>
                    <a:pt x="10" y="21"/>
                  </a:lnTo>
                  <a:lnTo>
                    <a:pt x="0" y="12"/>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78" name="Freeform 977"/>
            <p:cNvSpPr>
              <a:spLocks/>
            </p:cNvSpPr>
            <p:nvPr/>
          </p:nvSpPr>
          <p:spPr bwMode="auto">
            <a:xfrm>
              <a:off x="6955085" y="3602091"/>
              <a:ext cx="45911" cy="28933"/>
            </a:xfrm>
            <a:custGeom>
              <a:avLst/>
              <a:gdLst>
                <a:gd name="T0" fmla="*/ 0 w 46"/>
                <a:gd name="T1" fmla="*/ 21 h 30"/>
                <a:gd name="T2" fmla="*/ 12 w 46"/>
                <a:gd name="T3" fmla="*/ 0 h 30"/>
                <a:gd name="T4" fmla="*/ 24 w 46"/>
                <a:gd name="T5" fmla="*/ 9 h 30"/>
                <a:gd name="T6" fmla="*/ 24 w 46"/>
                <a:gd name="T7" fmla="*/ 0 h 30"/>
                <a:gd name="T8" fmla="*/ 37 w 46"/>
                <a:gd name="T9" fmla="*/ 0 h 30"/>
                <a:gd name="T10" fmla="*/ 46 w 46"/>
                <a:gd name="T11" fmla="*/ 9 h 30"/>
                <a:gd name="T12" fmla="*/ 37 w 46"/>
                <a:gd name="T13" fmla="*/ 21 h 30"/>
                <a:gd name="T14" fmla="*/ 24 w 46"/>
                <a:gd name="T15" fmla="*/ 9 h 30"/>
                <a:gd name="T16" fmla="*/ 24 w 46"/>
                <a:gd name="T17" fmla="*/ 21 h 30"/>
                <a:gd name="T18" fmla="*/ 24 w 46"/>
                <a:gd name="T19" fmla="*/ 30 h 30"/>
                <a:gd name="T20" fmla="*/ 0 w 46"/>
                <a:gd name="T21" fmla="*/ 21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
                <a:gd name="T34" fmla="*/ 0 h 30"/>
                <a:gd name="T35" fmla="*/ 46 w 46"/>
                <a:gd name="T36" fmla="*/ 30 h 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 h="30">
                  <a:moveTo>
                    <a:pt x="0" y="21"/>
                  </a:moveTo>
                  <a:lnTo>
                    <a:pt x="12" y="0"/>
                  </a:lnTo>
                  <a:lnTo>
                    <a:pt x="24" y="9"/>
                  </a:lnTo>
                  <a:lnTo>
                    <a:pt x="24" y="0"/>
                  </a:lnTo>
                  <a:lnTo>
                    <a:pt x="37" y="0"/>
                  </a:lnTo>
                  <a:lnTo>
                    <a:pt x="46" y="9"/>
                  </a:lnTo>
                  <a:lnTo>
                    <a:pt x="37" y="21"/>
                  </a:lnTo>
                  <a:lnTo>
                    <a:pt x="24" y="9"/>
                  </a:lnTo>
                  <a:lnTo>
                    <a:pt x="24" y="21"/>
                  </a:lnTo>
                  <a:lnTo>
                    <a:pt x="24" y="30"/>
                  </a:lnTo>
                  <a:lnTo>
                    <a:pt x="0" y="21"/>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79" name="Freeform 978"/>
            <p:cNvSpPr>
              <a:spLocks/>
            </p:cNvSpPr>
            <p:nvPr/>
          </p:nvSpPr>
          <p:spPr bwMode="auto">
            <a:xfrm>
              <a:off x="6925377" y="3453569"/>
              <a:ext cx="163840" cy="168776"/>
            </a:xfrm>
            <a:custGeom>
              <a:avLst/>
              <a:gdLst>
                <a:gd name="T0" fmla="*/ 0 w 164"/>
                <a:gd name="T1" fmla="*/ 152 h 173"/>
                <a:gd name="T2" fmla="*/ 21 w 164"/>
                <a:gd name="T3" fmla="*/ 128 h 173"/>
                <a:gd name="T4" fmla="*/ 67 w 164"/>
                <a:gd name="T5" fmla="*/ 118 h 173"/>
                <a:gd name="T6" fmla="*/ 76 w 164"/>
                <a:gd name="T7" fmla="*/ 128 h 173"/>
                <a:gd name="T8" fmla="*/ 76 w 164"/>
                <a:gd name="T9" fmla="*/ 118 h 173"/>
                <a:gd name="T10" fmla="*/ 76 w 164"/>
                <a:gd name="T11" fmla="*/ 88 h 173"/>
                <a:gd name="T12" fmla="*/ 96 w 164"/>
                <a:gd name="T13" fmla="*/ 88 h 173"/>
                <a:gd name="T14" fmla="*/ 96 w 164"/>
                <a:gd name="T15" fmla="*/ 97 h 173"/>
                <a:gd name="T16" fmla="*/ 114 w 164"/>
                <a:gd name="T17" fmla="*/ 88 h 173"/>
                <a:gd name="T18" fmla="*/ 114 w 164"/>
                <a:gd name="T19" fmla="*/ 51 h 173"/>
                <a:gd name="T20" fmla="*/ 105 w 164"/>
                <a:gd name="T21" fmla="*/ 12 h 173"/>
                <a:gd name="T22" fmla="*/ 114 w 164"/>
                <a:gd name="T23" fmla="*/ 12 h 173"/>
                <a:gd name="T24" fmla="*/ 105 w 164"/>
                <a:gd name="T25" fmla="*/ 0 h 173"/>
                <a:gd name="T26" fmla="*/ 114 w 164"/>
                <a:gd name="T27" fmla="*/ 12 h 173"/>
                <a:gd name="T28" fmla="*/ 151 w 164"/>
                <a:gd name="T29" fmla="*/ 51 h 173"/>
                <a:gd name="T30" fmla="*/ 160 w 164"/>
                <a:gd name="T31" fmla="*/ 64 h 173"/>
                <a:gd name="T32" fmla="*/ 151 w 164"/>
                <a:gd name="T33" fmla="*/ 64 h 173"/>
                <a:gd name="T34" fmla="*/ 151 w 164"/>
                <a:gd name="T35" fmla="*/ 76 h 173"/>
                <a:gd name="T36" fmla="*/ 172 w 164"/>
                <a:gd name="T37" fmla="*/ 118 h 173"/>
                <a:gd name="T38" fmla="*/ 172 w 164"/>
                <a:gd name="T39" fmla="*/ 128 h 173"/>
                <a:gd name="T40" fmla="*/ 160 w 164"/>
                <a:gd name="T41" fmla="*/ 143 h 173"/>
                <a:gd name="T42" fmla="*/ 151 w 164"/>
                <a:gd name="T43" fmla="*/ 128 h 173"/>
                <a:gd name="T44" fmla="*/ 151 w 164"/>
                <a:gd name="T45" fmla="*/ 143 h 173"/>
                <a:gd name="T46" fmla="*/ 139 w 164"/>
                <a:gd name="T47" fmla="*/ 128 h 173"/>
                <a:gd name="T48" fmla="*/ 129 w 164"/>
                <a:gd name="T49" fmla="*/ 143 h 173"/>
                <a:gd name="T50" fmla="*/ 114 w 164"/>
                <a:gd name="T51" fmla="*/ 143 h 173"/>
                <a:gd name="T52" fmla="*/ 105 w 164"/>
                <a:gd name="T53" fmla="*/ 143 h 173"/>
                <a:gd name="T54" fmla="*/ 114 w 164"/>
                <a:gd name="T55" fmla="*/ 152 h 173"/>
                <a:gd name="T56" fmla="*/ 105 w 164"/>
                <a:gd name="T57" fmla="*/ 173 h 173"/>
                <a:gd name="T58" fmla="*/ 76 w 164"/>
                <a:gd name="T59" fmla="*/ 161 h 173"/>
                <a:gd name="T60" fmla="*/ 76 w 164"/>
                <a:gd name="T61" fmla="*/ 143 h 173"/>
                <a:gd name="T62" fmla="*/ 67 w 164"/>
                <a:gd name="T63" fmla="*/ 143 h 173"/>
                <a:gd name="T64" fmla="*/ 30 w 164"/>
                <a:gd name="T65" fmla="*/ 152 h 173"/>
                <a:gd name="T66" fmla="*/ 21 w 164"/>
                <a:gd name="T67" fmla="*/ 161 h 173"/>
                <a:gd name="T68" fmla="*/ 12 w 164"/>
                <a:gd name="T69" fmla="*/ 161 h 173"/>
                <a:gd name="T70" fmla="*/ 0 w 164"/>
                <a:gd name="T71" fmla="*/ 152 h 17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4"/>
                <a:gd name="T109" fmla="*/ 0 h 173"/>
                <a:gd name="T110" fmla="*/ 164 w 164"/>
                <a:gd name="T111" fmla="*/ 173 h 17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4" h="173">
                  <a:moveTo>
                    <a:pt x="0" y="152"/>
                  </a:moveTo>
                  <a:lnTo>
                    <a:pt x="21" y="128"/>
                  </a:lnTo>
                  <a:lnTo>
                    <a:pt x="67" y="118"/>
                  </a:lnTo>
                  <a:lnTo>
                    <a:pt x="76" y="128"/>
                  </a:lnTo>
                  <a:lnTo>
                    <a:pt x="76" y="118"/>
                  </a:lnTo>
                  <a:lnTo>
                    <a:pt x="76" y="88"/>
                  </a:lnTo>
                  <a:lnTo>
                    <a:pt x="88" y="88"/>
                  </a:lnTo>
                  <a:lnTo>
                    <a:pt x="88" y="97"/>
                  </a:lnTo>
                  <a:lnTo>
                    <a:pt x="106" y="88"/>
                  </a:lnTo>
                  <a:lnTo>
                    <a:pt x="106" y="51"/>
                  </a:lnTo>
                  <a:lnTo>
                    <a:pt x="97" y="12"/>
                  </a:lnTo>
                  <a:lnTo>
                    <a:pt x="106" y="12"/>
                  </a:lnTo>
                  <a:lnTo>
                    <a:pt x="97" y="0"/>
                  </a:lnTo>
                  <a:lnTo>
                    <a:pt x="106" y="12"/>
                  </a:lnTo>
                  <a:lnTo>
                    <a:pt x="143" y="51"/>
                  </a:lnTo>
                  <a:lnTo>
                    <a:pt x="152" y="64"/>
                  </a:lnTo>
                  <a:lnTo>
                    <a:pt x="143" y="64"/>
                  </a:lnTo>
                  <a:lnTo>
                    <a:pt x="143" y="76"/>
                  </a:lnTo>
                  <a:lnTo>
                    <a:pt x="164" y="118"/>
                  </a:lnTo>
                  <a:lnTo>
                    <a:pt x="164" y="128"/>
                  </a:lnTo>
                  <a:lnTo>
                    <a:pt x="152" y="143"/>
                  </a:lnTo>
                  <a:lnTo>
                    <a:pt x="143" y="128"/>
                  </a:lnTo>
                  <a:lnTo>
                    <a:pt x="143" y="143"/>
                  </a:lnTo>
                  <a:lnTo>
                    <a:pt x="131" y="128"/>
                  </a:lnTo>
                  <a:lnTo>
                    <a:pt x="121" y="143"/>
                  </a:lnTo>
                  <a:lnTo>
                    <a:pt x="106" y="143"/>
                  </a:lnTo>
                  <a:lnTo>
                    <a:pt x="97" y="143"/>
                  </a:lnTo>
                  <a:lnTo>
                    <a:pt x="106" y="152"/>
                  </a:lnTo>
                  <a:lnTo>
                    <a:pt x="97" y="173"/>
                  </a:lnTo>
                  <a:lnTo>
                    <a:pt x="76" y="161"/>
                  </a:lnTo>
                  <a:lnTo>
                    <a:pt x="76" y="143"/>
                  </a:lnTo>
                  <a:lnTo>
                    <a:pt x="67" y="143"/>
                  </a:lnTo>
                  <a:lnTo>
                    <a:pt x="30" y="152"/>
                  </a:lnTo>
                  <a:lnTo>
                    <a:pt x="21" y="161"/>
                  </a:lnTo>
                  <a:lnTo>
                    <a:pt x="12" y="161"/>
                  </a:lnTo>
                  <a:lnTo>
                    <a:pt x="0" y="152"/>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80" name="Freeform 979"/>
            <p:cNvSpPr>
              <a:spLocks/>
            </p:cNvSpPr>
            <p:nvPr/>
          </p:nvSpPr>
          <p:spPr bwMode="auto">
            <a:xfrm>
              <a:off x="6991993" y="3374485"/>
              <a:ext cx="97224" cy="90657"/>
            </a:xfrm>
            <a:custGeom>
              <a:avLst/>
              <a:gdLst>
                <a:gd name="T0" fmla="*/ 9 w 97"/>
                <a:gd name="T1" fmla="*/ 55 h 92"/>
                <a:gd name="T2" fmla="*/ 9 w 97"/>
                <a:gd name="T3" fmla="*/ 46 h 92"/>
                <a:gd name="T4" fmla="*/ 21 w 97"/>
                <a:gd name="T5" fmla="*/ 46 h 92"/>
                <a:gd name="T6" fmla="*/ 9 w 97"/>
                <a:gd name="T7" fmla="*/ 16 h 92"/>
                <a:gd name="T8" fmla="*/ 0 w 97"/>
                <a:gd name="T9" fmla="*/ 0 h 92"/>
                <a:gd name="T10" fmla="*/ 62 w 97"/>
                <a:gd name="T11" fmla="*/ 25 h 92"/>
                <a:gd name="T12" fmla="*/ 72 w 97"/>
                <a:gd name="T13" fmla="*/ 37 h 92"/>
                <a:gd name="T14" fmla="*/ 84 w 97"/>
                <a:gd name="T15" fmla="*/ 25 h 92"/>
                <a:gd name="T16" fmla="*/ 84 w 97"/>
                <a:gd name="T17" fmla="*/ 37 h 92"/>
                <a:gd name="T18" fmla="*/ 93 w 97"/>
                <a:gd name="T19" fmla="*/ 46 h 92"/>
                <a:gd name="T20" fmla="*/ 105 w 97"/>
                <a:gd name="T21" fmla="*/ 46 h 92"/>
                <a:gd name="T22" fmla="*/ 93 w 97"/>
                <a:gd name="T23" fmla="*/ 55 h 92"/>
                <a:gd name="T24" fmla="*/ 84 w 97"/>
                <a:gd name="T25" fmla="*/ 55 h 92"/>
                <a:gd name="T26" fmla="*/ 72 w 97"/>
                <a:gd name="T27" fmla="*/ 67 h 92"/>
                <a:gd name="T28" fmla="*/ 39 w 97"/>
                <a:gd name="T29" fmla="*/ 55 h 92"/>
                <a:gd name="T30" fmla="*/ 30 w 97"/>
                <a:gd name="T31" fmla="*/ 67 h 92"/>
                <a:gd name="T32" fmla="*/ 21 w 97"/>
                <a:gd name="T33" fmla="*/ 55 h 92"/>
                <a:gd name="T34" fmla="*/ 30 w 97"/>
                <a:gd name="T35" fmla="*/ 80 h 92"/>
                <a:gd name="T36" fmla="*/ 21 w 97"/>
                <a:gd name="T37" fmla="*/ 92 h 92"/>
                <a:gd name="T38" fmla="*/ 9 w 97"/>
                <a:gd name="T39" fmla="*/ 55 h 9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7"/>
                <a:gd name="T61" fmla="*/ 0 h 92"/>
                <a:gd name="T62" fmla="*/ 97 w 97"/>
                <a:gd name="T63" fmla="*/ 92 h 9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7" h="92">
                  <a:moveTo>
                    <a:pt x="9" y="55"/>
                  </a:moveTo>
                  <a:lnTo>
                    <a:pt x="9" y="46"/>
                  </a:lnTo>
                  <a:lnTo>
                    <a:pt x="21" y="46"/>
                  </a:lnTo>
                  <a:lnTo>
                    <a:pt x="9" y="16"/>
                  </a:lnTo>
                  <a:lnTo>
                    <a:pt x="0" y="0"/>
                  </a:lnTo>
                  <a:lnTo>
                    <a:pt x="54" y="25"/>
                  </a:lnTo>
                  <a:lnTo>
                    <a:pt x="64" y="37"/>
                  </a:lnTo>
                  <a:lnTo>
                    <a:pt x="76" y="25"/>
                  </a:lnTo>
                  <a:lnTo>
                    <a:pt x="76" y="37"/>
                  </a:lnTo>
                  <a:lnTo>
                    <a:pt x="85" y="46"/>
                  </a:lnTo>
                  <a:lnTo>
                    <a:pt x="97" y="46"/>
                  </a:lnTo>
                  <a:lnTo>
                    <a:pt x="85" y="55"/>
                  </a:lnTo>
                  <a:lnTo>
                    <a:pt x="76" y="55"/>
                  </a:lnTo>
                  <a:lnTo>
                    <a:pt x="64" y="67"/>
                  </a:lnTo>
                  <a:lnTo>
                    <a:pt x="39" y="55"/>
                  </a:lnTo>
                  <a:lnTo>
                    <a:pt x="30" y="67"/>
                  </a:lnTo>
                  <a:lnTo>
                    <a:pt x="21" y="55"/>
                  </a:lnTo>
                  <a:lnTo>
                    <a:pt x="30" y="80"/>
                  </a:lnTo>
                  <a:lnTo>
                    <a:pt x="21" y="92"/>
                  </a:lnTo>
                  <a:lnTo>
                    <a:pt x="9" y="55"/>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81" name="Freeform 980"/>
            <p:cNvSpPr>
              <a:spLocks/>
            </p:cNvSpPr>
            <p:nvPr/>
          </p:nvSpPr>
          <p:spPr bwMode="auto">
            <a:xfrm>
              <a:off x="7030702" y="2900949"/>
              <a:ext cx="45011" cy="12537"/>
            </a:xfrm>
            <a:custGeom>
              <a:avLst/>
              <a:gdLst>
                <a:gd name="T0" fmla="*/ 15 w 46"/>
                <a:gd name="T1" fmla="*/ 13 h 13"/>
                <a:gd name="T2" fmla="*/ 0 w 46"/>
                <a:gd name="T3" fmla="*/ 0 h 13"/>
                <a:gd name="T4" fmla="*/ 46 w 46"/>
                <a:gd name="T5" fmla="*/ 0 h 13"/>
                <a:gd name="T6" fmla="*/ 15 w 46"/>
                <a:gd name="T7" fmla="*/ 13 h 13"/>
                <a:gd name="T8" fmla="*/ 0 60000 65536"/>
                <a:gd name="T9" fmla="*/ 0 60000 65536"/>
                <a:gd name="T10" fmla="*/ 0 60000 65536"/>
                <a:gd name="T11" fmla="*/ 0 60000 65536"/>
                <a:gd name="T12" fmla="*/ 0 w 46"/>
                <a:gd name="T13" fmla="*/ 0 h 13"/>
                <a:gd name="T14" fmla="*/ 46 w 46"/>
                <a:gd name="T15" fmla="*/ 13 h 13"/>
              </a:gdLst>
              <a:ahLst/>
              <a:cxnLst>
                <a:cxn ang="T8">
                  <a:pos x="T0" y="T1"/>
                </a:cxn>
                <a:cxn ang="T9">
                  <a:pos x="T2" y="T3"/>
                </a:cxn>
                <a:cxn ang="T10">
                  <a:pos x="T4" y="T5"/>
                </a:cxn>
                <a:cxn ang="T11">
                  <a:pos x="T6" y="T7"/>
                </a:cxn>
              </a:cxnLst>
              <a:rect l="T12" t="T13" r="T14" b="T15"/>
              <a:pathLst>
                <a:path w="46" h="13">
                  <a:moveTo>
                    <a:pt x="15" y="13"/>
                  </a:moveTo>
                  <a:lnTo>
                    <a:pt x="0" y="0"/>
                  </a:lnTo>
                  <a:lnTo>
                    <a:pt x="46" y="0"/>
                  </a:lnTo>
                  <a:lnTo>
                    <a:pt x="15" y="13"/>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82" name="Freeform 981"/>
            <p:cNvSpPr>
              <a:spLocks/>
            </p:cNvSpPr>
            <p:nvPr/>
          </p:nvSpPr>
          <p:spPr bwMode="auto">
            <a:xfrm>
              <a:off x="6490572" y="2856584"/>
              <a:ext cx="45011" cy="11573"/>
            </a:xfrm>
            <a:custGeom>
              <a:avLst/>
              <a:gdLst>
                <a:gd name="T0" fmla="*/ 0 w 46"/>
                <a:gd name="T1" fmla="*/ 12 h 12"/>
                <a:gd name="T2" fmla="*/ 0 w 46"/>
                <a:gd name="T3" fmla="*/ 0 h 12"/>
                <a:gd name="T4" fmla="*/ 15 w 46"/>
                <a:gd name="T5" fmla="*/ 0 h 12"/>
                <a:gd name="T6" fmla="*/ 46 w 46"/>
                <a:gd name="T7" fmla="*/ 12 h 12"/>
                <a:gd name="T8" fmla="*/ 0 w 46"/>
                <a:gd name="T9" fmla="*/ 12 h 12"/>
                <a:gd name="T10" fmla="*/ 0 60000 65536"/>
                <a:gd name="T11" fmla="*/ 0 60000 65536"/>
                <a:gd name="T12" fmla="*/ 0 60000 65536"/>
                <a:gd name="T13" fmla="*/ 0 60000 65536"/>
                <a:gd name="T14" fmla="*/ 0 60000 65536"/>
                <a:gd name="T15" fmla="*/ 0 w 46"/>
                <a:gd name="T16" fmla="*/ 0 h 12"/>
                <a:gd name="T17" fmla="*/ 46 w 46"/>
                <a:gd name="T18" fmla="*/ 12 h 12"/>
              </a:gdLst>
              <a:ahLst/>
              <a:cxnLst>
                <a:cxn ang="T10">
                  <a:pos x="T0" y="T1"/>
                </a:cxn>
                <a:cxn ang="T11">
                  <a:pos x="T2" y="T3"/>
                </a:cxn>
                <a:cxn ang="T12">
                  <a:pos x="T4" y="T5"/>
                </a:cxn>
                <a:cxn ang="T13">
                  <a:pos x="T6" y="T7"/>
                </a:cxn>
                <a:cxn ang="T14">
                  <a:pos x="T8" y="T9"/>
                </a:cxn>
              </a:cxnLst>
              <a:rect l="T15" t="T16" r="T17" b="T18"/>
              <a:pathLst>
                <a:path w="46" h="12">
                  <a:moveTo>
                    <a:pt x="0" y="12"/>
                  </a:moveTo>
                  <a:lnTo>
                    <a:pt x="0" y="0"/>
                  </a:lnTo>
                  <a:lnTo>
                    <a:pt x="15" y="0"/>
                  </a:lnTo>
                  <a:lnTo>
                    <a:pt x="46" y="12"/>
                  </a:lnTo>
                  <a:lnTo>
                    <a:pt x="0" y="12"/>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83" name="Freeform 982"/>
            <p:cNvSpPr>
              <a:spLocks/>
            </p:cNvSpPr>
            <p:nvPr/>
          </p:nvSpPr>
          <p:spPr bwMode="auto">
            <a:xfrm>
              <a:off x="6513978" y="2838261"/>
              <a:ext cx="66616" cy="9645"/>
            </a:xfrm>
            <a:custGeom>
              <a:avLst/>
              <a:gdLst>
                <a:gd name="T0" fmla="*/ 0 w 67"/>
                <a:gd name="T1" fmla="*/ 0 h 10"/>
                <a:gd name="T2" fmla="*/ 67 w 67"/>
                <a:gd name="T3" fmla="*/ 0 h 10"/>
                <a:gd name="T4" fmla="*/ 67 w 67"/>
                <a:gd name="T5" fmla="*/ 10 h 10"/>
                <a:gd name="T6" fmla="*/ 0 w 67"/>
                <a:gd name="T7" fmla="*/ 0 h 10"/>
                <a:gd name="T8" fmla="*/ 0 60000 65536"/>
                <a:gd name="T9" fmla="*/ 0 60000 65536"/>
                <a:gd name="T10" fmla="*/ 0 60000 65536"/>
                <a:gd name="T11" fmla="*/ 0 60000 65536"/>
                <a:gd name="T12" fmla="*/ 0 w 67"/>
                <a:gd name="T13" fmla="*/ 0 h 10"/>
                <a:gd name="T14" fmla="*/ 67 w 67"/>
                <a:gd name="T15" fmla="*/ 10 h 10"/>
              </a:gdLst>
              <a:ahLst/>
              <a:cxnLst>
                <a:cxn ang="T8">
                  <a:pos x="T0" y="T1"/>
                </a:cxn>
                <a:cxn ang="T9">
                  <a:pos x="T2" y="T3"/>
                </a:cxn>
                <a:cxn ang="T10">
                  <a:pos x="T4" y="T5"/>
                </a:cxn>
                <a:cxn ang="T11">
                  <a:pos x="T6" y="T7"/>
                </a:cxn>
              </a:cxnLst>
              <a:rect l="T12" t="T13" r="T14" b="T15"/>
              <a:pathLst>
                <a:path w="67" h="10">
                  <a:moveTo>
                    <a:pt x="0" y="0"/>
                  </a:moveTo>
                  <a:lnTo>
                    <a:pt x="67" y="0"/>
                  </a:lnTo>
                  <a:lnTo>
                    <a:pt x="67" y="10"/>
                  </a:lnTo>
                  <a:lnTo>
                    <a:pt x="0"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84" name="Freeform 983"/>
            <p:cNvSpPr>
              <a:spLocks/>
            </p:cNvSpPr>
            <p:nvPr/>
          </p:nvSpPr>
          <p:spPr bwMode="auto">
            <a:xfrm>
              <a:off x="6394249" y="2826688"/>
              <a:ext cx="110727" cy="21217"/>
            </a:xfrm>
            <a:custGeom>
              <a:avLst/>
              <a:gdLst>
                <a:gd name="T0" fmla="*/ 12 w 112"/>
                <a:gd name="T1" fmla="*/ 12 h 22"/>
                <a:gd name="T2" fmla="*/ 0 w 112"/>
                <a:gd name="T3" fmla="*/ 0 h 22"/>
                <a:gd name="T4" fmla="*/ 12 w 112"/>
                <a:gd name="T5" fmla="*/ 0 h 22"/>
                <a:gd name="T6" fmla="*/ 54 w 112"/>
                <a:gd name="T7" fmla="*/ 0 h 22"/>
                <a:gd name="T8" fmla="*/ 112 w 112"/>
                <a:gd name="T9" fmla="*/ 12 h 22"/>
                <a:gd name="T10" fmla="*/ 97 w 112"/>
                <a:gd name="T11" fmla="*/ 22 h 22"/>
                <a:gd name="T12" fmla="*/ 54 w 112"/>
                <a:gd name="T13" fmla="*/ 22 h 22"/>
                <a:gd name="T14" fmla="*/ 12 w 112"/>
                <a:gd name="T15" fmla="*/ 12 h 22"/>
                <a:gd name="T16" fmla="*/ 0 60000 65536"/>
                <a:gd name="T17" fmla="*/ 0 60000 65536"/>
                <a:gd name="T18" fmla="*/ 0 60000 65536"/>
                <a:gd name="T19" fmla="*/ 0 60000 65536"/>
                <a:gd name="T20" fmla="*/ 0 60000 65536"/>
                <a:gd name="T21" fmla="*/ 0 60000 65536"/>
                <a:gd name="T22" fmla="*/ 0 60000 65536"/>
                <a:gd name="T23" fmla="*/ 0 60000 65536"/>
                <a:gd name="T24" fmla="*/ 0 w 112"/>
                <a:gd name="T25" fmla="*/ 0 h 22"/>
                <a:gd name="T26" fmla="*/ 112 w 112"/>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2" h="22">
                  <a:moveTo>
                    <a:pt x="12" y="12"/>
                  </a:moveTo>
                  <a:lnTo>
                    <a:pt x="0" y="0"/>
                  </a:lnTo>
                  <a:lnTo>
                    <a:pt x="12" y="0"/>
                  </a:lnTo>
                  <a:lnTo>
                    <a:pt x="54" y="0"/>
                  </a:lnTo>
                  <a:lnTo>
                    <a:pt x="112" y="12"/>
                  </a:lnTo>
                  <a:lnTo>
                    <a:pt x="97" y="22"/>
                  </a:lnTo>
                  <a:lnTo>
                    <a:pt x="54" y="22"/>
                  </a:lnTo>
                  <a:lnTo>
                    <a:pt x="12" y="12"/>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85" name="Freeform 984"/>
            <p:cNvSpPr>
              <a:spLocks/>
            </p:cNvSpPr>
            <p:nvPr/>
          </p:nvSpPr>
          <p:spPr bwMode="auto">
            <a:xfrm>
              <a:off x="5908131" y="2772680"/>
              <a:ext cx="54013" cy="21217"/>
            </a:xfrm>
            <a:custGeom>
              <a:avLst/>
              <a:gdLst>
                <a:gd name="T0" fmla="*/ 0 w 55"/>
                <a:gd name="T1" fmla="*/ 22 h 22"/>
                <a:gd name="T2" fmla="*/ 0 w 55"/>
                <a:gd name="T3" fmla="*/ 0 h 22"/>
                <a:gd name="T4" fmla="*/ 9 w 55"/>
                <a:gd name="T5" fmla="*/ 0 h 22"/>
                <a:gd name="T6" fmla="*/ 43 w 55"/>
                <a:gd name="T7" fmla="*/ 13 h 22"/>
                <a:gd name="T8" fmla="*/ 55 w 55"/>
                <a:gd name="T9" fmla="*/ 22 h 22"/>
                <a:gd name="T10" fmla="*/ 0 w 55"/>
                <a:gd name="T11" fmla="*/ 22 h 22"/>
                <a:gd name="T12" fmla="*/ 0 60000 65536"/>
                <a:gd name="T13" fmla="*/ 0 60000 65536"/>
                <a:gd name="T14" fmla="*/ 0 60000 65536"/>
                <a:gd name="T15" fmla="*/ 0 60000 65536"/>
                <a:gd name="T16" fmla="*/ 0 60000 65536"/>
                <a:gd name="T17" fmla="*/ 0 60000 65536"/>
                <a:gd name="T18" fmla="*/ 0 w 55"/>
                <a:gd name="T19" fmla="*/ 0 h 22"/>
                <a:gd name="T20" fmla="*/ 55 w 5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55" h="22">
                  <a:moveTo>
                    <a:pt x="0" y="22"/>
                  </a:moveTo>
                  <a:lnTo>
                    <a:pt x="0" y="0"/>
                  </a:lnTo>
                  <a:lnTo>
                    <a:pt x="9" y="0"/>
                  </a:lnTo>
                  <a:lnTo>
                    <a:pt x="43" y="13"/>
                  </a:lnTo>
                  <a:lnTo>
                    <a:pt x="55" y="22"/>
                  </a:lnTo>
                  <a:lnTo>
                    <a:pt x="0" y="22"/>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86" name="Freeform 985"/>
            <p:cNvSpPr>
              <a:spLocks/>
            </p:cNvSpPr>
            <p:nvPr/>
          </p:nvSpPr>
          <p:spPr bwMode="auto">
            <a:xfrm>
              <a:off x="5777600" y="2748568"/>
              <a:ext cx="117929" cy="36648"/>
            </a:xfrm>
            <a:custGeom>
              <a:avLst/>
              <a:gdLst>
                <a:gd name="T0" fmla="*/ 0 w 119"/>
                <a:gd name="T1" fmla="*/ 15 h 37"/>
                <a:gd name="T2" fmla="*/ 10 w 119"/>
                <a:gd name="T3" fmla="*/ 15 h 37"/>
                <a:gd name="T4" fmla="*/ 10 w 119"/>
                <a:gd name="T5" fmla="*/ 0 h 37"/>
                <a:gd name="T6" fmla="*/ 31 w 119"/>
                <a:gd name="T7" fmla="*/ 0 h 37"/>
                <a:gd name="T8" fmla="*/ 107 w 119"/>
                <a:gd name="T9" fmla="*/ 24 h 37"/>
                <a:gd name="T10" fmla="*/ 119 w 119"/>
                <a:gd name="T11" fmla="*/ 37 h 37"/>
                <a:gd name="T12" fmla="*/ 55 w 119"/>
                <a:gd name="T13" fmla="*/ 37 h 37"/>
                <a:gd name="T14" fmla="*/ 0 w 119"/>
                <a:gd name="T15" fmla="*/ 15 h 37"/>
                <a:gd name="T16" fmla="*/ 0 60000 65536"/>
                <a:gd name="T17" fmla="*/ 0 60000 65536"/>
                <a:gd name="T18" fmla="*/ 0 60000 65536"/>
                <a:gd name="T19" fmla="*/ 0 60000 65536"/>
                <a:gd name="T20" fmla="*/ 0 60000 65536"/>
                <a:gd name="T21" fmla="*/ 0 60000 65536"/>
                <a:gd name="T22" fmla="*/ 0 60000 65536"/>
                <a:gd name="T23" fmla="*/ 0 60000 65536"/>
                <a:gd name="T24" fmla="*/ 0 w 119"/>
                <a:gd name="T25" fmla="*/ 0 h 37"/>
                <a:gd name="T26" fmla="*/ 119 w 119"/>
                <a:gd name="T27" fmla="*/ 37 h 3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9" h="37">
                  <a:moveTo>
                    <a:pt x="0" y="15"/>
                  </a:moveTo>
                  <a:lnTo>
                    <a:pt x="10" y="15"/>
                  </a:lnTo>
                  <a:lnTo>
                    <a:pt x="10" y="0"/>
                  </a:lnTo>
                  <a:lnTo>
                    <a:pt x="31" y="0"/>
                  </a:lnTo>
                  <a:lnTo>
                    <a:pt x="107" y="24"/>
                  </a:lnTo>
                  <a:lnTo>
                    <a:pt x="119" y="37"/>
                  </a:lnTo>
                  <a:lnTo>
                    <a:pt x="55" y="37"/>
                  </a:lnTo>
                  <a:lnTo>
                    <a:pt x="0" y="15"/>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87" name="Freeform 986"/>
            <p:cNvSpPr>
              <a:spLocks/>
            </p:cNvSpPr>
            <p:nvPr/>
          </p:nvSpPr>
          <p:spPr bwMode="auto">
            <a:xfrm>
              <a:off x="5386905" y="2814150"/>
              <a:ext cx="185444" cy="99337"/>
            </a:xfrm>
            <a:custGeom>
              <a:avLst/>
              <a:gdLst>
                <a:gd name="T0" fmla="*/ 12 w 188"/>
                <a:gd name="T1" fmla="*/ 88 h 101"/>
                <a:gd name="T2" fmla="*/ 0 w 188"/>
                <a:gd name="T3" fmla="*/ 76 h 101"/>
                <a:gd name="T4" fmla="*/ 21 w 188"/>
                <a:gd name="T5" fmla="*/ 64 h 101"/>
                <a:gd name="T6" fmla="*/ 12 w 188"/>
                <a:gd name="T7" fmla="*/ 64 h 101"/>
                <a:gd name="T8" fmla="*/ 36 w 188"/>
                <a:gd name="T9" fmla="*/ 55 h 101"/>
                <a:gd name="T10" fmla="*/ 21 w 188"/>
                <a:gd name="T11" fmla="*/ 43 h 101"/>
                <a:gd name="T12" fmla="*/ 36 w 188"/>
                <a:gd name="T13" fmla="*/ 43 h 101"/>
                <a:gd name="T14" fmla="*/ 36 w 188"/>
                <a:gd name="T15" fmla="*/ 24 h 101"/>
                <a:gd name="T16" fmla="*/ 88 w 188"/>
                <a:gd name="T17" fmla="*/ 12 h 101"/>
                <a:gd name="T18" fmla="*/ 143 w 188"/>
                <a:gd name="T19" fmla="*/ 0 h 101"/>
                <a:gd name="T20" fmla="*/ 164 w 188"/>
                <a:gd name="T21" fmla="*/ 0 h 101"/>
                <a:gd name="T22" fmla="*/ 176 w 188"/>
                <a:gd name="T23" fmla="*/ 0 h 101"/>
                <a:gd name="T24" fmla="*/ 188 w 188"/>
                <a:gd name="T25" fmla="*/ 12 h 101"/>
                <a:gd name="T26" fmla="*/ 97 w 188"/>
                <a:gd name="T27" fmla="*/ 24 h 101"/>
                <a:gd name="T28" fmla="*/ 57 w 188"/>
                <a:gd name="T29" fmla="*/ 64 h 101"/>
                <a:gd name="T30" fmla="*/ 67 w 188"/>
                <a:gd name="T31" fmla="*/ 88 h 101"/>
                <a:gd name="T32" fmla="*/ 88 w 188"/>
                <a:gd name="T33" fmla="*/ 101 h 101"/>
                <a:gd name="T34" fmla="*/ 45 w 188"/>
                <a:gd name="T35" fmla="*/ 101 h 101"/>
                <a:gd name="T36" fmla="*/ 12 w 188"/>
                <a:gd name="T37" fmla="*/ 88 h 10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8"/>
                <a:gd name="T58" fmla="*/ 0 h 101"/>
                <a:gd name="T59" fmla="*/ 188 w 188"/>
                <a:gd name="T60" fmla="*/ 101 h 10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8" h="101">
                  <a:moveTo>
                    <a:pt x="12" y="88"/>
                  </a:moveTo>
                  <a:lnTo>
                    <a:pt x="0" y="76"/>
                  </a:lnTo>
                  <a:lnTo>
                    <a:pt x="21" y="64"/>
                  </a:lnTo>
                  <a:lnTo>
                    <a:pt x="12" y="64"/>
                  </a:lnTo>
                  <a:lnTo>
                    <a:pt x="36" y="55"/>
                  </a:lnTo>
                  <a:lnTo>
                    <a:pt x="21" y="43"/>
                  </a:lnTo>
                  <a:lnTo>
                    <a:pt x="36" y="43"/>
                  </a:lnTo>
                  <a:lnTo>
                    <a:pt x="36" y="24"/>
                  </a:lnTo>
                  <a:lnTo>
                    <a:pt x="88" y="12"/>
                  </a:lnTo>
                  <a:lnTo>
                    <a:pt x="143" y="0"/>
                  </a:lnTo>
                  <a:lnTo>
                    <a:pt x="164" y="0"/>
                  </a:lnTo>
                  <a:lnTo>
                    <a:pt x="176" y="0"/>
                  </a:lnTo>
                  <a:lnTo>
                    <a:pt x="188" y="12"/>
                  </a:lnTo>
                  <a:lnTo>
                    <a:pt x="97" y="24"/>
                  </a:lnTo>
                  <a:lnTo>
                    <a:pt x="57" y="64"/>
                  </a:lnTo>
                  <a:lnTo>
                    <a:pt x="67" y="88"/>
                  </a:lnTo>
                  <a:lnTo>
                    <a:pt x="88" y="101"/>
                  </a:lnTo>
                  <a:lnTo>
                    <a:pt x="45" y="101"/>
                  </a:lnTo>
                  <a:lnTo>
                    <a:pt x="12" y="88"/>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88" name="Freeform 987"/>
            <p:cNvSpPr>
              <a:spLocks/>
            </p:cNvSpPr>
            <p:nvPr/>
          </p:nvSpPr>
          <p:spPr bwMode="auto">
            <a:xfrm>
              <a:off x="5386905" y="2748568"/>
              <a:ext cx="86421" cy="15431"/>
            </a:xfrm>
            <a:custGeom>
              <a:avLst/>
              <a:gdLst>
                <a:gd name="T0" fmla="*/ 0 w 88"/>
                <a:gd name="T1" fmla="*/ 15 h 15"/>
                <a:gd name="T2" fmla="*/ 76 w 88"/>
                <a:gd name="T3" fmla="*/ 0 h 15"/>
                <a:gd name="T4" fmla="*/ 88 w 88"/>
                <a:gd name="T5" fmla="*/ 0 h 15"/>
                <a:gd name="T6" fmla="*/ 57 w 88"/>
                <a:gd name="T7" fmla="*/ 0 h 15"/>
                <a:gd name="T8" fmla="*/ 67 w 88"/>
                <a:gd name="T9" fmla="*/ 15 h 15"/>
                <a:gd name="T10" fmla="*/ 57 w 88"/>
                <a:gd name="T11" fmla="*/ 15 h 15"/>
                <a:gd name="T12" fmla="*/ 0 w 88"/>
                <a:gd name="T13" fmla="*/ 15 h 15"/>
                <a:gd name="T14" fmla="*/ 0 60000 65536"/>
                <a:gd name="T15" fmla="*/ 0 60000 65536"/>
                <a:gd name="T16" fmla="*/ 0 60000 65536"/>
                <a:gd name="T17" fmla="*/ 0 60000 65536"/>
                <a:gd name="T18" fmla="*/ 0 60000 65536"/>
                <a:gd name="T19" fmla="*/ 0 60000 65536"/>
                <a:gd name="T20" fmla="*/ 0 60000 65536"/>
                <a:gd name="T21" fmla="*/ 0 w 88"/>
                <a:gd name="T22" fmla="*/ 0 h 15"/>
                <a:gd name="T23" fmla="*/ 88 w 88"/>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8" h="15">
                  <a:moveTo>
                    <a:pt x="0" y="15"/>
                  </a:moveTo>
                  <a:lnTo>
                    <a:pt x="76" y="0"/>
                  </a:lnTo>
                  <a:lnTo>
                    <a:pt x="88" y="0"/>
                  </a:lnTo>
                  <a:lnTo>
                    <a:pt x="57" y="0"/>
                  </a:lnTo>
                  <a:lnTo>
                    <a:pt x="67" y="15"/>
                  </a:lnTo>
                  <a:lnTo>
                    <a:pt x="57" y="15"/>
                  </a:lnTo>
                  <a:lnTo>
                    <a:pt x="0" y="15"/>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89" name="Freeform 988"/>
            <p:cNvSpPr>
              <a:spLocks/>
            </p:cNvSpPr>
            <p:nvPr/>
          </p:nvSpPr>
          <p:spPr bwMode="auto">
            <a:xfrm>
              <a:off x="5355398" y="2739890"/>
              <a:ext cx="52212" cy="8680"/>
            </a:xfrm>
            <a:custGeom>
              <a:avLst/>
              <a:gdLst>
                <a:gd name="T0" fmla="*/ 0 w 52"/>
                <a:gd name="T1" fmla="*/ 9 h 9"/>
                <a:gd name="T2" fmla="*/ 21 w 52"/>
                <a:gd name="T3" fmla="*/ 9 h 9"/>
                <a:gd name="T4" fmla="*/ 43 w 52"/>
                <a:gd name="T5" fmla="*/ 0 h 9"/>
                <a:gd name="T6" fmla="*/ 43 w 52"/>
                <a:gd name="T7" fmla="*/ 9 h 9"/>
                <a:gd name="T8" fmla="*/ 52 w 52"/>
                <a:gd name="T9" fmla="*/ 9 h 9"/>
                <a:gd name="T10" fmla="*/ 0 w 52"/>
                <a:gd name="T11" fmla="*/ 9 h 9"/>
                <a:gd name="T12" fmla="*/ 0 60000 65536"/>
                <a:gd name="T13" fmla="*/ 0 60000 65536"/>
                <a:gd name="T14" fmla="*/ 0 60000 65536"/>
                <a:gd name="T15" fmla="*/ 0 60000 65536"/>
                <a:gd name="T16" fmla="*/ 0 60000 65536"/>
                <a:gd name="T17" fmla="*/ 0 60000 65536"/>
                <a:gd name="T18" fmla="*/ 0 w 52"/>
                <a:gd name="T19" fmla="*/ 0 h 9"/>
                <a:gd name="T20" fmla="*/ 52 w 52"/>
                <a:gd name="T21" fmla="*/ 9 h 9"/>
              </a:gdLst>
              <a:ahLst/>
              <a:cxnLst>
                <a:cxn ang="T12">
                  <a:pos x="T0" y="T1"/>
                </a:cxn>
                <a:cxn ang="T13">
                  <a:pos x="T2" y="T3"/>
                </a:cxn>
                <a:cxn ang="T14">
                  <a:pos x="T4" y="T5"/>
                </a:cxn>
                <a:cxn ang="T15">
                  <a:pos x="T6" y="T7"/>
                </a:cxn>
                <a:cxn ang="T16">
                  <a:pos x="T8" y="T9"/>
                </a:cxn>
                <a:cxn ang="T17">
                  <a:pos x="T10" y="T11"/>
                </a:cxn>
              </a:cxnLst>
              <a:rect l="T18" t="T19" r="T20" b="T21"/>
              <a:pathLst>
                <a:path w="52" h="9">
                  <a:moveTo>
                    <a:pt x="0" y="9"/>
                  </a:moveTo>
                  <a:lnTo>
                    <a:pt x="21" y="9"/>
                  </a:lnTo>
                  <a:lnTo>
                    <a:pt x="43" y="0"/>
                  </a:lnTo>
                  <a:lnTo>
                    <a:pt x="43" y="9"/>
                  </a:lnTo>
                  <a:lnTo>
                    <a:pt x="52" y="9"/>
                  </a:lnTo>
                  <a:lnTo>
                    <a:pt x="0" y="9"/>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90" name="Freeform 989"/>
            <p:cNvSpPr>
              <a:spLocks/>
            </p:cNvSpPr>
            <p:nvPr/>
          </p:nvSpPr>
          <p:spPr bwMode="auto">
            <a:xfrm>
              <a:off x="5246471" y="2748569"/>
              <a:ext cx="77419" cy="15431"/>
            </a:xfrm>
            <a:custGeom>
              <a:avLst/>
              <a:gdLst>
                <a:gd name="T0" fmla="*/ 0 w 77"/>
                <a:gd name="T1" fmla="*/ 15 h 15"/>
                <a:gd name="T2" fmla="*/ 31 w 77"/>
                <a:gd name="T3" fmla="*/ 0 h 15"/>
                <a:gd name="T4" fmla="*/ 85 w 77"/>
                <a:gd name="T5" fmla="*/ 15 h 15"/>
                <a:gd name="T6" fmla="*/ 72 w 77"/>
                <a:gd name="T7" fmla="*/ 15 h 15"/>
                <a:gd name="T8" fmla="*/ 63 w 77"/>
                <a:gd name="T9" fmla="*/ 15 h 15"/>
                <a:gd name="T10" fmla="*/ 0 w 77"/>
                <a:gd name="T11" fmla="*/ 15 h 15"/>
                <a:gd name="T12" fmla="*/ 0 60000 65536"/>
                <a:gd name="T13" fmla="*/ 0 60000 65536"/>
                <a:gd name="T14" fmla="*/ 0 60000 65536"/>
                <a:gd name="T15" fmla="*/ 0 60000 65536"/>
                <a:gd name="T16" fmla="*/ 0 60000 65536"/>
                <a:gd name="T17" fmla="*/ 0 60000 65536"/>
                <a:gd name="T18" fmla="*/ 0 w 77"/>
                <a:gd name="T19" fmla="*/ 0 h 15"/>
                <a:gd name="T20" fmla="*/ 77 w 7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77" h="15">
                  <a:moveTo>
                    <a:pt x="0" y="15"/>
                  </a:moveTo>
                  <a:lnTo>
                    <a:pt x="31" y="0"/>
                  </a:lnTo>
                  <a:lnTo>
                    <a:pt x="77" y="15"/>
                  </a:lnTo>
                  <a:lnTo>
                    <a:pt x="64" y="15"/>
                  </a:lnTo>
                  <a:lnTo>
                    <a:pt x="55" y="15"/>
                  </a:lnTo>
                  <a:lnTo>
                    <a:pt x="0" y="15"/>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91" name="Freeform 990"/>
            <p:cNvSpPr>
              <a:spLocks/>
            </p:cNvSpPr>
            <p:nvPr/>
          </p:nvSpPr>
          <p:spPr bwMode="auto">
            <a:xfrm>
              <a:off x="4879181" y="2764000"/>
              <a:ext cx="184545" cy="50151"/>
            </a:xfrm>
            <a:custGeom>
              <a:avLst/>
              <a:gdLst>
                <a:gd name="T0" fmla="*/ 0 w 186"/>
                <a:gd name="T1" fmla="*/ 9 h 52"/>
                <a:gd name="T2" fmla="*/ 52 w 186"/>
                <a:gd name="T3" fmla="*/ 9 h 52"/>
                <a:gd name="T4" fmla="*/ 97 w 186"/>
                <a:gd name="T5" fmla="*/ 0 h 52"/>
                <a:gd name="T6" fmla="*/ 173 w 186"/>
                <a:gd name="T7" fmla="*/ 0 h 52"/>
                <a:gd name="T8" fmla="*/ 186 w 186"/>
                <a:gd name="T9" fmla="*/ 9 h 52"/>
                <a:gd name="T10" fmla="*/ 143 w 186"/>
                <a:gd name="T11" fmla="*/ 22 h 52"/>
                <a:gd name="T12" fmla="*/ 88 w 186"/>
                <a:gd name="T13" fmla="*/ 9 h 52"/>
                <a:gd name="T14" fmla="*/ 88 w 186"/>
                <a:gd name="T15" fmla="*/ 22 h 52"/>
                <a:gd name="T16" fmla="*/ 164 w 186"/>
                <a:gd name="T17" fmla="*/ 40 h 52"/>
                <a:gd name="T18" fmla="*/ 106 w 186"/>
                <a:gd name="T19" fmla="*/ 40 h 52"/>
                <a:gd name="T20" fmla="*/ 106 w 186"/>
                <a:gd name="T21" fmla="*/ 31 h 52"/>
                <a:gd name="T22" fmla="*/ 88 w 186"/>
                <a:gd name="T23" fmla="*/ 31 h 52"/>
                <a:gd name="T24" fmla="*/ 64 w 186"/>
                <a:gd name="T25" fmla="*/ 52 h 52"/>
                <a:gd name="T26" fmla="*/ 30 w 186"/>
                <a:gd name="T27" fmla="*/ 40 h 52"/>
                <a:gd name="T28" fmla="*/ 30 w 186"/>
                <a:gd name="T29" fmla="*/ 31 h 52"/>
                <a:gd name="T30" fmla="*/ 21 w 186"/>
                <a:gd name="T31" fmla="*/ 31 h 52"/>
                <a:gd name="T32" fmla="*/ 12 w 186"/>
                <a:gd name="T33" fmla="*/ 22 h 52"/>
                <a:gd name="T34" fmla="*/ 0 w 186"/>
                <a:gd name="T35" fmla="*/ 9 h 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6"/>
                <a:gd name="T55" fmla="*/ 0 h 52"/>
                <a:gd name="T56" fmla="*/ 186 w 186"/>
                <a:gd name="T57" fmla="*/ 52 h 5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6" h="52">
                  <a:moveTo>
                    <a:pt x="0" y="9"/>
                  </a:moveTo>
                  <a:lnTo>
                    <a:pt x="52" y="9"/>
                  </a:lnTo>
                  <a:lnTo>
                    <a:pt x="97" y="0"/>
                  </a:lnTo>
                  <a:lnTo>
                    <a:pt x="173" y="0"/>
                  </a:lnTo>
                  <a:lnTo>
                    <a:pt x="186" y="9"/>
                  </a:lnTo>
                  <a:lnTo>
                    <a:pt x="143" y="22"/>
                  </a:lnTo>
                  <a:lnTo>
                    <a:pt x="88" y="9"/>
                  </a:lnTo>
                  <a:lnTo>
                    <a:pt x="88" y="22"/>
                  </a:lnTo>
                  <a:lnTo>
                    <a:pt x="164" y="40"/>
                  </a:lnTo>
                  <a:lnTo>
                    <a:pt x="106" y="40"/>
                  </a:lnTo>
                  <a:lnTo>
                    <a:pt x="106" y="31"/>
                  </a:lnTo>
                  <a:lnTo>
                    <a:pt x="88" y="31"/>
                  </a:lnTo>
                  <a:lnTo>
                    <a:pt x="64" y="52"/>
                  </a:lnTo>
                  <a:lnTo>
                    <a:pt x="30" y="40"/>
                  </a:lnTo>
                  <a:lnTo>
                    <a:pt x="30" y="31"/>
                  </a:lnTo>
                  <a:lnTo>
                    <a:pt x="21" y="31"/>
                  </a:lnTo>
                  <a:lnTo>
                    <a:pt x="12" y="22"/>
                  </a:lnTo>
                  <a:lnTo>
                    <a:pt x="0" y="9"/>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92" name="Freeform 991"/>
            <p:cNvSpPr>
              <a:spLocks/>
            </p:cNvSpPr>
            <p:nvPr/>
          </p:nvSpPr>
          <p:spPr bwMode="auto">
            <a:xfrm>
              <a:off x="4619919" y="3124698"/>
              <a:ext cx="117929" cy="158167"/>
            </a:xfrm>
            <a:custGeom>
              <a:avLst/>
              <a:gdLst>
                <a:gd name="T0" fmla="*/ 0 w 119"/>
                <a:gd name="T1" fmla="*/ 161 h 161"/>
                <a:gd name="T2" fmla="*/ 21 w 119"/>
                <a:gd name="T3" fmla="*/ 140 h 161"/>
                <a:gd name="T4" fmla="*/ 43 w 119"/>
                <a:gd name="T5" fmla="*/ 140 h 161"/>
                <a:gd name="T6" fmla="*/ 30 w 119"/>
                <a:gd name="T7" fmla="*/ 140 h 161"/>
                <a:gd name="T8" fmla="*/ 9 w 119"/>
                <a:gd name="T9" fmla="*/ 140 h 161"/>
                <a:gd name="T10" fmla="*/ 9 w 119"/>
                <a:gd name="T11" fmla="*/ 131 h 161"/>
                <a:gd name="T12" fmla="*/ 21 w 119"/>
                <a:gd name="T13" fmla="*/ 115 h 161"/>
                <a:gd name="T14" fmla="*/ 21 w 119"/>
                <a:gd name="T15" fmla="*/ 106 h 161"/>
                <a:gd name="T16" fmla="*/ 43 w 119"/>
                <a:gd name="T17" fmla="*/ 106 h 161"/>
                <a:gd name="T18" fmla="*/ 52 w 119"/>
                <a:gd name="T19" fmla="*/ 85 h 161"/>
                <a:gd name="T20" fmla="*/ 30 w 119"/>
                <a:gd name="T21" fmla="*/ 76 h 161"/>
                <a:gd name="T22" fmla="*/ 43 w 119"/>
                <a:gd name="T23" fmla="*/ 76 h 161"/>
                <a:gd name="T24" fmla="*/ 21 w 119"/>
                <a:gd name="T25" fmla="*/ 76 h 161"/>
                <a:gd name="T26" fmla="*/ 9 w 119"/>
                <a:gd name="T27" fmla="*/ 76 h 161"/>
                <a:gd name="T28" fmla="*/ 21 w 119"/>
                <a:gd name="T29" fmla="*/ 64 h 161"/>
                <a:gd name="T30" fmla="*/ 21 w 119"/>
                <a:gd name="T31" fmla="*/ 55 h 161"/>
                <a:gd name="T32" fmla="*/ 9 w 119"/>
                <a:gd name="T33" fmla="*/ 64 h 161"/>
                <a:gd name="T34" fmla="*/ 9 w 119"/>
                <a:gd name="T35" fmla="*/ 55 h 161"/>
                <a:gd name="T36" fmla="*/ 0 w 119"/>
                <a:gd name="T37" fmla="*/ 55 h 161"/>
                <a:gd name="T38" fmla="*/ 9 w 119"/>
                <a:gd name="T39" fmla="*/ 55 h 161"/>
                <a:gd name="T40" fmla="*/ 9 w 119"/>
                <a:gd name="T41" fmla="*/ 39 h 161"/>
                <a:gd name="T42" fmla="*/ 0 w 119"/>
                <a:gd name="T43" fmla="*/ 39 h 161"/>
                <a:gd name="T44" fmla="*/ 9 w 119"/>
                <a:gd name="T45" fmla="*/ 30 h 161"/>
                <a:gd name="T46" fmla="*/ 9 w 119"/>
                <a:gd name="T47" fmla="*/ 18 h 161"/>
                <a:gd name="T48" fmla="*/ 21 w 119"/>
                <a:gd name="T49" fmla="*/ 0 h 161"/>
                <a:gd name="T50" fmla="*/ 52 w 119"/>
                <a:gd name="T51" fmla="*/ 0 h 161"/>
                <a:gd name="T52" fmla="*/ 52 w 119"/>
                <a:gd name="T53" fmla="*/ 9 h 161"/>
                <a:gd name="T54" fmla="*/ 30 w 119"/>
                <a:gd name="T55" fmla="*/ 18 h 161"/>
                <a:gd name="T56" fmla="*/ 64 w 119"/>
                <a:gd name="T57" fmla="*/ 18 h 161"/>
                <a:gd name="T58" fmla="*/ 43 w 119"/>
                <a:gd name="T59" fmla="*/ 55 h 161"/>
                <a:gd name="T60" fmla="*/ 64 w 119"/>
                <a:gd name="T61" fmla="*/ 55 h 161"/>
                <a:gd name="T62" fmla="*/ 76 w 119"/>
                <a:gd name="T63" fmla="*/ 76 h 161"/>
                <a:gd name="T64" fmla="*/ 85 w 119"/>
                <a:gd name="T65" fmla="*/ 85 h 161"/>
                <a:gd name="T66" fmla="*/ 97 w 119"/>
                <a:gd name="T67" fmla="*/ 106 h 161"/>
                <a:gd name="T68" fmla="*/ 85 w 119"/>
                <a:gd name="T69" fmla="*/ 106 h 161"/>
                <a:gd name="T70" fmla="*/ 107 w 119"/>
                <a:gd name="T71" fmla="*/ 106 h 161"/>
                <a:gd name="T72" fmla="*/ 119 w 119"/>
                <a:gd name="T73" fmla="*/ 115 h 161"/>
                <a:gd name="T74" fmla="*/ 97 w 119"/>
                <a:gd name="T75" fmla="*/ 140 h 161"/>
                <a:gd name="T76" fmla="*/ 107 w 119"/>
                <a:gd name="T77" fmla="*/ 140 h 161"/>
                <a:gd name="T78" fmla="*/ 97 w 119"/>
                <a:gd name="T79" fmla="*/ 149 h 161"/>
                <a:gd name="T80" fmla="*/ 52 w 119"/>
                <a:gd name="T81" fmla="*/ 161 h 161"/>
                <a:gd name="T82" fmla="*/ 43 w 119"/>
                <a:gd name="T83" fmla="*/ 149 h 161"/>
                <a:gd name="T84" fmla="*/ 30 w 119"/>
                <a:gd name="T85" fmla="*/ 161 h 161"/>
                <a:gd name="T86" fmla="*/ 9 w 119"/>
                <a:gd name="T87" fmla="*/ 161 h 161"/>
                <a:gd name="T88" fmla="*/ 0 w 119"/>
                <a:gd name="T89" fmla="*/ 161 h 16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19"/>
                <a:gd name="T136" fmla="*/ 0 h 161"/>
                <a:gd name="T137" fmla="*/ 119 w 119"/>
                <a:gd name="T138" fmla="*/ 161 h 16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19" h="161">
                  <a:moveTo>
                    <a:pt x="0" y="161"/>
                  </a:moveTo>
                  <a:lnTo>
                    <a:pt x="21" y="140"/>
                  </a:lnTo>
                  <a:lnTo>
                    <a:pt x="43" y="140"/>
                  </a:lnTo>
                  <a:lnTo>
                    <a:pt x="30" y="140"/>
                  </a:lnTo>
                  <a:lnTo>
                    <a:pt x="9" y="140"/>
                  </a:lnTo>
                  <a:lnTo>
                    <a:pt x="9" y="131"/>
                  </a:lnTo>
                  <a:lnTo>
                    <a:pt x="21" y="115"/>
                  </a:lnTo>
                  <a:lnTo>
                    <a:pt x="21" y="106"/>
                  </a:lnTo>
                  <a:lnTo>
                    <a:pt x="43" y="106"/>
                  </a:lnTo>
                  <a:lnTo>
                    <a:pt x="52" y="85"/>
                  </a:lnTo>
                  <a:lnTo>
                    <a:pt x="30" y="76"/>
                  </a:lnTo>
                  <a:lnTo>
                    <a:pt x="43" y="76"/>
                  </a:lnTo>
                  <a:lnTo>
                    <a:pt x="21" y="76"/>
                  </a:lnTo>
                  <a:lnTo>
                    <a:pt x="9" y="76"/>
                  </a:lnTo>
                  <a:lnTo>
                    <a:pt x="21" y="64"/>
                  </a:lnTo>
                  <a:lnTo>
                    <a:pt x="21" y="55"/>
                  </a:lnTo>
                  <a:lnTo>
                    <a:pt x="9" y="64"/>
                  </a:lnTo>
                  <a:lnTo>
                    <a:pt x="9" y="55"/>
                  </a:lnTo>
                  <a:lnTo>
                    <a:pt x="0" y="55"/>
                  </a:lnTo>
                  <a:lnTo>
                    <a:pt x="9" y="55"/>
                  </a:lnTo>
                  <a:lnTo>
                    <a:pt x="9" y="39"/>
                  </a:lnTo>
                  <a:lnTo>
                    <a:pt x="0" y="39"/>
                  </a:lnTo>
                  <a:lnTo>
                    <a:pt x="9" y="30"/>
                  </a:lnTo>
                  <a:lnTo>
                    <a:pt x="9" y="18"/>
                  </a:lnTo>
                  <a:lnTo>
                    <a:pt x="21" y="0"/>
                  </a:lnTo>
                  <a:lnTo>
                    <a:pt x="52" y="0"/>
                  </a:lnTo>
                  <a:lnTo>
                    <a:pt x="52" y="9"/>
                  </a:lnTo>
                  <a:lnTo>
                    <a:pt x="30" y="18"/>
                  </a:lnTo>
                  <a:lnTo>
                    <a:pt x="64" y="18"/>
                  </a:lnTo>
                  <a:lnTo>
                    <a:pt x="43" y="55"/>
                  </a:lnTo>
                  <a:lnTo>
                    <a:pt x="64" y="55"/>
                  </a:lnTo>
                  <a:lnTo>
                    <a:pt x="76" y="76"/>
                  </a:lnTo>
                  <a:lnTo>
                    <a:pt x="85" y="85"/>
                  </a:lnTo>
                  <a:lnTo>
                    <a:pt x="97" y="106"/>
                  </a:lnTo>
                  <a:lnTo>
                    <a:pt x="85" y="106"/>
                  </a:lnTo>
                  <a:lnTo>
                    <a:pt x="107" y="106"/>
                  </a:lnTo>
                  <a:lnTo>
                    <a:pt x="119" y="115"/>
                  </a:lnTo>
                  <a:lnTo>
                    <a:pt x="97" y="140"/>
                  </a:lnTo>
                  <a:lnTo>
                    <a:pt x="107" y="140"/>
                  </a:lnTo>
                  <a:lnTo>
                    <a:pt x="97" y="149"/>
                  </a:lnTo>
                  <a:lnTo>
                    <a:pt x="52" y="161"/>
                  </a:lnTo>
                  <a:lnTo>
                    <a:pt x="43" y="149"/>
                  </a:lnTo>
                  <a:lnTo>
                    <a:pt x="30" y="161"/>
                  </a:lnTo>
                  <a:lnTo>
                    <a:pt x="9" y="161"/>
                  </a:lnTo>
                  <a:lnTo>
                    <a:pt x="0" y="161"/>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93" name="Freeform 992"/>
            <p:cNvSpPr>
              <a:spLocks/>
            </p:cNvSpPr>
            <p:nvPr/>
          </p:nvSpPr>
          <p:spPr bwMode="auto">
            <a:xfrm>
              <a:off x="4834171" y="3428494"/>
              <a:ext cx="11703" cy="36648"/>
            </a:xfrm>
            <a:custGeom>
              <a:avLst/>
              <a:gdLst>
                <a:gd name="T0" fmla="*/ 0 w 12"/>
                <a:gd name="T1" fmla="*/ 0 h 37"/>
                <a:gd name="T2" fmla="*/ 6 w 12"/>
                <a:gd name="T3" fmla="*/ 0 h 37"/>
                <a:gd name="T4" fmla="*/ 6 w 12"/>
                <a:gd name="T5" fmla="*/ 37 h 37"/>
                <a:gd name="T6" fmla="*/ 0 w 12"/>
                <a:gd name="T7" fmla="*/ 25 h 37"/>
                <a:gd name="T8" fmla="*/ 0 w 12"/>
                <a:gd name="T9" fmla="*/ 0 h 37"/>
                <a:gd name="T10" fmla="*/ 0 60000 65536"/>
                <a:gd name="T11" fmla="*/ 0 60000 65536"/>
                <a:gd name="T12" fmla="*/ 0 60000 65536"/>
                <a:gd name="T13" fmla="*/ 0 60000 65536"/>
                <a:gd name="T14" fmla="*/ 0 60000 65536"/>
                <a:gd name="T15" fmla="*/ 0 w 12"/>
                <a:gd name="T16" fmla="*/ 0 h 37"/>
                <a:gd name="T17" fmla="*/ 12 w 12"/>
                <a:gd name="T18" fmla="*/ 37 h 37"/>
              </a:gdLst>
              <a:ahLst/>
              <a:cxnLst>
                <a:cxn ang="T10">
                  <a:pos x="T0" y="T1"/>
                </a:cxn>
                <a:cxn ang="T11">
                  <a:pos x="T2" y="T3"/>
                </a:cxn>
                <a:cxn ang="T12">
                  <a:pos x="T4" y="T5"/>
                </a:cxn>
                <a:cxn ang="T13">
                  <a:pos x="T6" y="T7"/>
                </a:cxn>
                <a:cxn ang="T14">
                  <a:pos x="T8" y="T9"/>
                </a:cxn>
              </a:cxnLst>
              <a:rect l="T15" t="T16" r="T17" b="T18"/>
              <a:pathLst>
                <a:path w="12" h="37">
                  <a:moveTo>
                    <a:pt x="0" y="0"/>
                  </a:moveTo>
                  <a:lnTo>
                    <a:pt x="12" y="0"/>
                  </a:lnTo>
                  <a:lnTo>
                    <a:pt x="12" y="37"/>
                  </a:lnTo>
                  <a:lnTo>
                    <a:pt x="0" y="25"/>
                  </a:lnTo>
                  <a:lnTo>
                    <a:pt x="0"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94" name="Freeform 993"/>
            <p:cNvSpPr>
              <a:spLocks/>
            </p:cNvSpPr>
            <p:nvPr/>
          </p:nvSpPr>
          <p:spPr bwMode="auto">
            <a:xfrm>
              <a:off x="4824269" y="3465143"/>
              <a:ext cx="31507" cy="37613"/>
            </a:xfrm>
            <a:custGeom>
              <a:avLst/>
              <a:gdLst>
                <a:gd name="T0" fmla="*/ 0 w 31"/>
                <a:gd name="T1" fmla="*/ 0 h 39"/>
                <a:gd name="T2" fmla="*/ 21 w 31"/>
                <a:gd name="T3" fmla="*/ 0 h 39"/>
                <a:gd name="T4" fmla="*/ 31 w 31"/>
                <a:gd name="T5" fmla="*/ 9 h 39"/>
                <a:gd name="T6" fmla="*/ 31 w 31"/>
                <a:gd name="T7" fmla="*/ 39 h 39"/>
                <a:gd name="T8" fmla="*/ 9 w 31"/>
                <a:gd name="T9" fmla="*/ 39 h 39"/>
                <a:gd name="T10" fmla="*/ 0 w 31"/>
                <a:gd name="T11" fmla="*/ 0 h 39"/>
                <a:gd name="T12" fmla="*/ 0 60000 65536"/>
                <a:gd name="T13" fmla="*/ 0 60000 65536"/>
                <a:gd name="T14" fmla="*/ 0 60000 65536"/>
                <a:gd name="T15" fmla="*/ 0 60000 65536"/>
                <a:gd name="T16" fmla="*/ 0 60000 65536"/>
                <a:gd name="T17" fmla="*/ 0 60000 65536"/>
                <a:gd name="T18" fmla="*/ 0 w 31"/>
                <a:gd name="T19" fmla="*/ 0 h 39"/>
                <a:gd name="T20" fmla="*/ 31 w 31"/>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31" h="39">
                  <a:moveTo>
                    <a:pt x="0" y="0"/>
                  </a:moveTo>
                  <a:lnTo>
                    <a:pt x="21" y="0"/>
                  </a:lnTo>
                  <a:lnTo>
                    <a:pt x="31" y="9"/>
                  </a:lnTo>
                  <a:lnTo>
                    <a:pt x="31" y="39"/>
                  </a:lnTo>
                  <a:lnTo>
                    <a:pt x="9" y="39"/>
                  </a:lnTo>
                  <a:lnTo>
                    <a:pt x="0"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95" name="Freeform 994"/>
            <p:cNvSpPr>
              <a:spLocks/>
            </p:cNvSpPr>
            <p:nvPr/>
          </p:nvSpPr>
          <p:spPr bwMode="auto">
            <a:xfrm>
              <a:off x="4899886" y="3516258"/>
              <a:ext cx="54913" cy="31826"/>
            </a:xfrm>
            <a:custGeom>
              <a:avLst/>
              <a:gdLst>
                <a:gd name="T0" fmla="*/ 0 w 55"/>
                <a:gd name="T1" fmla="*/ 12 h 33"/>
                <a:gd name="T2" fmla="*/ 9 w 55"/>
                <a:gd name="T3" fmla="*/ 12 h 33"/>
                <a:gd name="T4" fmla="*/ 31 w 55"/>
                <a:gd name="T5" fmla="*/ 12 h 33"/>
                <a:gd name="T6" fmla="*/ 55 w 55"/>
                <a:gd name="T7" fmla="*/ 0 h 33"/>
                <a:gd name="T8" fmla="*/ 43 w 55"/>
                <a:gd name="T9" fmla="*/ 33 h 33"/>
                <a:gd name="T10" fmla="*/ 0 w 55"/>
                <a:gd name="T11" fmla="*/ 24 h 33"/>
                <a:gd name="T12" fmla="*/ 0 w 55"/>
                <a:gd name="T13" fmla="*/ 12 h 33"/>
                <a:gd name="T14" fmla="*/ 0 60000 65536"/>
                <a:gd name="T15" fmla="*/ 0 60000 65536"/>
                <a:gd name="T16" fmla="*/ 0 60000 65536"/>
                <a:gd name="T17" fmla="*/ 0 60000 65536"/>
                <a:gd name="T18" fmla="*/ 0 60000 65536"/>
                <a:gd name="T19" fmla="*/ 0 60000 65536"/>
                <a:gd name="T20" fmla="*/ 0 60000 65536"/>
                <a:gd name="T21" fmla="*/ 0 w 55"/>
                <a:gd name="T22" fmla="*/ 0 h 33"/>
                <a:gd name="T23" fmla="*/ 55 w 55"/>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33">
                  <a:moveTo>
                    <a:pt x="0" y="12"/>
                  </a:moveTo>
                  <a:lnTo>
                    <a:pt x="9" y="12"/>
                  </a:lnTo>
                  <a:lnTo>
                    <a:pt x="31" y="12"/>
                  </a:lnTo>
                  <a:lnTo>
                    <a:pt x="55" y="0"/>
                  </a:lnTo>
                  <a:lnTo>
                    <a:pt x="43" y="33"/>
                  </a:lnTo>
                  <a:lnTo>
                    <a:pt x="0" y="24"/>
                  </a:lnTo>
                  <a:lnTo>
                    <a:pt x="0" y="12"/>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96" name="Freeform 995"/>
            <p:cNvSpPr>
              <a:spLocks/>
            </p:cNvSpPr>
            <p:nvPr/>
          </p:nvSpPr>
          <p:spPr bwMode="auto">
            <a:xfrm>
              <a:off x="5050223" y="3516258"/>
              <a:ext cx="34208" cy="40506"/>
            </a:xfrm>
            <a:custGeom>
              <a:avLst/>
              <a:gdLst>
                <a:gd name="T0" fmla="*/ 0 w 34"/>
                <a:gd name="T1" fmla="*/ 12 h 42"/>
                <a:gd name="T2" fmla="*/ 13 w 34"/>
                <a:gd name="T3" fmla="*/ 0 h 42"/>
                <a:gd name="T4" fmla="*/ 22 w 34"/>
                <a:gd name="T5" fmla="*/ 12 h 42"/>
                <a:gd name="T6" fmla="*/ 34 w 34"/>
                <a:gd name="T7" fmla="*/ 24 h 42"/>
                <a:gd name="T8" fmla="*/ 22 w 34"/>
                <a:gd name="T9" fmla="*/ 24 h 42"/>
                <a:gd name="T10" fmla="*/ 34 w 34"/>
                <a:gd name="T11" fmla="*/ 42 h 42"/>
                <a:gd name="T12" fmla="*/ 22 w 34"/>
                <a:gd name="T13" fmla="*/ 33 h 42"/>
                <a:gd name="T14" fmla="*/ 22 w 34"/>
                <a:gd name="T15" fmla="*/ 42 h 42"/>
                <a:gd name="T16" fmla="*/ 13 w 34"/>
                <a:gd name="T17" fmla="*/ 33 h 42"/>
                <a:gd name="T18" fmla="*/ 0 w 34"/>
                <a:gd name="T19" fmla="*/ 24 h 42"/>
                <a:gd name="T20" fmla="*/ 0 w 34"/>
                <a:gd name="T21" fmla="*/ 12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42"/>
                <a:gd name="T35" fmla="*/ 34 w 34"/>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42">
                  <a:moveTo>
                    <a:pt x="0" y="12"/>
                  </a:moveTo>
                  <a:lnTo>
                    <a:pt x="13" y="0"/>
                  </a:lnTo>
                  <a:lnTo>
                    <a:pt x="22" y="12"/>
                  </a:lnTo>
                  <a:lnTo>
                    <a:pt x="34" y="24"/>
                  </a:lnTo>
                  <a:lnTo>
                    <a:pt x="22" y="24"/>
                  </a:lnTo>
                  <a:lnTo>
                    <a:pt x="34" y="42"/>
                  </a:lnTo>
                  <a:lnTo>
                    <a:pt x="22" y="33"/>
                  </a:lnTo>
                  <a:lnTo>
                    <a:pt x="22" y="42"/>
                  </a:lnTo>
                  <a:lnTo>
                    <a:pt x="13" y="33"/>
                  </a:lnTo>
                  <a:lnTo>
                    <a:pt x="0" y="24"/>
                  </a:lnTo>
                  <a:lnTo>
                    <a:pt x="0" y="12"/>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97" name="Freeform 996"/>
            <p:cNvSpPr>
              <a:spLocks/>
            </p:cNvSpPr>
            <p:nvPr/>
          </p:nvSpPr>
          <p:spPr bwMode="auto">
            <a:xfrm>
              <a:off x="5096135" y="3568337"/>
              <a:ext cx="42310" cy="25075"/>
            </a:xfrm>
            <a:custGeom>
              <a:avLst/>
              <a:gdLst>
                <a:gd name="T0" fmla="*/ 0 w 43"/>
                <a:gd name="T1" fmla="*/ 10 h 25"/>
                <a:gd name="T2" fmla="*/ 0 w 43"/>
                <a:gd name="T3" fmla="*/ 0 h 25"/>
                <a:gd name="T4" fmla="*/ 31 w 43"/>
                <a:gd name="T5" fmla="*/ 10 h 25"/>
                <a:gd name="T6" fmla="*/ 43 w 43"/>
                <a:gd name="T7" fmla="*/ 10 h 25"/>
                <a:gd name="T8" fmla="*/ 43 w 43"/>
                <a:gd name="T9" fmla="*/ 25 h 25"/>
                <a:gd name="T10" fmla="*/ 21 w 43"/>
                <a:gd name="T11" fmla="*/ 25 h 25"/>
                <a:gd name="T12" fmla="*/ 0 w 43"/>
                <a:gd name="T13" fmla="*/ 10 h 25"/>
                <a:gd name="T14" fmla="*/ 0 60000 65536"/>
                <a:gd name="T15" fmla="*/ 0 60000 65536"/>
                <a:gd name="T16" fmla="*/ 0 60000 65536"/>
                <a:gd name="T17" fmla="*/ 0 60000 65536"/>
                <a:gd name="T18" fmla="*/ 0 60000 65536"/>
                <a:gd name="T19" fmla="*/ 0 60000 65536"/>
                <a:gd name="T20" fmla="*/ 0 60000 65536"/>
                <a:gd name="T21" fmla="*/ 0 w 43"/>
                <a:gd name="T22" fmla="*/ 0 h 25"/>
                <a:gd name="T23" fmla="*/ 43 w 4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25">
                  <a:moveTo>
                    <a:pt x="0" y="10"/>
                  </a:moveTo>
                  <a:lnTo>
                    <a:pt x="0" y="0"/>
                  </a:lnTo>
                  <a:lnTo>
                    <a:pt x="31" y="10"/>
                  </a:lnTo>
                  <a:lnTo>
                    <a:pt x="43" y="10"/>
                  </a:lnTo>
                  <a:lnTo>
                    <a:pt x="43" y="25"/>
                  </a:lnTo>
                  <a:lnTo>
                    <a:pt x="21" y="25"/>
                  </a:lnTo>
                  <a:lnTo>
                    <a:pt x="0" y="1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98" name="Freeform 997"/>
            <p:cNvSpPr>
              <a:spLocks/>
            </p:cNvSpPr>
            <p:nvPr/>
          </p:nvSpPr>
          <p:spPr bwMode="auto">
            <a:xfrm>
              <a:off x="5234768" y="3568337"/>
              <a:ext cx="42310" cy="25075"/>
            </a:xfrm>
            <a:custGeom>
              <a:avLst/>
              <a:gdLst>
                <a:gd name="T0" fmla="*/ 0 w 43"/>
                <a:gd name="T1" fmla="*/ 25 h 25"/>
                <a:gd name="T2" fmla="*/ 43 w 43"/>
                <a:gd name="T3" fmla="*/ 0 h 25"/>
                <a:gd name="T4" fmla="*/ 34 w 43"/>
                <a:gd name="T5" fmla="*/ 10 h 25"/>
                <a:gd name="T6" fmla="*/ 34 w 43"/>
                <a:gd name="T7" fmla="*/ 25 h 25"/>
                <a:gd name="T8" fmla="*/ 22 w 43"/>
                <a:gd name="T9" fmla="*/ 25 h 25"/>
                <a:gd name="T10" fmla="*/ 12 w 43"/>
                <a:gd name="T11" fmla="*/ 25 h 25"/>
                <a:gd name="T12" fmla="*/ 0 w 43"/>
                <a:gd name="T13" fmla="*/ 25 h 25"/>
                <a:gd name="T14" fmla="*/ 0 60000 65536"/>
                <a:gd name="T15" fmla="*/ 0 60000 65536"/>
                <a:gd name="T16" fmla="*/ 0 60000 65536"/>
                <a:gd name="T17" fmla="*/ 0 60000 65536"/>
                <a:gd name="T18" fmla="*/ 0 60000 65536"/>
                <a:gd name="T19" fmla="*/ 0 60000 65536"/>
                <a:gd name="T20" fmla="*/ 0 60000 65536"/>
                <a:gd name="T21" fmla="*/ 0 w 43"/>
                <a:gd name="T22" fmla="*/ 0 h 25"/>
                <a:gd name="T23" fmla="*/ 43 w 4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25">
                  <a:moveTo>
                    <a:pt x="0" y="25"/>
                  </a:moveTo>
                  <a:lnTo>
                    <a:pt x="43" y="0"/>
                  </a:lnTo>
                  <a:lnTo>
                    <a:pt x="34" y="10"/>
                  </a:lnTo>
                  <a:lnTo>
                    <a:pt x="34" y="25"/>
                  </a:lnTo>
                  <a:lnTo>
                    <a:pt x="22" y="25"/>
                  </a:lnTo>
                  <a:lnTo>
                    <a:pt x="12" y="25"/>
                  </a:lnTo>
                  <a:lnTo>
                    <a:pt x="0" y="25"/>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999" name="Freeform 998"/>
            <p:cNvSpPr>
              <a:spLocks/>
            </p:cNvSpPr>
            <p:nvPr/>
          </p:nvSpPr>
          <p:spPr bwMode="auto">
            <a:xfrm>
              <a:off x="6666115" y="4504800"/>
              <a:ext cx="702170" cy="572873"/>
            </a:xfrm>
            <a:custGeom>
              <a:avLst/>
              <a:gdLst>
                <a:gd name="T0" fmla="*/ 0 w 709"/>
                <a:gd name="T1" fmla="*/ 463 h 585"/>
                <a:gd name="T2" fmla="*/ 21 w 709"/>
                <a:gd name="T3" fmla="*/ 433 h 585"/>
                <a:gd name="T4" fmla="*/ 9 w 709"/>
                <a:gd name="T5" fmla="*/ 323 h 585"/>
                <a:gd name="T6" fmla="*/ 21 w 709"/>
                <a:gd name="T7" fmla="*/ 323 h 585"/>
                <a:gd name="T8" fmla="*/ 30 w 709"/>
                <a:gd name="T9" fmla="*/ 259 h 585"/>
                <a:gd name="T10" fmla="*/ 45 w 709"/>
                <a:gd name="T11" fmla="*/ 226 h 585"/>
                <a:gd name="T12" fmla="*/ 76 w 709"/>
                <a:gd name="T13" fmla="*/ 201 h 585"/>
                <a:gd name="T14" fmla="*/ 198 w 709"/>
                <a:gd name="T15" fmla="*/ 150 h 585"/>
                <a:gd name="T16" fmla="*/ 216 w 709"/>
                <a:gd name="T17" fmla="*/ 116 h 585"/>
                <a:gd name="T18" fmla="*/ 228 w 709"/>
                <a:gd name="T19" fmla="*/ 128 h 585"/>
                <a:gd name="T20" fmla="*/ 237 w 709"/>
                <a:gd name="T21" fmla="*/ 116 h 585"/>
                <a:gd name="T22" fmla="*/ 274 w 709"/>
                <a:gd name="T23" fmla="*/ 86 h 585"/>
                <a:gd name="T24" fmla="*/ 304 w 709"/>
                <a:gd name="T25" fmla="*/ 64 h 585"/>
                <a:gd name="T26" fmla="*/ 316 w 709"/>
                <a:gd name="T27" fmla="*/ 98 h 585"/>
                <a:gd name="T28" fmla="*/ 338 w 709"/>
                <a:gd name="T29" fmla="*/ 98 h 585"/>
                <a:gd name="T30" fmla="*/ 338 w 709"/>
                <a:gd name="T31" fmla="*/ 76 h 585"/>
                <a:gd name="T32" fmla="*/ 359 w 709"/>
                <a:gd name="T33" fmla="*/ 64 h 585"/>
                <a:gd name="T34" fmla="*/ 368 w 709"/>
                <a:gd name="T35" fmla="*/ 31 h 585"/>
                <a:gd name="T36" fmla="*/ 405 w 709"/>
                <a:gd name="T37" fmla="*/ 19 h 585"/>
                <a:gd name="T38" fmla="*/ 447 w 709"/>
                <a:gd name="T39" fmla="*/ 31 h 585"/>
                <a:gd name="T40" fmla="*/ 460 w 709"/>
                <a:gd name="T41" fmla="*/ 40 h 585"/>
                <a:gd name="T42" fmla="*/ 481 w 709"/>
                <a:gd name="T43" fmla="*/ 31 h 585"/>
                <a:gd name="T44" fmla="*/ 460 w 709"/>
                <a:gd name="T45" fmla="*/ 52 h 585"/>
                <a:gd name="T46" fmla="*/ 447 w 709"/>
                <a:gd name="T47" fmla="*/ 86 h 585"/>
                <a:gd name="T48" fmla="*/ 460 w 709"/>
                <a:gd name="T49" fmla="*/ 107 h 585"/>
                <a:gd name="T50" fmla="*/ 502 w 709"/>
                <a:gd name="T51" fmla="*/ 128 h 585"/>
                <a:gd name="T52" fmla="*/ 524 w 709"/>
                <a:gd name="T53" fmla="*/ 140 h 585"/>
                <a:gd name="T54" fmla="*/ 557 w 709"/>
                <a:gd name="T55" fmla="*/ 107 h 585"/>
                <a:gd name="T56" fmla="*/ 578 w 709"/>
                <a:gd name="T57" fmla="*/ 0 h 585"/>
                <a:gd name="T58" fmla="*/ 600 w 709"/>
                <a:gd name="T59" fmla="*/ 76 h 585"/>
                <a:gd name="T60" fmla="*/ 621 w 709"/>
                <a:gd name="T61" fmla="*/ 86 h 585"/>
                <a:gd name="T62" fmla="*/ 633 w 709"/>
                <a:gd name="T63" fmla="*/ 140 h 585"/>
                <a:gd name="T64" fmla="*/ 642 w 709"/>
                <a:gd name="T65" fmla="*/ 183 h 585"/>
                <a:gd name="T66" fmla="*/ 676 w 709"/>
                <a:gd name="T67" fmla="*/ 238 h 585"/>
                <a:gd name="T68" fmla="*/ 688 w 709"/>
                <a:gd name="T69" fmla="*/ 259 h 585"/>
                <a:gd name="T70" fmla="*/ 709 w 709"/>
                <a:gd name="T71" fmla="*/ 314 h 585"/>
                <a:gd name="T72" fmla="*/ 676 w 709"/>
                <a:gd name="T73" fmla="*/ 424 h 585"/>
                <a:gd name="T74" fmla="*/ 557 w 709"/>
                <a:gd name="T75" fmla="*/ 548 h 585"/>
                <a:gd name="T76" fmla="*/ 481 w 709"/>
                <a:gd name="T77" fmla="*/ 573 h 585"/>
                <a:gd name="T78" fmla="*/ 469 w 709"/>
                <a:gd name="T79" fmla="*/ 573 h 585"/>
                <a:gd name="T80" fmla="*/ 435 w 709"/>
                <a:gd name="T81" fmla="*/ 573 h 585"/>
                <a:gd name="T82" fmla="*/ 393 w 709"/>
                <a:gd name="T83" fmla="*/ 539 h 585"/>
                <a:gd name="T84" fmla="*/ 393 w 709"/>
                <a:gd name="T85" fmla="*/ 518 h 585"/>
                <a:gd name="T86" fmla="*/ 383 w 709"/>
                <a:gd name="T87" fmla="*/ 509 h 585"/>
                <a:gd name="T88" fmla="*/ 393 w 709"/>
                <a:gd name="T89" fmla="*/ 484 h 585"/>
                <a:gd name="T90" fmla="*/ 393 w 709"/>
                <a:gd name="T91" fmla="*/ 463 h 585"/>
                <a:gd name="T92" fmla="*/ 338 w 709"/>
                <a:gd name="T93" fmla="*/ 497 h 585"/>
                <a:gd name="T94" fmla="*/ 292 w 709"/>
                <a:gd name="T95" fmla="*/ 433 h 585"/>
                <a:gd name="T96" fmla="*/ 152 w 709"/>
                <a:gd name="T97" fmla="*/ 454 h 585"/>
                <a:gd name="T98" fmla="*/ 85 w 709"/>
                <a:gd name="T99" fmla="*/ 475 h 585"/>
                <a:gd name="T100" fmla="*/ 9 w 709"/>
                <a:gd name="T101" fmla="*/ 497 h 5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09"/>
                <a:gd name="T154" fmla="*/ 0 h 585"/>
                <a:gd name="T155" fmla="*/ 709 w 709"/>
                <a:gd name="T156" fmla="*/ 585 h 5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09" h="585">
                  <a:moveTo>
                    <a:pt x="0" y="484"/>
                  </a:moveTo>
                  <a:lnTo>
                    <a:pt x="0" y="463"/>
                  </a:lnTo>
                  <a:lnTo>
                    <a:pt x="9" y="463"/>
                  </a:lnTo>
                  <a:lnTo>
                    <a:pt x="21" y="433"/>
                  </a:lnTo>
                  <a:lnTo>
                    <a:pt x="21" y="378"/>
                  </a:lnTo>
                  <a:lnTo>
                    <a:pt x="9" y="323"/>
                  </a:lnTo>
                  <a:lnTo>
                    <a:pt x="9" y="302"/>
                  </a:lnTo>
                  <a:lnTo>
                    <a:pt x="21" y="323"/>
                  </a:lnTo>
                  <a:lnTo>
                    <a:pt x="21" y="268"/>
                  </a:lnTo>
                  <a:lnTo>
                    <a:pt x="30" y="259"/>
                  </a:lnTo>
                  <a:lnTo>
                    <a:pt x="30" y="247"/>
                  </a:lnTo>
                  <a:lnTo>
                    <a:pt x="45" y="226"/>
                  </a:lnTo>
                  <a:lnTo>
                    <a:pt x="45" y="238"/>
                  </a:lnTo>
                  <a:lnTo>
                    <a:pt x="76" y="201"/>
                  </a:lnTo>
                  <a:lnTo>
                    <a:pt x="161" y="183"/>
                  </a:lnTo>
                  <a:lnTo>
                    <a:pt x="198" y="150"/>
                  </a:lnTo>
                  <a:lnTo>
                    <a:pt x="198" y="140"/>
                  </a:lnTo>
                  <a:lnTo>
                    <a:pt x="216" y="116"/>
                  </a:lnTo>
                  <a:lnTo>
                    <a:pt x="216" y="140"/>
                  </a:lnTo>
                  <a:lnTo>
                    <a:pt x="228" y="128"/>
                  </a:lnTo>
                  <a:lnTo>
                    <a:pt x="228" y="107"/>
                  </a:lnTo>
                  <a:lnTo>
                    <a:pt x="237" y="116"/>
                  </a:lnTo>
                  <a:lnTo>
                    <a:pt x="262" y="86"/>
                  </a:lnTo>
                  <a:lnTo>
                    <a:pt x="274" y="86"/>
                  </a:lnTo>
                  <a:lnTo>
                    <a:pt x="292" y="64"/>
                  </a:lnTo>
                  <a:lnTo>
                    <a:pt x="304" y="64"/>
                  </a:lnTo>
                  <a:lnTo>
                    <a:pt x="304" y="76"/>
                  </a:lnTo>
                  <a:lnTo>
                    <a:pt x="316" y="98"/>
                  </a:lnTo>
                  <a:lnTo>
                    <a:pt x="329" y="86"/>
                  </a:lnTo>
                  <a:lnTo>
                    <a:pt x="338" y="98"/>
                  </a:lnTo>
                  <a:lnTo>
                    <a:pt x="350" y="86"/>
                  </a:lnTo>
                  <a:lnTo>
                    <a:pt x="338" y="76"/>
                  </a:lnTo>
                  <a:lnTo>
                    <a:pt x="350" y="64"/>
                  </a:lnTo>
                  <a:lnTo>
                    <a:pt x="359" y="64"/>
                  </a:lnTo>
                  <a:lnTo>
                    <a:pt x="359" y="40"/>
                  </a:lnTo>
                  <a:lnTo>
                    <a:pt x="368" y="31"/>
                  </a:lnTo>
                  <a:lnTo>
                    <a:pt x="393" y="31"/>
                  </a:lnTo>
                  <a:lnTo>
                    <a:pt x="405" y="19"/>
                  </a:lnTo>
                  <a:lnTo>
                    <a:pt x="405" y="10"/>
                  </a:lnTo>
                  <a:lnTo>
                    <a:pt x="447" y="31"/>
                  </a:lnTo>
                  <a:lnTo>
                    <a:pt x="460" y="31"/>
                  </a:lnTo>
                  <a:lnTo>
                    <a:pt x="460" y="40"/>
                  </a:lnTo>
                  <a:lnTo>
                    <a:pt x="469" y="31"/>
                  </a:lnTo>
                  <a:lnTo>
                    <a:pt x="481" y="31"/>
                  </a:lnTo>
                  <a:lnTo>
                    <a:pt x="469" y="52"/>
                  </a:lnTo>
                  <a:lnTo>
                    <a:pt x="460" y="52"/>
                  </a:lnTo>
                  <a:lnTo>
                    <a:pt x="460" y="76"/>
                  </a:lnTo>
                  <a:lnTo>
                    <a:pt x="447" y="86"/>
                  </a:lnTo>
                  <a:lnTo>
                    <a:pt x="460" y="98"/>
                  </a:lnTo>
                  <a:lnTo>
                    <a:pt x="460" y="107"/>
                  </a:lnTo>
                  <a:lnTo>
                    <a:pt x="481" y="107"/>
                  </a:lnTo>
                  <a:lnTo>
                    <a:pt x="502" y="128"/>
                  </a:lnTo>
                  <a:lnTo>
                    <a:pt x="514" y="150"/>
                  </a:lnTo>
                  <a:lnTo>
                    <a:pt x="524" y="140"/>
                  </a:lnTo>
                  <a:lnTo>
                    <a:pt x="536" y="140"/>
                  </a:lnTo>
                  <a:lnTo>
                    <a:pt x="557" y="107"/>
                  </a:lnTo>
                  <a:lnTo>
                    <a:pt x="578" y="10"/>
                  </a:lnTo>
                  <a:lnTo>
                    <a:pt x="578" y="0"/>
                  </a:lnTo>
                  <a:lnTo>
                    <a:pt x="591" y="10"/>
                  </a:lnTo>
                  <a:lnTo>
                    <a:pt x="600" y="76"/>
                  </a:lnTo>
                  <a:lnTo>
                    <a:pt x="612" y="76"/>
                  </a:lnTo>
                  <a:lnTo>
                    <a:pt x="621" y="86"/>
                  </a:lnTo>
                  <a:lnTo>
                    <a:pt x="621" y="116"/>
                  </a:lnTo>
                  <a:lnTo>
                    <a:pt x="633" y="140"/>
                  </a:lnTo>
                  <a:lnTo>
                    <a:pt x="633" y="171"/>
                  </a:lnTo>
                  <a:lnTo>
                    <a:pt x="642" y="183"/>
                  </a:lnTo>
                  <a:lnTo>
                    <a:pt x="667" y="192"/>
                  </a:lnTo>
                  <a:lnTo>
                    <a:pt x="676" y="238"/>
                  </a:lnTo>
                  <a:lnTo>
                    <a:pt x="688" y="247"/>
                  </a:lnTo>
                  <a:lnTo>
                    <a:pt x="688" y="259"/>
                  </a:lnTo>
                  <a:lnTo>
                    <a:pt x="697" y="268"/>
                  </a:lnTo>
                  <a:lnTo>
                    <a:pt x="709" y="314"/>
                  </a:lnTo>
                  <a:lnTo>
                    <a:pt x="709" y="369"/>
                  </a:lnTo>
                  <a:lnTo>
                    <a:pt x="676" y="424"/>
                  </a:lnTo>
                  <a:lnTo>
                    <a:pt x="591" y="518"/>
                  </a:lnTo>
                  <a:lnTo>
                    <a:pt x="557" y="548"/>
                  </a:lnTo>
                  <a:lnTo>
                    <a:pt x="481" y="585"/>
                  </a:lnTo>
                  <a:lnTo>
                    <a:pt x="481" y="573"/>
                  </a:lnTo>
                  <a:lnTo>
                    <a:pt x="481" y="564"/>
                  </a:lnTo>
                  <a:lnTo>
                    <a:pt x="469" y="573"/>
                  </a:lnTo>
                  <a:lnTo>
                    <a:pt x="469" y="548"/>
                  </a:lnTo>
                  <a:lnTo>
                    <a:pt x="435" y="573"/>
                  </a:lnTo>
                  <a:lnTo>
                    <a:pt x="405" y="573"/>
                  </a:lnTo>
                  <a:lnTo>
                    <a:pt x="393" y="539"/>
                  </a:lnTo>
                  <a:lnTo>
                    <a:pt x="405" y="530"/>
                  </a:lnTo>
                  <a:lnTo>
                    <a:pt x="393" y="518"/>
                  </a:lnTo>
                  <a:lnTo>
                    <a:pt x="393" y="509"/>
                  </a:lnTo>
                  <a:lnTo>
                    <a:pt x="383" y="509"/>
                  </a:lnTo>
                  <a:lnTo>
                    <a:pt x="393" y="497"/>
                  </a:lnTo>
                  <a:lnTo>
                    <a:pt x="393" y="484"/>
                  </a:lnTo>
                  <a:lnTo>
                    <a:pt x="359" y="509"/>
                  </a:lnTo>
                  <a:lnTo>
                    <a:pt x="393" y="463"/>
                  </a:lnTo>
                  <a:lnTo>
                    <a:pt x="393" y="454"/>
                  </a:lnTo>
                  <a:lnTo>
                    <a:pt x="338" y="497"/>
                  </a:lnTo>
                  <a:lnTo>
                    <a:pt x="338" y="454"/>
                  </a:lnTo>
                  <a:lnTo>
                    <a:pt x="292" y="433"/>
                  </a:lnTo>
                  <a:lnTo>
                    <a:pt x="198" y="445"/>
                  </a:lnTo>
                  <a:lnTo>
                    <a:pt x="152" y="454"/>
                  </a:lnTo>
                  <a:lnTo>
                    <a:pt x="140" y="475"/>
                  </a:lnTo>
                  <a:lnTo>
                    <a:pt x="85" y="475"/>
                  </a:lnTo>
                  <a:lnTo>
                    <a:pt x="45" y="497"/>
                  </a:lnTo>
                  <a:lnTo>
                    <a:pt x="9" y="497"/>
                  </a:lnTo>
                  <a:lnTo>
                    <a:pt x="0" y="484"/>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1000" name="Freeform 999"/>
            <p:cNvSpPr>
              <a:spLocks/>
            </p:cNvSpPr>
            <p:nvPr/>
          </p:nvSpPr>
          <p:spPr bwMode="auto">
            <a:xfrm>
              <a:off x="7089217" y="5106606"/>
              <a:ext cx="62115" cy="54008"/>
            </a:xfrm>
            <a:custGeom>
              <a:avLst/>
              <a:gdLst>
                <a:gd name="T0" fmla="*/ 9 w 64"/>
                <a:gd name="T1" fmla="*/ 0 h 55"/>
                <a:gd name="T2" fmla="*/ 32 w 64"/>
                <a:gd name="T3" fmla="*/ 10 h 55"/>
                <a:gd name="T4" fmla="*/ 56 w 64"/>
                <a:gd name="T5" fmla="*/ 0 h 55"/>
                <a:gd name="T6" fmla="*/ 32 w 64"/>
                <a:gd name="T7" fmla="*/ 46 h 55"/>
                <a:gd name="T8" fmla="*/ 9 w 64"/>
                <a:gd name="T9" fmla="*/ 55 h 55"/>
                <a:gd name="T10" fmla="*/ 0 w 64"/>
                <a:gd name="T11" fmla="*/ 55 h 55"/>
                <a:gd name="T12" fmla="*/ 0 w 64"/>
                <a:gd name="T13" fmla="*/ 46 h 55"/>
                <a:gd name="T14" fmla="*/ 9 w 64"/>
                <a:gd name="T15" fmla="*/ 0 h 55"/>
                <a:gd name="T16" fmla="*/ 0 60000 65536"/>
                <a:gd name="T17" fmla="*/ 0 60000 65536"/>
                <a:gd name="T18" fmla="*/ 0 60000 65536"/>
                <a:gd name="T19" fmla="*/ 0 60000 65536"/>
                <a:gd name="T20" fmla="*/ 0 60000 65536"/>
                <a:gd name="T21" fmla="*/ 0 60000 65536"/>
                <a:gd name="T22" fmla="*/ 0 60000 65536"/>
                <a:gd name="T23" fmla="*/ 0 60000 65536"/>
                <a:gd name="T24" fmla="*/ 0 w 64"/>
                <a:gd name="T25" fmla="*/ 0 h 55"/>
                <a:gd name="T26" fmla="*/ 64 w 64"/>
                <a:gd name="T27" fmla="*/ 55 h 5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 h="55">
                  <a:moveTo>
                    <a:pt x="9" y="0"/>
                  </a:moveTo>
                  <a:lnTo>
                    <a:pt x="34" y="10"/>
                  </a:lnTo>
                  <a:lnTo>
                    <a:pt x="64" y="0"/>
                  </a:lnTo>
                  <a:lnTo>
                    <a:pt x="34" y="46"/>
                  </a:lnTo>
                  <a:lnTo>
                    <a:pt x="9" y="55"/>
                  </a:lnTo>
                  <a:lnTo>
                    <a:pt x="0" y="55"/>
                  </a:lnTo>
                  <a:lnTo>
                    <a:pt x="0" y="46"/>
                  </a:lnTo>
                  <a:lnTo>
                    <a:pt x="9"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1001" name="Freeform 1000"/>
            <p:cNvSpPr>
              <a:spLocks/>
            </p:cNvSpPr>
            <p:nvPr/>
          </p:nvSpPr>
          <p:spPr bwMode="auto">
            <a:xfrm>
              <a:off x="7597840" y="4978336"/>
              <a:ext cx="105326" cy="138878"/>
            </a:xfrm>
            <a:custGeom>
              <a:avLst/>
              <a:gdLst>
                <a:gd name="T0" fmla="*/ 0 w 106"/>
                <a:gd name="T1" fmla="*/ 101 h 141"/>
                <a:gd name="T2" fmla="*/ 18 w 106"/>
                <a:gd name="T3" fmla="*/ 89 h 141"/>
                <a:gd name="T4" fmla="*/ 55 w 106"/>
                <a:gd name="T5" fmla="*/ 55 h 141"/>
                <a:gd name="T6" fmla="*/ 42 w 106"/>
                <a:gd name="T7" fmla="*/ 55 h 141"/>
                <a:gd name="T8" fmla="*/ 42 w 106"/>
                <a:gd name="T9" fmla="*/ 0 h 141"/>
                <a:gd name="T10" fmla="*/ 55 w 106"/>
                <a:gd name="T11" fmla="*/ 13 h 141"/>
                <a:gd name="T12" fmla="*/ 64 w 106"/>
                <a:gd name="T13" fmla="*/ 13 h 141"/>
                <a:gd name="T14" fmla="*/ 64 w 106"/>
                <a:gd name="T15" fmla="*/ 25 h 141"/>
                <a:gd name="T16" fmla="*/ 55 w 106"/>
                <a:gd name="T17" fmla="*/ 55 h 141"/>
                <a:gd name="T18" fmla="*/ 64 w 106"/>
                <a:gd name="T19" fmla="*/ 55 h 141"/>
                <a:gd name="T20" fmla="*/ 64 w 106"/>
                <a:gd name="T21" fmla="*/ 46 h 141"/>
                <a:gd name="T22" fmla="*/ 76 w 106"/>
                <a:gd name="T23" fmla="*/ 46 h 141"/>
                <a:gd name="T24" fmla="*/ 64 w 106"/>
                <a:gd name="T25" fmla="*/ 64 h 141"/>
                <a:gd name="T26" fmla="*/ 76 w 106"/>
                <a:gd name="T27" fmla="*/ 80 h 141"/>
                <a:gd name="T28" fmla="*/ 97 w 106"/>
                <a:gd name="T29" fmla="*/ 64 h 141"/>
                <a:gd name="T30" fmla="*/ 106 w 106"/>
                <a:gd name="T31" fmla="*/ 64 h 141"/>
                <a:gd name="T32" fmla="*/ 85 w 106"/>
                <a:gd name="T33" fmla="*/ 89 h 141"/>
                <a:gd name="T34" fmla="*/ 64 w 106"/>
                <a:gd name="T35" fmla="*/ 101 h 141"/>
                <a:gd name="T36" fmla="*/ 9 w 106"/>
                <a:gd name="T37" fmla="*/ 141 h 141"/>
                <a:gd name="T38" fmla="*/ 0 w 106"/>
                <a:gd name="T39" fmla="*/ 141 h 141"/>
                <a:gd name="T40" fmla="*/ 18 w 106"/>
                <a:gd name="T41" fmla="*/ 122 h 141"/>
                <a:gd name="T42" fmla="*/ 0 w 106"/>
                <a:gd name="T43" fmla="*/ 101 h 14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6"/>
                <a:gd name="T67" fmla="*/ 0 h 141"/>
                <a:gd name="T68" fmla="*/ 106 w 106"/>
                <a:gd name="T69" fmla="*/ 141 h 14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6" h="141">
                  <a:moveTo>
                    <a:pt x="0" y="101"/>
                  </a:moveTo>
                  <a:lnTo>
                    <a:pt x="18" y="89"/>
                  </a:lnTo>
                  <a:lnTo>
                    <a:pt x="55" y="55"/>
                  </a:lnTo>
                  <a:lnTo>
                    <a:pt x="42" y="55"/>
                  </a:lnTo>
                  <a:lnTo>
                    <a:pt x="42" y="0"/>
                  </a:lnTo>
                  <a:lnTo>
                    <a:pt x="55" y="13"/>
                  </a:lnTo>
                  <a:lnTo>
                    <a:pt x="64" y="13"/>
                  </a:lnTo>
                  <a:lnTo>
                    <a:pt x="64" y="25"/>
                  </a:lnTo>
                  <a:lnTo>
                    <a:pt x="55" y="55"/>
                  </a:lnTo>
                  <a:lnTo>
                    <a:pt x="64" y="55"/>
                  </a:lnTo>
                  <a:lnTo>
                    <a:pt x="64" y="46"/>
                  </a:lnTo>
                  <a:lnTo>
                    <a:pt x="76" y="46"/>
                  </a:lnTo>
                  <a:lnTo>
                    <a:pt x="64" y="64"/>
                  </a:lnTo>
                  <a:lnTo>
                    <a:pt x="76" y="80"/>
                  </a:lnTo>
                  <a:lnTo>
                    <a:pt x="97" y="64"/>
                  </a:lnTo>
                  <a:lnTo>
                    <a:pt x="106" y="64"/>
                  </a:lnTo>
                  <a:lnTo>
                    <a:pt x="85" y="89"/>
                  </a:lnTo>
                  <a:lnTo>
                    <a:pt x="64" y="101"/>
                  </a:lnTo>
                  <a:lnTo>
                    <a:pt x="9" y="141"/>
                  </a:lnTo>
                  <a:lnTo>
                    <a:pt x="0" y="141"/>
                  </a:lnTo>
                  <a:lnTo>
                    <a:pt x="18" y="122"/>
                  </a:lnTo>
                  <a:lnTo>
                    <a:pt x="0" y="101"/>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1002" name="Freeform 1001"/>
            <p:cNvSpPr>
              <a:spLocks/>
            </p:cNvSpPr>
            <p:nvPr/>
          </p:nvSpPr>
          <p:spPr bwMode="auto">
            <a:xfrm>
              <a:off x="7392590" y="5106606"/>
              <a:ext cx="193547" cy="119589"/>
            </a:xfrm>
            <a:custGeom>
              <a:avLst/>
              <a:gdLst>
                <a:gd name="T0" fmla="*/ 0 w 195"/>
                <a:gd name="T1" fmla="*/ 110 h 122"/>
                <a:gd name="T2" fmla="*/ 54 w 195"/>
                <a:gd name="T3" fmla="*/ 64 h 122"/>
                <a:gd name="T4" fmla="*/ 115 w 195"/>
                <a:gd name="T5" fmla="*/ 46 h 122"/>
                <a:gd name="T6" fmla="*/ 161 w 195"/>
                <a:gd name="T7" fmla="*/ 0 h 122"/>
                <a:gd name="T8" fmla="*/ 173 w 195"/>
                <a:gd name="T9" fmla="*/ 0 h 122"/>
                <a:gd name="T10" fmla="*/ 173 w 195"/>
                <a:gd name="T11" fmla="*/ 10 h 122"/>
                <a:gd name="T12" fmla="*/ 195 w 195"/>
                <a:gd name="T13" fmla="*/ 0 h 122"/>
                <a:gd name="T14" fmla="*/ 182 w 195"/>
                <a:gd name="T15" fmla="*/ 10 h 122"/>
                <a:gd name="T16" fmla="*/ 195 w 195"/>
                <a:gd name="T17" fmla="*/ 10 h 122"/>
                <a:gd name="T18" fmla="*/ 182 w 195"/>
                <a:gd name="T19" fmla="*/ 25 h 122"/>
                <a:gd name="T20" fmla="*/ 140 w 195"/>
                <a:gd name="T21" fmla="*/ 46 h 122"/>
                <a:gd name="T22" fmla="*/ 140 w 195"/>
                <a:gd name="T23" fmla="*/ 64 h 122"/>
                <a:gd name="T24" fmla="*/ 97 w 195"/>
                <a:gd name="T25" fmla="*/ 76 h 122"/>
                <a:gd name="T26" fmla="*/ 54 w 195"/>
                <a:gd name="T27" fmla="*/ 110 h 122"/>
                <a:gd name="T28" fmla="*/ 18 w 195"/>
                <a:gd name="T29" fmla="*/ 122 h 122"/>
                <a:gd name="T30" fmla="*/ 9 w 195"/>
                <a:gd name="T31" fmla="*/ 122 h 122"/>
                <a:gd name="T32" fmla="*/ 9 w 195"/>
                <a:gd name="T33" fmla="*/ 110 h 122"/>
                <a:gd name="T34" fmla="*/ 0 w 195"/>
                <a:gd name="T35" fmla="*/ 110 h 1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5"/>
                <a:gd name="T55" fmla="*/ 0 h 122"/>
                <a:gd name="T56" fmla="*/ 195 w 195"/>
                <a:gd name="T57" fmla="*/ 122 h 1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5" h="122">
                  <a:moveTo>
                    <a:pt x="0" y="110"/>
                  </a:moveTo>
                  <a:lnTo>
                    <a:pt x="54" y="64"/>
                  </a:lnTo>
                  <a:lnTo>
                    <a:pt x="115" y="46"/>
                  </a:lnTo>
                  <a:lnTo>
                    <a:pt x="161" y="0"/>
                  </a:lnTo>
                  <a:lnTo>
                    <a:pt x="173" y="0"/>
                  </a:lnTo>
                  <a:lnTo>
                    <a:pt x="173" y="10"/>
                  </a:lnTo>
                  <a:lnTo>
                    <a:pt x="195" y="0"/>
                  </a:lnTo>
                  <a:lnTo>
                    <a:pt x="182" y="10"/>
                  </a:lnTo>
                  <a:lnTo>
                    <a:pt x="195" y="10"/>
                  </a:lnTo>
                  <a:lnTo>
                    <a:pt x="182" y="25"/>
                  </a:lnTo>
                  <a:lnTo>
                    <a:pt x="140" y="46"/>
                  </a:lnTo>
                  <a:lnTo>
                    <a:pt x="140" y="64"/>
                  </a:lnTo>
                  <a:lnTo>
                    <a:pt x="97" y="76"/>
                  </a:lnTo>
                  <a:lnTo>
                    <a:pt x="54" y="110"/>
                  </a:lnTo>
                  <a:lnTo>
                    <a:pt x="18" y="122"/>
                  </a:lnTo>
                  <a:lnTo>
                    <a:pt x="9" y="122"/>
                  </a:lnTo>
                  <a:lnTo>
                    <a:pt x="9" y="110"/>
                  </a:lnTo>
                  <a:lnTo>
                    <a:pt x="0" y="110"/>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1003" name="Freeform 1002"/>
            <p:cNvSpPr>
              <a:spLocks/>
            </p:cNvSpPr>
            <p:nvPr/>
          </p:nvSpPr>
          <p:spPr bwMode="auto">
            <a:xfrm>
              <a:off x="6399527" y="4180892"/>
              <a:ext cx="193547" cy="232429"/>
            </a:xfrm>
            <a:custGeom>
              <a:avLst/>
              <a:gdLst>
                <a:gd name="T0" fmla="*/ 0 w 195"/>
                <a:gd name="T1" fmla="*/ 0 h 238"/>
                <a:gd name="T2" fmla="*/ 33 w 195"/>
                <a:gd name="T3" fmla="*/ 10 h 238"/>
                <a:gd name="T4" fmla="*/ 100 w 195"/>
                <a:gd name="T5" fmla="*/ 77 h 238"/>
                <a:gd name="T6" fmla="*/ 109 w 195"/>
                <a:gd name="T7" fmla="*/ 77 h 238"/>
                <a:gd name="T8" fmla="*/ 140 w 195"/>
                <a:gd name="T9" fmla="*/ 98 h 238"/>
                <a:gd name="T10" fmla="*/ 140 w 195"/>
                <a:gd name="T11" fmla="*/ 107 h 238"/>
                <a:gd name="T12" fmla="*/ 152 w 195"/>
                <a:gd name="T13" fmla="*/ 122 h 238"/>
                <a:gd name="T14" fmla="*/ 140 w 195"/>
                <a:gd name="T15" fmla="*/ 131 h 238"/>
                <a:gd name="T16" fmla="*/ 152 w 195"/>
                <a:gd name="T17" fmla="*/ 140 h 238"/>
                <a:gd name="T18" fmla="*/ 164 w 195"/>
                <a:gd name="T19" fmla="*/ 140 h 238"/>
                <a:gd name="T20" fmla="*/ 176 w 195"/>
                <a:gd name="T21" fmla="*/ 162 h 238"/>
                <a:gd name="T22" fmla="*/ 186 w 195"/>
                <a:gd name="T23" fmla="*/ 162 h 238"/>
                <a:gd name="T24" fmla="*/ 195 w 195"/>
                <a:gd name="T25" fmla="*/ 183 h 238"/>
                <a:gd name="T26" fmla="*/ 186 w 195"/>
                <a:gd name="T27" fmla="*/ 238 h 238"/>
                <a:gd name="T28" fmla="*/ 176 w 195"/>
                <a:gd name="T29" fmla="*/ 229 h 238"/>
                <a:gd name="T30" fmla="*/ 164 w 195"/>
                <a:gd name="T31" fmla="*/ 238 h 238"/>
                <a:gd name="T32" fmla="*/ 164 w 195"/>
                <a:gd name="T33" fmla="*/ 229 h 238"/>
                <a:gd name="T34" fmla="*/ 109 w 195"/>
                <a:gd name="T35" fmla="*/ 183 h 238"/>
                <a:gd name="T36" fmla="*/ 100 w 195"/>
                <a:gd name="T37" fmla="*/ 162 h 238"/>
                <a:gd name="T38" fmla="*/ 85 w 195"/>
                <a:gd name="T39" fmla="*/ 131 h 238"/>
                <a:gd name="T40" fmla="*/ 64 w 195"/>
                <a:gd name="T41" fmla="*/ 107 h 238"/>
                <a:gd name="T42" fmla="*/ 64 w 195"/>
                <a:gd name="T43" fmla="*/ 77 h 238"/>
                <a:gd name="T44" fmla="*/ 42 w 195"/>
                <a:gd name="T45" fmla="*/ 64 h 238"/>
                <a:gd name="T46" fmla="*/ 21 w 195"/>
                <a:gd name="T47" fmla="*/ 46 h 238"/>
                <a:gd name="T48" fmla="*/ 0 w 195"/>
                <a:gd name="T49" fmla="*/ 22 h 238"/>
                <a:gd name="T50" fmla="*/ 0 w 195"/>
                <a:gd name="T51" fmla="*/ 0 h 2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5"/>
                <a:gd name="T79" fmla="*/ 0 h 238"/>
                <a:gd name="T80" fmla="*/ 195 w 195"/>
                <a:gd name="T81" fmla="*/ 238 h 2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5" h="238">
                  <a:moveTo>
                    <a:pt x="0" y="0"/>
                  </a:moveTo>
                  <a:lnTo>
                    <a:pt x="33" y="10"/>
                  </a:lnTo>
                  <a:lnTo>
                    <a:pt x="100" y="77"/>
                  </a:lnTo>
                  <a:lnTo>
                    <a:pt x="109" y="77"/>
                  </a:lnTo>
                  <a:lnTo>
                    <a:pt x="140" y="98"/>
                  </a:lnTo>
                  <a:lnTo>
                    <a:pt x="140" y="107"/>
                  </a:lnTo>
                  <a:lnTo>
                    <a:pt x="152" y="122"/>
                  </a:lnTo>
                  <a:lnTo>
                    <a:pt x="140" y="131"/>
                  </a:lnTo>
                  <a:lnTo>
                    <a:pt x="152" y="140"/>
                  </a:lnTo>
                  <a:lnTo>
                    <a:pt x="164" y="140"/>
                  </a:lnTo>
                  <a:lnTo>
                    <a:pt x="176" y="162"/>
                  </a:lnTo>
                  <a:lnTo>
                    <a:pt x="186" y="162"/>
                  </a:lnTo>
                  <a:lnTo>
                    <a:pt x="195" y="183"/>
                  </a:lnTo>
                  <a:lnTo>
                    <a:pt x="186" y="238"/>
                  </a:lnTo>
                  <a:lnTo>
                    <a:pt x="176" y="229"/>
                  </a:lnTo>
                  <a:lnTo>
                    <a:pt x="164" y="238"/>
                  </a:lnTo>
                  <a:lnTo>
                    <a:pt x="164" y="229"/>
                  </a:lnTo>
                  <a:lnTo>
                    <a:pt x="109" y="183"/>
                  </a:lnTo>
                  <a:lnTo>
                    <a:pt x="100" y="162"/>
                  </a:lnTo>
                  <a:lnTo>
                    <a:pt x="85" y="131"/>
                  </a:lnTo>
                  <a:lnTo>
                    <a:pt x="64" y="107"/>
                  </a:lnTo>
                  <a:lnTo>
                    <a:pt x="64" y="77"/>
                  </a:lnTo>
                  <a:lnTo>
                    <a:pt x="42" y="64"/>
                  </a:lnTo>
                  <a:lnTo>
                    <a:pt x="21" y="46"/>
                  </a:lnTo>
                  <a:lnTo>
                    <a:pt x="0" y="22"/>
                  </a:lnTo>
                  <a:lnTo>
                    <a:pt x="0" y="0"/>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1004" name="Freeform 1003"/>
            <p:cNvSpPr>
              <a:spLocks/>
            </p:cNvSpPr>
            <p:nvPr/>
          </p:nvSpPr>
          <p:spPr bwMode="auto">
            <a:xfrm>
              <a:off x="6580594" y="4406429"/>
              <a:ext cx="160239" cy="54008"/>
            </a:xfrm>
            <a:custGeom>
              <a:avLst/>
              <a:gdLst>
                <a:gd name="T0" fmla="*/ 0 w 162"/>
                <a:gd name="T1" fmla="*/ 9 h 55"/>
                <a:gd name="T2" fmla="*/ 19 w 162"/>
                <a:gd name="T3" fmla="*/ 0 h 55"/>
                <a:gd name="T4" fmla="*/ 40 w 162"/>
                <a:gd name="T5" fmla="*/ 0 h 55"/>
                <a:gd name="T6" fmla="*/ 64 w 162"/>
                <a:gd name="T7" fmla="*/ 24 h 55"/>
                <a:gd name="T8" fmla="*/ 95 w 162"/>
                <a:gd name="T9" fmla="*/ 24 h 55"/>
                <a:gd name="T10" fmla="*/ 95 w 162"/>
                <a:gd name="T11" fmla="*/ 9 h 55"/>
                <a:gd name="T12" fmla="*/ 131 w 162"/>
                <a:gd name="T13" fmla="*/ 24 h 55"/>
                <a:gd name="T14" fmla="*/ 141 w 162"/>
                <a:gd name="T15" fmla="*/ 33 h 55"/>
                <a:gd name="T16" fmla="*/ 162 w 162"/>
                <a:gd name="T17" fmla="*/ 33 h 55"/>
                <a:gd name="T18" fmla="*/ 162 w 162"/>
                <a:gd name="T19" fmla="*/ 55 h 55"/>
                <a:gd name="T20" fmla="*/ 141 w 162"/>
                <a:gd name="T21" fmla="*/ 46 h 55"/>
                <a:gd name="T22" fmla="*/ 131 w 162"/>
                <a:gd name="T23" fmla="*/ 55 h 55"/>
                <a:gd name="T24" fmla="*/ 74 w 162"/>
                <a:gd name="T25" fmla="*/ 33 h 55"/>
                <a:gd name="T26" fmla="*/ 55 w 162"/>
                <a:gd name="T27" fmla="*/ 33 h 55"/>
                <a:gd name="T28" fmla="*/ 0 w 162"/>
                <a:gd name="T29" fmla="*/ 9 h 5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2"/>
                <a:gd name="T46" fmla="*/ 0 h 55"/>
                <a:gd name="T47" fmla="*/ 162 w 162"/>
                <a:gd name="T48" fmla="*/ 55 h 5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2" h="55">
                  <a:moveTo>
                    <a:pt x="0" y="9"/>
                  </a:moveTo>
                  <a:lnTo>
                    <a:pt x="19" y="0"/>
                  </a:lnTo>
                  <a:lnTo>
                    <a:pt x="40" y="0"/>
                  </a:lnTo>
                  <a:lnTo>
                    <a:pt x="64" y="24"/>
                  </a:lnTo>
                  <a:lnTo>
                    <a:pt x="95" y="24"/>
                  </a:lnTo>
                  <a:lnTo>
                    <a:pt x="95" y="9"/>
                  </a:lnTo>
                  <a:lnTo>
                    <a:pt x="131" y="24"/>
                  </a:lnTo>
                  <a:lnTo>
                    <a:pt x="141" y="33"/>
                  </a:lnTo>
                  <a:lnTo>
                    <a:pt x="162" y="33"/>
                  </a:lnTo>
                  <a:lnTo>
                    <a:pt x="162" y="55"/>
                  </a:lnTo>
                  <a:lnTo>
                    <a:pt x="141" y="46"/>
                  </a:lnTo>
                  <a:lnTo>
                    <a:pt x="131" y="55"/>
                  </a:lnTo>
                  <a:lnTo>
                    <a:pt x="74" y="33"/>
                  </a:lnTo>
                  <a:lnTo>
                    <a:pt x="55" y="33"/>
                  </a:lnTo>
                  <a:lnTo>
                    <a:pt x="0" y="9"/>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1005" name="Freeform 1004"/>
            <p:cNvSpPr>
              <a:spLocks/>
            </p:cNvSpPr>
            <p:nvPr/>
          </p:nvSpPr>
          <p:spPr bwMode="auto">
            <a:xfrm>
              <a:off x="6774141" y="4451757"/>
              <a:ext cx="141334" cy="21217"/>
            </a:xfrm>
            <a:custGeom>
              <a:avLst/>
              <a:gdLst>
                <a:gd name="T0" fmla="*/ 0 w 143"/>
                <a:gd name="T1" fmla="*/ 21 h 21"/>
                <a:gd name="T2" fmla="*/ 0 w 143"/>
                <a:gd name="T3" fmla="*/ 9 h 21"/>
                <a:gd name="T4" fmla="*/ 13 w 143"/>
                <a:gd name="T5" fmla="*/ 0 h 21"/>
                <a:gd name="T6" fmla="*/ 31 w 143"/>
                <a:gd name="T7" fmla="*/ 9 h 21"/>
                <a:gd name="T8" fmla="*/ 31 w 143"/>
                <a:gd name="T9" fmla="*/ 0 h 21"/>
                <a:gd name="T10" fmla="*/ 67 w 143"/>
                <a:gd name="T11" fmla="*/ 9 h 21"/>
                <a:gd name="T12" fmla="*/ 76 w 143"/>
                <a:gd name="T13" fmla="*/ 0 h 21"/>
                <a:gd name="T14" fmla="*/ 107 w 143"/>
                <a:gd name="T15" fmla="*/ 9 h 21"/>
                <a:gd name="T16" fmla="*/ 119 w 143"/>
                <a:gd name="T17" fmla="*/ 0 h 21"/>
                <a:gd name="T18" fmla="*/ 143 w 143"/>
                <a:gd name="T19" fmla="*/ 9 h 21"/>
                <a:gd name="T20" fmla="*/ 107 w 143"/>
                <a:gd name="T21" fmla="*/ 21 h 21"/>
                <a:gd name="T22" fmla="*/ 67 w 143"/>
                <a:gd name="T23" fmla="*/ 9 h 21"/>
                <a:gd name="T24" fmla="*/ 22 w 143"/>
                <a:gd name="T25" fmla="*/ 21 h 21"/>
                <a:gd name="T26" fmla="*/ 0 w 143"/>
                <a:gd name="T27" fmla="*/ 21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3"/>
                <a:gd name="T43" fmla="*/ 0 h 21"/>
                <a:gd name="T44" fmla="*/ 143 w 143"/>
                <a:gd name="T45" fmla="*/ 21 h 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3" h="21">
                  <a:moveTo>
                    <a:pt x="0" y="21"/>
                  </a:moveTo>
                  <a:lnTo>
                    <a:pt x="0" y="9"/>
                  </a:lnTo>
                  <a:lnTo>
                    <a:pt x="13" y="0"/>
                  </a:lnTo>
                  <a:lnTo>
                    <a:pt x="31" y="9"/>
                  </a:lnTo>
                  <a:lnTo>
                    <a:pt x="31" y="0"/>
                  </a:lnTo>
                  <a:lnTo>
                    <a:pt x="67" y="9"/>
                  </a:lnTo>
                  <a:lnTo>
                    <a:pt x="76" y="0"/>
                  </a:lnTo>
                  <a:lnTo>
                    <a:pt x="107" y="9"/>
                  </a:lnTo>
                  <a:lnTo>
                    <a:pt x="119" y="0"/>
                  </a:lnTo>
                  <a:lnTo>
                    <a:pt x="143" y="9"/>
                  </a:lnTo>
                  <a:lnTo>
                    <a:pt x="107" y="21"/>
                  </a:lnTo>
                  <a:lnTo>
                    <a:pt x="67" y="9"/>
                  </a:lnTo>
                  <a:lnTo>
                    <a:pt x="22" y="21"/>
                  </a:lnTo>
                  <a:lnTo>
                    <a:pt x="0" y="21"/>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1006" name="Freeform 1005"/>
            <p:cNvSpPr>
              <a:spLocks/>
            </p:cNvSpPr>
            <p:nvPr/>
          </p:nvSpPr>
          <p:spPr bwMode="auto">
            <a:xfrm>
              <a:off x="6825453" y="4481653"/>
              <a:ext cx="36909" cy="8680"/>
            </a:xfrm>
            <a:custGeom>
              <a:avLst/>
              <a:gdLst>
                <a:gd name="T0" fmla="*/ 0 w 37"/>
                <a:gd name="T1" fmla="*/ 0 h 9"/>
                <a:gd name="T2" fmla="*/ 15 w 37"/>
                <a:gd name="T3" fmla="*/ 0 h 9"/>
                <a:gd name="T4" fmla="*/ 37 w 37"/>
                <a:gd name="T5" fmla="*/ 9 h 9"/>
                <a:gd name="T6" fmla="*/ 24 w 37"/>
                <a:gd name="T7" fmla="*/ 9 h 9"/>
                <a:gd name="T8" fmla="*/ 0 w 37"/>
                <a:gd name="T9" fmla="*/ 0 h 9"/>
                <a:gd name="T10" fmla="*/ 0 60000 65536"/>
                <a:gd name="T11" fmla="*/ 0 60000 65536"/>
                <a:gd name="T12" fmla="*/ 0 60000 65536"/>
                <a:gd name="T13" fmla="*/ 0 60000 65536"/>
                <a:gd name="T14" fmla="*/ 0 60000 65536"/>
                <a:gd name="T15" fmla="*/ 0 w 37"/>
                <a:gd name="T16" fmla="*/ 0 h 9"/>
                <a:gd name="T17" fmla="*/ 37 w 37"/>
                <a:gd name="T18" fmla="*/ 9 h 9"/>
              </a:gdLst>
              <a:ahLst/>
              <a:cxnLst>
                <a:cxn ang="T10">
                  <a:pos x="T0" y="T1"/>
                </a:cxn>
                <a:cxn ang="T11">
                  <a:pos x="T2" y="T3"/>
                </a:cxn>
                <a:cxn ang="T12">
                  <a:pos x="T4" y="T5"/>
                </a:cxn>
                <a:cxn ang="T13">
                  <a:pos x="T6" y="T7"/>
                </a:cxn>
                <a:cxn ang="T14">
                  <a:pos x="T8" y="T9"/>
                </a:cxn>
              </a:cxnLst>
              <a:rect l="T15" t="T16" r="T17" b="T18"/>
              <a:pathLst>
                <a:path w="37" h="9">
                  <a:moveTo>
                    <a:pt x="0" y="0"/>
                  </a:moveTo>
                  <a:lnTo>
                    <a:pt x="15" y="0"/>
                  </a:lnTo>
                  <a:lnTo>
                    <a:pt x="37" y="9"/>
                  </a:lnTo>
                  <a:lnTo>
                    <a:pt x="24" y="9"/>
                  </a:lnTo>
                  <a:lnTo>
                    <a:pt x="0"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1007" name="Freeform 1006"/>
            <p:cNvSpPr>
              <a:spLocks/>
            </p:cNvSpPr>
            <p:nvPr/>
          </p:nvSpPr>
          <p:spPr bwMode="auto">
            <a:xfrm>
              <a:off x="6825453" y="4257906"/>
              <a:ext cx="121529" cy="148523"/>
            </a:xfrm>
            <a:custGeom>
              <a:avLst/>
              <a:gdLst>
                <a:gd name="T0" fmla="*/ 0 w 122"/>
                <a:gd name="T1" fmla="*/ 88 h 152"/>
                <a:gd name="T2" fmla="*/ 24 w 122"/>
                <a:gd name="T3" fmla="*/ 45 h 152"/>
                <a:gd name="T4" fmla="*/ 24 w 122"/>
                <a:gd name="T5" fmla="*/ 12 h 152"/>
                <a:gd name="T6" fmla="*/ 37 w 122"/>
                <a:gd name="T7" fmla="*/ 12 h 152"/>
                <a:gd name="T8" fmla="*/ 46 w 122"/>
                <a:gd name="T9" fmla="*/ 0 h 152"/>
                <a:gd name="T10" fmla="*/ 84 w 122"/>
                <a:gd name="T11" fmla="*/ 12 h 152"/>
                <a:gd name="T12" fmla="*/ 109 w 122"/>
                <a:gd name="T13" fmla="*/ 12 h 152"/>
                <a:gd name="T14" fmla="*/ 121 w 122"/>
                <a:gd name="T15" fmla="*/ 0 h 152"/>
                <a:gd name="T16" fmla="*/ 130 w 122"/>
                <a:gd name="T17" fmla="*/ 0 h 152"/>
                <a:gd name="T18" fmla="*/ 121 w 122"/>
                <a:gd name="T19" fmla="*/ 21 h 152"/>
                <a:gd name="T20" fmla="*/ 99 w 122"/>
                <a:gd name="T21" fmla="*/ 21 h 152"/>
                <a:gd name="T22" fmla="*/ 37 w 122"/>
                <a:gd name="T23" fmla="*/ 21 h 152"/>
                <a:gd name="T24" fmla="*/ 24 w 122"/>
                <a:gd name="T25" fmla="*/ 36 h 152"/>
                <a:gd name="T26" fmla="*/ 24 w 122"/>
                <a:gd name="T27" fmla="*/ 45 h 152"/>
                <a:gd name="T28" fmla="*/ 37 w 122"/>
                <a:gd name="T29" fmla="*/ 54 h 152"/>
                <a:gd name="T30" fmla="*/ 84 w 122"/>
                <a:gd name="T31" fmla="*/ 45 h 152"/>
                <a:gd name="T32" fmla="*/ 99 w 122"/>
                <a:gd name="T33" fmla="*/ 54 h 152"/>
                <a:gd name="T34" fmla="*/ 84 w 122"/>
                <a:gd name="T35" fmla="*/ 54 h 152"/>
                <a:gd name="T36" fmla="*/ 55 w 122"/>
                <a:gd name="T37" fmla="*/ 67 h 152"/>
                <a:gd name="T38" fmla="*/ 75 w 122"/>
                <a:gd name="T39" fmla="*/ 97 h 152"/>
                <a:gd name="T40" fmla="*/ 55 w 122"/>
                <a:gd name="T41" fmla="*/ 97 h 152"/>
                <a:gd name="T42" fmla="*/ 84 w 122"/>
                <a:gd name="T43" fmla="*/ 131 h 152"/>
                <a:gd name="T44" fmla="*/ 84 w 122"/>
                <a:gd name="T45" fmla="*/ 143 h 152"/>
                <a:gd name="T46" fmla="*/ 75 w 122"/>
                <a:gd name="T47" fmla="*/ 152 h 152"/>
                <a:gd name="T48" fmla="*/ 75 w 122"/>
                <a:gd name="T49" fmla="*/ 143 h 152"/>
                <a:gd name="T50" fmla="*/ 75 w 122"/>
                <a:gd name="T51" fmla="*/ 131 h 152"/>
                <a:gd name="T52" fmla="*/ 55 w 122"/>
                <a:gd name="T53" fmla="*/ 131 h 152"/>
                <a:gd name="T54" fmla="*/ 55 w 122"/>
                <a:gd name="T55" fmla="*/ 121 h 152"/>
                <a:gd name="T56" fmla="*/ 37 w 122"/>
                <a:gd name="T57" fmla="*/ 97 h 152"/>
                <a:gd name="T58" fmla="*/ 46 w 122"/>
                <a:gd name="T59" fmla="*/ 88 h 152"/>
                <a:gd name="T60" fmla="*/ 37 w 122"/>
                <a:gd name="T61" fmla="*/ 88 h 152"/>
                <a:gd name="T62" fmla="*/ 24 w 122"/>
                <a:gd name="T63" fmla="*/ 97 h 152"/>
                <a:gd name="T64" fmla="*/ 24 w 122"/>
                <a:gd name="T65" fmla="*/ 143 h 152"/>
                <a:gd name="T66" fmla="*/ 15 w 122"/>
                <a:gd name="T67" fmla="*/ 143 h 152"/>
                <a:gd name="T68" fmla="*/ 15 w 122"/>
                <a:gd name="T69" fmla="*/ 109 h 152"/>
                <a:gd name="T70" fmla="*/ 15 w 122"/>
                <a:gd name="T71" fmla="*/ 97 h 152"/>
                <a:gd name="T72" fmla="*/ 0 w 122"/>
                <a:gd name="T73" fmla="*/ 97 h 152"/>
                <a:gd name="T74" fmla="*/ 0 w 122"/>
                <a:gd name="T75" fmla="*/ 88 h 15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2"/>
                <a:gd name="T115" fmla="*/ 0 h 152"/>
                <a:gd name="T116" fmla="*/ 122 w 122"/>
                <a:gd name="T117" fmla="*/ 152 h 15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2" h="152">
                  <a:moveTo>
                    <a:pt x="0" y="88"/>
                  </a:moveTo>
                  <a:lnTo>
                    <a:pt x="24" y="45"/>
                  </a:lnTo>
                  <a:lnTo>
                    <a:pt x="24" y="12"/>
                  </a:lnTo>
                  <a:lnTo>
                    <a:pt x="37" y="12"/>
                  </a:lnTo>
                  <a:lnTo>
                    <a:pt x="46" y="0"/>
                  </a:lnTo>
                  <a:lnTo>
                    <a:pt x="76" y="12"/>
                  </a:lnTo>
                  <a:lnTo>
                    <a:pt x="101" y="12"/>
                  </a:lnTo>
                  <a:lnTo>
                    <a:pt x="113" y="0"/>
                  </a:lnTo>
                  <a:lnTo>
                    <a:pt x="122" y="0"/>
                  </a:lnTo>
                  <a:lnTo>
                    <a:pt x="113" y="21"/>
                  </a:lnTo>
                  <a:lnTo>
                    <a:pt x="91" y="21"/>
                  </a:lnTo>
                  <a:lnTo>
                    <a:pt x="37" y="21"/>
                  </a:lnTo>
                  <a:lnTo>
                    <a:pt x="24" y="36"/>
                  </a:lnTo>
                  <a:lnTo>
                    <a:pt x="24" y="45"/>
                  </a:lnTo>
                  <a:lnTo>
                    <a:pt x="37" y="54"/>
                  </a:lnTo>
                  <a:lnTo>
                    <a:pt x="76" y="45"/>
                  </a:lnTo>
                  <a:lnTo>
                    <a:pt x="91" y="54"/>
                  </a:lnTo>
                  <a:lnTo>
                    <a:pt x="76" y="54"/>
                  </a:lnTo>
                  <a:lnTo>
                    <a:pt x="55" y="67"/>
                  </a:lnTo>
                  <a:lnTo>
                    <a:pt x="67" y="97"/>
                  </a:lnTo>
                  <a:lnTo>
                    <a:pt x="55" y="97"/>
                  </a:lnTo>
                  <a:lnTo>
                    <a:pt x="76" y="131"/>
                  </a:lnTo>
                  <a:lnTo>
                    <a:pt x="76" y="143"/>
                  </a:lnTo>
                  <a:lnTo>
                    <a:pt x="67" y="152"/>
                  </a:lnTo>
                  <a:lnTo>
                    <a:pt x="67" y="143"/>
                  </a:lnTo>
                  <a:lnTo>
                    <a:pt x="67" y="131"/>
                  </a:lnTo>
                  <a:lnTo>
                    <a:pt x="55" y="131"/>
                  </a:lnTo>
                  <a:lnTo>
                    <a:pt x="55" y="121"/>
                  </a:lnTo>
                  <a:lnTo>
                    <a:pt x="37" y="97"/>
                  </a:lnTo>
                  <a:lnTo>
                    <a:pt x="46" y="88"/>
                  </a:lnTo>
                  <a:lnTo>
                    <a:pt x="37" y="88"/>
                  </a:lnTo>
                  <a:lnTo>
                    <a:pt x="24" y="97"/>
                  </a:lnTo>
                  <a:lnTo>
                    <a:pt x="24" y="143"/>
                  </a:lnTo>
                  <a:lnTo>
                    <a:pt x="15" y="143"/>
                  </a:lnTo>
                  <a:lnTo>
                    <a:pt x="15" y="109"/>
                  </a:lnTo>
                  <a:lnTo>
                    <a:pt x="15" y="97"/>
                  </a:lnTo>
                  <a:lnTo>
                    <a:pt x="0" y="97"/>
                  </a:lnTo>
                  <a:lnTo>
                    <a:pt x="0" y="88"/>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1008" name="Freeform 1007"/>
            <p:cNvSpPr>
              <a:spLocks/>
            </p:cNvSpPr>
            <p:nvPr/>
          </p:nvSpPr>
          <p:spPr bwMode="auto">
            <a:xfrm>
              <a:off x="6978490" y="4249226"/>
              <a:ext cx="34208" cy="61724"/>
            </a:xfrm>
            <a:custGeom>
              <a:avLst/>
              <a:gdLst>
                <a:gd name="T0" fmla="*/ 0 w 34"/>
                <a:gd name="T1" fmla="*/ 21 h 63"/>
                <a:gd name="T2" fmla="*/ 13 w 34"/>
                <a:gd name="T3" fmla="*/ 0 h 63"/>
                <a:gd name="T4" fmla="*/ 22 w 34"/>
                <a:gd name="T5" fmla="*/ 9 h 63"/>
                <a:gd name="T6" fmla="*/ 34 w 34"/>
                <a:gd name="T7" fmla="*/ 9 h 63"/>
                <a:gd name="T8" fmla="*/ 34 w 34"/>
                <a:gd name="T9" fmla="*/ 21 h 63"/>
                <a:gd name="T10" fmla="*/ 22 w 34"/>
                <a:gd name="T11" fmla="*/ 21 h 63"/>
                <a:gd name="T12" fmla="*/ 22 w 34"/>
                <a:gd name="T13" fmla="*/ 30 h 63"/>
                <a:gd name="T14" fmla="*/ 13 w 34"/>
                <a:gd name="T15" fmla="*/ 30 h 63"/>
                <a:gd name="T16" fmla="*/ 13 w 34"/>
                <a:gd name="T17" fmla="*/ 45 h 63"/>
                <a:gd name="T18" fmla="*/ 22 w 34"/>
                <a:gd name="T19" fmla="*/ 63 h 63"/>
                <a:gd name="T20" fmla="*/ 13 w 34"/>
                <a:gd name="T21" fmla="*/ 45 h 63"/>
                <a:gd name="T22" fmla="*/ 0 w 34"/>
                <a:gd name="T23" fmla="*/ 21 h 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63"/>
                <a:gd name="T38" fmla="*/ 34 w 34"/>
                <a:gd name="T39" fmla="*/ 63 h 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63">
                  <a:moveTo>
                    <a:pt x="0" y="21"/>
                  </a:moveTo>
                  <a:lnTo>
                    <a:pt x="13" y="0"/>
                  </a:lnTo>
                  <a:lnTo>
                    <a:pt x="22" y="9"/>
                  </a:lnTo>
                  <a:lnTo>
                    <a:pt x="34" y="9"/>
                  </a:lnTo>
                  <a:lnTo>
                    <a:pt x="34" y="21"/>
                  </a:lnTo>
                  <a:lnTo>
                    <a:pt x="22" y="21"/>
                  </a:lnTo>
                  <a:lnTo>
                    <a:pt x="22" y="30"/>
                  </a:lnTo>
                  <a:lnTo>
                    <a:pt x="13" y="30"/>
                  </a:lnTo>
                  <a:lnTo>
                    <a:pt x="13" y="45"/>
                  </a:lnTo>
                  <a:lnTo>
                    <a:pt x="22" y="63"/>
                  </a:lnTo>
                  <a:lnTo>
                    <a:pt x="13" y="45"/>
                  </a:lnTo>
                  <a:lnTo>
                    <a:pt x="0" y="21"/>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1009" name="Freeform 1008"/>
            <p:cNvSpPr>
              <a:spLocks/>
            </p:cNvSpPr>
            <p:nvPr/>
          </p:nvSpPr>
          <p:spPr bwMode="auto">
            <a:xfrm>
              <a:off x="6991993" y="4344705"/>
              <a:ext cx="53112" cy="20253"/>
            </a:xfrm>
            <a:custGeom>
              <a:avLst/>
              <a:gdLst>
                <a:gd name="T0" fmla="*/ 0 w 54"/>
                <a:gd name="T1" fmla="*/ 9 h 21"/>
                <a:gd name="T2" fmla="*/ 9 w 54"/>
                <a:gd name="T3" fmla="*/ 0 h 21"/>
                <a:gd name="T4" fmla="*/ 30 w 54"/>
                <a:gd name="T5" fmla="*/ 0 h 21"/>
                <a:gd name="T6" fmla="*/ 39 w 54"/>
                <a:gd name="T7" fmla="*/ 9 h 21"/>
                <a:gd name="T8" fmla="*/ 54 w 54"/>
                <a:gd name="T9" fmla="*/ 21 h 21"/>
                <a:gd name="T10" fmla="*/ 0 w 54"/>
                <a:gd name="T11" fmla="*/ 9 h 21"/>
                <a:gd name="T12" fmla="*/ 0 60000 65536"/>
                <a:gd name="T13" fmla="*/ 0 60000 65536"/>
                <a:gd name="T14" fmla="*/ 0 60000 65536"/>
                <a:gd name="T15" fmla="*/ 0 60000 65536"/>
                <a:gd name="T16" fmla="*/ 0 60000 65536"/>
                <a:gd name="T17" fmla="*/ 0 60000 65536"/>
                <a:gd name="T18" fmla="*/ 0 w 54"/>
                <a:gd name="T19" fmla="*/ 0 h 21"/>
                <a:gd name="T20" fmla="*/ 54 w 54"/>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54" h="21">
                  <a:moveTo>
                    <a:pt x="0" y="9"/>
                  </a:moveTo>
                  <a:lnTo>
                    <a:pt x="9" y="0"/>
                  </a:lnTo>
                  <a:lnTo>
                    <a:pt x="30" y="0"/>
                  </a:lnTo>
                  <a:lnTo>
                    <a:pt x="39" y="9"/>
                  </a:lnTo>
                  <a:lnTo>
                    <a:pt x="54" y="21"/>
                  </a:lnTo>
                  <a:lnTo>
                    <a:pt x="0" y="9"/>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1010" name="Freeform 1009"/>
            <p:cNvSpPr>
              <a:spLocks/>
            </p:cNvSpPr>
            <p:nvPr/>
          </p:nvSpPr>
          <p:spPr bwMode="auto">
            <a:xfrm>
              <a:off x="6825453" y="3918426"/>
              <a:ext cx="90021" cy="107052"/>
            </a:xfrm>
            <a:custGeom>
              <a:avLst/>
              <a:gdLst>
                <a:gd name="T0" fmla="*/ 0 w 91"/>
                <a:gd name="T1" fmla="*/ 45 h 109"/>
                <a:gd name="T2" fmla="*/ 15 w 91"/>
                <a:gd name="T3" fmla="*/ 45 h 109"/>
                <a:gd name="T4" fmla="*/ 0 w 91"/>
                <a:gd name="T5" fmla="*/ 0 h 109"/>
                <a:gd name="T6" fmla="*/ 37 w 91"/>
                <a:gd name="T7" fmla="*/ 0 h 109"/>
                <a:gd name="T8" fmla="*/ 37 w 91"/>
                <a:gd name="T9" fmla="*/ 24 h 109"/>
                <a:gd name="T10" fmla="*/ 46 w 91"/>
                <a:gd name="T11" fmla="*/ 33 h 109"/>
                <a:gd name="T12" fmla="*/ 37 w 91"/>
                <a:gd name="T13" fmla="*/ 67 h 109"/>
                <a:gd name="T14" fmla="*/ 46 w 91"/>
                <a:gd name="T15" fmla="*/ 88 h 109"/>
                <a:gd name="T16" fmla="*/ 46 w 91"/>
                <a:gd name="T17" fmla="*/ 100 h 109"/>
                <a:gd name="T18" fmla="*/ 55 w 91"/>
                <a:gd name="T19" fmla="*/ 88 h 109"/>
                <a:gd name="T20" fmla="*/ 76 w 91"/>
                <a:gd name="T21" fmla="*/ 100 h 109"/>
                <a:gd name="T22" fmla="*/ 91 w 91"/>
                <a:gd name="T23" fmla="*/ 109 h 109"/>
                <a:gd name="T24" fmla="*/ 67 w 91"/>
                <a:gd name="T25" fmla="*/ 109 h 109"/>
                <a:gd name="T26" fmla="*/ 55 w 91"/>
                <a:gd name="T27" fmla="*/ 100 h 109"/>
                <a:gd name="T28" fmla="*/ 55 w 91"/>
                <a:gd name="T29" fmla="*/ 109 h 109"/>
                <a:gd name="T30" fmla="*/ 37 w 91"/>
                <a:gd name="T31" fmla="*/ 100 h 109"/>
                <a:gd name="T32" fmla="*/ 24 w 91"/>
                <a:gd name="T33" fmla="*/ 100 h 109"/>
                <a:gd name="T34" fmla="*/ 24 w 91"/>
                <a:gd name="T35" fmla="*/ 76 h 109"/>
                <a:gd name="T36" fmla="*/ 0 w 91"/>
                <a:gd name="T37" fmla="*/ 76 h 109"/>
                <a:gd name="T38" fmla="*/ 0 w 91"/>
                <a:gd name="T39" fmla="*/ 45 h 1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1"/>
                <a:gd name="T61" fmla="*/ 0 h 109"/>
                <a:gd name="T62" fmla="*/ 91 w 91"/>
                <a:gd name="T63" fmla="*/ 109 h 10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1" h="109">
                  <a:moveTo>
                    <a:pt x="0" y="45"/>
                  </a:moveTo>
                  <a:lnTo>
                    <a:pt x="15" y="45"/>
                  </a:lnTo>
                  <a:lnTo>
                    <a:pt x="0" y="0"/>
                  </a:lnTo>
                  <a:lnTo>
                    <a:pt x="37" y="0"/>
                  </a:lnTo>
                  <a:lnTo>
                    <a:pt x="37" y="24"/>
                  </a:lnTo>
                  <a:lnTo>
                    <a:pt x="46" y="33"/>
                  </a:lnTo>
                  <a:lnTo>
                    <a:pt x="37" y="67"/>
                  </a:lnTo>
                  <a:lnTo>
                    <a:pt x="46" y="88"/>
                  </a:lnTo>
                  <a:lnTo>
                    <a:pt x="46" y="100"/>
                  </a:lnTo>
                  <a:lnTo>
                    <a:pt x="55" y="88"/>
                  </a:lnTo>
                  <a:lnTo>
                    <a:pt x="76" y="100"/>
                  </a:lnTo>
                  <a:lnTo>
                    <a:pt x="91" y="109"/>
                  </a:lnTo>
                  <a:lnTo>
                    <a:pt x="67" y="109"/>
                  </a:lnTo>
                  <a:lnTo>
                    <a:pt x="55" y="100"/>
                  </a:lnTo>
                  <a:lnTo>
                    <a:pt x="55" y="109"/>
                  </a:lnTo>
                  <a:lnTo>
                    <a:pt x="37" y="100"/>
                  </a:lnTo>
                  <a:lnTo>
                    <a:pt x="24" y="100"/>
                  </a:lnTo>
                  <a:lnTo>
                    <a:pt x="24" y="76"/>
                  </a:lnTo>
                  <a:lnTo>
                    <a:pt x="0" y="76"/>
                  </a:lnTo>
                  <a:lnTo>
                    <a:pt x="0" y="45"/>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1011" name="Freeform 1010"/>
            <p:cNvSpPr>
              <a:spLocks/>
            </p:cNvSpPr>
            <p:nvPr/>
          </p:nvSpPr>
          <p:spPr bwMode="auto">
            <a:xfrm>
              <a:off x="6795746" y="4066948"/>
              <a:ext cx="44110" cy="54008"/>
            </a:xfrm>
            <a:custGeom>
              <a:avLst/>
              <a:gdLst>
                <a:gd name="T0" fmla="*/ 0 w 45"/>
                <a:gd name="T1" fmla="*/ 55 h 55"/>
                <a:gd name="T2" fmla="*/ 30 w 45"/>
                <a:gd name="T3" fmla="*/ 12 h 55"/>
                <a:gd name="T4" fmla="*/ 30 w 45"/>
                <a:gd name="T5" fmla="*/ 0 h 55"/>
                <a:gd name="T6" fmla="*/ 45 w 45"/>
                <a:gd name="T7" fmla="*/ 12 h 55"/>
                <a:gd name="T8" fmla="*/ 0 w 45"/>
                <a:gd name="T9" fmla="*/ 55 h 55"/>
                <a:gd name="T10" fmla="*/ 0 60000 65536"/>
                <a:gd name="T11" fmla="*/ 0 60000 65536"/>
                <a:gd name="T12" fmla="*/ 0 60000 65536"/>
                <a:gd name="T13" fmla="*/ 0 60000 65536"/>
                <a:gd name="T14" fmla="*/ 0 60000 65536"/>
                <a:gd name="T15" fmla="*/ 0 w 45"/>
                <a:gd name="T16" fmla="*/ 0 h 55"/>
                <a:gd name="T17" fmla="*/ 45 w 45"/>
                <a:gd name="T18" fmla="*/ 55 h 55"/>
              </a:gdLst>
              <a:ahLst/>
              <a:cxnLst>
                <a:cxn ang="T10">
                  <a:pos x="T0" y="T1"/>
                </a:cxn>
                <a:cxn ang="T11">
                  <a:pos x="T2" y="T3"/>
                </a:cxn>
                <a:cxn ang="T12">
                  <a:pos x="T4" y="T5"/>
                </a:cxn>
                <a:cxn ang="T13">
                  <a:pos x="T6" y="T7"/>
                </a:cxn>
                <a:cxn ang="T14">
                  <a:pos x="T8" y="T9"/>
                </a:cxn>
              </a:cxnLst>
              <a:rect l="T15" t="T16" r="T17" b="T18"/>
              <a:pathLst>
                <a:path w="45" h="55">
                  <a:moveTo>
                    <a:pt x="0" y="55"/>
                  </a:moveTo>
                  <a:lnTo>
                    <a:pt x="30" y="12"/>
                  </a:lnTo>
                  <a:lnTo>
                    <a:pt x="30" y="0"/>
                  </a:lnTo>
                  <a:lnTo>
                    <a:pt x="45" y="12"/>
                  </a:lnTo>
                  <a:lnTo>
                    <a:pt x="0" y="55"/>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1012" name="Freeform 1011"/>
            <p:cNvSpPr>
              <a:spLocks/>
            </p:cNvSpPr>
            <p:nvPr/>
          </p:nvSpPr>
          <p:spPr bwMode="auto">
            <a:xfrm>
              <a:off x="6915475" y="4037051"/>
              <a:ext cx="21605" cy="54008"/>
            </a:xfrm>
            <a:custGeom>
              <a:avLst/>
              <a:gdLst>
                <a:gd name="T0" fmla="*/ 0 w 22"/>
                <a:gd name="T1" fmla="*/ 0 h 55"/>
                <a:gd name="T2" fmla="*/ 22 w 22"/>
                <a:gd name="T3" fmla="*/ 0 h 55"/>
                <a:gd name="T4" fmla="*/ 22 w 22"/>
                <a:gd name="T5" fmla="*/ 10 h 55"/>
                <a:gd name="T6" fmla="*/ 22 w 22"/>
                <a:gd name="T7" fmla="*/ 31 h 55"/>
                <a:gd name="T8" fmla="*/ 10 w 22"/>
                <a:gd name="T9" fmla="*/ 31 h 55"/>
                <a:gd name="T10" fmla="*/ 22 w 22"/>
                <a:gd name="T11" fmla="*/ 43 h 55"/>
                <a:gd name="T12" fmla="*/ 10 w 22"/>
                <a:gd name="T13" fmla="*/ 55 h 55"/>
                <a:gd name="T14" fmla="*/ 10 w 22"/>
                <a:gd name="T15" fmla="*/ 31 h 55"/>
                <a:gd name="T16" fmla="*/ 0 w 22"/>
                <a:gd name="T17" fmla="*/ 31 h 55"/>
                <a:gd name="T18" fmla="*/ 0 w 22"/>
                <a:gd name="T19" fmla="*/ 22 h 55"/>
                <a:gd name="T20" fmla="*/ 10 w 22"/>
                <a:gd name="T21" fmla="*/ 22 h 55"/>
                <a:gd name="T22" fmla="*/ 0 w 22"/>
                <a:gd name="T23" fmla="*/ 0 h 5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55"/>
                <a:gd name="T38" fmla="*/ 22 w 22"/>
                <a:gd name="T39" fmla="*/ 55 h 5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55">
                  <a:moveTo>
                    <a:pt x="0" y="0"/>
                  </a:moveTo>
                  <a:lnTo>
                    <a:pt x="22" y="0"/>
                  </a:lnTo>
                  <a:lnTo>
                    <a:pt x="22" y="10"/>
                  </a:lnTo>
                  <a:lnTo>
                    <a:pt x="22" y="31"/>
                  </a:lnTo>
                  <a:lnTo>
                    <a:pt x="10" y="31"/>
                  </a:lnTo>
                  <a:lnTo>
                    <a:pt x="22" y="43"/>
                  </a:lnTo>
                  <a:lnTo>
                    <a:pt x="10" y="55"/>
                  </a:lnTo>
                  <a:lnTo>
                    <a:pt x="10" y="31"/>
                  </a:lnTo>
                  <a:lnTo>
                    <a:pt x="0" y="31"/>
                  </a:lnTo>
                  <a:lnTo>
                    <a:pt x="0" y="22"/>
                  </a:lnTo>
                  <a:lnTo>
                    <a:pt x="10" y="22"/>
                  </a:lnTo>
                  <a:lnTo>
                    <a:pt x="0" y="0"/>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1013" name="Freeform 1012"/>
            <p:cNvSpPr>
              <a:spLocks/>
            </p:cNvSpPr>
            <p:nvPr/>
          </p:nvSpPr>
          <p:spPr bwMode="auto">
            <a:xfrm>
              <a:off x="6870464" y="4046695"/>
              <a:ext cx="54913" cy="64617"/>
            </a:xfrm>
            <a:custGeom>
              <a:avLst/>
              <a:gdLst>
                <a:gd name="T0" fmla="*/ 0 w 55"/>
                <a:gd name="T1" fmla="*/ 33 h 66"/>
                <a:gd name="T2" fmla="*/ 0 w 55"/>
                <a:gd name="T3" fmla="*/ 0 h 66"/>
                <a:gd name="T4" fmla="*/ 9 w 55"/>
                <a:gd name="T5" fmla="*/ 12 h 66"/>
                <a:gd name="T6" fmla="*/ 21 w 55"/>
                <a:gd name="T7" fmla="*/ 12 h 66"/>
                <a:gd name="T8" fmla="*/ 30 w 55"/>
                <a:gd name="T9" fmla="*/ 33 h 66"/>
                <a:gd name="T10" fmla="*/ 45 w 55"/>
                <a:gd name="T11" fmla="*/ 21 h 66"/>
                <a:gd name="T12" fmla="*/ 45 w 55"/>
                <a:gd name="T13" fmla="*/ 45 h 66"/>
                <a:gd name="T14" fmla="*/ 55 w 55"/>
                <a:gd name="T15" fmla="*/ 45 h 66"/>
                <a:gd name="T16" fmla="*/ 55 w 55"/>
                <a:gd name="T17" fmla="*/ 54 h 66"/>
                <a:gd name="T18" fmla="*/ 45 w 55"/>
                <a:gd name="T19" fmla="*/ 54 h 66"/>
                <a:gd name="T20" fmla="*/ 45 w 55"/>
                <a:gd name="T21" fmla="*/ 45 h 66"/>
                <a:gd name="T22" fmla="*/ 30 w 55"/>
                <a:gd name="T23" fmla="*/ 54 h 66"/>
                <a:gd name="T24" fmla="*/ 30 w 55"/>
                <a:gd name="T25" fmla="*/ 45 h 66"/>
                <a:gd name="T26" fmla="*/ 30 w 55"/>
                <a:gd name="T27" fmla="*/ 54 h 66"/>
                <a:gd name="T28" fmla="*/ 21 w 55"/>
                <a:gd name="T29" fmla="*/ 66 h 66"/>
                <a:gd name="T30" fmla="*/ 9 w 55"/>
                <a:gd name="T31" fmla="*/ 45 h 66"/>
                <a:gd name="T32" fmla="*/ 21 w 55"/>
                <a:gd name="T33" fmla="*/ 45 h 66"/>
                <a:gd name="T34" fmla="*/ 21 w 55"/>
                <a:gd name="T35" fmla="*/ 33 h 66"/>
                <a:gd name="T36" fmla="*/ 0 w 55"/>
                <a:gd name="T37" fmla="*/ 33 h 6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5"/>
                <a:gd name="T58" fmla="*/ 0 h 66"/>
                <a:gd name="T59" fmla="*/ 55 w 55"/>
                <a:gd name="T60" fmla="*/ 66 h 6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5" h="66">
                  <a:moveTo>
                    <a:pt x="0" y="33"/>
                  </a:moveTo>
                  <a:lnTo>
                    <a:pt x="0" y="0"/>
                  </a:lnTo>
                  <a:lnTo>
                    <a:pt x="9" y="12"/>
                  </a:lnTo>
                  <a:lnTo>
                    <a:pt x="21" y="12"/>
                  </a:lnTo>
                  <a:lnTo>
                    <a:pt x="30" y="33"/>
                  </a:lnTo>
                  <a:lnTo>
                    <a:pt x="45" y="21"/>
                  </a:lnTo>
                  <a:lnTo>
                    <a:pt x="45" y="45"/>
                  </a:lnTo>
                  <a:lnTo>
                    <a:pt x="55" y="45"/>
                  </a:lnTo>
                  <a:lnTo>
                    <a:pt x="55" y="54"/>
                  </a:lnTo>
                  <a:lnTo>
                    <a:pt x="45" y="54"/>
                  </a:lnTo>
                  <a:lnTo>
                    <a:pt x="45" y="45"/>
                  </a:lnTo>
                  <a:lnTo>
                    <a:pt x="30" y="54"/>
                  </a:lnTo>
                  <a:lnTo>
                    <a:pt x="30" y="45"/>
                  </a:lnTo>
                  <a:lnTo>
                    <a:pt x="30" y="54"/>
                  </a:lnTo>
                  <a:lnTo>
                    <a:pt x="21" y="66"/>
                  </a:lnTo>
                  <a:lnTo>
                    <a:pt x="9" y="45"/>
                  </a:lnTo>
                  <a:lnTo>
                    <a:pt x="21" y="45"/>
                  </a:lnTo>
                  <a:lnTo>
                    <a:pt x="21" y="33"/>
                  </a:lnTo>
                  <a:lnTo>
                    <a:pt x="0" y="33"/>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1014" name="Freeform 1013"/>
            <p:cNvSpPr>
              <a:spLocks/>
            </p:cNvSpPr>
            <p:nvPr/>
          </p:nvSpPr>
          <p:spPr bwMode="auto">
            <a:xfrm>
              <a:off x="6879467" y="4091058"/>
              <a:ext cx="87321" cy="82941"/>
            </a:xfrm>
            <a:custGeom>
              <a:avLst/>
              <a:gdLst>
                <a:gd name="T0" fmla="*/ 0 w 88"/>
                <a:gd name="T1" fmla="*/ 52 h 85"/>
                <a:gd name="T2" fmla="*/ 0 w 88"/>
                <a:gd name="T3" fmla="*/ 43 h 85"/>
                <a:gd name="T4" fmla="*/ 21 w 88"/>
                <a:gd name="T5" fmla="*/ 31 h 85"/>
                <a:gd name="T6" fmla="*/ 36 w 88"/>
                <a:gd name="T7" fmla="*/ 31 h 85"/>
                <a:gd name="T8" fmla="*/ 36 w 88"/>
                <a:gd name="T9" fmla="*/ 43 h 85"/>
                <a:gd name="T10" fmla="*/ 46 w 88"/>
                <a:gd name="T11" fmla="*/ 31 h 85"/>
                <a:gd name="T12" fmla="*/ 46 w 88"/>
                <a:gd name="T13" fmla="*/ 21 h 85"/>
                <a:gd name="T14" fmla="*/ 58 w 88"/>
                <a:gd name="T15" fmla="*/ 21 h 85"/>
                <a:gd name="T16" fmla="*/ 67 w 88"/>
                <a:gd name="T17" fmla="*/ 21 h 85"/>
                <a:gd name="T18" fmla="*/ 58 w 88"/>
                <a:gd name="T19" fmla="*/ 0 h 85"/>
                <a:gd name="T20" fmla="*/ 76 w 88"/>
                <a:gd name="T21" fmla="*/ 21 h 85"/>
                <a:gd name="T22" fmla="*/ 88 w 88"/>
                <a:gd name="T23" fmla="*/ 52 h 85"/>
                <a:gd name="T24" fmla="*/ 76 w 88"/>
                <a:gd name="T25" fmla="*/ 76 h 85"/>
                <a:gd name="T26" fmla="*/ 67 w 88"/>
                <a:gd name="T27" fmla="*/ 52 h 85"/>
                <a:gd name="T28" fmla="*/ 67 w 88"/>
                <a:gd name="T29" fmla="*/ 64 h 85"/>
                <a:gd name="T30" fmla="*/ 67 w 88"/>
                <a:gd name="T31" fmla="*/ 76 h 85"/>
                <a:gd name="T32" fmla="*/ 67 w 88"/>
                <a:gd name="T33" fmla="*/ 85 h 85"/>
                <a:gd name="T34" fmla="*/ 36 w 88"/>
                <a:gd name="T35" fmla="*/ 76 h 85"/>
                <a:gd name="T36" fmla="*/ 46 w 88"/>
                <a:gd name="T37" fmla="*/ 52 h 85"/>
                <a:gd name="T38" fmla="*/ 36 w 88"/>
                <a:gd name="T39" fmla="*/ 43 h 85"/>
                <a:gd name="T40" fmla="*/ 12 w 88"/>
                <a:gd name="T41" fmla="*/ 52 h 85"/>
                <a:gd name="T42" fmla="*/ 12 w 88"/>
                <a:gd name="T43" fmla="*/ 43 h 85"/>
                <a:gd name="T44" fmla="*/ 0 w 88"/>
                <a:gd name="T45" fmla="*/ 64 h 85"/>
                <a:gd name="T46" fmla="*/ 0 w 88"/>
                <a:gd name="T47" fmla="*/ 52 h 8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8"/>
                <a:gd name="T73" fmla="*/ 0 h 85"/>
                <a:gd name="T74" fmla="*/ 88 w 88"/>
                <a:gd name="T75" fmla="*/ 85 h 8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8" h="85">
                  <a:moveTo>
                    <a:pt x="0" y="52"/>
                  </a:moveTo>
                  <a:lnTo>
                    <a:pt x="0" y="43"/>
                  </a:lnTo>
                  <a:lnTo>
                    <a:pt x="21" y="31"/>
                  </a:lnTo>
                  <a:lnTo>
                    <a:pt x="36" y="31"/>
                  </a:lnTo>
                  <a:lnTo>
                    <a:pt x="36" y="43"/>
                  </a:lnTo>
                  <a:lnTo>
                    <a:pt x="46" y="31"/>
                  </a:lnTo>
                  <a:lnTo>
                    <a:pt x="46" y="21"/>
                  </a:lnTo>
                  <a:lnTo>
                    <a:pt x="58" y="21"/>
                  </a:lnTo>
                  <a:lnTo>
                    <a:pt x="67" y="21"/>
                  </a:lnTo>
                  <a:lnTo>
                    <a:pt x="58" y="0"/>
                  </a:lnTo>
                  <a:lnTo>
                    <a:pt x="76" y="21"/>
                  </a:lnTo>
                  <a:lnTo>
                    <a:pt x="88" y="52"/>
                  </a:lnTo>
                  <a:lnTo>
                    <a:pt x="76" y="76"/>
                  </a:lnTo>
                  <a:lnTo>
                    <a:pt x="67" y="52"/>
                  </a:lnTo>
                  <a:lnTo>
                    <a:pt x="67" y="64"/>
                  </a:lnTo>
                  <a:lnTo>
                    <a:pt x="67" y="76"/>
                  </a:lnTo>
                  <a:lnTo>
                    <a:pt x="67" y="85"/>
                  </a:lnTo>
                  <a:lnTo>
                    <a:pt x="36" y="76"/>
                  </a:lnTo>
                  <a:lnTo>
                    <a:pt x="46" y="52"/>
                  </a:lnTo>
                  <a:lnTo>
                    <a:pt x="36" y="43"/>
                  </a:lnTo>
                  <a:lnTo>
                    <a:pt x="12" y="52"/>
                  </a:lnTo>
                  <a:lnTo>
                    <a:pt x="12" y="43"/>
                  </a:lnTo>
                  <a:lnTo>
                    <a:pt x="0" y="64"/>
                  </a:lnTo>
                  <a:lnTo>
                    <a:pt x="0" y="52"/>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1015" name="Freeform 1014"/>
            <p:cNvSpPr>
              <a:spLocks/>
            </p:cNvSpPr>
            <p:nvPr/>
          </p:nvSpPr>
          <p:spPr bwMode="auto">
            <a:xfrm>
              <a:off x="7356582" y="4376531"/>
              <a:ext cx="74718" cy="39542"/>
            </a:xfrm>
            <a:custGeom>
              <a:avLst/>
              <a:gdLst>
                <a:gd name="T0" fmla="*/ 0 w 76"/>
                <a:gd name="T1" fmla="*/ 22 h 40"/>
                <a:gd name="T2" fmla="*/ 46 w 76"/>
                <a:gd name="T3" fmla="*/ 22 h 40"/>
                <a:gd name="T4" fmla="*/ 55 w 76"/>
                <a:gd name="T5" fmla="*/ 10 h 40"/>
                <a:gd name="T6" fmla="*/ 67 w 76"/>
                <a:gd name="T7" fmla="*/ 10 h 40"/>
                <a:gd name="T8" fmla="*/ 67 w 76"/>
                <a:gd name="T9" fmla="*/ 0 h 40"/>
                <a:gd name="T10" fmla="*/ 76 w 76"/>
                <a:gd name="T11" fmla="*/ 0 h 40"/>
                <a:gd name="T12" fmla="*/ 76 w 76"/>
                <a:gd name="T13" fmla="*/ 10 h 40"/>
                <a:gd name="T14" fmla="*/ 67 w 76"/>
                <a:gd name="T15" fmla="*/ 22 h 40"/>
                <a:gd name="T16" fmla="*/ 46 w 76"/>
                <a:gd name="T17" fmla="*/ 40 h 40"/>
                <a:gd name="T18" fmla="*/ 12 w 76"/>
                <a:gd name="T19" fmla="*/ 40 h 40"/>
                <a:gd name="T20" fmla="*/ 0 w 76"/>
                <a:gd name="T21" fmla="*/ 22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6"/>
                <a:gd name="T34" fmla="*/ 0 h 40"/>
                <a:gd name="T35" fmla="*/ 76 w 76"/>
                <a:gd name="T36" fmla="*/ 40 h 4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6" h="40">
                  <a:moveTo>
                    <a:pt x="0" y="22"/>
                  </a:moveTo>
                  <a:lnTo>
                    <a:pt x="46" y="22"/>
                  </a:lnTo>
                  <a:lnTo>
                    <a:pt x="55" y="10"/>
                  </a:lnTo>
                  <a:lnTo>
                    <a:pt x="67" y="10"/>
                  </a:lnTo>
                  <a:lnTo>
                    <a:pt x="67" y="0"/>
                  </a:lnTo>
                  <a:lnTo>
                    <a:pt x="76" y="0"/>
                  </a:lnTo>
                  <a:lnTo>
                    <a:pt x="76" y="10"/>
                  </a:lnTo>
                  <a:lnTo>
                    <a:pt x="67" y="22"/>
                  </a:lnTo>
                  <a:lnTo>
                    <a:pt x="46" y="40"/>
                  </a:lnTo>
                  <a:lnTo>
                    <a:pt x="12" y="40"/>
                  </a:lnTo>
                  <a:lnTo>
                    <a:pt x="0" y="22"/>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1016" name="Freeform 1015"/>
            <p:cNvSpPr>
              <a:spLocks/>
            </p:cNvSpPr>
            <p:nvPr/>
          </p:nvSpPr>
          <p:spPr bwMode="auto">
            <a:xfrm>
              <a:off x="7410594" y="4344705"/>
              <a:ext cx="36009" cy="41470"/>
            </a:xfrm>
            <a:custGeom>
              <a:avLst/>
              <a:gdLst>
                <a:gd name="T0" fmla="*/ 0 w 36"/>
                <a:gd name="T1" fmla="*/ 0 h 43"/>
                <a:gd name="T2" fmla="*/ 12 w 36"/>
                <a:gd name="T3" fmla="*/ 0 h 43"/>
                <a:gd name="T4" fmla="*/ 36 w 36"/>
                <a:gd name="T5" fmla="*/ 21 h 43"/>
                <a:gd name="T6" fmla="*/ 36 w 36"/>
                <a:gd name="T7" fmla="*/ 43 h 43"/>
                <a:gd name="T8" fmla="*/ 21 w 36"/>
                <a:gd name="T9" fmla="*/ 21 h 43"/>
                <a:gd name="T10" fmla="*/ 0 w 36"/>
                <a:gd name="T11" fmla="*/ 0 h 43"/>
                <a:gd name="T12" fmla="*/ 0 60000 65536"/>
                <a:gd name="T13" fmla="*/ 0 60000 65536"/>
                <a:gd name="T14" fmla="*/ 0 60000 65536"/>
                <a:gd name="T15" fmla="*/ 0 60000 65536"/>
                <a:gd name="T16" fmla="*/ 0 60000 65536"/>
                <a:gd name="T17" fmla="*/ 0 60000 65536"/>
                <a:gd name="T18" fmla="*/ 0 w 36"/>
                <a:gd name="T19" fmla="*/ 0 h 43"/>
                <a:gd name="T20" fmla="*/ 36 w 36"/>
                <a:gd name="T21" fmla="*/ 43 h 43"/>
              </a:gdLst>
              <a:ahLst/>
              <a:cxnLst>
                <a:cxn ang="T12">
                  <a:pos x="T0" y="T1"/>
                </a:cxn>
                <a:cxn ang="T13">
                  <a:pos x="T2" y="T3"/>
                </a:cxn>
                <a:cxn ang="T14">
                  <a:pos x="T4" y="T5"/>
                </a:cxn>
                <a:cxn ang="T15">
                  <a:pos x="T6" y="T7"/>
                </a:cxn>
                <a:cxn ang="T16">
                  <a:pos x="T8" y="T9"/>
                </a:cxn>
                <a:cxn ang="T17">
                  <a:pos x="T10" y="T11"/>
                </a:cxn>
              </a:cxnLst>
              <a:rect l="T18" t="T19" r="T20" b="T21"/>
              <a:pathLst>
                <a:path w="36" h="43">
                  <a:moveTo>
                    <a:pt x="0" y="0"/>
                  </a:moveTo>
                  <a:lnTo>
                    <a:pt x="12" y="0"/>
                  </a:lnTo>
                  <a:lnTo>
                    <a:pt x="36" y="21"/>
                  </a:lnTo>
                  <a:lnTo>
                    <a:pt x="36" y="43"/>
                  </a:lnTo>
                  <a:lnTo>
                    <a:pt x="21" y="21"/>
                  </a:lnTo>
                  <a:lnTo>
                    <a:pt x="0"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1017" name="Freeform 1016"/>
            <p:cNvSpPr>
              <a:spLocks/>
            </p:cNvSpPr>
            <p:nvPr/>
          </p:nvSpPr>
          <p:spPr bwMode="auto">
            <a:xfrm>
              <a:off x="7597840" y="4692864"/>
              <a:ext cx="42311" cy="45328"/>
            </a:xfrm>
            <a:custGeom>
              <a:avLst/>
              <a:gdLst>
                <a:gd name="T0" fmla="*/ 0 w 42"/>
                <a:gd name="T1" fmla="*/ 0 h 46"/>
                <a:gd name="T2" fmla="*/ 18 w 42"/>
                <a:gd name="T3" fmla="*/ 9 h 46"/>
                <a:gd name="T4" fmla="*/ 42 w 42"/>
                <a:gd name="T5" fmla="*/ 46 h 46"/>
                <a:gd name="T6" fmla="*/ 30 w 42"/>
                <a:gd name="T7" fmla="*/ 46 h 46"/>
                <a:gd name="T8" fmla="*/ 9 w 42"/>
                <a:gd name="T9" fmla="*/ 25 h 46"/>
                <a:gd name="T10" fmla="*/ 0 w 42"/>
                <a:gd name="T11" fmla="*/ 0 h 46"/>
                <a:gd name="T12" fmla="*/ 0 60000 65536"/>
                <a:gd name="T13" fmla="*/ 0 60000 65536"/>
                <a:gd name="T14" fmla="*/ 0 60000 65536"/>
                <a:gd name="T15" fmla="*/ 0 60000 65536"/>
                <a:gd name="T16" fmla="*/ 0 60000 65536"/>
                <a:gd name="T17" fmla="*/ 0 60000 65536"/>
                <a:gd name="T18" fmla="*/ 0 w 42"/>
                <a:gd name="T19" fmla="*/ 0 h 46"/>
                <a:gd name="T20" fmla="*/ 42 w 42"/>
                <a:gd name="T21" fmla="*/ 46 h 46"/>
              </a:gdLst>
              <a:ahLst/>
              <a:cxnLst>
                <a:cxn ang="T12">
                  <a:pos x="T0" y="T1"/>
                </a:cxn>
                <a:cxn ang="T13">
                  <a:pos x="T2" y="T3"/>
                </a:cxn>
                <a:cxn ang="T14">
                  <a:pos x="T4" y="T5"/>
                </a:cxn>
                <a:cxn ang="T15">
                  <a:pos x="T6" y="T7"/>
                </a:cxn>
                <a:cxn ang="T16">
                  <a:pos x="T8" y="T9"/>
                </a:cxn>
                <a:cxn ang="T17">
                  <a:pos x="T10" y="T11"/>
                </a:cxn>
              </a:cxnLst>
              <a:rect l="T18" t="T19" r="T20" b="T21"/>
              <a:pathLst>
                <a:path w="42" h="46">
                  <a:moveTo>
                    <a:pt x="0" y="0"/>
                  </a:moveTo>
                  <a:lnTo>
                    <a:pt x="18" y="9"/>
                  </a:lnTo>
                  <a:lnTo>
                    <a:pt x="42" y="46"/>
                  </a:lnTo>
                  <a:lnTo>
                    <a:pt x="30" y="46"/>
                  </a:lnTo>
                  <a:lnTo>
                    <a:pt x="9" y="25"/>
                  </a:lnTo>
                  <a:lnTo>
                    <a:pt x="0" y="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1018" name="Freeform 1017"/>
            <p:cNvSpPr>
              <a:spLocks/>
            </p:cNvSpPr>
            <p:nvPr/>
          </p:nvSpPr>
          <p:spPr bwMode="auto">
            <a:xfrm>
              <a:off x="6870464" y="3208603"/>
              <a:ext cx="142234" cy="157202"/>
            </a:xfrm>
            <a:custGeom>
              <a:avLst/>
              <a:gdLst>
                <a:gd name="T0" fmla="*/ 9 w 143"/>
                <a:gd name="T1" fmla="*/ 21 h 161"/>
                <a:gd name="T2" fmla="*/ 9 w 143"/>
                <a:gd name="T3" fmla="*/ 9 h 161"/>
                <a:gd name="T4" fmla="*/ 0 w 143"/>
                <a:gd name="T5" fmla="*/ 0 h 161"/>
                <a:gd name="T6" fmla="*/ 21 w 143"/>
                <a:gd name="T7" fmla="*/ 0 h 161"/>
                <a:gd name="T8" fmla="*/ 122 w 143"/>
                <a:gd name="T9" fmla="*/ 94 h 161"/>
                <a:gd name="T10" fmla="*/ 97 w 143"/>
                <a:gd name="T11" fmla="*/ 94 h 161"/>
                <a:gd name="T12" fmla="*/ 97 w 143"/>
                <a:gd name="T13" fmla="*/ 119 h 161"/>
                <a:gd name="T14" fmla="*/ 143 w 143"/>
                <a:gd name="T15" fmla="*/ 152 h 161"/>
                <a:gd name="T16" fmla="*/ 122 w 143"/>
                <a:gd name="T17" fmla="*/ 152 h 161"/>
                <a:gd name="T18" fmla="*/ 122 w 143"/>
                <a:gd name="T19" fmla="*/ 161 h 161"/>
                <a:gd name="T20" fmla="*/ 109 w 143"/>
                <a:gd name="T21" fmla="*/ 152 h 161"/>
                <a:gd name="T22" fmla="*/ 97 w 143"/>
                <a:gd name="T23" fmla="*/ 119 h 161"/>
                <a:gd name="T24" fmla="*/ 9 w 143"/>
                <a:gd name="T25" fmla="*/ 21 h 16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3"/>
                <a:gd name="T40" fmla="*/ 0 h 161"/>
                <a:gd name="T41" fmla="*/ 143 w 143"/>
                <a:gd name="T42" fmla="*/ 161 h 16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3" h="161">
                  <a:moveTo>
                    <a:pt x="9" y="21"/>
                  </a:moveTo>
                  <a:lnTo>
                    <a:pt x="9" y="9"/>
                  </a:lnTo>
                  <a:lnTo>
                    <a:pt x="0" y="0"/>
                  </a:lnTo>
                  <a:lnTo>
                    <a:pt x="21" y="0"/>
                  </a:lnTo>
                  <a:lnTo>
                    <a:pt x="122" y="94"/>
                  </a:lnTo>
                  <a:lnTo>
                    <a:pt x="97" y="94"/>
                  </a:lnTo>
                  <a:lnTo>
                    <a:pt x="97" y="119"/>
                  </a:lnTo>
                  <a:lnTo>
                    <a:pt x="143" y="152"/>
                  </a:lnTo>
                  <a:lnTo>
                    <a:pt x="122" y="152"/>
                  </a:lnTo>
                  <a:lnTo>
                    <a:pt x="122" y="161"/>
                  </a:lnTo>
                  <a:lnTo>
                    <a:pt x="109" y="152"/>
                  </a:lnTo>
                  <a:lnTo>
                    <a:pt x="97" y="119"/>
                  </a:lnTo>
                  <a:lnTo>
                    <a:pt x="9" y="21"/>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1019" name="Freeform 1018"/>
            <p:cNvSpPr>
              <a:spLocks/>
            </p:cNvSpPr>
            <p:nvPr/>
          </p:nvSpPr>
          <p:spPr bwMode="auto">
            <a:xfrm>
              <a:off x="6900171" y="4460437"/>
              <a:ext cx="78318" cy="29897"/>
            </a:xfrm>
            <a:custGeom>
              <a:avLst/>
              <a:gdLst>
                <a:gd name="T0" fmla="*/ 0 w 79"/>
                <a:gd name="T1" fmla="*/ 30 h 30"/>
                <a:gd name="T2" fmla="*/ 15 w 79"/>
                <a:gd name="T3" fmla="*/ 21 h 30"/>
                <a:gd name="T4" fmla="*/ 37 w 79"/>
                <a:gd name="T5" fmla="*/ 0 h 30"/>
                <a:gd name="T6" fmla="*/ 79 w 79"/>
                <a:gd name="T7" fmla="*/ 0 h 30"/>
                <a:gd name="T8" fmla="*/ 37 w 79"/>
                <a:gd name="T9" fmla="*/ 12 h 30"/>
                <a:gd name="T10" fmla="*/ 25 w 79"/>
                <a:gd name="T11" fmla="*/ 30 h 30"/>
                <a:gd name="T12" fmla="*/ 0 w 79"/>
                <a:gd name="T13" fmla="*/ 30 h 30"/>
                <a:gd name="T14" fmla="*/ 0 60000 65536"/>
                <a:gd name="T15" fmla="*/ 0 60000 65536"/>
                <a:gd name="T16" fmla="*/ 0 60000 65536"/>
                <a:gd name="T17" fmla="*/ 0 60000 65536"/>
                <a:gd name="T18" fmla="*/ 0 60000 65536"/>
                <a:gd name="T19" fmla="*/ 0 60000 65536"/>
                <a:gd name="T20" fmla="*/ 0 60000 65536"/>
                <a:gd name="T21" fmla="*/ 0 w 79"/>
                <a:gd name="T22" fmla="*/ 0 h 30"/>
                <a:gd name="T23" fmla="*/ 79 w 79"/>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9" h="30">
                  <a:moveTo>
                    <a:pt x="0" y="30"/>
                  </a:moveTo>
                  <a:lnTo>
                    <a:pt x="15" y="21"/>
                  </a:lnTo>
                  <a:lnTo>
                    <a:pt x="37" y="0"/>
                  </a:lnTo>
                  <a:lnTo>
                    <a:pt x="79" y="0"/>
                  </a:lnTo>
                  <a:lnTo>
                    <a:pt x="37" y="12"/>
                  </a:lnTo>
                  <a:lnTo>
                    <a:pt x="25" y="30"/>
                  </a:lnTo>
                  <a:lnTo>
                    <a:pt x="0" y="30"/>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1020" name="Freeform 1019"/>
            <p:cNvSpPr>
              <a:spLocks/>
            </p:cNvSpPr>
            <p:nvPr/>
          </p:nvSpPr>
          <p:spPr bwMode="auto">
            <a:xfrm>
              <a:off x="5159149" y="4866463"/>
              <a:ext cx="34208" cy="37613"/>
            </a:xfrm>
            <a:custGeom>
              <a:avLst/>
              <a:gdLst>
                <a:gd name="T0" fmla="*/ 34 w 34"/>
                <a:gd name="T1" fmla="*/ 9 h 39"/>
                <a:gd name="T2" fmla="*/ 34 w 34"/>
                <a:gd name="T3" fmla="*/ 0 h 39"/>
                <a:gd name="T4" fmla="*/ 21 w 34"/>
                <a:gd name="T5" fmla="*/ 0 h 39"/>
                <a:gd name="T6" fmla="*/ 0 w 34"/>
                <a:gd name="T7" fmla="*/ 18 h 39"/>
                <a:gd name="T8" fmla="*/ 12 w 34"/>
                <a:gd name="T9" fmla="*/ 39 h 39"/>
                <a:gd name="T10" fmla="*/ 34 w 34"/>
                <a:gd name="T11" fmla="*/ 18 h 39"/>
                <a:gd name="T12" fmla="*/ 34 w 34"/>
                <a:gd name="T13" fmla="*/ 9 h 39"/>
                <a:gd name="T14" fmla="*/ 0 60000 65536"/>
                <a:gd name="T15" fmla="*/ 0 60000 65536"/>
                <a:gd name="T16" fmla="*/ 0 60000 65536"/>
                <a:gd name="T17" fmla="*/ 0 60000 65536"/>
                <a:gd name="T18" fmla="*/ 0 60000 65536"/>
                <a:gd name="T19" fmla="*/ 0 60000 65536"/>
                <a:gd name="T20" fmla="*/ 0 60000 65536"/>
                <a:gd name="T21" fmla="*/ 0 w 34"/>
                <a:gd name="T22" fmla="*/ 0 h 39"/>
                <a:gd name="T23" fmla="*/ 34 w 34"/>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39">
                  <a:moveTo>
                    <a:pt x="34" y="9"/>
                  </a:moveTo>
                  <a:lnTo>
                    <a:pt x="34" y="0"/>
                  </a:lnTo>
                  <a:lnTo>
                    <a:pt x="21" y="0"/>
                  </a:lnTo>
                  <a:lnTo>
                    <a:pt x="0" y="18"/>
                  </a:lnTo>
                  <a:lnTo>
                    <a:pt x="12" y="39"/>
                  </a:lnTo>
                  <a:lnTo>
                    <a:pt x="34" y="18"/>
                  </a:lnTo>
                  <a:lnTo>
                    <a:pt x="34" y="9"/>
                  </a:lnTo>
                  <a:close/>
                </a:path>
              </a:pathLst>
            </a:custGeom>
            <a:solidFill>
              <a:srgbClr val="B1B3B4">
                <a:lumMod val="60000"/>
                <a:lumOff val="4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1021" name="Freeform 1020"/>
            <p:cNvSpPr>
              <a:spLocks/>
            </p:cNvSpPr>
            <p:nvPr/>
          </p:nvSpPr>
          <p:spPr bwMode="auto">
            <a:xfrm>
              <a:off x="4544299" y="3187384"/>
              <a:ext cx="75618" cy="75226"/>
            </a:xfrm>
            <a:custGeom>
              <a:avLst/>
              <a:gdLst>
                <a:gd name="T0" fmla="*/ 42 w 76"/>
                <a:gd name="T1" fmla="*/ 12 h 76"/>
                <a:gd name="T2" fmla="*/ 52 w 76"/>
                <a:gd name="T3" fmla="*/ 0 h 76"/>
                <a:gd name="T4" fmla="*/ 42 w 76"/>
                <a:gd name="T5" fmla="*/ 0 h 76"/>
                <a:gd name="T6" fmla="*/ 30 w 76"/>
                <a:gd name="T7" fmla="*/ 12 h 76"/>
                <a:gd name="T8" fmla="*/ 42 w 76"/>
                <a:gd name="T9" fmla="*/ 12 h 76"/>
                <a:gd name="T10" fmla="*/ 30 w 76"/>
                <a:gd name="T11" fmla="*/ 21 h 76"/>
                <a:gd name="T12" fmla="*/ 21 w 76"/>
                <a:gd name="T13" fmla="*/ 21 h 76"/>
                <a:gd name="T14" fmla="*/ 9 w 76"/>
                <a:gd name="T15" fmla="*/ 21 h 76"/>
                <a:gd name="T16" fmla="*/ 21 w 76"/>
                <a:gd name="T17" fmla="*/ 30 h 76"/>
                <a:gd name="T18" fmla="*/ 9 w 76"/>
                <a:gd name="T19" fmla="*/ 30 h 76"/>
                <a:gd name="T20" fmla="*/ 30 w 76"/>
                <a:gd name="T21" fmla="*/ 42 h 76"/>
                <a:gd name="T22" fmla="*/ 9 w 76"/>
                <a:gd name="T23" fmla="*/ 67 h 76"/>
                <a:gd name="T24" fmla="*/ 0 w 76"/>
                <a:gd name="T25" fmla="*/ 67 h 76"/>
                <a:gd name="T26" fmla="*/ 9 w 76"/>
                <a:gd name="T27" fmla="*/ 76 h 76"/>
                <a:gd name="T28" fmla="*/ 61 w 76"/>
                <a:gd name="T29" fmla="*/ 67 h 76"/>
                <a:gd name="T30" fmla="*/ 76 w 76"/>
                <a:gd name="T31" fmla="*/ 42 h 76"/>
                <a:gd name="T32" fmla="*/ 76 w 76"/>
                <a:gd name="T33" fmla="*/ 21 h 76"/>
                <a:gd name="T34" fmla="*/ 52 w 76"/>
                <a:gd name="T35" fmla="*/ 21 h 76"/>
                <a:gd name="T36" fmla="*/ 42 w 76"/>
                <a:gd name="T37" fmla="*/ 12 h 7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6"/>
                <a:gd name="T58" fmla="*/ 0 h 76"/>
                <a:gd name="T59" fmla="*/ 76 w 76"/>
                <a:gd name="T60" fmla="*/ 76 h 7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6" h="76">
                  <a:moveTo>
                    <a:pt x="42" y="12"/>
                  </a:moveTo>
                  <a:lnTo>
                    <a:pt x="52" y="0"/>
                  </a:lnTo>
                  <a:lnTo>
                    <a:pt x="42" y="0"/>
                  </a:lnTo>
                  <a:lnTo>
                    <a:pt x="30" y="12"/>
                  </a:lnTo>
                  <a:lnTo>
                    <a:pt x="42" y="12"/>
                  </a:lnTo>
                  <a:lnTo>
                    <a:pt x="30" y="21"/>
                  </a:lnTo>
                  <a:lnTo>
                    <a:pt x="21" y="21"/>
                  </a:lnTo>
                  <a:lnTo>
                    <a:pt x="9" y="21"/>
                  </a:lnTo>
                  <a:lnTo>
                    <a:pt x="21" y="30"/>
                  </a:lnTo>
                  <a:lnTo>
                    <a:pt x="9" y="30"/>
                  </a:lnTo>
                  <a:lnTo>
                    <a:pt x="30" y="42"/>
                  </a:lnTo>
                  <a:lnTo>
                    <a:pt x="9" y="67"/>
                  </a:lnTo>
                  <a:lnTo>
                    <a:pt x="0" y="67"/>
                  </a:lnTo>
                  <a:lnTo>
                    <a:pt x="9" y="76"/>
                  </a:lnTo>
                  <a:lnTo>
                    <a:pt x="61" y="67"/>
                  </a:lnTo>
                  <a:lnTo>
                    <a:pt x="76" y="42"/>
                  </a:lnTo>
                  <a:lnTo>
                    <a:pt x="76" y="21"/>
                  </a:lnTo>
                  <a:lnTo>
                    <a:pt x="52" y="21"/>
                  </a:lnTo>
                  <a:lnTo>
                    <a:pt x="42" y="12"/>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1022" name="Freeform 1021"/>
            <p:cNvSpPr>
              <a:spLocks/>
            </p:cNvSpPr>
            <p:nvPr/>
          </p:nvSpPr>
          <p:spPr bwMode="auto">
            <a:xfrm>
              <a:off x="4758551" y="3226929"/>
              <a:ext cx="52212" cy="44364"/>
            </a:xfrm>
            <a:custGeom>
              <a:avLst/>
              <a:gdLst>
                <a:gd name="T0" fmla="*/ 0 w 53"/>
                <a:gd name="T1" fmla="*/ 36 h 45"/>
                <a:gd name="T2" fmla="*/ 21 w 53"/>
                <a:gd name="T3" fmla="*/ 36 h 45"/>
                <a:gd name="T4" fmla="*/ 43 w 53"/>
                <a:gd name="T5" fmla="*/ 45 h 45"/>
                <a:gd name="T6" fmla="*/ 43 w 53"/>
                <a:gd name="T7" fmla="*/ 27 h 45"/>
                <a:gd name="T8" fmla="*/ 50 w 53"/>
                <a:gd name="T9" fmla="*/ 12 h 45"/>
                <a:gd name="T10" fmla="*/ 53 w 53"/>
                <a:gd name="T11" fmla="*/ 0 h 45"/>
                <a:gd name="T12" fmla="*/ 34 w 53"/>
                <a:gd name="T13" fmla="*/ 2 h 45"/>
                <a:gd name="T14" fmla="*/ 34 w 53"/>
                <a:gd name="T15" fmla="*/ 18 h 45"/>
                <a:gd name="T16" fmla="*/ 22 w 53"/>
                <a:gd name="T17" fmla="*/ 21 h 45"/>
                <a:gd name="T18" fmla="*/ 21 w 53"/>
                <a:gd name="T19" fmla="*/ 11 h 45"/>
                <a:gd name="T20" fmla="*/ 21 w 53"/>
                <a:gd name="T21" fmla="*/ 2 h 45"/>
                <a:gd name="T22" fmla="*/ 0 w 53"/>
                <a:gd name="T23" fmla="*/ 36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3"/>
                <a:gd name="T37" fmla="*/ 0 h 45"/>
                <a:gd name="T38" fmla="*/ 53 w 53"/>
                <a:gd name="T39" fmla="*/ 45 h 4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3" h="45">
                  <a:moveTo>
                    <a:pt x="0" y="36"/>
                  </a:moveTo>
                  <a:lnTo>
                    <a:pt x="21" y="36"/>
                  </a:lnTo>
                  <a:lnTo>
                    <a:pt x="43" y="45"/>
                  </a:lnTo>
                  <a:lnTo>
                    <a:pt x="43" y="27"/>
                  </a:lnTo>
                  <a:lnTo>
                    <a:pt x="50" y="12"/>
                  </a:lnTo>
                  <a:lnTo>
                    <a:pt x="53" y="0"/>
                  </a:lnTo>
                  <a:lnTo>
                    <a:pt x="34" y="2"/>
                  </a:lnTo>
                  <a:lnTo>
                    <a:pt x="34" y="18"/>
                  </a:lnTo>
                  <a:lnTo>
                    <a:pt x="22" y="21"/>
                  </a:lnTo>
                  <a:lnTo>
                    <a:pt x="21" y="11"/>
                  </a:lnTo>
                  <a:lnTo>
                    <a:pt x="21" y="2"/>
                  </a:lnTo>
                  <a:lnTo>
                    <a:pt x="0" y="36"/>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sp>
          <p:nvSpPr>
            <p:cNvPr id="1023" name="Freeform 1022"/>
            <p:cNvSpPr>
              <a:spLocks/>
            </p:cNvSpPr>
            <p:nvPr/>
          </p:nvSpPr>
          <p:spPr bwMode="auto">
            <a:xfrm>
              <a:off x="4890882" y="3262612"/>
              <a:ext cx="106226" cy="53044"/>
            </a:xfrm>
            <a:custGeom>
              <a:avLst/>
              <a:gdLst>
                <a:gd name="T0" fmla="*/ 40 w 107"/>
                <a:gd name="T1" fmla="*/ 9 h 55"/>
                <a:gd name="T2" fmla="*/ 64 w 107"/>
                <a:gd name="T3" fmla="*/ 9 h 55"/>
                <a:gd name="T4" fmla="*/ 76 w 107"/>
                <a:gd name="T5" fmla="*/ 21 h 55"/>
                <a:gd name="T6" fmla="*/ 85 w 107"/>
                <a:gd name="T7" fmla="*/ 21 h 55"/>
                <a:gd name="T8" fmla="*/ 107 w 107"/>
                <a:gd name="T9" fmla="*/ 30 h 55"/>
                <a:gd name="T10" fmla="*/ 76 w 107"/>
                <a:gd name="T11" fmla="*/ 55 h 55"/>
                <a:gd name="T12" fmla="*/ 52 w 107"/>
                <a:gd name="T13" fmla="*/ 39 h 55"/>
                <a:gd name="T14" fmla="*/ 40 w 107"/>
                <a:gd name="T15" fmla="*/ 55 h 55"/>
                <a:gd name="T16" fmla="*/ 31 w 107"/>
                <a:gd name="T17" fmla="*/ 55 h 55"/>
                <a:gd name="T18" fmla="*/ 9 w 107"/>
                <a:gd name="T19" fmla="*/ 30 h 55"/>
                <a:gd name="T20" fmla="*/ 0 w 107"/>
                <a:gd name="T21" fmla="*/ 21 h 55"/>
                <a:gd name="T22" fmla="*/ 40 w 107"/>
                <a:gd name="T23" fmla="*/ 0 h 55"/>
                <a:gd name="T24" fmla="*/ 40 w 107"/>
                <a:gd name="T25" fmla="*/ 9 h 5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7"/>
                <a:gd name="T40" fmla="*/ 0 h 55"/>
                <a:gd name="T41" fmla="*/ 107 w 107"/>
                <a:gd name="T42" fmla="*/ 55 h 5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7" h="55">
                  <a:moveTo>
                    <a:pt x="40" y="9"/>
                  </a:moveTo>
                  <a:lnTo>
                    <a:pt x="64" y="9"/>
                  </a:lnTo>
                  <a:lnTo>
                    <a:pt x="76" y="21"/>
                  </a:lnTo>
                  <a:lnTo>
                    <a:pt x="85" y="21"/>
                  </a:lnTo>
                  <a:lnTo>
                    <a:pt x="107" y="30"/>
                  </a:lnTo>
                  <a:lnTo>
                    <a:pt x="76" y="55"/>
                  </a:lnTo>
                  <a:lnTo>
                    <a:pt x="52" y="39"/>
                  </a:lnTo>
                  <a:lnTo>
                    <a:pt x="40" y="55"/>
                  </a:lnTo>
                  <a:lnTo>
                    <a:pt x="31" y="55"/>
                  </a:lnTo>
                  <a:lnTo>
                    <a:pt x="9" y="30"/>
                  </a:lnTo>
                  <a:lnTo>
                    <a:pt x="0" y="21"/>
                  </a:lnTo>
                  <a:lnTo>
                    <a:pt x="40" y="0"/>
                  </a:lnTo>
                  <a:lnTo>
                    <a:pt x="40" y="9"/>
                  </a:lnTo>
                  <a:close/>
                </a:path>
              </a:pathLst>
            </a:custGeom>
            <a:solidFill>
              <a:srgbClr val="0098CC">
                <a:lumMod val="20000"/>
                <a:lumOff val="80000"/>
              </a:srgbClr>
            </a:solidFill>
            <a:ln w="6350">
              <a:solidFill>
                <a:sysClr val="window" lastClr="FFFFFF"/>
              </a:solidFill>
              <a:round/>
              <a:headEnd/>
              <a:tailEnd/>
            </a:ln>
          </p:spPr>
          <p:txBody>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478782">
                <a:defRPr/>
              </a:pPr>
              <a:endParaRPr lang="en-GB" sz="1800" dirty="0">
                <a:solidFill>
                  <a:srgbClr val="9F958F">
                    <a:lumMod val="50000"/>
                  </a:srgbClr>
                </a:solidFill>
                <a:latin typeface="Century Gothic" panose="020B0502020202020204" pitchFamily="34" charset="0"/>
                <a:sym typeface="Calibri"/>
              </a:endParaRPr>
            </a:p>
          </p:txBody>
        </p:sp>
      </p:grpSp>
      <p:grpSp>
        <p:nvGrpSpPr>
          <p:cNvPr id="374" name="Group 373"/>
          <p:cNvGrpSpPr/>
          <p:nvPr/>
        </p:nvGrpSpPr>
        <p:grpSpPr>
          <a:xfrm>
            <a:off x="256275" y="1000010"/>
            <a:ext cx="2158389" cy="2861046"/>
            <a:chOff x="511992" y="2000250"/>
            <a:chExt cx="4873481" cy="7114253"/>
          </a:xfrm>
        </p:grpSpPr>
        <p:sp>
          <p:nvSpPr>
            <p:cNvPr id="375" name="Rectangle 374"/>
            <p:cNvSpPr/>
            <p:nvPr/>
          </p:nvSpPr>
          <p:spPr>
            <a:xfrm>
              <a:off x="511992" y="2574713"/>
              <a:ext cx="4840078" cy="6539790"/>
            </a:xfrm>
            <a:prstGeom prst="rect">
              <a:avLst/>
            </a:prstGeom>
            <a:solidFill>
              <a:srgbClr val="FFFFFF">
                <a:alpha val="63137"/>
              </a:srgbClr>
            </a:solidFill>
            <a:ln w="12700" cap="flat" cmpd="sng" algn="ctr">
              <a:noFill/>
              <a:prstDash val="solid"/>
            </a:ln>
            <a:effectLst/>
          </p:spPr>
          <p:txBody>
            <a:bodyPr rtlCol="0" anchor="ctr"/>
            <a:lstStyle>
              <a:defPPr>
                <a:defRPr lang="de-DE"/>
              </a:defPPr>
              <a:lvl1pPr marL="0" algn="l" defTabSz="957756" rtl="0" eaLnBrk="1" latinLnBrk="0" hangingPunct="1">
                <a:defRPr sz="1900" kern="1200">
                  <a:solidFill>
                    <a:schemeClr val="lt1"/>
                  </a:solidFill>
                  <a:latin typeface="+mn-lt"/>
                  <a:ea typeface="+mn-ea"/>
                  <a:cs typeface="+mn-cs"/>
                </a:defRPr>
              </a:lvl1pPr>
              <a:lvl2pPr marL="478878" algn="l" defTabSz="957756" rtl="0" eaLnBrk="1" latinLnBrk="0" hangingPunct="1">
                <a:defRPr sz="1900" kern="1200">
                  <a:solidFill>
                    <a:schemeClr val="lt1"/>
                  </a:solidFill>
                  <a:latin typeface="+mn-lt"/>
                  <a:ea typeface="+mn-ea"/>
                  <a:cs typeface="+mn-cs"/>
                </a:defRPr>
              </a:lvl2pPr>
              <a:lvl3pPr marL="957756" algn="l" defTabSz="957756" rtl="0" eaLnBrk="1" latinLnBrk="0" hangingPunct="1">
                <a:defRPr sz="1900" kern="1200">
                  <a:solidFill>
                    <a:schemeClr val="lt1"/>
                  </a:solidFill>
                  <a:latin typeface="+mn-lt"/>
                  <a:ea typeface="+mn-ea"/>
                  <a:cs typeface="+mn-cs"/>
                </a:defRPr>
              </a:lvl3pPr>
              <a:lvl4pPr marL="1436634" algn="l" defTabSz="957756" rtl="0" eaLnBrk="1" latinLnBrk="0" hangingPunct="1">
                <a:defRPr sz="1900" kern="1200">
                  <a:solidFill>
                    <a:schemeClr val="lt1"/>
                  </a:solidFill>
                  <a:latin typeface="+mn-lt"/>
                  <a:ea typeface="+mn-ea"/>
                  <a:cs typeface="+mn-cs"/>
                </a:defRPr>
              </a:lvl4pPr>
              <a:lvl5pPr marL="1915510" algn="l" defTabSz="957756" rtl="0" eaLnBrk="1" latinLnBrk="0" hangingPunct="1">
                <a:defRPr sz="1900" kern="1200">
                  <a:solidFill>
                    <a:schemeClr val="lt1"/>
                  </a:solidFill>
                  <a:latin typeface="+mn-lt"/>
                  <a:ea typeface="+mn-ea"/>
                  <a:cs typeface="+mn-cs"/>
                </a:defRPr>
              </a:lvl5pPr>
              <a:lvl6pPr marL="2394388" algn="l" defTabSz="957756" rtl="0" eaLnBrk="1" latinLnBrk="0" hangingPunct="1">
                <a:defRPr sz="1900" kern="1200">
                  <a:solidFill>
                    <a:schemeClr val="lt1"/>
                  </a:solidFill>
                  <a:latin typeface="+mn-lt"/>
                  <a:ea typeface="+mn-ea"/>
                  <a:cs typeface="+mn-cs"/>
                </a:defRPr>
              </a:lvl6pPr>
              <a:lvl7pPr marL="2873265" algn="l" defTabSz="957756" rtl="0" eaLnBrk="1" latinLnBrk="0" hangingPunct="1">
                <a:defRPr sz="1900" kern="1200">
                  <a:solidFill>
                    <a:schemeClr val="lt1"/>
                  </a:solidFill>
                  <a:latin typeface="+mn-lt"/>
                  <a:ea typeface="+mn-ea"/>
                  <a:cs typeface="+mn-cs"/>
                </a:defRPr>
              </a:lvl7pPr>
              <a:lvl8pPr marL="3352143" algn="l" defTabSz="957756" rtl="0" eaLnBrk="1" latinLnBrk="0" hangingPunct="1">
                <a:defRPr sz="1900" kern="1200">
                  <a:solidFill>
                    <a:schemeClr val="lt1"/>
                  </a:solidFill>
                  <a:latin typeface="+mn-lt"/>
                  <a:ea typeface="+mn-ea"/>
                  <a:cs typeface="+mn-cs"/>
                </a:defRPr>
              </a:lvl8pPr>
              <a:lvl9pPr marL="3831021" algn="l" defTabSz="957756" rtl="0" eaLnBrk="1" latinLnBrk="0" hangingPunct="1">
                <a:defRPr sz="1900" kern="1200">
                  <a:solidFill>
                    <a:schemeClr val="lt1"/>
                  </a:solidFill>
                  <a:latin typeface="+mn-lt"/>
                  <a:ea typeface="+mn-ea"/>
                  <a:cs typeface="+mn-cs"/>
                </a:defRPr>
              </a:lvl9pPr>
            </a:lstStyle>
            <a:p>
              <a:pPr algn="ctr" defTabSz="478782">
                <a:defRPr/>
              </a:pPr>
              <a:endParaRPr lang="en-GB" sz="1100" dirty="0">
                <a:solidFill>
                  <a:srgbClr val="9F958F">
                    <a:lumMod val="50000"/>
                  </a:srgbClr>
                </a:solidFill>
                <a:latin typeface="Century Gothic" panose="020B0502020202020204" pitchFamily="34" charset="0"/>
                <a:sym typeface="Calibri"/>
              </a:endParaRPr>
            </a:p>
          </p:txBody>
        </p:sp>
        <p:pic>
          <p:nvPicPr>
            <p:cNvPr id="376" name="Picture 375" descr="http://www.gandhfinancial.com/img/~www.gandhfinancial.com/zurich-logo.gif"/>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22991" y="5069426"/>
              <a:ext cx="2125285" cy="1554691"/>
            </a:xfrm>
            <a:prstGeom prst="rect">
              <a:avLst/>
            </a:prstGeom>
            <a:noFill/>
            <a:extLst>
              <a:ext uri="{909E8E84-426E-40DD-AFC4-6F175D3DCCD1}">
                <a14:hiddenFill xmlns:a14="http://schemas.microsoft.com/office/drawing/2010/main">
                  <a:solidFill>
                    <a:srgbClr val="FFFFFF"/>
                  </a:solidFill>
                </a14:hiddenFill>
              </a:ext>
            </a:extLst>
          </p:spPr>
        </p:pic>
        <p:pic>
          <p:nvPicPr>
            <p:cNvPr id="377" name="Picture 376" descr="http://upload.wikimedia.org/wikipedia/en/thumb/8/88/Health_Care_Service_Corporation_Logo.jpg/220px-Health_Care_Service_Corporation_Logo.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009856" y="3367929"/>
              <a:ext cx="1485280" cy="675127"/>
            </a:xfrm>
            <a:prstGeom prst="rect">
              <a:avLst/>
            </a:prstGeom>
            <a:noFill/>
            <a:extLst>
              <a:ext uri="{909E8E84-426E-40DD-AFC4-6F175D3DCCD1}">
                <a14:hiddenFill xmlns:a14="http://schemas.microsoft.com/office/drawing/2010/main">
                  <a:solidFill>
                    <a:srgbClr val="FFFFFF"/>
                  </a:solidFill>
                </a14:hiddenFill>
              </a:ext>
            </a:extLst>
          </p:spPr>
        </p:pic>
        <p:pic>
          <p:nvPicPr>
            <p:cNvPr id="378" name="Picture 377" descr="http://moneyfightclub.com/wp-content/uploads/sites/8/2014/08/barclays-plc-logo.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902997" y="8259568"/>
              <a:ext cx="2292063" cy="390519"/>
            </a:xfrm>
            <a:prstGeom prst="rect">
              <a:avLst/>
            </a:prstGeom>
            <a:noFill/>
            <a:extLst>
              <a:ext uri="{909E8E84-426E-40DD-AFC4-6F175D3DCCD1}">
                <a14:hiddenFill xmlns:a14="http://schemas.microsoft.com/office/drawing/2010/main">
                  <a:solidFill>
                    <a:srgbClr val="FFFFFF"/>
                  </a:solidFill>
                </a14:hiddenFill>
              </a:ext>
            </a:extLst>
          </p:spPr>
        </p:pic>
        <p:pic>
          <p:nvPicPr>
            <p:cNvPr id="379" name="Picture 378" descr="http://zolmax.com/logos/hsbc-holdings-plc-logo.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3013192" y="3502102"/>
              <a:ext cx="2002958" cy="468083"/>
            </a:xfrm>
            <a:prstGeom prst="rect">
              <a:avLst/>
            </a:prstGeom>
            <a:noFill/>
            <a:extLst>
              <a:ext uri="{909E8E84-426E-40DD-AFC4-6F175D3DCCD1}">
                <a14:hiddenFill xmlns:a14="http://schemas.microsoft.com/office/drawing/2010/main">
                  <a:solidFill>
                    <a:srgbClr val="FFFFFF"/>
                  </a:solidFill>
                </a14:hiddenFill>
              </a:ext>
            </a:extLst>
          </p:spPr>
        </p:pic>
        <p:pic>
          <p:nvPicPr>
            <p:cNvPr id="380" name="Picture 379" descr="http://ts2.mm.bing.net/th?id=JN.aSdZMeWiaZfPO%2bfSwKbvuA&amp;pid=15.1"/>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420306" y="6687064"/>
              <a:ext cx="1451510" cy="1088635"/>
            </a:xfrm>
            <a:prstGeom prst="rect">
              <a:avLst/>
            </a:prstGeom>
            <a:noFill/>
            <a:extLst>
              <a:ext uri="{909E8E84-426E-40DD-AFC4-6F175D3DCCD1}">
                <a14:hiddenFill xmlns:a14="http://schemas.microsoft.com/office/drawing/2010/main">
                  <a:solidFill>
                    <a:srgbClr val="FFFFFF"/>
                  </a:solidFill>
                </a14:hiddenFill>
              </a:ext>
            </a:extLst>
          </p:spPr>
        </p:pic>
        <p:pic>
          <p:nvPicPr>
            <p:cNvPr id="381" name="Picture 380" descr="http://www.generationmp3.com/wp-content/uploads/2013/01/philips.jp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872016" y="4004000"/>
              <a:ext cx="1781540" cy="1259470"/>
            </a:xfrm>
            <a:prstGeom prst="rect">
              <a:avLst/>
            </a:prstGeom>
            <a:noFill/>
            <a:extLst>
              <a:ext uri="{909E8E84-426E-40DD-AFC4-6F175D3DCCD1}">
                <a14:hiddenFill xmlns:a14="http://schemas.microsoft.com/office/drawing/2010/main">
                  <a:solidFill>
                    <a:srgbClr val="FFFFFF"/>
                  </a:solidFill>
                </a14:hiddenFill>
              </a:ext>
            </a:extLst>
          </p:spPr>
        </p:pic>
        <p:pic>
          <p:nvPicPr>
            <p:cNvPr id="382" name="Picture 381" descr="http://www.thefieldposition.com/wp-content/uploads/2012/05/dominos-pizza-inc-logo.jp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3413179" y="4220396"/>
              <a:ext cx="953554" cy="958023"/>
            </a:xfrm>
            <a:prstGeom prst="rect">
              <a:avLst/>
            </a:prstGeom>
            <a:noFill/>
            <a:extLst>
              <a:ext uri="{909E8E84-426E-40DD-AFC4-6F175D3DCCD1}">
                <a14:hiddenFill xmlns:a14="http://schemas.microsoft.com/office/drawing/2010/main">
                  <a:solidFill>
                    <a:srgbClr val="FFFFFF"/>
                  </a:solidFill>
                </a14:hiddenFill>
              </a:ext>
            </a:extLst>
          </p:spPr>
        </p:pic>
        <p:pic>
          <p:nvPicPr>
            <p:cNvPr id="383" name="Picture 382" descr="http://logosandbrands.directory/wp-content/themes/directorypress/thumbs/HCC-Insurance-Holdings-Inc.-logo.png"/>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t="22347" b="25435"/>
            <a:stretch/>
          </p:blipFill>
          <p:spPr bwMode="auto">
            <a:xfrm>
              <a:off x="810857" y="6868072"/>
              <a:ext cx="1989575" cy="779185"/>
            </a:xfrm>
            <a:prstGeom prst="rect">
              <a:avLst/>
            </a:prstGeom>
            <a:noFill/>
            <a:extLst>
              <a:ext uri="{909E8E84-426E-40DD-AFC4-6F175D3DCCD1}">
                <a14:hiddenFill xmlns:a14="http://schemas.microsoft.com/office/drawing/2010/main">
                  <a:solidFill>
                    <a:srgbClr val="FFFFFF"/>
                  </a:solidFill>
                </a14:hiddenFill>
              </a:ext>
            </a:extLst>
          </p:spPr>
        </p:pic>
        <p:pic>
          <p:nvPicPr>
            <p:cNvPr id="384" name="Picture 383" descr="http://upload.wikimedia.org/wikipedia/commons/thumb/4/44/Tgi_fridays_logo13.svg/250px-Tgi_fridays_logo13.svg.pn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885927" y="8082945"/>
              <a:ext cx="1799335" cy="690945"/>
            </a:xfrm>
            <a:prstGeom prst="rect">
              <a:avLst/>
            </a:prstGeom>
            <a:noFill/>
            <a:extLst>
              <a:ext uri="{909E8E84-426E-40DD-AFC4-6F175D3DCCD1}">
                <a14:hiddenFill xmlns:a14="http://schemas.microsoft.com/office/drawing/2010/main">
                  <a:solidFill>
                    <a:srgbClr val="FFFFFF"/>
                  </a:solidFill>
                </a14:hiddenFill>
              </a:ext>
            </a:extLst>
          </p:spPr>
        </p:pic>
        <p:pic>
          <p:nvPicPr>
            <p:cNvPr id="385" name="Picture 384" descr="http://www.casfcc.org/2/images/logos/Sempra_Energy_web_logo.jpg"/>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2904157" y="5552481"/>
              <a:ext cx="2289007" cy="699750"/>
            </a:xfrm>
            <a:prstGeom prst="rect">
              <a:avLst/>
            </a:prstGeom>
            <a:noFill/>
            <a:extLst>
              <a:ext uri="{909E8E84-426E-40DD-AFC4-6F175D3DCCD1}">
                <a14:hiddenFill xmlns:a14="http://schemas.microsoft.com/office/drawing/2010/main">
                  <a:solidFill>
                    <a:srgbClr val="FFFFFF"/>
                  </a:solidFill>
                </a14:hiddenFill>
              </a:ext>
            </a:extLst>
          </p:spPr>
        </p:pic>
        <p:sp>
          <p:nvSpPr>
            <p:cNvPr id="386" name="Round Same Side Corner Rectangle 385"/>
            <p:cNvSpPr/>
            <p:nvPr/>
          </p:nvSpPr>
          <p:spPr>
            <a:xfrm>
              <a:off x="511992" y="2000250"/>
              <a:ext cx="4873481" cy="1040793"/>
            </a:xfrm>
            <a:prstGeom prst="round2SameRect">
              <a:avLst/>
            </a:prstGeom>
            <a:solidFill>
              <a:schemeClr val="accent3">
                <a:lumMod val="75000"/>
              </a:schemeClr>
            </a:solidFill>
            <a:ln w="25400" cap="flat" cmpd="sng" algn="ctr">
              <a:noFill/>
              <a:prstDash val="solid"/>
            </a:ln>
            <a:effectLst/>
          </p:spPr>
          <p:txBody>
            <a:bodyPr lIns="0" tIns="0" rIns="0" anchor="ct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algn="ctr" defTabSz="478782">
                <a:lnSpc>
                  <a:spcPct val="90000"/>
                </a:lnSpc>
                <a:defRPr/>
              </a:pPr>
              <a:r>
                <a:rPr lang="en-GB" sz="1200" b="1" kern="0" dirty="0">
                  <a:solidFill>
                    <a:sysClr val="window" lastClr="FFFFFF"/>
                  </a:solidFill>
                  <a:latin typeface="Century Gothic" panose="020B0502020202020204" pitchFamily="34" charset="0"/>
                  <a:cs typeface="Arial" charset="0"/>
                  <a:sym typeface="Calibri"/>
                </a:rPr>
                <a:t>North America</a:t>
              </a:r>
              <a:br>
                <a:rPr lang="en-GB" sz="1200" b="1" kern="0" dirty="0">
                  <a:solidFill>
                    <a:sysClr val="window" lastClr="FFFFFF"/>
                  </a:solidFill>
                  <a:latin typeface="Century Gothic" panose="020B0502020202020204" pitchFamily="34" charset="0"/>
                  <a:cs typeface="Arial" charset="0"/>
                  <a:sym typeface="Calibri"/>
                </a:rPr>
              </a:br>
              <a:r>
                <a:rPr lang="en-GB" sz="1200" b="1" kern="0" dirty="0">
                  <a:solidFill>
                    <a:sysClr val="window" lastClr="FFFFFF"/>
                  </a:solidFill>
                  <a:latin typeface="Century Gothic" panose="020B0502020202020204" pitchFamily="34" charset="0"/>
                  <a:cs typeface="Arial" charset="0"/>
                  <a:sym typeface="Calibri"/>
                </a:rPr>
                <a:t>(USA &amp; Canada)</a:t>
              </a:r>
            </a:p>
          </p:txBody>
        </p:sp>
      </p:grpSp>
      <p:grpSp>
        <p:nvGrpSpPr>
          <p:cNvPr id="387" name="Group 386"/>
          <p:cNvGrpSpPr/>
          <p:nvPr/>
        </p:nvGrpSpPr>
        <p:grpSpPr>
          <a:xfrm>
            <a:off x="7526845" y="1000009"/>
            <a:ext cx="1976400" cy="1809015"/>
            <a:chOff x="15054814" y="2000250"/>
            <a:chExt cx="4466817" cy="4465594"/>
          </a:xfrm>
        </p:grpSpPr>
        <p:sp>
          <p:nvSpPr>
            <p:cNvPr id="388" name="Rectangle 387"/>
            <p:cNvSpPr/>
            <p:nvPr/>
          </p:nvSpPr>
          <p:spPr>
            <a:xfrm>
              <a:off x="15054814" y="2574713"/>
              <a:ext cx="4409788" cy="3891131"/>
            </a:xfrm>
            <a:prstGeom prst="rect">
              <a:avLst/>
            </a:prstGeom>
            <a:solidFill>
              <a:srgbClr val="FFFFFF">
                <a:alpha val="63137"/>
              </a:srgbClr>
            </a:solidFill>
            <a:ln w="12700" cap="flat" cmpd="sng" algn="ctr">
              <a:noFill/>
              <a:prstDash val="solid"/>
            </a:ln>
            <a:effectLst/>
          </p:spPr>
          <p:txBody>
            <a:bodyPr rtlCol="0" anchor="ctr"/>
            <a:lstStyle>
              <a:defPPr>
                <a:defRPr lang="de-DE"/>
              </a:defPPr>
              <a:lvl1pPr marL="0" algn="l" defTabSz="957756" rtl="0" eaLnBrk="1" latinLnBrk="0" hangingPunct="1">
                <a:defRPr sz="1900" kern="1200">
                  <a:solidFill>
                    <a:schemeClr val="lt1"/>
                  </a:solidFill>
                  <a:latin typeface="+mn-lt"/>
                  <a:ea typeface="+mn-ea"/>
                  <a:cs typeface="+mn-cs"/>
                </a:defRPr>
              </a:lvl1pPr>
              <a:lvl2pPr marL="478878" algn="l" defTabSz="957756" rtl="0" eaLnBrk="1" latinLnBrk="0" hangingPunct="1">
                <a:defRPr sz="1900" kern="1200">
                  <a:solidFill>
                    <a:schemeClr val="lt1"/>
                  </a:solidFill>
                  <a:latin typeface="+mn-lt"/>
                  <a:ea typeface="+mn-ea"/>
                  <a:cs typeface="+mn-cs"/>
                </a:defRPr>
              </a:lvl2pPr>
              <a:lvl3pPr marL="957756" algn="l" defTabSz="957756" rtl="0" eaLnBrk="1" latinLnBrk="0" hangingPunct="1">
                <a:defRPr sz="1900" kern="1200">
                  <a:solidFill>
                    <a:schemeClr val="lt1"/>
                  </a:solidFill>
                  <a:latin typeface="+mn-lt"/>
                  <a:ea typeface="+mn-ea"/>
                  <a:cs typeface="+mn-cs"/>
                </a:defRPr>
              </a:lvl3pPr>
              <a:lvl4pPr marL="1436634" algn="l" defTabSz="957756" rtl="0" eaLnBrk="1" latinLnBrk="0" hangingPunct="1">
                <a:defRPr sz="1900" kern="1200">
                  <a:solidFill>
                    <a:schemeClr val="lt1"/>
                  </a:solidFill>
                  <a:latin typeface="+mn-lt"/>
                  <a:ea typeface="+mn-ea"/>
                  <a:cs typeface="+mn-cs"/>
                </a:defRPr>
              </a:lvl4pPr>
              <a:lvl5pPr marL="1915510" algn="l" defTabSz="957756" rtl="0" eaLnBrk="1" latinLnBrk="0" hangingPunct="1">
                <a:defRPr sz="1900" kern="1200">
                  <a:solidFill>
                    <a:schemeClr val="lt1"/>
                  </a:solidFill>
                  <a:latin typeface="+mn-lt"/>
                  <a:ea typeface="+mn-ea"/>
                  <a:cs typeface="+mn-cs"/>
                </a:defRPr>
              </a:lvl5pPr>
              <a:lvl6pPr marL="2394388" algn="l" defTabSz="957756" rtl="0" eaLnBrk="1" latinLnBrk="0" hangingPunct="1">
                <a:defRPr sz="1900" kern="1200">
                  <a:solidFill>
                    <a:schemeClr val="lt1"/>
                  </a:solidFill>
                  <a:latin typeface="+mn-lt"/>
                  <a:ea typeface="+mn-ea"/>
                  <a:cs typeface="+mn-cs"/>
                </a:defRPr>
              </a:lvl6pPr>
              <a:lvl7pPr marL="2873265" algn="l" defTabSz="957756" rtl="0" eaLnBrk="1" latinLnBrk="0" hangingPunct="1">
                <a:defRPr sz="1900" kern="1200">
                  <a:solidFill>
                    <a:schemeClr val="lt1"/>
                  </a:solidFill>
                  <a:latin typeface="+mn-lt"/>
                  <a:ea typeface="+mn-ea"/>
                  <a:cs typeface="+mn-cs"/>
                </a:defRPr>
              </a:lvl7pPr>
              <a:lvl8pPr marL="3352143" algn="l" defTabSz="957756" rtl="0" eaLnBrk="1" latinLnBrk="0" hangingPunct="1">
                <a:defRPr sz="1900" kern="1200">
                  <a:solidFill>
                    <a:schemeClr val="lt1"/>
                  </a:solidFill>
                  <a:latin typeface="+mn-lt"/>
                  <a:ea typeface="+mn-ea"/>
                  <a:cs typeface="+mn-cs"/>
                </a:defRPr>
              </a:lvl8pPr>
              <a:lvl9pPr marL="3831021" algn="l" defTabSz="957756" rtl="0" eaLnBrk="1" latinLnBrk="0" hangingPunct="1">
                <a:defRPr sz="1900" kern="1200">
                  <a:solidFill>
                    <a:schemeClr val="lt1"/>
                  </a:solidFill>
                  <a:latin typeface="+mn-lt"/>
                  <a:ea typeface="+mn-ea"/>
                  <a:cs typeface="+mn-cs"/>
                </a:defRPr>
              </a:lvl9pPr>
            </a:lstStyle>
            <a:p>
              <a:pPr algn="ctr" defTabSz="478782">
                <a:defRPr/>
              </a:pPr>
              <a:endParaRPr lang="en-GB" sz="1100" dirty="0">
                <a:solidFill>
                  <a:srgbClr val="9F958F">
                    <a:lumMod val="50000"/>
                  </a:srgbClr>
                </a:solidFill>
                <a:latin typeface="Century Gothic" panose="020B0502020202020204" pitchFamily="34" charset="0"/>
                <a:sym typeface="Calibri"/>
              </a:endParaRPr>
            </a:p>
          </p:txBody>
        </p:sp>
        <p:pic>
          <p:nvPicPr>
            <p:cNvPr id="389" name="Picture 388" descr="http://upload.wikimedia.org/wikipedia/it/thumb/a/a0/Logo_ABN_AMRO.png/200px-Logo_ABN_AMRO.png"/>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15589675" y="3280049"/>
              <a:ext cx="2943977" cy="1045110"/>
            </a:xfrm>
            <a:prstGeom prst="rect">
              <a:avLst/>
            </a:prstGeom>
            <a:noFill/>
            <a:extLst>
              <a:ext uri="{909E8E84-426E-40DD-AFC4-6F175D3DCCD1}">
                <a14:hiddenFill xmlns:a14="http://schemas.microsoft.com/office/drawing/2010/main">
                  <a:solidFill>
                    <a:srgbClr val="FFFFFF"/>
                  </a:solidFill>
                </a14:hiddenFill>
              </a:ext>
            </a:extLst>
          </p:spPr>
        </p:pic>
        <p:pic>
          <p:nvPicPr>
            <p:cNvPr id="390" name="Picture 389" descr="http://ts1.mm.bing.net/th?&amp;id=JN.0vYwcOI8I0gCf1s5sQckDw&amp;w=300&amp;h=300&amp;c=0&amp;pid=1.9&amp;rs=0&amp;p=0&amp;url=http%3A%2F%2Fwww.spaargids.be%2Fsparen%2Fing-lion-premium.html">
              <a:hlinkClick r:id="rId18"/>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15395079" y="4227508"/>
              <a:ext cx="1890757" cy="1149409"/>
            </a:xfrm>
            <a:prstGeom prst="rect">
              <a:avLst/>
            </a:prstGeom>
            <a:noFill/>
            <a:extLst>
              <a:ext uri="{909E8E84-426E-40DD-AFC4-6F175D3DCCD1}">
                <a14:hiddenFill xmlns:a14="http://schemas.microsoft.com/office/drawing/2010/main">
                  <a:solidFill>
                    <a:srgbClr val="FFFFFF"/>
                  </a:solidFill>
                </a14:hiddenFill>
              </a:ext>
            </a:extLst>
          </p:spPr>
        </p:pic>
        <p:pic>
          <p:nvPicPr>
            <p:cNvPr id="391" name="emb4" descr="http://tse1.mm.bing.net/th?id=JN.FeEP9OiPp%2bRGyYQAqwyuww&amp;w=99&amp;h=100&amp;c=7&amp;rs=1&amp;qlt=90&amp;pid=3.1&amp;rm=2">
              <a:hlinkClick r:id="rId20"/>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a:stretch/>
          </p:blipFill>
          <p:spPr bwMode="auto">
            <a:xfrm>
              <a:off x="17629064" y="4036232"/>
              <a:ext cx="1430583" cy="1282632"/>
            </a:xfrm>
            <a:prstGeom prst="rect">
              <a:avLst/>
            </a:prstGeom>
            <a:noFill/>
            <a:extLst>
              <a:ext uri="{909E8E84-426E-40DD-AFC4-6F175D3DCCD1}">
                <a14:hiddenFill xmlns:a14="http://schemas.microsoft.com/office/drawing/2010/main">
                  <a:solidFill>
                    <a:srgbClr val="FFFFFF"/>
                  </a:solidFill>
                </a14:hiddenFill>
              </a:ext>
            </a:extLst>
          </p:spPr>
        </p:pic>
        <p:pic>
          <p:nvPicPr>
            <p:cNvPr id="392" name="emb2" descr="http://tse1.mm.bing.net/th?id=JN.oxqNbfYkuDR4PALR0C9iwg&amp;w=97&amp;h=105&amp;c=7&amp;rs=1&amp;qlt=90&amp;pid=3.1&amp;rm=2">
              <a:hlinkClick r:id="rId22"/>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17825018" y="5212360"/>
              <a:ext cx="1012811" cy="1096344"/>
            </a:xfrm>
            <a:prstGeom prst="rect">
              <a:avLst/>
            </a:prstGeom>
            <a:noFill/>
            <a:extLst>
              <a:ext uri="{909E8E84-426E-40DD-AFC4-6F175D3DCCD1}">
                <a14:hiddenFill xmlns:a14="http://schemas.microsoft.com/office/drawing/2010/main">
                  <a:solidFill>
                    <a:srgbClr val="FFFFFF"/>
                  </a:solidFill>
                </a14:hiddenFill>
              </a:ext>
            </a:extLst>
          </p:spPr>
        </p:pic>
        <p:pic>
          <p:nvPicPr>
            <p:cNvPr id="393" name="Picture 392" descr="http://ts4.mm.bing.net/th?id=JN.FyGVjULutK3UxDEAoDy4Rw&amp;pid=15.1"/>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15597329" y="5272335"/>
              <a:ext cx="1122942" cy="943278"/>
            </a:xfrm>
            <a:prstGeom prst="rect">
              <a:avLst/>
            </a:prstGeom>
            <a:noFill/>
            <a:extLst>
              <a:ext uri="{909E8E84-426E-40DD-AFC4-6F175D3DCCD1}">
                <a14:hiddenFill xmlns:a14="http://schemas.microsoft.com/office/drawing/2010/main">
                  <a:solidFill>
                    <a:srgbClr val="FFFFFF"/>
                  </a:solidFill>
                </a14:hiddenFill>
              </a:ext>
            </a:extLst>
          </p:spPr>
        </p:pic>
        <p:sp>
          <p:nvSpPr>
            <p:cNvPr id="394" name="Round Same Side Corner Rectangle 393"/>
            <p:cNvSpPr/>
            <p:nvPr/>
          </p:nvSpPr>
          <p:spPr>
            <a:xfrm>
              <a:off x="15054814" y="2000250"/>
              <a:ext cx="4466817" cy="1040793"/>
            </a:xfrm>
            <a:prstGeom prst="round2SameRect">
              <a:avLst/>
            </a:prstGeom>
            <a:solidFill>
              <a:schemeClr val="accent3">
                <a:lumMod val="75000"/>
              </a:schemeClr>
            </a:solidFill>
            <a:ln w="25400" cap="flat" cmpd="sng" algn="ctr">
              <a:noFill/>
              <a:prstDash val="solid"/>
            </a:ln>
            <a:effectLst/>
          </p:spPr>
          <p:txBody>
            <a:bodyPr anchor="ct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algn="ctr" defTabSz="478782">
                <a:defRPr/>
              </a:pPr>
              <a:r>
                <a:rPr lang="en-GB" sz="1200" b="1" kern="0" dirty="0">
                  <a:solidFill>
                    <a:sysClr val="window" lastClr="FFFFFF"/>
                  </a:solidFill>
                  <a:latin typeface="Century Gothic" panose="020B0502020202020204" pitchFamily="34" charset="0"/>
                  <a:cs typeface="Arial" charset="0"/>
                  <a:sym typeface="Calibri"/>
                </a:rPr>
                <a:t>Benelux</a:t>
              </a:r>
            </a:p>
          </p:txBody>
        </p:sp>
      </p:grpSp>
      <p:grpSp>
        <p:nvGrpSpPr>
          <p:cNvPr id="395" name="Group 394"/>
          <p:cNvGrpSpPr/>
          <p:nvPr/>
        </p:nvGrpSpPr>
        <p:grpSpPr>
          <a:xfrm>
            <a:off x="5187839" y="1000010"/>
            <a:ext cx="1986845" cy="1840520"/>
            <a:chOff x="10376263" y="2000250"/>
            <a:chExt cx="4465244" cy="4465594"/>
          </a:xfrm>
        </p:grpSpPr>
        <p:sp>
          <p:nvSpPr>
            <p:cNvPr id="396" name="Rectangle 395"/>
            <p:cNvSpPr/>
            <p:nvPr/>
          </p:nvSpPr>
          <p:spPr>
            <a:xfrm>
              <a:off x="10376263" y="2574713"/>
              <a:ext cx="4432510" cy="3891131"/>
            </a:xfrm>
            <a:prstGeom prst="rect">
              <a:avLst/>
            </a:prstGeom>
            <a:solidFill>
              <a:srgbClr val="FFFFFF">
                <a:alpha val="63137"/>
              </a:srgbClr>
            </a:solidFill>
            <a:ln w="12700" cap="flat" cmpd="sng" algn="ctr">
              <a:noFill/>
              <a:prstDash val="solid"/>
            </a:ln>
            <a:effectLst/>
          </p:spPr>
          <p:txBody>
            <a:bodyPr rtlCol="0" anchor="ctr"/>
            <a:lstStyle>
              <a:defPPr>
                <a:defRPr lang="de-DE"/>
              </a:defPPr>
              <a:lvl1pPr marL="0" algn="l" defTabSz="957756" rtl="0" eaLnBrk="1" latinLnBrk="0" hangingPunct="1">
                <a:defRPr sz="1900" kern="1200">
                  <a:solidFill>
                    <a:schemeClr val="lt1"/>
                  </a:solidFill>
                  <a:latin typeface="+mn-lt"/>
                  <a:ea typeface="+mn-ea"/>
                  <a:cs typeface="+mn-cs"/>
                </a:defRPr>
              </a:lvl1pPr>
              <a:lvl2pPr marL="478878" algn="l" defTabSz="957756" rtl="0" eaLnBrk="1" latinLnBrk="0" hangingPunct="1">
                <a:defRPr sz="1900" kern="1200">
                  <a:solidFill>
                    <a:schemeClr val="lt1"/>
                  </a:solidFill>
                  <a:latin typeface="+mn-lt"/>
                  <a:ea typeface="+mn-ea"/>
                  <a:cs typeface="+mn-cs"/>
                </a:defRPr>
              </a:lvl2pPr>
              <a:lvl3pPr marL="957756" algn="l" defTabSz="957756" rtl="0" eaLnBrk="1" latinLnBrk="0" hangingPunct="1">
                <a:defRPr sz="1900" kern="1200">
                  <a:solidFill>
                    <a:schemeClr val="lt1"/>
                  </a:solidFill>
                  <a:latin typeface="+mn-lt"/>
                  <a:ea typeface="+mn-ea"/>
                  <a:cs typeface="+mn-cs"/>
                </a:defRPr>
              </a:lvl3pPr>
              <a:lvl4pPr marL="1436634" algn="l" defTabSz="957756" rtl="0" eaLnBrk="1" latinLnBrk="0" hangingPunct="1">
                <a:defRPr sz="1900" kern="1200">
                  <a:solidFill>
                    <a:schemeClr val="lt1"/>
                  </a:solidFill>
                  <a:latin typeface="+mn-lt"/>
                  <a:ea typeface="+mn-ea"/>
                  <a:cs typeface="+mn-cs"/>
                </a:defRPr>
              </a:lvl4pPr>
              <a:lvl5pPr marL="1915510" algn="l" defTabSz="957756" rtl="0" eaLnBrk="1" latinLnBrk="0" hangingPunct="1">
                <a:defRPr sz="1900" kern="1200">
                  <a:solidFill>
                    <a:schemeClr val="lt1"/>
                  </a:solidFill>
                  <a:latin typeface="+mn-lt"/>
                  <a:ea typeface="+mn-ea"/>
                  <a:cs typeface="+mn-cs"/>
                </a:defRPr>
              </a:lvl5pPr>
              <a:lvl6pPr marL="2394388" algn="l" defTabSz="957756" rtl="0" eaLnBrk="1" latinLnBrk="0" hangingPunct="1">
                <a:defRPr sz="1900" kern="1200">
                  <a:solidFill>
                    <a:schemeClr val="lt1"/>
                  </a:solidFill>
                  <a:latin typeface="+mn-lt"/>
                  <a:ea typeface="+mn-ea"/>
                  <a:cs typeface="+mn-cs"/>
                </a:defRPr>
              </a:lvl6pPr>
              <a:lvl7pPr marL="2873265" algn="l" defTabSz="957756" rtl="0" eaLnBrk="1" latinLnBrk="0" hangingPunct="1">
                <a:defRPr sz="1900" kern="1200">
                  <a:solidFill>
                    <a:schemeClr val="lt1"/>
                  </a:solidFill>
                  <a:latin typeface="+mn-lt"/>
                  <a:ea typeface="+mn-ea"/>
                  <a:cs typeface="+mn-cs"/>
                </a:defRPr>
              </a:lvl7pPr>
              <a:lvl8pPr marL="3352143" algn="l" defTabSz="957756" rtl="0" eaLnBrk="1" latinLnBrk="0" hangingPunct="1">
                <a:defRPr sz="1900" kern="1200">
                  <a:solidFill>
                    <a:schemeClr val="lt1"/>
                  </a:solidFill>
                  <a:latin typeface="+mn-lt"/>
                  <a:ea typeface="+mn-ea"/>
                  <a:cs typeface="+mn-cs"/>
                </a:defRPr>
              </a:lvl8pPr>
              <a:lvl9pPr marL="3831021" algn="l" defTabSz="957756" rtl="0" eaLnBrk="1" latinLnBrk="0" hangingPunct="1">
                <a:defRPr sz="1900" kern="1200">
                  <a:solidFill>
                    <a:schemeClr val="lt1"/>
                  </a:solidFill>
                  <a:latin typeface="+mn-lt"/>
                  <a:ea typeface="+mn-ea"/>
                  <a:cs typeface="+mn-cs"/>
                </a:defRPr>
              </a:lvl9pPr>
            </a:lstStyle>
            <a:p>
              <a:pPr algn="ctr" defTabSz="478782">
                <a:defRPr/>
              </a:pPr>
              <a:endParaRPr lang="en-GB" sz="1100" dirty="0">
                <a:solidFill>
                  <a:srgbClr val="9F958F">
                    <a:lumMod val="50000"/>
                  </a:srgbClr>
                </a:solidFill>
                <a:latin typeface="Century Gothic" panose="020B0502020202020204" pitchFamily="34" charset="0"/>
                <a:sym typeface="Calibri"/>
              </a:endParaRPr>
            </a:p>
          </p:txBody>
        </p:sp>
        <p:pic>
          <p:nvPicPr>
            <p:cNvPr id="397" name="Picture 396" descr="http://www.logostage.com/logos/edf.png"/>
            <p:cNvPicPr>
              <a:picLocks noChangeAspect="1" noChangeArrowheads="1"/>
            </p:cNvPicPr>
            <p:nvPr/>
          </p:nvPicPr>
          <p:blipFill>
            <a:blip r:embed="rId25" cstate="screen">
              <a:extLst>
                <a:ext uri="{28A0092B-C50C-407E-A947-70E740481C1C}">
                  <a14:useLocalDpi xmlns:a14="http://schemas.microsoft.com/office/drawing/2010/main"/>
                </a:ext>
              </a:extLst>
            </a:blip>
            <a:srcRect/>
            <a:stretch>
              <a:fillRect/>
            </a:stretch>
          </p:blipFill>
          <p:spPr bwMode="auto">
            <a:xfrm>
              <a:off x="10475498" y="5487130"/>
              <a:ext cx="1799623" cy="803534"/>
            </a:xfrm>
            <a:prstGeom prst="rect">
              <a:avLst/>
            </a:prstGeom>
            <a:noFill/>
            <a:extLst>
              <a:ext uri="{909E8E84-426E-40DD-AFC4-6F175D3DCCD1}">
                <a14:hiddenFill xmlns:a14="http://schemas.microsoft.com/office/drawing/2010/main">
                  <a:solidFill>
                    <a:srgbClr val="FFFFFF"/>
                  </a:solidFill>
                </a14:hiddenFill>
              </a:ext>
            </a:extLst>
          </p:spPr>
        </p:pic>
        <p:pic>
          <p:nvPicPr>
            <p:cNvPr id="398" name="Picture 397" descr="http://upload.wikimedia.org/wikipedia/en/thumb/7/7a/Heathrow_Logo_2013.svg/250px-Heathrow_Logo_2013.svg.png"/>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12632802" y="5644570"/>
              <a:ext cx="2044038" cy="629565"/>
            </a:xfrm>
            <a:prstGeom prst="rect">
              <a:avLst/>
            </a:prstGeom>
            <a:noFill/>
            <a:extLst>
              <a:ext uri="{909E8E84-426E-40DD-AFC4-6F175D3DCCD1}">
                <a14:hiddenFill xmlns:a14="http://schemas.microsoft.com/office/drawing/2010/main">
                  <a:solidFill>
                    <a:srgbClr val="FFFFFF"/>
                  </a:solidFill>
                </a14:hiddenFill>
              </a:ext>
            </a:extLst>
          </p:spPr>
        </p:pic>
        <p:pic>
          <p:nvPicPr>
            <p:cNvPr id="399" name="Picture 398" descr="http://www.jaide.de/wp-content/uploads/2012/05/Logo_RoyalMail.png"/>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10589707" y="3188705"/>
              <a:ext cx="1714141" cy="1040728"/>
            </a:xfrm>
            <a:prstGeom prst="rect">
              <a:avLst/>
            </a:prstGeom>
            <a:noFill/>
            <a:extLst>
              <a:ext uri="{909E8E84-426E-40DD-AFC4-6F175D3DCCD1}">
                <a14:hiddenFill xmlns:a14="http://schemas.microsoft.com/office/drawing/2010/main">
                  <a:solidFill>
                    <a:srgbClr val="FFFFFF"/>
                  </a:solidFill>
                </a14:hiddenFill>
              </a:ext>
            </a:extLst>
          </p:spPr>
        </p:pic>
        <p:pic>
          <p:nvPicPr>
            <p:cNvPr id="400" name="Picture 399" descr="http://www.unilever.com.au/Images/unilever_logo-263x149_tcm72-329313.jpg"/>
            <p:cNvPicPr>
              <a:picLocks noChangeAspect="1"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10506533" y="4320626"/>
              <a:ext cx="1880489" cy="1065373"/>
            </a:xfrm>
            <a:prstGeom prst="rect">
              <a:avLst/>
            </a:prstGeom>
            <a:noFill/>
            <a:extLst>
              <a:ext uri="{909E8E84-426E-40DD-AFC4-6F175D3DCCD1}">
                <a14:hiddenFill xmlns:a14="http://schemas.microsoft.com/office/drawing/2010/main">
                  <a:solidFill>
                    <a:srgbClr val="FFFFFF"/>
                  </a:solidFill>
                </a14:hiddenFill>
              </a:ext>
            </a:extLst>
          </p:spPr>
        </p:pic>
        <p:pic>
          <p:nvPicPr>
            <p:cNvPr id="401" name="Picture 400" descr="http://www.bisinternet.co.uk/wp-content/uploads/2011/08/Logo_Centrica.gif"/>
            <p:cNvPicPr>
              <a:picLocks noChangeAspect="1" noChangeArrowheads="1"/>
            </p:cNvPicPr>
            <p:nvPr/>
          </p:nvPicPr>
          <p:blipFill>
            <a:blip r:embed="rId29" cstate="screen">
              <a:extLst>
                <a:ext uri="{28A0092B-C50C-407E-A947-70E740481C1C}">
                  <a14:useLocalDpi xmlns:a14="http://schemas.microsoft.com/office/drawing/2010/main"/>
                </a:ext>
              </a:extLst>
            </a:blip>
            <a:srcRect/>
            <a:stretch>
              <a:fillRect/>
            </a:stretch>
          </p:blipFill>
          <p:spPr bwMode="auto">
            <a:xfrm>
              <a:off x="12924647" y="4317480"/>
              <a:ext cx="1455746" cy="1019020"/>
            </a:xfrm>
            <a:prstGeom prst="rect">
              <a:avLst/>
            </a:prstGeom>
            <a:noFill/>
            <a:extLst>
              <a:ext uri="{909E8E84-426E-40DD-AFC4-6F175D3DCCD1}">
                <a14:hiddenFill xmlns:a14="http://schemas.microsoft.com/office/drawing/2010/main">
                  <a:solidFill>
                    <a:srgbClr val="FFFFFF"/>
                  </a:solidFill>
                </a14:hiddenFill>
              </a:ext>
            </a:extLst>
          </p:spPr>
        </p:pic>
        <p:pic>
          <p:nvPicPr>
            <p:cNvPr id="402" name="Picture 401" descr="http://www.thoughtleadersllc.com/assets/client-logos/_resampled/AssetLibraryPreview-20090221-Bain-Capital-Logo.png"/>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t="15891" b="16717"/>
            <a:stretch/>
          </p:blipFill>
          <p:spPr bwMode="auto">
            <a:xfrm>
              <a:off x="12408227" y="3305729"/>
              <a:ext cx="2255938" cy="760145"/>
            </a:xfrm>
            <a:prstGeom prst="rect">
              <a:avLst/>
            </a:prstGeom>
            <a:noFill/>
            <a:extLst>
              <a:ext uri="{909E8E84-426E-40DD-AFC4-6F175D3DCCD1}">
                <a14:hiddenFill xmlns:a14="http://schemas.microsoft.com/office/drawing/2010/main">
                  <a:solidFill>
                    <a:srgbClr val="FFFFFF"/>
                  </a:solidFill>
                </a14:hiddenFill>
              </a:ext>
            </a:extLst>
          </p:spPr>
        </p:pic>
        <p:sp>
          <p:nvSpPr>
            <p:cNvPr id="403" name="Round Same Side Corner Rectangle 402"/>
            <p:cNvSpPr/>
            <p:nvPr/>
          </p:nvSpPr>
          <p:spPr>
            <a:xfrm>
              <a:off x="10376263" y="2000250"/>
              <a:ext cx="4465244" cy="1040793"/>
            </a:xfrm>
            <a:prstGeom prst="round2SameRect">
              <a:avLst/>
            </a:prstGeom>
            <a:solidFill>
              <a:schemeClr val="accent3">
                <a:lumMod val="75000"/>
              </a:schemeClr>
            </a:solidFill>
            <a:ln w="25400" cap="flat" cmpd="sng" algn="ctr">
              <a:noFill/>
              <a:prstDash val="solid"/>
            </a:ln>
            <a:effectLst/>
          </p:spPr>
          <p:txBody>
            <a:bodyPr anchor="ct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algn="ctr" defTabSz="478782">
                <a:defRPr/>
              </a:pPr>
              <a:r>
                <a:rPr lang="en-GB" sz="1200" b="1" kern="0" dirty="0">
                  <a:solidFill>
                    <a:sysClr val="window" lastClr="FFFFFF"/>
                  </a:solidFill>
                  <a:latin typeface="Century Gothic" panose="020B0502020202020204" pitchFamily="34" charset="0"/>
                  <a:cs typeface="Arial" charset="0"/>
                  <a:sym typeface="Calibri"/>
                </a:rPr>
                <a:t>UK &amp; Ireland</a:t>
              </a:r>
            </a:p>
          </p:txBody>
        </p:sp>
      </p:grpSp>
      <p:grpSp>
        <p:nvGrpSpPr>
          <p:cNvPr id="404" name="Group 403"/>
          <p:cNvGrpSpPr/>
          <p:nvPr/>
        </p:nvGrpSpPr>
        <p:grpSpPr>
          <a:xfrm>
            <a:off x="9868485" y="2938750"/>
            <a:ext cx="1777050" cy="2037953"/>
            <a:chOff x="19827506" y="6485916"/>
            <a:chExt cx="4043239" cy="4199993"/>
          </a:xfrm>
        </p:grpSpPr>
        <p:sp>
          <p:nvSpPr>
            <p:cNvPr id="405" name="Rectangle 404"/>
            <p:cNvSpPr/>
            <p:nvPr/>
          </p:nvSpPr>
          <p:spPr>
            <a:xfrm>
              <a:off x="19827506" y="7265909"/>
              <a:ext cx="4043239" cy="3420000"/>
            </a:xfrm>
            <a:prstGeom prst="rect">
              <a:avLst/>
            </a:prstGeom>
            <a:solidFill>
              <a:srgbClr val="FFFFFF">
                <a:alpha val="63137"/>
              </a:srgbClr>
            </a:solidFill>
            <a:ln w="12700" cap="flat" cmpd="sng" algn="ctr">
              <a:noFill/>
              <a:prstDash val="solid"/>
            </a:ln>
            <a:effectLst/>
          </p:spPr>
          <p:txBody>
            <a:bodyPr rtlCol="0" anchor="ctr"/>
            <a:lstStyle>
              <a:defPPr>
                <a:defRPr lang="de-DE"/>
              </a:defPPr>
              <a:lvl1pPr marL="0" algn="l" defTabSz="957756" rtl="0" eaLnBrk="1" latinLnBrk="0" hangingPunct="1">
                <a:defRPr sz="1900" kern="1200">
                  <a:solidFill>
                    <a:schemeClr val="lt1"/>
                  </a:solidFill>
                  <a:latin typeface="+mn-lt"/>
                  <a:ea typeface="+mn-ea"/>
                  <a:cs typeface="+mn-cs"/>
                </a:defRPr>
              </a:lvl1pPr>
              <a:lvl2pPr marL="478878" algn="l" defTabSz="957756" rtl="0" eaLnBrk="1" latinLnBrk="0" hangingPunct="1">
                <a:defRPr sz="1900" kern="1200">
                  <a:solidFill>
                    <a:schemeClr val="lt1"/>
                  </a:solidFill>
                  <a:latin typeface="+mn-lt"/>
                  <a:ea typeface="+mn-ea"/>
                  <a:cs typeface="+mn-cs"/>
                </a:defRPr>
              </a:lvl2pPr>
              <a:lvl3pPr marL="957756" algn="l" defTabSz="957756" rtl="0" eaLnBrk="1" latinLnBrk="0" hangingPunct="1">
                <a:defRPr sz="1900" kern="1200">
                  <a:solidFill>
                    <a:schemeClr val="lt1"/>
                  </a:solidFill>
                  <a:latin typeface="+mn-lt"/>
                  <a:ea typeface="+mn-ea"/>
                  <a:cs typeface="+mn-cs"/>
                </a:defRPr>
              </a:lvl3pPr>
              <a:lvl4pPr marL="1436634" algn="l" defTabSz="957756" rtl="0" eaLnBrk="1" latinLnBrk="0" hangingPunct="1">
                <a:defRPr sz="1900" kern="1200">
                  <a:solidFill>
                    <a:schemeClr val="lt1"/>
                  </a:solidFill>
                  <a:latin typeface="+mn-lt"/>
                  <a:ea typeface="+mn-ea"/>
                  <a:cs typeface="+mn-cs"/>
                </a:defRPr>
              </a:lvl4pPr>
              <a:lvl5pPr marL="1915510" algn="l" defTabSz="957756" rtl="0" eaLnBrk="1" latinLnBrk="0" hangingPunct="1">
                <a:defRPr sz="1900" kern="1200">
                  <a:solidFill>
                    <a:schemeClr val="lt1"/>
                  </a:solidFill>
                  <a:latin typeface="+mn-lt"/>
                  <a:ea typeface="+mn-ea"/>
                  <a:cs typeface="+mn-cs"/>
                </a:defRPr>
              </a:lvl5pPr>
              <a:lvl6pPr marL="2394388" algn="l" defTabSz="957756" rtl="0" eaLnBrk="1" latinLnBrk="0" hangingPunct="1">
                <a:defRPr sz="1900" kern="1200">
                  <a:solidFill>
                    <a:schemeClr val="lt1"/>
                  </a:solidFill>
                  <a:latin typeface="+mn-lt"/>
                  <a:ea typeface="+mn-ea"/>
                  <a:cs typeface="+mn-cs"/>
                </a:defRPr>
              </a:lvl6pPr>
              <a:lvl7pPr marL="2873265" algn="l" defTabSz="957756" rtl="0" eaLnBrk="1" latinLnBrk="0" hangingPunct="1">
                <a:defRPr sz="1900" kern="1200">
                  <a:solidFill>
                    <a:schemeClr val="lt1"/>
                  </a:solidFill>
                  <a:latin typeface="+mn-lt"/>
                  <a:ea typeface="+mn-ea"/>
                  <a:cs typeface="+mn-cs"/>
                </a:defRPr>
              </a:lvl7pPr>
              <a:lvl8pPr marL="3352143" algn="l" defTabSz="957756" rtl="0" eaLnBrk="1" latinLnBrk="0" hangingPunct="1">
                <a:defRPr sz="1900" kern="1200">
                  <a:solidFill>
                    <a:schemeClr val="lt1"/>
                  </a:solidFill>
                  <a:latin typeface="+mn-lt"/>
                  <a:ea typeface="+mn-ea"/>
                  <a:cs typeface="+mn-cs"/>
                </a:defRPr>
              </a:lvl8pPr>
              <a:lvl9pPr marL="3831021" algn="l" defTabSz="957756" rtl="0" eaLnBrk="1" latinLnBrk="0" hangingPunct="1">
                <a:defRPr sz="1900" kern="1200">
                  <a:solidFill>
                    <a:schemeClr val="lt1"/>
                  </a:solidFill>
                  <a:latin typeface="+mn-lt"/>
                  <a:ea typeface="+mn-ea"/>
                  <a:cs typeface="+mn-cs"/>
                </a:defRPr>
              </a:lvl9pPr>
            </a:lstStyle>
            <a:p>
              <a:pPr algn="ctr" defTabSz="478782">
                <a:defRPr/>
              </a:pPr>
              <a:endParaRPr lang="en-GB" sz="1100" dirty="0">
                <a:solidFill>
                  <a:srgbClr val="9F958F">
                    <a:lumMod val="50000"/>
                  </a:srgbClr>
                </a:solidFill>
                <a:latin typeface="Century Gothic" panose="020B0502020202020204" pitchFamily="34" charset="0"/>
                <a:sym typeface="Calibri"/>
              </a:endParaRPr>
            </a:p>
          </p:txBody>
        </p:sp>
        <p:pic>
          <p:nvPicPr>
            <p:cNvPr id="406" name="emb1" descr="http://tse1.mm.bing.net/th?id=JN.1lhjBEe2W3Zv%2fh9LmIPKKA&amp;w=109&amp;h=109&amp;c=7&amp;rs=1&amp;qlt=90&amp;pid=3.1&amp;rm=2">
              <a:hlinkClick r:id="rId31"/>
            </p:cNvPr>
            <p:cNvPicPr>
              <a:picLocks noChangeAspect="1" noChangeArrowheads="1"/>
            </p:cNvPicPr>
            <p:nvPr/>
          </p:nvPicPr>
          <p:blipFill>
            <a:blip r:embed="rId32" cstate="screen">
              <a:extLst>
                <a:ext uri="{28A0092B-C50C-407E-A947-70E740481C1C}">
                  <a14:useLocalDpi xmlns:a14="http://schemas.microsoft.com/office/drawing/2010/main"/>
                </a:ext>
              </a:extLst>
            </a:blip>
            <a:srcRect/>
            <a:stretch>
              <a:fillRect/>
            </a:stretch>
          </p:blipFill>
          <p:spPr bwMode="auto">
            <a:xfrm>
              <a:off x="20087220" y="7645309"/>
              <a:ext cx="939702" cy="939702"/>
            </a:xfrm>
            <a:prstGeom prst="rect">
              <a:avLst/>
            </a:prstGeom>
            <a:noFill/>
            <a:extLst>
              <a:ext uri="{909E8E84-426E-40DD-AFC4-6F175D3DCCD1}">
                <a14:hiddenFill xmlns:a14="http://schemas.microsoft.com/office/drawing/2010/main">
                  <a:solidFill>
                    <a:srgbClr val="FFFFFF"/>
                  </a:solidFill>
                </a14:hiddenFill>
              </a:ext>
            </a:extLst>
          </p:spPr>
        </p:pic>
        <p:pic>
          <p:nvPicPr>
            <p:cNvPr id="407" name="Picture 406" descr="http://ts1.mm.bing.net/th?id=JN.R8qQvik5f2wNXrcyNbr53w&amp;pid=15.1"/>
            <p:cNvPicPr>
              <a:picLocks noChangeAspect="1" noChangeArrowheads="1"/>
            </p:cNvPicPr>
            <p:nvPr/>
          </p:nvPicPr>
          <p:blipFill>
            <a:blip r:embed="rId33" cstate="screen">
              <a:extLst>
                <a:ext uri="{28A0092B-C50C-407E-A947-70E740481C1C}">
                  <a14:useLocalDpi xmlns:a14="http://schemas.microsoft.com/office/drawing/2010/main"/>
                </a:ext>
              </a:extLst>
            </a:blip>
            <a:srcRect/>
            <a:stretch>
              <a:fillRect/>
            </a:stretch>
          </p:blipFill>
          <p:spPr bwMode="auto">
            <a:xfrm>
              <a:off x="20186542" y="8718966"/>
              <a:ext cx="1666764" cy="587464"/>
            </a:xfrm>
            <a:prstGeom prst="rect">
              <a:avLst/>
            </a:prstGeom>
            <a:noFill/>
            <a:extLst>
              <a:ext uri="{909E8E84-426E-40DD-AFC4-6F175D3DCCD1}">
                <a14:hiddenFill xmlns:a14="http://schemas.microsoft.com/office/drawing/2010/main">
                  <a:solidFill>
                    <a:srgbClr val="FFFFFF"/>
                  </a:solidFill>
                </a14:hiddenFill>
              </a:ext>
            </a:extLst>
          </p:spPr>
        </p:pic>
        <p:pic>
          <p:nvPicPr>
            <p:cNvPr id="408" name="Picture 407" descr="http://ts1.mm.bing.net/th?&amp;id=JN.Ao/8H0GR35SnL/LZJDlGyw&amp;w=300&amp;h=300&amp;c=0&amp;pid=1.9&amp;rs=0&amp;p=0&amp;url=http%3A%2F%2Fhdlogo.com%2Flogo%2F1315.html">
              <a:hlinkClick r:id="rId34"/>
            </p:cNvPr>
            <p:cNvPicPr>
              <a:picLocks noChangeAspect="1" noChangeArrowheads="1"/>
            </p:cNvPicPr>
            <p:nvPr/>
          </p:nvPicPr>
          <p:blipFill>
            <a:blip r:embed="rId35" cstate="screen">
              <a:extLst>
                <a:ext uri="{28A0092B-C50C-407E-A947-70E740481C1C}">
                  <a14:useLocalDpi xmlns:a14="http://schemas.microsoft.com/office/drawing/2010/main"/>
                </a:ext>
              </a:extLst>
            </a:blip>
            <a:srcRect/>
            <a:stretch>
              <a:fillRect/>
            </a:stretch>
          </p:blipFill>
          <p:spPr bwMode="auto">
            <a:xfrm>
              <a:off x="21273772" y="7769717"/>
              <a:ext cx="2424059" cy="670655"/>
            </a:xfrm>
            <a:prstGeom prst="rect">
              <a:avLst/>
            </a:prstGeom>
            <a:noFill/>
            <a:extLst>
              <a:ext uri="{909E8E84-426E-40DD-AFC4-6F175D3DCCD1}">
                <a14:hiddenFill xmlns:a14="http://schemas.microsoft.com/office/drawing/2010/main">
                  <a:solidFill>
                    <a:srgbClr val="FFFFFF"/>
                  </a:solidFill>
                </a14:hiddenFill>
              </a:ext>
            </a:extLst>
          </p:spPr>
        </p:pic>
        <p:pic>
          <p:nvPicPr>
            <p:cNvPr id="409" name="Picture 408" descr="http://ts1.mm.bing.net/th?&amp;id=JN.omDbFz%2bV0%2bUbGoIM%2bLYb7g&amp;w=300&amp;h=300&amp;c=0&amp;pid=1.9&amp;rs=0&amp;p=0&amp;url=http%3A%2F%2Fdirectory.ac%2Fgeneral-motors-corporation.html">
              <a:hlinkClick r:id="rId36"/>
            </p:cNvPr>
            <p:cNvPicPr>
              <a:picLocks noChangeAspect="1" noChangeArrowheads="1"/>
            </p:cNvPicPr>
            <p:nvPr/>
          </p:nvPicPr>
          <p:blipFill>
            <a:blip r:embed="rId37" cstate="screen">
              <a:extLst>
                <a:ext uri="{28A0092B-C50C-407E-A947-70E740481C1C}">
                  <a14:useLocalDpi xmlns:a14="http://schemas.microsoft.com/office/drawing/2010/main"/>
                </a:ext>
              </a:extLst>
            </a:blip>
            <a:srcRect/>
            <a:stretch>
              <a:fillRect/>
            </a:stretch>
          </p:blipFill>
          <p:spPr bwMode="auto">
            <a:xfrm>
              <a:off x="22483325" y="9661519"/>
              <a:ext cx="822973" cy="822974"/>
            </a:xfrm>
            <a:prstGeom prst="rect">
              <a:avLst/>
            </a:prstGeom>
            <a:noFill/>
            <a:extLst>
              <a:ext uri="{909E8E84-426E-40DD-AFC4-6F175D3DCCD1}">
                <a14:hiddenFill xmlns:a14="http://schemas.microsoft.com/office/drawing/2010/main">
                  <a:solidFill>
                    <a:srgbClr val="FFFFFF"/>
                  </a:solidFill>
                </a14:hiddenFill>
              </a:ext>
            </a:extLst>
          </p:spPr>
        </p:pic>
        <p:pic>
          <p:nvPicPr>
            <p:cNvPr id="410" name="Picture 409" descr="Renault">
              <a:hlinkClick r:id="rId38"/>
            </p:cNvPr>
            <p:cNvPicPr>
              <a:picLocks noChangeAspect="1" noChangeArrowheads="1"/>
            </p:cNvPicPr>
            <p:nvPr/>
          </p:nvPicPr>
          <p:blipFill>
            <a:blip r:embed="rId39" cstate="screen">
              <a:extLst>
                <a:ext uri="{28A0092B-C50C-407E-A947-70E740481C1C}">
                  <a14:useLocalDpi xmlns:a14="http://schemas.microsoft.com/office/drawing/2010/main"/>
                </a:ext>
              </a:extLst>
            </a:blip>
            <a:srcRect/>
            <a:stretch>
              <a:fillRect/>
            </a:stretch>
          </p:blipFill>
          <p:spPr bwMode="auto">
            <a:xfrm>
              <a:off x="20691906" y="9529329"/>
              <a:ext cx="948019" cy="948019"/>
            </a:xfrm>
            <a:prstGeom prst="rect">
              <a:avLst/>
            </a:prstGeom>
            <a:noFill/>
            <a:extLst>
              <a:ext uri="{909E8E84-426E-40DD-AFC4-6F175D3DCCD1}">
                <a14:hiddenFill xmlns:a14="http://schemas.microsoft.com/office/drawing/2010/main">
                  <a:solidFill>
                    <a:srgbClr val="FFFFFF"/>
                  </a:solidFill>
                </a14:hiddenFill>
              </a:ext>
            </a:extLst>
          </p:spPr>
        </p:pic>
        <p:pic>
          <p:nvPicPr>
            <p:cNvPr id="411" name="Picture 410" descr="Ping An Insurance">
              <a:hlinkClick r:id="rId40"/>
            </p:cNvPr>
            <p:cNvPicPr>
              <a:picLocks noChangeAspect="1" noChangeArrowheads="1"/>
            </p:cNvPicPr>
            <p:nvPr/>
          </p:nvPicPr>
          <p:blipFill>
            <a:blip r:embed="rId41" cstate="screen">
              <a:extLst>
                <a:ext uri="{28A0092B-C50C-407E-A947-70E740481C1C}">
                  <a14:useLocalDpi xmlns:a14="http://schemas.microsoft.com/office/drawing/2010/main"/>
                </a:ext>
              </a:extLst>
            </a:blip>
            <a:srcRect/>
            <a:stretch>
              <a:fillRect/>
            </a:stretch>
          </p:blipFill>
          <p:spPr bwMode="auto">
            <a:xfrm>
              <a:off x="22266525" y="8567554"/>
              <a:ext cx="1226753" cy="880956"/>
            </a:xfrm>
            <a:prstGeom prst="rect">
              <a:avLst/>
            </a:prstGeom>
            <a:noFill/>
            <a:extLst>
              <a:ext uri="{909E8E84-426E-40DD-AFC4-6F175D3DCCD1}">
                <a14:hiddenFill xmlns:a14="http://schemas.microsoft.com/office/drawing/2010/main">
                  <a:solidFill>
                    <a:srgbClr val="FFFFFF"/>
                  </a:solidFill>
                </a14:hiddenFill>
              </a:ext>
            </a:extLst>
          </p:spPr>
        </p:pic>
        <p:sp>
          <p:nvSpPr>
            <p:cNvPr id="412" name="Round Same Side Corner Rectangle 411"/>
            <p:cNvSpPr/>
            <p:nvPr/>
          </p:nvSpPr>
          <p:spPr>
            <a:xfrm>
              <a:off x="19831499" y="6485916"/>
              <a:ext cx="4026388" cy="1040793"/>
            </a:xfrm>
            <a:prstGeom prst="round2SameRect">
              <a:avLst/>
            </a:prstGeom>
            <a:solidFill>
              <a:schemeClr val="accent3">
                <a:lumMod val="75000"/>
              </a:schemeClr>
            </a:solidFill>
            <a:ln w="25400" cap="flat" cmpd="sng" algn="ctr">
              <a:noFill/>
              <a:prstDash val="solid"/>
            </a:ln>
            <a:effectLst/>
          </p:spPr>
          <p:txBody>
            <a:bodyPr anchor="ct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algn="ctr" defTabSz="478782">
                <a:defRPr/>
              </a:pPr>
              <a:r>
                <a:rPr lang="en-GB" sz="1200" b="1" kern="0" dirty="0">
                  <a:solidFill>
                    <a:sysClr val="window" lastClr="FFFFFF"/>
                  </a:solidFill>
                  <a:latin typeface="Century Gothic" panose="020B0502020202020204" pitchFamily="34" charset="0"/>
                  <a:cs typeface="Arial" charset="0"/>
                  <a:sym typeface="Calibri"/>
                </a:rPr>
                <a:t>China</a:t>
              </a:r>
            </a:p>
          </p:txBody>
        </p:sp>
      </p:grpSp>
      <p:grpSp>
        <p:nvGrpSpPr>
          <p:cNvPr id="413" name="Group 412"/>
          <p:cNvGrpSpPr/>
          <p:nvPr/>
        </p:nvGrpSpPr>
        <p:grpSpPr>
          <a:xfrm>
            <a:off x="2082738" y="5111206"/>
            <a:ext cx="1668893" cy="1090889"/>
            <a:chOff x="4063197" y="10766616"/>
            <a:chExt cx="3637498" cy="2919776"/>
          </a:xfrm>
        </p:grpSpPr>
        <p:sp>
          <p:nvSpPr>
            <p:cNvPr id="414" name="Rectangle 413"/>
            <p:cNvSpPr/>
            <p:nvPr/>
          </p:nvSpPr>
          <p:spPr>
            <a:xfrm>
              <a:off x="4079249" y="11588214"/>
              <a:ext cx="3610333" cy="2098178"/>
            </a:xfrm>
            <a:prstGeom prst="rect">
              <a:avLst/>
            </a:prstGeom>
            <a:solidFill>
              <a:srgbClr val="FFFFFF">
                <a:alpha val="63137"/>
              </a:srgbClr>
            </a:solidFill>
            <a:ln w="12700" cap="flat" cmpd="sng" algn="ctr">
              <a:noFill/>
              <a:prstDash val="solid"/>
            </a:ln>
            <a:effectLst/>
          </p:spPr>
          <p:txBody>
            <a:bodyPr rtlCol="0" anchor="ctr"/>
            <a:lstStyle>
              <a:defPPr>
                <a:defRPr lang="de-DE"/>
              </a:defPPr>
              <a:lvl1pPr marL="0" algn="l" defTabSz="957756" rtl="0" eaLnBrk="1" latinLnBrk="0" hangingPunct="1">
                <a:defRPr sz="1900" kern="1200">
                  <a:solidFill>
                    <a:schemeClr val="lt1"/>
                  </a:solidFill>
                  <a:latin typeface="+mn-lt"/>
                  <a:ea typeface="+mn-ea"/>
                  <a:cs typeface="+mn-cs"/>
                </a:defRPr>
              </a:lvl1pPr>
              <a:lvl2pPr marL="478878" algn="l" defTabSz="957756" rtl="0" eaLnBrk="1" latinLnBrk="0" hangingPunct="1">
                <a:defRPr sz="1900" kern="1200">
                  <a:solidFill>
                    <a:schemeClr val="lt1"/>
                  </a:solidFill>
                  <a:latin typeface="+mn-lt"/>
                  <a:ea typeface="+mn-ea"/>
                  <a:cs typeface="+mn-cs"/>
                </a:defRPr>
              </a:lvl2pPr>
              <a:lvl3pPr marL="957756" algn="l" defTabSz="957756" rtl="0" eaLnBrk="1" latinLnBrk="0" hangingPunct="1">
                <a:defRPr sz="1900" kern="1200">
                  <a:solidFill>
                    <a:schemeClr val="lt1"/>
                  </a:solidFill>
                  <a:latin typeface="+mn-lt"/>
                  <a:ea typeface="+mn-ea"/>
                  <a:cs typeface="+mn-cs"/>
                </a:defRPr>
              </a:lvl3pPr>
              <a:lvl4pPr marL="1436634" algn="l" defTabSz="957756" rtl="0" eaLnBrk="1" latinLnBrk="0" hangingPunct="1">
                <a:defRPr sz="1900" kern="1200">
                  <a:solidFill>
                    <a:schemeClr val="lt1"/>
                  </a:solidFill>
                  <a:latin typeface="+mn-lt"/>
                  <a:ea typeface="+mn-ea"/>
                  <a:cs typeface="+mn-cs"/>
                </a:defRPr>
              </a:lvl4pPr>
              <a:lvl5pPr marL="1915510" algn="l" defTabSz="957756" rtl="0" eaLnBrk="1" latinLnBrk="0" hangingPunct="1">
                <a:defRPr sz="1900" kern="1200">
                  <a:solidFill>
                    <a:schemeClr val="lt1"/>
                  </a:solidFill>
                  <a:latin typeface="+mn-lt"/>
                  <a:ea typeface="+mn-ea"/>
                  <a:cs typeface="+mn-cs"/>
                </a:defRPr>
              </a:lvl5pPr>
              <a:lvl6pPr marL="2394388" algn="l" defTabSz="957756" rtl="0" eaLnBrk="1" latinLnBrk="0" hangingPunct="1">
                <a:defRPr sz="1900" kern="1200">
                  <a:solidFill>
                    <a:schemeClr val="lt1"/>
                  </a:solidFill>
                  <a:latin typeface="+mn-lt"/>
                  <a:ea typeface="+mn-ea"/>
                  <a:cs typeface="+mn-cs"/>
                </a:defRPr>
              </a:lvl6pPr>
              <a:lvl7pPr marL="2873265" algn="l" defTabSz="957756" rtl="0" eaLnBrk="1" latinLnBrk="0" hangingPunct="1">
                <a:defRPr sz="1900" kern="1200">
                  <a:solidFill>
                    <a:schemeClr val="lt1"/>
                  </a:solidFill>
                  <a:latin typeface="+mn-lt"/>
                  <a:ea typeface="+mn-ea"/>
                  <a:cs typeface="+mn-cs"/>
                </a:defRPr>
              </a:lvl7pPr>
              <a:lvl8pPr marL="3352143" algn="l" defTabSz="957756" rtl="0" eaLnBrk="1" latinLnBrk="0" hangingPunct="1">
                <a:defRPr sz="1900" kern="1200">
                  <a:solidFill>
                    <a:schemeClr val="lt1"/>
                  </a:solidFill>
                  <a:latin typeface="+mn-lt"/>
                  <a:ea typeface="+mn-ea"/>
                  <a:cs typeface="+mn-cs"/>
                </a:defRPr>
              </a:lvl8pPr>
              <a:lvl9pPr marL="3831021" algn="l" defTabSz="957756" rtl="0" eaLnBrk="1" latinLnBrk="0" hangingPunct="1">
                <a:defRPr sz="1900" kern="1200">
                  <a:solidFill>
                    <a:schemeClr val="lt1"/>
                  </a:solidFill>
                  <a:latin typeface="+mn-lt"/>
                  <a:ea typeface="+mn-ea"/>
                  <a:cs typeface="+mn-cs"/>
                </a:defRPr>
              </a:lvl9pPr>
            </a:lstStyle>
            <a:p>
              <a:pPr algn="ctr" defTabSz="478782">
                <a:defRPr/>
              </a:pPr>
              <a:endParaRPr lang="en-GB" sz="1100" dirty="0">
                <a:solidFill>
                  <a:srgbClr val="9F958F">
                    <a:lumMod val="50000"/>
                  </a:srgbClr>
                </a:solidFill>
                <a:latin typeface="Century Gothic" panose="020B0502020202020204" pitchFamily="34" charset="0"/>
                <a:sym typeface="Calibri"/>
              </a:endParaRPr>
            </a:p>
          </p:txBody>
        </p:sp>
        <p:pic>
          <p:nvPicPr>
            <p:cNvPr id="415" name="Picture 414" descr="http://ts1.mm.bing.net/th?&amp;id=JN.sVHOa55rKSBxo8Ar936cJQ&amp;w=300&amp;h=300&amp;c=0&amp;pid=1.9&amp;rs=0&amp;p=0&amp;url=http%3A%2F%2Finversorinteligente.es%2Fanalisis-de-la-blogosfera-iberdrola-y-gas-natural.html%2Flogo-gas-natural">
              <a:hlinkClick r:id="rId42"/>
            </p:cNvPr>
            <p:cNvPicPr>
              <a:picLocks noChangeAspect="1" noChangeArrowheads="1"/>
            </p:cNvPicPr>
            <p:nvPr/>
          </p:nvPicPr>
          <p:blipFill>
            <a:blip r:embed="rId43" cstate="screen">
              <a:extLst>
                <a:ext uri="{28A0092B-C50C-407E-A947-70E740481C1C}">
                  <a14:useLocalDpi xmlns:a14="http://schemas.microsoft.com/office/drawing/2010/main"/>
                </a:ext>
              </a:extLst>
            </a:blip>
            <a:srcRect/>
            <a:stretch>
              <a:fillRect/>
            </a:stretch>
          </p:blipFill>
          <p:spPr bwMode="auto">
            <a:xfrm>
              <a:off x="4299539" y="13024884"/>
              <a:ext cx="1359336" cy="487193"/>
            </a:xfrm>
            <a:prstGeom prst="rect">
              <a:avLst/>
            </a:prstGeom>
            <a:noFill/>
            <a:extLst>
              <a:ext uri="{909E8E84-426E-40DD-AFC4-6F175D3DCCD1}">
                <a14:hiddenFill xmlns:a14="http://schemas.microsoft.com/office/drawing/2010/main">
                  <a:solidFill>
                    <a:srgbClr val="FFFFFF"/>
                  </a:solidFill>
                </a14:hiddenFill>
              </a:ext>
            </a:extLst>
          </p:spPr>
        </p:pic>
        <p:pic>
          <p:nvPicPr>
            <p:cNvPr id="416" name="emb3" descr="http://tse1.mm.bing.net/th?id=JN.W9qFY1vsTTpynx0PRJ7Vbw&amp;w=142&amp;h=102&amp;c=7&amp;rs=1&amp;qlt=90&amp;pid=3.1&amp;rm=2">
              <a:hlinkClick r:id="rId44"/>
            </p:cNvPr>
            <p:cNvPicPr>
              <a:picLocks noChangeAspect="1" noChangeArrowheads="1"/>
            </p:cNvPicPr>
            <p:nvPr/>
          </p:nvPicPr>
          <p:blipFill>
            <a:blip r:embed="rId45" cstate="screen">
              <a:extLst>
                <a:ext uri="{28A0092B-C50C-407E-A947-70E740481C1C}">
                  <a14:useLocalDpi xmlns:a14="http://schemas.microsoft.com/office/drawing/2010/main"/>
                </a:ext>
              </a:extLst>
            </a:blip>
            <a:srcRect/>
            <a:stretch>
              <a:fillRect/>
            </a:stretch>
          </p:blipFill>
          <p:spPr bwMode="auto">
            <a:xfrm>
              <a:off x="4423158" y="12087661"/>
              <a:ext cx="1345145" cy="627826"/>
            </a:xfrm>
            <a:prstGeom prst="rect">
              <a:avLst/>
            </a:prstGeom>
            <a:noFill/>
            <a:extLst>
              <a:ext uri="{909E8E84-426E-40DD-AFC4-6F175D3DCCD1}">
                <a14:hiddenFill xmlns:a14="http://schemas.microsoft.com/office/drawing/2010/main">
                  <a:solidFill>
                    <a:srgbClr val="FFFFFF"/>
                  </a:solidFill>
                </a14:hiddenFill>
              </a:ext>
            </a:extLst>
          </p:spPr>
        </p:pic>
        <p:pic>
          <p:nvPicPr>
            <p:cNvPr id="417" name="Picture 416" descr="http://ts1.mm.bing.net/th?&amp;id=JN.djWHStJ13akK0zTgtUfxUQ&amp;w=300&amp;h=300&amp;c=0&amp;pid=1.9&amp;rs=0&amp;p=0&amp;url=http%3A%2F%2Fwww.santalucia.es%2Fsobre-santalucia%2Fquienes-somos.html">
              <a:hlinkClick r:id="rId46"/>
            </p:cNvPr>
            <p:cNvPicPr>
              <a:picLocks noChangeAspect="1" noChangeArrowheads="1"/>
            </p:cNvPicPr>
            <p:nvPr/>
          </p:nvPicPr>
          <p:blipFill>
            <a:blip r:embed="rId47" cstate="screen">
              <a:extLst>
                <a:ext uri="{28A0092B-C50C-407E-A947-70E740481C1C}">
                  <a14:useLocalDpi xmlns:a14="http://schemas.microsoft.com/office/drawing/2010/main"/>
                </a:ext>
              </a:extLst>
            </a:blip>
            <a:srcRect/>
            <a:stretch>
              <a:fillRect/>
            </a:stretch>
          </p:blipFill>
          <p:spPr bwMode="auto">
            <a:xfrm>
              <a:off x="5996470" y="12112034"/>
              <a:ext cx="1564334" cy="550644"/>
            </a:xfrm>
            <a:prstGeom prst="rect">
              <a:avLst/>
            </a:prstGeom>
            <a:noFill/>
            <a:extLst>
              <a:ext uri="{909E8E84-426E-40DD-AFC4-6F175D3DCCD1}">
                <a14:hiddenFill xmlns:a14="http://schemas.microsoft.com/office/drawing/2010/main">
                  <a:solidFill>
                    <a:srgbClr val="FFFFFF"/>
                  </a:solidFill>
                </a14:hiddenFill>
              </a:ext>
            </a:extLst>
          </p:spPr>
        </p:pic>
        <p:pic>
          <p:nvPicPr>
            <p:cNvPr id="418" name="Picture 417" descr="http://ts1.mm.bing.net/th?&amp;id=JN.U1/uZAs0Bj9%2bBSnsVViOAQ&amp;w=300&amp;h=300&amp;c=0&amp;pid=1.9&amp;rs=0&amp;p=0&amp;url=http%3A%2F%2Fdirectoalamesa.com%2Fmarcas-blancas-mercadona">
              <a:hlinkClick r:id="rId48"/>
            </p:cNvPr>
            <p:cNvPicPr>
              <a:picLocks noChangeAspect="1" noChangeArrowheads="1"/>
            </p:cNvPicPr>
            <p:nvPr/>
          </p:nvPicPr>
          <p:blipFill>
            <a:blip r:embed="rId49" cstate="screen">
              <a:extLst>
                <a:ext uri="{28A0092B-C50C-407E-A947-70E740481C1C}">
                  <a14:useLocalDpi xmlns:a14="http://schemas.microsoft.com/office/drawing/2010/main"/>
                </a:ext>
              </a:extLst>
            </a:blip>
            <a:srcRect/>
            <a:stretch>
              <a:fillRect/>
            </a:stretch>
          </p:blipFill>
          <p:spPr bwMode="auto">
            <a:xfrm>
              <a:off x="5741441" y="13089265"/>
              <a:ext cx="1880191" cy="407372"/>
            </a:xfrm>
            <a:prstGeom prst="rect">
              <a:avLst/>
            </a:prstGeom>
            <a:noFill/>
            <a:extLst>
              <a:ext uri="{909E8E84-426E-40DD-AFC4-6F175D3DCCD1}">
                <a14:hiddenFill xmlns:a14="http://schemas.microsoft.com/office/drawing/2010/main">
                  <a:solidFill>
                    <a:srgbClr val="FFFFFF"/>
                  </a:solidFill>
                </a14:hiddenFill>
              </a:ext>
            </a:extLst>
          </p:spPr>
        </p:pic>
        <p:sp>
          <p:nvSpPr>
            <p:cNvPr id="419" name="Round Same Side Corner Rectangle 418"/>
            <p:cNvSpPr/>
            <p:nvPr/>
          </p:nvSpPr>
          <p:spPr>
            <a:xfrm>
              <a:off x="4063197" y="10766616"/>
              <a:ext cx="3637498" cy="1040793"/>
            </a:xfrm>
            <a:prstGeom prst="round2SameRect">
              <a:avLst/>
            </a:prstGeom>
            <a:solidFill>
              <a:schemeClr val="accent3">
                <a:lumMod val="75000"/>
              </a:schemeClr>
            </a:solidFill>
            <a:ln w="25400" cap="flat" cmpd="sng" algn="ctr">
              <a:noFill/>
              <a:prstDash val="solid"/>
            </a:ln>
            <a:effectLst/>
          </p:spPr>
          <p:txBody>
            <a:bodyPr anchor="ct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algn="ctr" defTabSz="478782">
                <a:defRPr/>
              </a:pPr>
              <a:r>
                <a:rPr lang="en-GB" sz="1200" b="1" kern="0" dirty="0">
                  <a:solidFill>
                    <a:sysClr val="window" lastClr="FFFFFF"/>
                  </a:solidFill>
                  <a:latin typeface="Century Gothic" panose="020B0502020202020204" pitchFamily="34" charset="0"/>
                  <a:cs typeface="Arial" charset="0"/>
                  <a:sym typeface="Calibri"/>
                </a:rPr>
                <a:t>Spain</a:t>
              </a:r>
            </a:p>
          </p:txBody>
        </p:sp>
      </p:grpSp>
      <p:grpSp>
        <p:nvGrpSpPr>
          <p:cNvPr id="420" name="Group 419"/>
          <p:cNvGrpSpPr/>
          <p:nvPr/>
        </p:nvGrpSpPr>
        <p:grpSpPr>
          <a:xfrm>
            <a:off x="4135746" y="5111206"/>
            <a:ext cx="1648586" cy="1104909"/>
            <a:chOff x="7878941" y="10766616"/>
            <a:chExt cx="3887628" cy="2919776"/>
          </a:xfrm>
        </p:grpSpPr>
        <p:sp>
          <p:nvSpPr>
            <p:cNvPr id="421" name="Rectangle 420"/>
            <p:cNvSpPr/>
            <p:nvPr/>
          </p:nvSpPr>
          <p:spPr>
            <a:xfrm>
              <a:off x="7893979" y="11588214"/>
              <a:ext cx="3857686" cy="2098178"/>
            </a:xfrm>
            <a:prstGeom prst="rect">
              <a:avLst/>
            </a:prstGeom>
            <a:solidFill>
              <a:srgbClr val="FFFFFF">
                <a:alpha val="63137"/>
              </a:srgbClr>
            </a:solidFill>
            <a:ln w="12700" cap="flat" cmpd="sng" algn="ctr">
              <a:noFill/>
              <a:prstDash val="solid"/>
            </a:ln>
            <a:effectLst/>
          </p:spPr>
          <p:txBody>
            <a:bodyPr rtlCol="0" anchor="ctr"/>
            <a:lstStyle>
              <a:defPPr>
                <a:defRPr lang="de-DE"/>
              </a:defPPr>
              <a:lvl1pPr marL="0" algn="l" defTabSz="957756" rtl="0" eaLnBrk="1" latinLnBrk="0" hangingPunct="1">
                <a:defRPr sz="1900" kern="1200">
                  <a:solidFill>
                    <a:schemeClr val="lt1"/>
                  </a:solidFill>
                  <a:latin typeface="+mn-lt"/>
                  <a:ea typeface="+mn-ea"/>
                  <a:cs typeface="+mn-cs"/>
                </a:defRPr>
              </a:lvl1pPr>
              <a:lvl2pPr marL="478878" algn="l" defTabSz="957756" rtl="0" eaLnBrk="1" latinLnBrk="0" hangingPunct="1">
                <a:defRPr sz="1900" kern="1200">
                  <a:solidFill>
                    <a:schemeClr val="lt1"/>
                  </a:solidFill>
                  <a:latin typeface="+mn-lt"/>
                  <a:ea typeface="+mn-ea"/>
                  <a:cs typeface="+mn-cs"/>
                </a:defRPr>
              </a:lvl2pPr>
              <a:lvl3pPr marL="957756" algn="l" defTabSz="957756" rtl="0" eaLnBrk="1" latinLnBrk="0" hangingPunct="1">
                <a:defRPr sz="1900" kern="1200">
                  <a:solidFill>
                    <a:schemeClr val="lt1"/>
                  </a:solidFill>
                  <a:latin typeface="+mn-lt"/>
                  <a:ea typeface="+mn-ea"/>
                  <a:cs typeface="+mn-cs"/>
                </a:defRPr>
              </a:lvl3pPr>
              <a:lvl4pPr marL="1436634" algn="l" defTabSz="957756" rtl="0" eaLnBrk="1" latinLnBrk="0" hangingPunct="1">
                <a:defRPr sz="1900" kern="1200">
                  <a:solidFill>
                    <a:schemeClr val="lt1"/>
                  </a:solidFill>
                  <a:latin typeface="+mn-lt"/>
                  <a:ea typeface="+mn-ea"/>
                  <a:cs typeface="+mn-cs"/>
                </a:defRPr>
              </a:lvl4pPr>
              <a:lvl5pPr marL="1915510" algn="l" defTabSz="957756" rtl="0" eaLnBrk="1" latinLnBrk="0" hangingPunct="1">
                <a:defRPr sz="1900" kern="1200">
                  <a:solidFill>
                    <a:schemeClr val="lt1"/>
                  </a:solidFill>
                  <a:latin typeface="+mn-lt"/>
                  <a:ea typeface="+mn-ea"/>
                  <a:cs typeface="+mn-cs"/>
                </a:defRPr>
              </a:lvl5pPr>
              <a:lvl6pPr marL="2394388" algn="l" defTabSz="957756" rtl="0" eaLnBrk="1" latinLnBrk="0" hangingPunct="1">
                <a:defRPr sz="1900" kern="1200">
                  <a:solidFill>
                    <a:schemeClr val="lt1"/>
                  </a:solidFill>
                  <a:latin typeface="+mn-lt"/>
                  <a:ea typeface="+mn-ea"/>
                  <a:cs typeface="+mn-cs"/>
                </a:defRPr>
              </a:lvl6pPr>
              <a:lvl7pPr marL="2873265" algn="l" defTabSz="957756" rtl="0" eaLnBrk="1" latinLnBrk="0" hangingPunct="1">
                <a:defRPr sz="1900" kern="1200">
                  <a:solidFill>
                    <a:schemeClr val="lt1"/>
                  </a:solidFill>
                  <a:latin typeface="+mn-lt"/>
                  <a:ea typeface="+mn-ea"/>
                  <a:cs typeface="+mn-cs"/>
                </a:defRPr>
              </a:lvl7pPr>
              <a:lvl8pPr marL="3352143" algn="l" defTabSz="957756" rtl="0" eaLnBrk="1" latinLnBrk="0" hangingPunct="1">
                <a:defRPr sz="1900" kern="1200">
                  <a:solidFill>
                    <a:schemeClr val="lt1"/>
                  </a:solidFill>
                  <a:latin typeface="+mn-lt"/>
                  <a:ea typeface="+mn-ea"/>
                  <a:cs typeface="+mn-cs"/>
                </a:defRPr>
              </a:lvl8pPr>
              <a:lvl9pPr marL="3831021" algn="l" defTabSz="957756" rtl="0" eaLnBrk="1" latinLnBrk="0" hangingPunct="1">
                <a:defRPr sz="1900" kern="1200">
                  <a:solidFill>
                    <a:schemeClr val="lt1"/>
                  </a:solidFill>
                  <a:latin typeface="+mn-lt"/>
                  <a:ea typeface="+mn-ea"/>
                  <a:cs typeface="+mn-cs"/>
                </a:defRPr>
              </a:lvl9pPr>
            </a:lstStyle>
            <a:p>
              <a:pPr algn="ctr" defTabSz="478782">
                <a:defRPr/>
              </a:pPr>
              <a:endParaRPr lang="en-GB" sz="1100" dirty="0">
                <a:solidFill>
                  <a:srgbClr val="9F958F">
                    <a:lumMod val="50000"/>
                  </a:srgbClr>
                </a:solidFill>
                <a:latin typeface="Century Gothic" panose="020B0502020202020204" pitchFamily="34" charset="0"/>
                <a:sym typeface="Calibri"/>
              </a:endParaRPr>
            </a:p>
          </p:txBody>
        </p:sp>
        <p:pic>
          <p:nvPicPr>
            <p:cNvPr id="422" name="emb1" descr="http://tse1.mm.bing.net/th?id=JN.ne4qiYD%2bii5y9Qf2TqxMVg&amp;w=118&amp;h=100&amp;c=7&amp;rs=1&amp;qlt=90&amp;pid=3.1&amp;rm=2">
              <a:hlinkClick r:id="rId50"/>
            </p:cNvPr>
            <p:cNvPicPr>
              <a:picLocks noChangeAspect="1" noChangeArrowheads="1"/>
            </p:cNvPicPr>
            <p:nvPr/>
          </p:nvPicPr>
          <p:blipFill>
            <a:blip r:embed="rId51" cstate="screen">
              <a:extLst>
                <a:ext uri="{28A0092B-C50C-407E-A947-70E740481C1C}">
                  <a14:useLocalDpi xmlns:a14="http://schemas.microsoft.com/office/drawing/2010/main"/>
                </a:ext>
              </a:extLst>
            </a:blip>
            <a:srcRect/>
            <a:stretch>
              <a:fillRect/>
            </a:stretch>
          </p:blipFill>
          <p:spPr bwMode="auto">
            <a:xfrm>
              <a:off x="8314165" y="12122415"/>
              <a:ext cx="656481" cy="556340"/>
            </a:xfrm>
            <a:prstGeom prst="rect">
              <a:avLst/>
            </a:prstGeom>
            <a:noFill/>
            <a:extLst>
              <a:ext uri="{909E8E84-426E-40DD-AFC4-6F175D3DCCD1}">
                <a14:hiddenFill xmlns:a14="http://schemas.microsoft.com/office/drawing/2010/main">
                  <a:solidFill>
                    <a:srgbClr val="FFFFFF"/>
                  </a:solidFill>
                </a14:hiddenFill>
              </a:ext>
            </a:extLst>
          </p:spPr>
        </p:pic>
        <p:pic>
          <p:nvPicPr>
            <p:cNvPr id="423" name="Picture 422" descr="http://ts1.mm.bing.net/th?&amp;id=JN.tJ4gtGnsuCTNOikkhzDyLg&amp;w=300&amp;h=300&amp;c=0&amp;pid=1.9&amp;rs=0&amp;p=0&amp;url=http%3A%2F%2Flogosandbrands.directory%2Fvodafone-group-plc-2">
              <a:hlinkClick r:id="rId52"/>
            </p:cNvPr>
            <p:cNvPicPr>
              <a:picLocks noChangeAspect="1" noChangeArrowheads="1"/>
            </p:cNvPicPr>
            <p:nvPr/>
          </p:nvPicPr>
          <p:blipFill>
            <a:blip r:embed="rId53" cstate="screen">
              <a:extLst>
                <a:ext uri="{28A0092B-C50C-407E-A947-70E740481C1C}">
                  <a14:useLocalDpi xmlns:a14="http://schemas.microsoft.com/office/drawing/2010/main"/>
                </a:ext>
              </a:extLst>
            </a:blip>
            <a:srcRect/>
            <a:stretch>
              <a:fillRect/>
            </a:stretch>
          </p:blipFill>
          <p:spPr bwMode="auto">
            <a:xfrm>
              <a:off x="9344671" y="12130602"/>
              <a:ext cx="868504" cy="702752"/>
            </a:xfrm>
            <a:prstGeom prst="rect">
              <a:avLst/>
            </a:prstGeom>
            <a:noFill/>
            <a:extLst>
              <a:ext uri="{909E8E84-426E-40DD-AFC4-6F175D3DCCD1}">
                <a14:hiddenFill xmlns:a14="http://schemas.microsoft.com/office/drawing/2010/main">
                  <a:solidFill>
                    <a:srgbClr val="FFFFFF"/>
                  </a:solidFill>
                </a14:hiddenFill>
              </a:ext>
            </a:extLst>
          </p:spPr>
        </p:pic>
        <p:pic>
          <p:nvPicPr>
            <p:cNvPr id="424" name="Picture 423" descr="http://ts1.mm.bing.net/th?&amp;id=JN.N/0nRqTLiyjiD77rdJ0a1A&amp;w=300&amp;h=300&amp;c=0&amp;pid=1.9&amp;rs=0&amp;p=0&amp;url=http%3A%2F%2Fru.wikipedia.org%2Fwiki%2F%25D0%2592%25D1%2581%25D0%25B5%25D0%25BE%25D0%25B1%25D1%2589%25D0%25B0%25D1%258F_%25D0%25BA%25D0%25BE%25D0%25BD%25D1%2584%25D0%25B5%25D0%25B4%25D0%25B5%25D1%2580%25D0%25B0%25D1%2586%25D0%25B8%25D1%258F_%25D0%25B8%25D1%2582%25D0%25B0%25D0%25BB%25D1%258C%25D1%258F%25D0%25BD%25D1%2581%25D0%25BA%25D0%25BE%25D0%25B9_%25D0%25BF%25D1%2580%25D0%25BE%25D0%25BC%25D1%258B%25D1%2588%25D0%25BB%25D0%25B5%25D0%25BD%25D0%25BD%25D0%25BE%25D1%2581%25D1%2582%25D0%25B8">
              <a:hlinkClick r:id="rId54"/>
            </p:cNvPr>
            <p:cNvPicPr>
              <a:picLocks noChangeAspect="1" noChangeArrowheads="1"/>
            </p:cNvPicPr>
            <p:nvPr/>
          </p:nvPicPr>
          <p:blipFill>
            <a:blip r:embed="rId55" cstate="screen">
              <a:extLst>
                <a:ext uri="{28A0092B-C50C-407E-A947-70E740481C1C}">
                  <a14:useLocalDpi xmlns:a14="http://schemas.microsoft.com/office/drawing/2010/main"/>
                </a:ext>
              </a:extLst>
            </a:blip>
            <a:srcRect/>
            <a:stretch>
              <a:fillRect/>
            </a:stretch>
          </p:blipFill>
          <p:spPr bwMode="auto">
            <a:xfrm>
              <a:off x="8084559" y="12917593"/>
              <a:ext cx="1073096" cy="565812"/>
            </a:xfrm>
            <a:prstGeom prst="rect">
              <a:avLst/>
            </a:prstGeom>
            <a:noFill/>
            <a:extLst>
              <a:ext uri="{909E8E84-426E-40DD-AFC4-6F175D3DCCD1}">
                <a14:hiddenFill xmlns:a14="http://schemas.microsoft.com/office/drawing/2010/main">
                  <a:solidFill>
                    <a:srgbClr val="FFFFFF"/>
                  </a:solidFill>
                </a14:hiddenFill>
              </a:ext>
            </a:extLst>
          </p:spPr>
        </p:pic>
        <p:pic>
          <p:nvPicPr>
            <p:cNvPr id="425" name="Picture 424" descr="http://ts1.mm.bing.net/th?&amp;id=JN.3i22kRRfNIC4QhRRngHD8g&amp;w=300&amp;h=300&amp;c=0&amp;pid=1.9&amp;rs=0&amp;p=0&amp;url=http%3A%2F%2Fbrendname.blogspot.com%2F2012%2F10%2Fferrero.html">
              <a:hlinkClick r:id="rId56"/>
            </p:cNvPr>
            <p:cNvPicPr>
              <a:picLocks noChangeAspect="1" noChangeArrowheads="1"/>
            </p:cNvPicPr>
            <p:nvPr/>
          </p:nvPicPr>
          <p:blipFill>
            <a:blip r:embed="rId57" cstate="screen">
              <a:extLst>
                <a:ext uri="{28A0092B-C50C-407E-A947-70E740481C1C}">
                  <a14:useLocalDpi xmlns:a14="http://schemas.microsoft.com/office/drawing/2010/main"/>
                </a:ext>
              </a:extLst>
            </a:blip>
            <a:srcRect/>
            <a:stretch>
              <a:fillRect/>
            </a:stretch>
          </p:blipFill>
          <p:spPr bwMode="auto">
            <a:xfrm>
              <a:off x="9303877" y="13178301"/>
              <a:ext cx="2239129" cy="313473"/>
            </a:xfrm>
            <a:prstGeom prst="rect">
              <a:avLst/>
            </a:prstGeom>
            <a:noFill/>
            <a:extLst>
              <a:ext uri="{909E8E84-426E-40DD-AFC4-6F175D3DCCD1}">
                <a14:hiddenFill xmlns:a14="http://schemas.microsoft.com/office/drawing/2010/main">
                  <a:solidFill>
                    <a:srgbClr val="FFFFFF"/>
                  </a:solidFill>
                </a14:hiddenFill>
              </a:ext>
            </a:extLst>
          </p:spPr>
        </p:pic>
        <p:pic>
          <p:nvPicPr>
            <p:cNvPr id="426" name="Picture 425" descr="http://ts1.mm.bing.net/th?&amp;id=JN.wevl3IiSqmlJY2ObVonveQ&amp;w=300&amp;h=300&amp;c=0&amp;pid=1.9&amp;rs=0&amp;p=0&amp;url=https%3A%2F%2Fservizi.popso.it%2Fapf%2F">
              <a:hlinkClick r:id="rId58"/>
            </p:cNvPr>
            <p:cNvPicPr>
              <a:picLocks noChangeAspect="1" noChangeArrowheads="1"/>
            </p:cNvPicPr>
            <p:nvPr/>
          </p:nvPicPr>
          <p:blipFill>
            <a:blip r:embed="rId59" cstate="screen">
              <a:extLst>
                <a:ext uri="{28A0092B-C50C-407E-A947-70E740481C1C}">
                  <a14:useLocalDpi xmlns:a14="http://schemas.microsoft.com/office/drawing/2010/main"/>
                </a:ext>
              </a:extLst>
            </a:blip>
            <a:srcRect/>
            <a:stretch>
              <a:fillRect/>
            </a:stretch>
          </p:blipFill>
          <p:spPr bwMode="auto">
            <a:xfrm>
              <a:off x="10593651" y="12080387"/>
              <a:ext cx="777072" cy="809449"/>
            </a:xfrm>
            <a:prstGeom prst="rect">
              <a:avLst/>
            </a:prstGeom>
            <a:noFill/>
            <a:extLst>
              <a:ext uri="{909E8E84-426E-40DD-AFC4-6F175D3DCCD1}">
                <a14:hiddenFill xmlns:a14="http://schemas.microsoft.com/office/drawing/2010/main">
                  <a:solidFill>
                    <a:srgbClr val="FFFFFF"/>
                  </a:solidFill>
                </a14:hiddenFill>
              </a:ext>
            </a:extLst>
          </p:spPr>
        </p:pic>
        <p:sp>
          <p:nvSpPr>
            <p:cNvPr id="427" name="Round Same Side Corner Rectangle 426"/>
            <p:cNvSpPr/>
            <p:nvPr/>
          </p:nvSpPr>
          <p:spPr>
            <a:xfrm>
              <a:off x="7878941" y="10766616"/>
              <a:ext cx="3887628" cy="1040793"/>
            </a:xfrm>
            <a:prstGeom prst="round2SameRect">
              <a:avLst/>
            </a:prstGeom>
            <a:solidFill>
              <a:schemeClr val="accent3">
                <a:lumMod val="75000"/>
              </a:schemeClr>
            </a:solidFill>
            <a:ln w="25400" cap="flat" cmpd="sng" algn="ctr">
              <a:noFill/>
              <a:prstDash val="solid"/>
            </a:ln>
            <a:effectLst/>
          </p:spPr>
          <p:txBody>
            <a:bodyPr anchor="ct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algn="ctr" defTabSz="478782">
                <a:defRPr/>
              </a:pPr>
              <a:r>
                <a:rPr lang="en-GB" sz="1200" b="1" kern="0" dirty="0">
                  <a:solidFill>
                    <a:sysClr val="window" lastClr="FFFFFF"/>
                  </a:solidFill>
                  <a:latin typeface="Century Gothic" panose="020B0502020202020204" pitchFamily="34" charset="0"/>
                  <a:cs typeface="Arial" charset="0"/>
                  <a:sym typeface="Calibri"/>
                </a:rPr>
                <a:t>Italy</a:t>
              </a:r>
            </a:p>
          </p:txBody>
        </p:sp>
      </p:grpSp>
      <p:grpSp>
        <p:nvGrpSpPr>
          <p:cNvPr id="428" name="Group 427"/>
          <p:cNvGrpSpPr/>
          <p:nvPr/>
        </p:nvGrpSpPr>
        <p:grpSpPr>
          <a:xfrm>
            <a:off x="6170277" y="5111206"/>
            <a:ext cx="1664543" cy="1127407"/>
            <a:chOff x="11944815" y="10766616"/>
            <a:chExt cx="3923206" cy="2919776"/>
          </a:xfrm>
        </p:grpSpPr>
        <p:sp>
          <p:nvSpPr>
            <p:cNvPr id="429" name="Rectangle 428"/>
            <p:cNvSpPr/>
            <p:nvPr/>
          </p:nvSpPr>
          <p:spPr>
            <a:xfrm>
              <a:off x="12013840" y="11588214"/>
              <a:ext cx="3854181" cy="2098178"/>
            </a:xfrm>
            <a:prstGeom prst="rect">
              <a:avLst/>
            </a:prstGeom>
            <a:solidFill>
              <a:srgbClr val="FFFFFF">
                <a:alpha val="63137"/>
              </a:srgbClr>
            </a:solidFill>
            <a:ln w="12700" cap="flat" cmpd="sng" algn="ctr">
              <a:noFill/>
              <a:prstDash val="solid"/>
            </a:ln>
            <a:effectLst/>
          </p:spPr>
          <p:txBody>
            <a:bodyPr rtlCol="0" anchor="ctr"/>
            <a:lstStyle>
              <a:defPPr>
                <a:defRPr lang="de-DE"/>
              </a:defPPr>
              <a:lvl1pPr marL="0" algn="l" defTabSz="957756" rtl="0" eaLnBrk="1" latinLnBrk="0" hangingPunct="1">
                <a:defRPr sz="1900" kern="1200">
                  <a:solidFill>
                    <a:schemeClr val="lt1"/>
                  </a:solidFill>
                  <a:latin typeface="+mn-lt"/>
                  <a:ea typeface="+mn-ea"/>
                  <a:cs typeface="+mn-cs"/>
                </a:defRPr>
              </a:lvl1pPr>
              <a:lvl2pPr marL="478878" algn="l" defTabSz="957756" rtl="0" eaLnBrk="1" latinLnBrk="0" hangingPunct="1">
                <a:defRPr sz="1900" kern="1200">
                  <a:solidFill>
                    <a:schemeClr val="lt1"/>
                  </a:solidFill>
                  <a:latin typeface="+mn-lt"/>
                  <a:ea typeface="+mn-ea"/>
                  <a:cs typeface="+mn-cs"/>
                </a:defRPr>
              </a:lvl2pPr>
              <a:lvl3pPr marL="957756" algn="l" defTabSz="957756" rtl="0" eaLnBrk="1" latinLnBrk="0" hangingPunct="1">
                <a:defRPr sz="1900" kern="1200">
                  <a:solidFill>
                    <a:schemeClr val="lt1"/>
                  </a:solidFill>
                  <a:latin typeface="+mn-lt"/>
                  <a:ea typeface="+mn-ea"/>
                  <a:cs typeface="+mn-cs"/>
                </a:defRPr>
              </a:lvl3pPr>
              <a:lvl4pPr marL="1436634" algn="l" defTabSz="957756" rtl="0" eaLnBrk="1" latinLnBrk="0" hangingPunct="1">
                <a:defRPr sz="1900" kern="1200">
                  <a:solidFill>
                    <a:schemeClr val="lt1"/>
                  </a:solidFill>
                  <a:latin typeface="+mn-lt"/>
                  <a:ea typeface="+mn-ea"/>
                  <a:cs typeface="+mn-cs"/>
                </a:defRPr>
              </a:lvl4pPr>
              <a:lvl5pPr marL="1915510" algn="l" defTabSz="957756" rtl="0" eaLnBrk="1" latinLnBrk="0" hangingPunct="1">
                <a:defRPr sz="1900" kern="1200">
                  <a:solidFill>
                    <a:schemeClr val="lt1"/>
                  </a:solidFill>
                  <a:latin typeface="+mn-lt"/>
                  <a:ea typeface="+mn-ea"/>
                  <a:cs typeface="+mn-cs"/>
                </a:defRPr>
              </a:lvl5pPr>
              <a:lvl6pPr marL="2394388" algn="l" defTabSz="957756" rtl="0" eaLnBrk="1" latinLnBrk="0" hangingPunct="1">
                <a:defRPr sz="1900" kern="1200">
                  <a:solidFill>
                    <a:schemeClr val="lt1"/>
                  </a:solidFill>
                  <a:latin typeface="+mn-lt"/>
                  <a:ea typeface="+mn-ea"/>
                  <a:cs typeface="+mn-cs"/>
                </a:defRPr>
              </a:lvl6pPr>
              <a:lvl7pPr marL="2873265" algn="l" defTabSz="957756" rtl="0" eaLnBrk="1" latinLnBrk="0" hangingPunct="1">
                <a:defRPr sz="1900" kern="1200">
                  <a:solidFill>
                    <a:schemeClr val="lt1"/>
                  </a:solidFill>
                  <a:latin typeface="+mn-lt"/>
                  <a:ea typeface="+mn-ea"/>
                  <a:cs typeface="+mn-cs"/>
                </a:defRPr>
              </a:lvl7pPr>
              <a:lvl8pPr marL="3352143" algn="l" defTabSz="957756" rtl="0" eaLnBrk="1" latinLnBrk="0" hangingPunct="1">
                <a:defRPr sz="1900" kern="1200">
                  <a:solidFill>
                    <a:schemeClr val="lt1"/>
                  </a:solidFill>
                  <a:latin typeface="+mn-lt"/>
                  <a:ea typeface="+mn-ea"/>
                  <a:cs typeface="+mn-cs"/>
                </a:defRPr>
              </a:lvl8pPr>
              <a:lvl9pPr marL="3831021" algn="l" defTabSz="957756" rtl="0" eaLnBrk="1" latinLnBrk="0" hangingPunct="1">
                <a:defRPr sz="1900" kern="1200">
                  <a:solidFill>
                    <a:schemeClr val="lt1"/>
                  </a:solidFill>
                  <a:latin typeface="+mn-lt"/>
                  <a:ea typeface="+mn-ea"/>
                  <a:cs typeface="+mn-cs"/>
                </a:defRPr>
              </a:lvl9pPr>
            </a:lstStyle>
            <a:p>
              <a:pPr algn="ctr" defTabSz="478782">
                <a:defRPr/>
              </a:pPr>
              <a:endParaRPr lang="en-GB" sz="1100" dirty="0">
                <a:solidFill>
                  <a:srgbClr val="9F958F">
                    <a:lumMod val="50000"/>
                  </a:srgbClr>
                </a:solidFill>
                <a:latin typeface="Century Gothic" panose="020B0502020202020204" pitchFamily="34" charset="0"/>
                <a:sym typeface="Calibri"/>
              </a:endParaRPr>
            </a:p>
          </p:txBody>
        </p:sp>
        <p:pic>
          <p:nvPicPr>
            <p:cNvPr id="430" name="emb1" descr="http://tse1.mm.bing.net/th?id=JN.MbWI4pSy6wprBc%2flB36uIQ&amp;w=158&amp;h=100&amp;c=7&amp;rs=1&amp;qlt=90&amp;pid=3.1&amp;rm=2">
              <a:hlinkClick r:id="rId60"/>
            </p:cNvPr>
            <p:cNvPicPr>
              <a:picLocks noChangeAspect="1" noChangeArrowheads="1"/>
            </p:cNvPicPr>
            <p:nvPr/>
          </p:nvPicPr>
          <p:blipFill>
            <a:blip r:embed="rId61" cstate="screen">
              <a:extLst>
                <a:ext uri="{28A0092B-C50C-407E-A947-70E740481C1C}">
                  <a14:useLocalDpi xmlns:a14="http://schemas.microsoft.com/office/drawing/2010/main"/>
                </a:ext>
              </a:extLst>
            </a:blip>
            <a:srcRect/>
            <a:stretch>
              <a:fillRect/>
            </a:stretch>
          </p:blipFill>
          <p:spPr bwMode="auto">
            <a:xfrm>
              <a:off x="12134599" y="11916044"/>
              <a:ext cx="2168004" cy="545075"/>
            </a:xfrm>
            <a:prstGeom prst="rect">
              <a:avLst/>
            </a:prstGeom>
            <a:noFill/>
            <a:extLst>
              <a:ext uri="{909E8E84-426E-40DD-AFC4-6F175D3DCCD1}">
                <a14:hiddenFill xmlns:a14="http://schemas.microsoft.com/office/drawing/2010/main">
                  <a:solidFill>
                    <a:srgbClr val="FFFFFF"/>
                  </a:solidFill>
                </a14:hiddenFill>
              </a:ext>
            </a:extLst>
          </p:spPr>
        </p:pic>
        <p:pic>
          <p:nvPicPr>
            <p:cNvPr id="431" name="emb1" descr="http://tse1.mm.bing.net/th?id=JN.EV%2bZY3sviZa5cg6c6D20wQ&amp;w=103&amp;h=103&amp;c=7&amp;rs=1&amp;qlt=90&amp;pid=3.1&amp;rm=2">
              <a:hlinkClick r:id="rId62"/>
            </p:cNvPr>
            <p:cNvPicPr>
              <a:picLocks noChangeAspect="1" noChangeArrowheads="1"/>
            </p:cNvPicPr>
            <p:nvPr/>
          </p:nvPicPr>
          <p:blipFill>
            <a:blip r:embed="rId63" cstate="screen">
              <a:extLst>
                <a:ext uri="{28A0092B-C50C-407E-A947-70E740481C1C}">
                  <a14:useLocalDpi xmlns:a14="http://schemas.microsoft.com/office/drawing/2010/main"/>
                </a:ext>
              </a:extLst>
            </a:blip>
            <a:srcRect/>
            <a:stretch>
              <a:fillRect/>
            </a:stretch>
          </p:blipFill>
          <p:spPr bwMode="auto">
            <a:xfrm flipH="1">
              <a:off x="14836926" y="11973360"/>
              <a:ext cx="695249" cy="695249"/>
            </a:xfrm>
            <a:prstGeom prst="rect">
              <a:avLst/>
            </a:prstGeom>
            <a:noFill/>
            <a:extLst>
              <a:ext uri="{909E8E84-426E-40DD-AFC4-6F175D3DCCD1}">
                <a14:hiddenFill xmlns:a14="http://schemas.microsoft.com/office/drawing/2010/main">
                  <a:solidFill>
                    <a:srgbClr val="FFFFFF"/>
                  </a:solidFill>
                </a14:hiddenFill>
              </a:ext>
            </a:extLst>
          </p:spPr>
        </p:pic>
        <p:pic>
          <p:nvPicPr>
            <p:cNvPr id="432" name="emb1" descr="http://tse1.mm.bing.net/th?id=JN.EGQNN7gaPZGBmQite6vG%2fg&amp;w=150&amp;h=100&amp;c=7&amp;rs=1&amp;qlt=90&amp;pid=3.1&amp;rm=2">
              <a:hlinkClick r:id="rId64"/>
            </p:cNvPr>
            <p:cNvPicPr>
              <a:picLocks noChangeAspect="1" noChangeArrowheads="1"/>
            </p:cNvPicPr>
            <p:nvPr/>
          </p:nvPicPr>
          <p:blipFill>
            <a:blip r:embed="rId65" cstate="screen">
              <a:extLst>
                <a:ext uri="{28A0092B-C50C-407E-A947-70E740481C1C}">
                  <a14:useLocalDpi xmlns:a14="http://schemas.microsoft.com/office/drawing/2010/main"/>
                </a:ext>
              </a:extLst>
            </a:blip>
            <a:srcRect/>
            <a:stretch>
              <a:fillRect/>
            </a:stretch>
          </p:blipFill>
          <p:spPr bwMode="auto">
            <a:xfrm>
              <a:off x="12135808" y="12484384"/>
              <a:ext cx="2493697" cy="514607"/>
            </a:xfrm>
            <a:prstGeom prst="rect">
              <a:avLst/>
            </a:prstGeom>
            <a:noFill/>
            <a:extLst>
              <a:ext uri="{909E8E84-426E-40DD-AFC4-6F175D3DCCD1}">
                <a14:hiddenFill xmlns:a14="http://schemas.microsoft.com/office/drawing/2010/main">
                  <a:solidFill>
                    <a:srgbClr val="FFFFFF"/>
                  </a:solidFill>
                </a14:hiddenFill>
              </a:ext>
            </a:extLst>
          </p:spPr>
        </p:pic>
        <p:pic>
          <p:nvPicPr>
            <p:cNvPr id="433" name="Picture 432" descr="https://extranet.unicash-icm.com/user_files/RaiffeisenBankInternational_2c_pos.jpg"/>
            <p:cNvPicPr>
              <a:picLocks noChangeAspect="1" noChangeArrowheads="1"/>
            </p:cNvPicPr>
            <p:nvPr/>
          </p:nvPicPr>
          <p:blipFill>
            <a:blip r:embed="rId66" cstate="screen">
              <a:extLst>
                <a:ext uri="{28A0092B-C50C-407E-A947-70E740481C1C}">
                  <a14:useLocalDpi xmlns:a14="http://schemas.microsoft.com/office/drawing/2010/main"/>
                </a:ext>
              </a:extLst>
            </a:blip>
            <a:srcRect/>
            <a:stretch>
              <a:fillRect/>
            </a:stretch>
          </p:blipFill>
          <p:spPr bwMode="auto">
            <a:xfrm>
              <a:off x="12172819" y="13134893"/>
              <a:ext cx="2372938" cy="473947"/>
            </a:xfrm>
            <a:prstGeom prst="rect">
              <a:avLst/>
            </a:prstGeom>
            <a:noFill/>
            <a:extLst>
              <a:ext uri="{909E8E84-426E-40DD-AFC4-6F175D3DCCD1}">
                <a14:hiddenFill xmlns:a14="http://schemas.microsoft.com/office/drawing/2010/main">
                  <a:solidFill>
                    <a:srgbClr val="FFFFFF"/>
                  </a:solidFill>
                </a14:hiddenFill>
              </a:ext>
            </a:extLst>
          </p:spPr>
        </p:pic>
        <p:pic>
          <p:nvPicPr>
            <p:cNvPr id="434" name="emb1" descr="http://tse1.mm.bing.net/th?id=JN.1lhjBEe2W3Zv%2fh9LmIPKKA&amp;w=109&amp;h=109&amp;c=7&amp;rs=1&amp;qlt=90&amp;pid=3.1&amp;rm=2">
              <a:hlinkClick r:id="rId31"/>
            </p:cNvPr>
            <p:cNvPicPr>
              <a:picLocks noChangeAspect="1" noChangeArrowheads="1"/>
            </p:cNvPicPr>
            <p:nvPr/>
          </p:nvPicPr>
          <p:blipFill>
            <a:blip r:embed="rId67" cstate="screen">
              <a:extLst>
                <a:ext uri="{28A0092B-C50C-407E-A947-70E740481C1C}">
                  <a14:useLocalDpi xmlns:a14="http://schemas.microsoft.com/office/drawing/2010/main"/>
                </a:ext>
              </a:extLst>
            </a:blip>
            <a:srcRect/>
            <a:stretch>
              <a:fillRect/>
            </a:stretch>
          </p:blipFill>
          <p:spPr bwMode="auto">
            <a:xfrm>
              <a:off x="14976142" y="12986764"/>
              <a:ext cx="641363" cy="641362"/>
            </a:xfrm>
            <a:prstGeom prst="rect">
              <a:avLst/>
            </a:prstGeom>
            <a:noFill/>
            <a:extLst>
              <a:ext uri="{909E8E84-426E-40DD-AFC4-6F175D3DCCD1}">
                <a14:hiddenFill xmlns:a14="http://schemas.microsoft.com/office/drawing/2010/main">
                  <a:solidFill>
                    <a:srgbClr val="FFFFFF"/>
                  </a:solidFill>
                </a14:hiddenFill>
              </a:ext>
            </a:extLst>
          </p:spPr>
        </p:pic>
        <p:sp>
          <p:nvSpPr>
            <p:cNvPr id="435" name="Round Same Side Corner Rectangle 434"/>
            <p:cNvSpPr/>
            <p:nvPr/>
          </p:nvSpPr>
          <p:spPr>
            <a:xfrm>
              <a:off x="11944815" y="10766616"/>
              <a:ext cx="3904069" cy="1040793"/>
            </a:xfrm>
            <a:prstGeom prst="round2SameRect">
              <a:avLst/>
            </a:prstGeom>
            <a:solidFill>
              <a:schemeClr val="accent3">
                <a:lumMod val="75000"/>
              </a:schemeClr>
            </a:solidFill>
            <a:ln w="25400" cap="flat" cmpd="sng" algn="ctr">
              <a:noFill/>
              <a:prstDash val="solid"/>
            </a:ln>
            <a:effectLst/>
          </p:spPr>
          <p:txBody>
            <a:bodyPr wrap="none" lIns="0" tIns="0" rIns="0" anchor="ct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algn="ctr" defTabSz="478782">
                <a:lnSpc>
                  <a:spcPct val="90000"/>
                </a:lnSpc>
                <a:defRPr/>
              </a:pPr>
              <a:r>
                <a:rPr lang="en-GB" sz="1200" b="1" kern="0" dirty="0">
                  <a:solidFill>
                    <a:sysClr val="window" lastClr="FFFFFF"/>
                  </a:solidFill>
                  <a:latin typeface="Century Gothic" panose="020B0502020202020204" pitchFamily="34" charset="0"/>
                  <a:cs typeface="Arial" charset="0"/>
                  <a:sym typeface="Calibri"/>
                </a:rPr>
                <a:t>Central &amp;</a:t>
              </a:r>
              <a:br>
                <a:rPr lang="en-GB" sz="1200" b="1" kern="0" dirty="0">
                  <a:solidFill>
                    <a:sysClr val="window" lastClr="FFFFFF"/>
                  </a:solidFill>
                  <a:latin typeface="Century Gothic" panose="020B0502020202020204" pitchFamily="34" charset="0"/>
                  <a:cs typeface="Arial" charset="0"/>
                  <a:sym typeface="Calibri"/>
                </a:rPr>
              </a:br>
              <a:r>
                <a:rPr lang="en-GB" sz="1200" b="1" kern="0" dirty="0">
                  <a:solidFill>
                    <a:sysClr val="window" lastClr="FFFFFF"/>
                  </a:solidFill>
                  <a:latin typeface="Century Gothic" panose="020B0502020202020204" pitchFamily="34" charset="0"/>
                  <a:cs typeface="Arial" charset="0"/>
                  <a:sym typeface="Calibri"/>
                </a:rPr>
                <a:t>Eastern Europe</a:t>
              </a:r>
            </a:p>
          </p:txBody>
        </p:sp>
      </p:grpSp>
      <p:grpSp>
        <p:nvGrpSpPr>
          <p:cNvPr id="436" name="Group 435"/>
          <p:cNvGrpSpPr/>
          <p:nvPr/>
        </p:nvGrpSpPr>
        <p:grpSpPr>
          <a:xfrm>
            <a:off x="9866636" y="1000009"/>
            <a:ext cx="1796004" cy="1809015"/>
            <a:chOff x="19734936" y="2000250"/>
            <a:chExt cx="4135809" cy="4465594"/>
          </a:xfrm>
        </p:grpSpPr>
        <p:sp>
          <p:nvSpPr>
            <p:cNvPr id="437" name="Rectangle 436"/>
            <p:cNvSpPr/>
            <p:nvPr/>
          </p:nvSpPr>
          <p:spPr>
            <a:xfrm>
              <a:off x="19734936" y="2574713"/>
              <a:ext cx="4096419" cy="3891131"/>
            </a:xfrm>
            <a:prstGeom prst="rect">
              <a:avLst/>
            </a:prstGeom>
            <a:solidFill>
              <a:srgbClr val="FFFFFF">
                <a:alpha val="63137"/>
              </a:srgbClr>
            </a:solidFill>
            <a:ln w="12700" cap="flat" cmpd="sng" algn="ctr">
              <a:noFill/>
              <a:prstDash val="solid"/>
            </a:ln>
            <a:effectLst/>
          </p:spPr>
          <p:txBody>
            <a:bodyPr rtlCol="0" anchor="ctr"/>
            <a:lstStyle>
              <a:defPPr>
                <a:defRPr lang="de-DE"/>
              </a:defPPr>
              <a:lvl1pPr marL="0" algn="l" defTabSz="957756" rtl="0" eaLnBrk="1" latinLnBrk="0" hangingPunct="1">
                <a:defRPr sz="1900" kern="1200">
                  <a:solidFill>
                    <a:schemeClr val="lt1"/>
                  </a:solidFill>
                  <a:latin typeface="+mn-lt"/>
                  <a:ea typeface="+mn-ea"/>
                  <a:cs typeface="+mn-cs"/>
                </a:defRPr>
              </a:lvl1pPr>
              <a:lvl2pPr marL="478878" algn="l" defTabSz="957756" rtl="0" eaLnBrk="1" latinLnBrk="0" hangingPunct="1">
                <a:defRPr sz="1900" kern="1200">
                  <a:solidFill>
                    <a:schemeClr val="lt1"/>
                  </a:solidFill>
                  <a:latin typeface="+mn-lt"/>
                  <a:ea typeface="+mn-ea"/>
                  <a:cs typeface="+mn-cs"/>
                </a:defRPr>
              </a:lvl2pPr>
              <a:lvl3pPr marL="957756" algn="l" defTabSz="957756" rtl="0" eaLnBrk="1" latinLnBrk="0" hangingPunct="1">
                <a:defRPr sz="1900" kern="1200">
                  <a:solidFill>
                    <a:schemeClr val="lt1"/>
                  </a:solidFill>
                  <a:latin typeface="+mn-lt"/>
                  <a:ea typeface="+mn-ea"/>
                  <a:cs typeface="+mn-cs"/>
                </a:defRPr>
              </a:lvl3pPr>
              <a:lvl4pPr marL="1436634" algn="l" defTabSz="957756" rtl="0" eaLnBrk="1" latinLnBrk="0" hangingPunct="1">
                <a:defRPr sz="1900" kern="1200">
                  <a:solidFill>
                    <a:schemeClr val="lt1"/>
                  </a:solidFill>
                  <a:latin typeface="+mn-lt"/>
                  <a:ea typeface="+mn-ea"/>
                  <a:cs typeface="+mn-cs"/>
                </a:defRPr>
              </a:lvl4pPr>
              <a:lvl5pPr marL="1915510" algn="l" defTabSz="957756" rtl="0" eaLnBrk="1" latinLnBrk="0" hangingPunct="1">
                <a:defRPr sz="1900" kern="1200">
                  <a:solidFill>
                    <a:schemeClr val="lt1"/>
                  </a:solidFill>
                  <a:latin typeface="+mn-lt"/>
                  <a:ea typeface="+mn-ea"/>
                  <a:cs typeface="+mn-cs"/>
                </a:defRPr>
              </a:lvl5pPr>
              <a:lvl6pPr marL="2394388" algn="l" defTabSz="957756" rtl="0" eaLnBrk="1" latinLnBrk="0" hangingPunct="1">
                <a:defRPr sz="1900" kern="1200">
                  <a:solidFill>
                    <a:schemeClr val="lt1"/>
                  </a:solidFill>
                  <a:latin typeface="+mn-lt"/>
                  <a:ea typeface="+mn-ea"/>
                  <a:cs typeface="+mn-cs"/>
                </a:defRPr>
              </a:lvl6pPr>
              <a:lvl7pPr marL="2873265" algn="l" defTabSz="957756" rtl="0" eaLnBrk="1" latinLnBrk="0" hangingPunct="1">
                <a:defRPr sz="1900" kern="1200">
                  <a:solidFill>
                    <a:schemeClr val="lt1"/>
                  </a:solidFill>
                  <a:latin typeface="+mn-lt"/>
                  <a:ea typeface="+mn-ea"/>
                  <a:cs typeface="+mn-cs"/>
                </a:defRPr>
              </a:lvl7pPr>
              <a:lvl8pPr marL="3352143" algn="l" defTabSz="957756" rtl="0" eaLnBrk="1" latinLnBrk="0" hangingPunct="1">
                <a:defRPr sz="1900" kern="1200">
                  <a:solidFill>
                    <a:schemeClr val="lt1"/>
                  </a:solidFill>
                  <a:latin typeface="+mn-lt"/>
                  <a:ea typeface="+mn-ea"/>
                  <a:cs typeface="+mn-cs"/>
                </a:defRPr>
              </a:lvl8pPr>
              <a:lvl9pPr marL="3831021" algn="l" defTabSz="957756" rtl="0" eaLnBrk="1" latinLnBrk="0" hangingPunct="1">
                <a:defRPr sz="1900" kern="1200">
                  <a:solidFill>
                    <a:schemeClr val="lt1"/>
                  </a:solidFill>
                  <a:latin typeface="+mn-lt"/>
                  <a:ea typeface="+mn-ea"/>
                  <a:cs typeface="+mn-cs"/>
                </a:defRPr>
              </a:lvl9pPr>
            </a:lstStyle>
            <a:p>
              <a:pPr algn="ctr" defTabSz="478782">
                <a:defRPr/>
              </a:pPr>
              <a:endParaRPr lang="en-GB" sz="1100" dirty="0">
                <a:solidFill>
                  <a:srgbClr val="9F958F">
                    <a:lumMod val="50000"/>
                  </a:srgbClr>
                </a:solidFill>
                <a:latin typeface="Century Gothic" panose="020B0502020202020204" pitchFamily="34" charset="0"/>
                <a:sym typeface="Calibri"/>
              </a:endParaRPr>
            </a:p>
          </p:txBody>
        </p:sp>
        <p:pic>
          <p:nvPicPr>
            <p:cNvPr id="438" name="Picture 437" descr="http://ts4.mm.bing.net/th?id=JN.qBf9UuuxZZsdGhoF9%2bteSg&amp;w=279&amp;h=167&amp;c=7&amp;rs=1&amp;qlt=90&amp;o=4&amp;url=http%3a%2f%2fpetterssonsblogg.se%2f2013%2f07%2f18%2fikea-tanker-oppna-pa-vastbanken%2f&amp;pid=1.1">
              <a:hlinkClick r:id="rId68"/>
            </p:cNvPr>
            <p:cNvPicPr>
              <a:picLocks noChangeAspect="1" noChangeArrowheads="1"/>
            </p:cNvPicPr>
            <p:nvPr/>
          </p:nvPicPr>
          <p:blipFill>
            <a:blip r:embed="rId69" cstate="screen">
              <a:extLst>
                <a:ext uri="{28A0092B-C50C-407E-A947-70E740481C1C}">
                  <a14:useLocalDpi xmlns:a14="http://schemas.microsoft.com/office/drawing/2010/main"/>
                </a:ext>
              </a:extLst>
            </a:blip>
            <a:srcRect/>
            <a:stretch>
              <a:fillRect/>
            </a:stretch>
          </p:blipFill>
          <p:spPr bwMode="auto">
            <a:xfrm>
              <a:off x="21558281" y="4132366"/>
              <a:ext cx="1869288" cy="1118890"/>
            </a:xfrm>
            <a:prstGeom prst="rect">
              <a:avLst/>
            </a:prstGeom>
            <a:noFill/>
            <a:extLst>
              <a:ext uri="{909E8E84-426E-40DD-AFC4-6F175D3DCCD1}">
                <a14:hiddenFill xmlns:a14="http://schemas.microsoft.com/office/drawing/2010/main">
                  <a:solidFill>
                    <a:srgbClr val="FFFFFF"/>
                  </a:solidFill>
                </a14:hiddenFill>
              </a:ext>
            </a:extLst>
          </p:spPr>
        </p:pic>
        <p:pic>
          <p:nvPicPr>
            <p:cNvPr id="439" name="Picture 438" descr="http://www.astroman.com.pl/img/magazyn/790/o/Logo__GEELY.JPG"/>
            <p:cNvPicPr>
              <a:picLocks noChangeAspect="1" noChangeArrowheads="1"/>
            </p:cNvPicPr>
            <p:nvPr/>
          </p:nvPicPr>
          <p:blipFill>
            <a:blip r:embed="rId70" cstate="screen">
              <a:extLst>
                <a:ext uri="{28A0092B-C50C-407E-A947-70E740481C1C}">
                  <a14:useLocalDpi xmlns:a14="http://schemas.microsoft.com/office/drawing/2010/main"/>
                </a:ext>
              </a:extLst>
            </a:blip>
            <a:srcRect/>
            <a:stretch>
              <a:fillRect/>
            </a:stretch>
          </p:blipFill>
          <p:spPr bwMode="auto">
            <a:xfrm>
              <a:off x="20253779" y="4240383"/>
              <a:ext cx="1094566" cy="889932"/>
            </a:xfrm>
            <a:prstGeom prst="rect">
              <a:avLst/>
            </a:prstGeom>
            <a:noFill/>
            <a:extLst>
              <a:ext uri="{909E8E84-426E-40DD-AFC4-6F175D3DCCD1}">
                <a14:hiddenFill xmlns:a14="http://schemas.microsoft.com/office/drawing/2010/main">
                  <a:solidFill>
                    <a:srgbClr val="FFFFFF"/>
                  </a:solidFill>
                </a14:hiddenFill>
              </a:ext>
            </a:extLst>
          </p:spPr>
        </p:pic>
        <p:pic>
          <p:nvPicPr>
            <p:cNvPr id="440" name="emb1" descr="http://tse1.mm.bing.net/th?id=JN.4rxNgQO53gkqA8EgUUJtLA&amp;w=191&amp;h=105&amp;c=7&amp;rs=1&amp;qlt=90&amp;pid=3.1&amp;rm=2">
              <a:hlinkClick r:id="rId71"/>
            </p:cNvPr>
            <p:cNvPicPr>
              <a:picLocks noChangeAspect="1" noChangeArrowheads="1"/>
            </p:cNvPicPr>
            <p:nvPr/>
          </p:nvPicPr>
          <p:blipFill>
            <a:blip r:embed="rId72" cstate="screen">
              <a:extLst>
                <a:ext uri="{28A0092B-C50C-407E-A947-70E740481C1C}">
                  <a14:useLocalDpi xmlns:a14="http://schemas.microsoft.com/office/drawing/2010/main"/>
                </a:ext>
              </a:extLst>
            </a:blip>
            <a:srcRect/>
            <a:stretch>
              <a:fillRect/>
            </a:stretch>
          </p:blipFill>
          <p:spPr bwMode="auto">
            <a:xfrm>
              <a:off x="20779343" y="3180549"/>
              <a:ext cx="1815985" cy="998320"/>
            </a:xfrm>
            <a:prstGeom prst="rect">
              <a:avLst/>
            </a:prstGeom>
            <a:noFill/>
            <a:extLst>
              <a:ext uri="{909E8E84-426E-40DD-AFC4-6F175D3DCCD1}">
                <a14:hiddenFill xmlns:a14="http://schemas.microsoft.com/office/drawing/2010/main">
                  <a:solidFill>
                    <a:srgbClr val="FFFFFF"/>
                  </a:solidFill>
                </a14:hiddenFill>
              </a:ext>
            </a:extLst>
          </p:spPr>
        </p:pic>
        <p:sp>
          <p:nvSpPr>
            <p:cNvPr id="441" name="Round Same Side Corner Rectangle 440"/>
            <p:cNvSpPr/>
            <p:nvPr/>
          </p:nvSpPr>
          <p:spPr>
            <a:xfrm>
              <a:off x="19734936" y="2000250"/>
              <a:ext cx="4135809" cy="1040793"/>
            </a:xfrm>
            <a:prstGeom prst="round2SameRect">
              <a:avLst/>
            </a:prstGeom>
            <a:solidFill>
              <a:schemeClr val="accent3">
                <a:lumMod val="75000"/>
              </a:schemeClr>
            </a:solidFill>
            <a:ln w="25400" cap="flat" cmpd="sng" algn="ctr">
              <a:noFill/>
              <a:prstDash val="solid"/>
            </a:ln>
            <a:effectLst/>
          </p:spPr>
          <p:txBody>
            <a:bodyPr anchor="ct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algn="ctr" defTabSz="478782">
                <a:defRPr/>
              </a:pPr>
              <a:r>
                <a:rPr lang="en-GB" sz="1200" b="1" kern="0" dirty="0">
                  <a:solidFill>
                    <a:sysClr val="window" lastClr="FFFFFF"/>
                  </a:solidFill>
                  <a:latin typeface="Century Gothic" panose="020B0502020202020204" pitchFamily="34" charset="0"/>
                  <a:cs typeface="Arial" charset="0"/>
                  <a:sym typeface="Calibri"/>
                </a:rPr>
                <a:t>Nordic Countries</a:t>
              </a:r>
            </a:p>
          </p:txBody>
        </p:sp>
        <p:pic>
          <p:nvPicPr>
            <p:cNvPr id="442" name="Picture 441" descr="Image result for skatteverket logo"/>
            <p:cNvPicPr>
              <a:picLocks noChangeAspect="1" noChangeArrowheads="1"/>
            </p:cNvPicPr>
            <p:nvPr/>
          </p:nvPicPr>
          <p:blipFill>
            <a:blip r:embed="rId73" cstate="screen">
              <a:extLst>
                <a:ext uri="{28A0092B-C50C-407E-A947-70E740481C1C}">
                  <a14:useLocalDpi xmlns:a14="http://schemas.microsoft.com/office/drawing/2010/main"/>
                </a:ext>
              </a:extLst>
            </a:blip>
            <a:srcRect/>
            <a:stretch>
              <a:fillRect/>
            </a:stretch>
          </p:blipFill>
          <p:spPr bwMode="auto">
            <a:xfrm>
              <a:off x="20040223" y="5334472"/>
              <a:ext cx="3525237" cy="782050"/>
            </a:xfrm>
            <a:prstGeom prst="rect">
              <a:avLst/>
            </a:prstGeom>
            <a:noFill/>
          </p:spPr>
        </p:pic>
      </p:grpSp>
      <p:grpSp>
        <p:nvGrpSpPr>
          <p:cNvPr id="443" name="Group 442"/>
          <p:cNvGrpSpPr/>
          <p:nvPr/>
        </p:nvGrpSpPr>
        <p:grpSpPr>
          <a:xfrm>
            <a:off x="9866636" y="5111206"/>
            <a:ext cx="1773248" cy="1139453"/>
            <a:chOff x="19847208" y="10766616"/>
            <a:chExt cx="4026388" cy="2919776"/>
          </a:xfrm>
        </p:grpSpPr>
        <p:sp>
          <p:nvSpPr>
            <p:cNvPr id="444" name="Rectangle 443"/>
            <p:cNvSpPr/>
            <p:nvPr/>
          </p:nvSpPr>
          <p:spPr>
            <a:xfrm>
              <a:off x="19864442" y="11588214"/>
              <a:ext cx="3989458" cy="2098178"/>
            </a:xfrm>
            <a:prstGeom prst="rect">
              <a:avLst/>
            </a:prstGeom>
            <a:solidFill>
              <a:srgbClr val="FFFFFF">
                <a:alpha val="63137"/>
              </a:srgbClr>
            </a:solidFill>
            <a:ln w="12700" cap="flat" cmpd="sng" algn="ctr">
              <a:noFill/>
              <a:prstDash val="solid"/>
            </a:ln>
            <a:effectLst/>
          </p:spPr>
          <p:txBody>
            <a:bodyPr rtlCol="0" anchor="ctr"/>
            <a:lstStyle>
              <a:defPPr>
                <a:defRPr lang="de-DE"/>
              </a:defPPr>
              <a:lvl1pPr marL="0" algn="l" defTabSz="957756" rtl="0" eaLnBrk="1" latinLnBrk="0" hangingPunct="1">
                <a:defRPr sz="1900" kern="1200">
                  <a:solidFill>
                    <a:schemeClr val="lt1"/>
                  </a:solidFill>
                  <a:latin typeface="+mn-lt"/>
                  <a:ea typeface="+mn-ea"/>
                  <a:cs typeface="+mn-cs"/>
                </a:defRPr>
              </a:lvl1pPr>
              <a:lvl2pPr marL="478878" algn="l" defTabSz="957756" rtl="0" eaLnBrk="1" latinLnBrk="0" hangingPunct="1">
                <a:defRPr sz="1900" kern="1200">
                  <a:solidFill>
                    <a:schemeClr val="lt1"/>
                  </a:solidFill>
                  <a:latin typeface="+mn-lt"/>
                  <a:ea typeface="+mn-ea"/>
                  <a:cs typeface="+mn-cs"/>
                </a:defRPr>
              </a:lvl2pPr>
              <a:lvl3pPr marL="957756" algn="l" defTabSz="957756" rtl="0" eaLnBrk="1" latinLnBrk="0" hangingPunct="1">
                <a:defRPr sz="1900" kern="1200">
                  <a:solidFill>
                    <a:schemeClr val="lt1"/>
                  </a:solidFill>
                  <a:latin typeface="+mn-lt"/>
                  <a:ea typeface="+mn-ea"/>
                  <a:cs typeface="+mn-cs"/>
                </a:defRPr>
              </a:lvl3pPr>
              <a:lvl4pPr marL="1436634" algn="l" defTabSz="957756" rtl="0" eaLnBrk="1" latinLnBrk="0" hangingPunct="1">
                <a:defRPr sz="1900" kern="1200">
                  <a:solidFill>
                    <a:schemeClr val="lt1"/>
                  </a:solidFill>
                  <a:latin typeface="+mn-lt"/>
                  <a:ea typeface="+mn-ea"/>
                  <a:cs typeface="+mn-cs"/>
                </a:defRPr>
              </a:lvl4pPr>
              <a:lvl5pPr marL="1915510" algn="l" defTabSz="957756" rtl="0" eaLnBrk="1" latinLnBrk="0" hangingPunct="1">
                <a:defRPr sz="1900" kern="1200">
                  <a:solidFill>
                    <a:schemeClr val="lt1"/>
                  </a:solidFill>
                  <a:latin typeface="+mn-lt"/>
                  <a:ea typeface="+mn-ea"/>
                  <a:cs typeface="+mn-cs"/>
                </a:defRPr>
              </a:lvl5pPr>
              <a:lvl6pPr marL="2394388" algn="l" defTabSz="957756" rtl="0" eaLnBrk="1" latinLnBrk="0" hangingPunct="1">
                <a:defRPr sz="1900" kern="1200">
                  <a:solidFill>
                    <a:schemeClr val="lt1"/>
                  </a:solidFill>
                  <a:latin typeface="+mn-lt"/>
                  <a:ea typeface="+mn-ea"/>
                  <a:cs typeface="+mn-cs"/>
                </a:defRPr>
              </a:lvl6pPr>
              <a:lvl7pPr marL="2873265" algn="l" defTabSz="957756" rtl="0" eaLnBrk="1" latinLnBrk="0" hangingPunct="1">
                <a:defRPr sz="1900" kern="1200">
                  <a:solidFill>
                    <a:schemeClr val="lt1"/>
                  </a:solidFill>
                  <a:latin typeface="+mn-lt"/>
                  <a:ea typeface="+mn-ea"/>
                  <a:cs typeface="+mn-cs"/>
                </a:defRPr>
              </a:lvl7pPr>
              <a:lvl8pPr marL="3352143" algn="l" defTabSz="957756" rtl="0" eaLnBrk="1" latinLnBrk="0" hangingPunct="1">
                <a:defRPr sz="1900" kern="1200">
                  <a:solidFill>
                    <a:schemeClr val="lt1"/>
                  </a:solidFill>
                  <a:latin typeface="+mn-lt"/>
                  <a:ea typeface="+mn-ea"/>
                  <a:cs typeface="+mn-cs"/>
                </a:defRPr>
              </a:lvl8pPr>
              <a:lvl9pPr marL="3831021" algn="l" defTabSz="957756" rtl="0" eaLnBrk="1" latinLnBrk="0" hangingPunct="1">
                <a:defRPr sz="1900" kern="1200">
                  <a:solidFill>
                    <a:schemeClr val="lt1"/>
                  </a:solidFill>
                  <a:latin typeface="+mn-lt"/>
                  <a:ea typeface="+mn-ea"/>
                  <a:cs typeface="+mn-cs"/>
                </a:defRPr>
              </a:lvl9pPr>
            </a:lstStyle>
            <a:p>
              <a:pPr algn="ctr" defTabSz="478782">
                <a:defRPr/>
              </a:pPr>
              <a:endParaRPr lang="en-GB" sz="1100" dirty="0">
                <a:solidFill>
                  <a:srgbClr val="9F958F">
                    <a:lumMod val="50000"/>
                  </a:srgbClr>
                </a:solidFill>
                <a:latin typeface="Century Gothic" panose="020B0502020202020204" pitchFamily="34" charset="0"/>
                <a:sym typeface="Calibri"/>
              </a:endParaRPr>
            </a:p>
          </p:txBody>
        </p:sp>
        <p:pic>
          <p:nvPicPr>
            <p:cNvPr id="445" name="Picture 444" descr="http://upload.wikimedia.org/wikipedia/en/0/0a/AusNet_Services_logo.png"/>
            <p:cNvPicPr>
              <a:picLocks noChangeAspect="1" noChangeArrowheads="1"/>
            </p:cNvPicPr>
            <p:nvPr/>
          </p:nvPicPr>
          <p:blipFill>
            <a:blip r:embed="rId74" cstate="screen">
              <a:extLst>
                <a:ext uri="{28A0092B-C50C-407E-A947-70E740481C1C}">
                  <a14:useLocalDpi xmlns:a14="http://schemas.microsoft.com/office/drawing/2010/main"/>
                </a:ext>
              </a:extLst>
            </a:blip>
            <a:srcRect/>
            <a:stretch>
              <a:fillRect/>
            </a:stretch>
          </p:blipFill>
          <p:spPr bwMode="auto">
            <a:xfrm>
              <a:off x="20249106" y="11965029"/>
              <a:ext cx="1245931" cy="714574"/>
            </a:xfrm>
            <a:prstGeom prst="rect">
              <a:avLst/>
            </a:prstGeom>
            <a:noFill/>
            <a:extLst>
              <a:ext uri="{909E8E84-426E-40DD-AFC4-6F175D3DCCD1}">
                <a14:hiddenFill xmlns:a14="http://schemas.microsoft.com/office/drawing/2010/main">
                  <a:solidFill>
                    <a:srgbClr val="FFFFFF"/>
                  </a:solidFill>
                </a14:hiddenFill>
              </a:ext>
            </a:extLst>
          </p:spPr>
        </p:pic>
        <p:pic>
          <p:nvPicPr>
            <p:cNvPr id="446" name="Picture 445" descr="http://www.sparq.com.au/__data/assets/image/0020/38171/hdr_sparq_logo.gif"/>
            <p:cNvPicPr>
              <a:picLocks noChangeAspect="1" noChangeArrowheads="1"/>
            </p:cNvPicPr>
            <p:nvPr/>
          </p:nvPicPr>
          <p:blipFill>
            <a:blip r:embed="rId75" cstate="screen">
              <a:extLst>
                <a:ext uri="{28A0092B-C50C-407E-A947-70E740481C1C}">
                  <a14:useLocalDpi xmlns:a14="http://schemas.microsoft.com/office/drawing/2010/main"/>
                </a:ext>
              </a:extLst>
            </a:blip>
            <a:srcRect/>
            <a:stretch>
              <a:fillRect/>
            </a:stretch>
          </p:blipFill>
          <p:spPr bwMode="auto">
            <a:xfrm>
              <a:off x="20160110" y="12839405"/>
              <a:ext cx="1506940" cy="575567"/>
            </a:xfrm>
            <a:prstGeom prst="rect">
              <a:avLst/>
            </a:prstGeom>
            <a:noFill/>
            <a:extLst>
              <a:ext uri="{909E8E84-426E-40DD-AFC4-6F175D3DCCD1}">
                <a14:hiddenFill xmlns:a14="http://schemas.microsoft.com/office/drawing/2010/main">
                  <a:solidFill>
                    <a:srgbClr val="FFFFFF"/>
                  </a:solidFill>
                </a14:hiddenFill>
              </a:ext>
            </a:extLst>
          </p:spPr>
        </p:pic>
        <p:pic>
          <p:nvPicPr>
            <p:cNvPr id="447" name="emb2" descr="http://tse1.mm.bing.net/th?id=JN.asCVrYHHqyAQ3I4wMj9iWw&amp;w=112&amp;h=105&amp;c=7&amp;rs=1&amp;qlt=90&amp;pid=3.1&amp;rm=2">
              <a:hlinkClick r:id="rId76"/>
            </p:cNvPr>
            <p:cNvPicPr>
              <a:picLocks noChangeAspect="1" noChangeArrowheads="1"/>
            </p:cNvPicPr>
            <p:nvPr/>
          </p:nvPicPr>
          <p:blipFill>
            <a:blip r:embed="rId77" cstate="screen">
              <a:extLst>
                <a:ext uri="{28A0092B-C50C-407E-A947-70E740481C1C}">
                  <a14:useLocalDpi xmlns:a14="http://schemas.microsoft.com/office/drawing/2010/main"/>
                </a:ext>
              </a:extLst>
            </a:blip>
            <a:srcRect/>
            <a:stretch>
              <a:fillRect/>
            </a:stretch>
          </p:blipFill>
          <p:spPr bwMode="auto">
            <a:xfrm>
              <a:off x="22637102" y="12442339"/>
              <a:ext cx="1194253" cy="1119611"/>
            </a:xfrm>
            <a:prstGeom prst="rect">
              <a:avLst/>
            </a:prstGeom>
            <a:noFill/>
            <a:extLst>
              <a:ext uri="{909E8E84-426E-40DD-AFC4-6F175D3DCCD1}">
                <a14:hiddenFill xmlns:a14="http://schemas.microsoft.com/office/drawing/2010/main">
                  <a:solidFill>
                    <a:srgbClr val="FFFFFF"/>
                  </a:solidFill>
                </a14:hiddenFill>
              </a:ext>
            </a:extLst>
          </p:spPr>
        </p:pic>
        <p:sp>
          <p:nvSpPr>
            <p:cNvPr id="448" name="Round Same Side Corner Rectangle 447"/>
            <p:cNvSpPr/>
            <p:nvPr/>
          </p:nvSpPr>
          <p:spPr>
            <a:xfrm>
              <a:off x="19847208" y="10766616"/>
              <a:ext cx="4026388" cy="1040793"/>
            </a:xfrm>
            <a:prstGeom prst="round2SameRect">
              <a:avLst/>
            </a:prstGeom>
            <a:solidFill>
              <a:schemeClr val="accent3">
                <a:lumMod val="75000"/>
              </a:schemeClr>
            </a:solidFill>
            <a:ln w="25400" cap="flat" cmpd="sng" algn="ctr">
              <a:noFill/>
              <a:prstDash val="solid"/>
            </a:ln>
            <a:effectLst/>
          </p:spPr>
          <p:txBody>
            <a:bodyPr anchor="ct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algn="ctr">
                <a:defRPr/>
              </a:pPr>
              <a:r>
                <a:rPr lang="en-GB" sz="1200" b="1" kern="0" dirty="0">
                  <a:solidFill>
                    <a:sysClr val="window" lastClr="FFFFFF"/>
                  </a:solidFill>
                  <a:latin typeface="Century Gothic" panose="020B0502020202020204" pitchFamily="34" charset="0"/>
                  <a:cs typeface="Arial" charset="0"/>
                  <a:sym typeface="Calibri"/>
                </a:rPr>
                <a:t>Australia</a:t>
              </a:r>
            </a:p>
          </p:txBody>
        </p:sp>
        <p:pic>
          <p:nvPicPr>
            <p:cNvPr id="449" name="emb2" descr="http://tse1.mm.bing.net/th?id=JN.16CksgfZuB%2b51HXemJomog&amp;w=109&amp;h=109&amp;c=7&amp;rs=1&amp;qlt=90&amp;pid=3.1&amp;rm=2">
              <a:hlinkClick r:id="rId78"/>
            </p:cNvPr>
            <p:cNvPicPr>
              <a:picLocks noChangeAspect="1" noChangeArrowheads="1"/>
            </p:cNvPicPr>
            <p:nvPr/>
          </p:nvPicPr>
          <p:blipFill>
            <a:blip r:embed="rId79" cstate="screen">
              <a:extLst>
                <a:ext uri="{28A0092B-C50C-407E-A947-70E740481C1C}">
                  <a14:useLocalDpi xmlns:a14="http://schemas.microsoft.com/office/drawing/2010/main"/>
                </a:ext>
              </a:extLst>
            </a:blip>
            <a:srcRect/>
            <a:stretch>
              <a:fillRect/>
            </a:stretch>
          </p:blipFill>
          <p:spPr bwMode="auto">
            <a:xfrm>
              <a:off x="21743844" y="12043020"/>
              <a:ext cx="1005515" cy="10055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0" name="Group 449"/>
          <p:cNvGrpSpPr/>
          <p:nvPr/>
        </p:nvGrpSpPr>
        <p:grpSpPr>
          <a:xfrm>
            <a:off x="256275" y="5111206"/>
            <a:ext cx="1587705" cy="1090889"/>
            <a:chOff x="511992" y="10766616"/>
            <a:chExt cx="3372960" cy="2919776"/>
          </a:xfrm>
        </p:grpSpPr>
        <p:sp>
          <p:nvSpPr>
            <p:cNvPr id="451" name="Rectangle 450"/>
            <p:cNvSpPr/>
            <p:nvPr/>
          </p:nvSpPr>
          <p:spPr>
            <a:xfrm>
              <a:off x="526500" y="11588214"/>
              <a:ext cx="3345550" cy="2098178"/>
            </a:xfrm>
            <a:prstGeom prst="rect">
              <a:avLst/>
            </a:prstGeom>
            <a:solidFill>
              <a:srgbClr val="FFFFFF">
                <a:alpha val="63137"/>
              </a:srgbClr>
            </a:solidFill>
            <a:ln w="12700" cap="flat" cmpd="sng" algn="ctr">
              <a:noFill/>
              <a:prstDash val="solid"/>
            </a:ln>
            <a:effectLst/>
          </p:spPr>
          <p:txBody>
            <a:bodyPr rtlCol="0" anchor="ctr"/>
            <a:lstStyle>
              <a:defPPr>
                <a:defRPr lang="de-DE"/>
              </a:defPPr>
              <a:lvl1pPr marL="0" algn="l" defTabSz="957756" rtl="0" eaLnBrk="1" latinLnBrk="0" hangingPunct="1">
                <a:defRPr sz="1900" kern="1200">
                  <a:solidFill>
                    <a:schemeClr val="lt1"/>
                  </a:solidFill>
                  <a:latin typeface="+mn-lt"/>
                  <a:ea typeface="+mn-ea"/>
                  <a:cs typeface="+mn-cs"/>
                </a:defRPr>
              </a:lvl1pPr>
              <a:lvl2pPr marL="478878" algn="l" defTabSz="957756" rtl="0" eaLnBrk="1" latinLnBrk="0" hangingPunct="1">
                <a:defRPr sz="1900" kern="1200">
                  <a:solidFill>
                    <a:schemeClr val="lt1"/>
                  </a:solidFill>
                  <a:latin typeface="+mn-lt"/>
                  <a:ea typeface="+mn-ea"/>
                  <a:cs typeface="+mn-cs"/>
                </a:defRPr>
              </a:lvl2pPr>
              <a:lvl3pPr marL="957756" algn="l" defTabSz="957756" rtl="0" eaLnBrk="1" latinLnBrk="0" hangingPunct="1">
                <a:defRPr sz="1900" kern="1200">
                  <a:solidFill>
                    <a:schemeClr val="lt1"/>
                  </a:solidFill>
                  <a:latin typeface="+mn-lt"/>
                  <a:ea typeface="+mn-ea"/>
                  <a:cs typeface="+mn-cs"/>
                </a:defRPr>
              </a:lvl3pPr>
              <a:lvl4pPr marL="1436634" algn="l" defTabSz="957756" rtl="0" eaLnBrk="1" latinLnBrk="0" hangingPunct="1">
                <a:defRPr sz="1900" kern="1200">
                  <a:solidFill>
                    <a:schemeClr val="lt1"/>
                  </a:solidFill>
                  <a:latin typeface="+mn-lt"/>
                  <a:ea typeface="+mn-ea"/>
                  <a:cs typeface="+mn-cs"/>
                </a:defRPr>
              </a:lvl4pPr>
              <a:lvl5pPr marL="1915510" algn="l" defTabSz="957756" rtl="0" eaLnBrk="1" latinLnBrk="0" hangingPunct="1">
                <a:defRPr sz="1900" kern="1200">
                  <a:solidFill>
                    <a:schemeClr val="lt1"/>
                  </a:solidFill>
                  <a:latin typeface="+mn-lt"/>
                  <a:ea typeface="+mn-ea"/>
                  <a:cs typeface="+mn-cs"/>
                </a:defRPr>
              </a:lvl5pPr>
              <a:lvl6pPr marL="2394388" algn="l" defTabSz="957756" rtl="0" eaLnBrk="1" latinLnBrk="0" hangingPunct="1">
                <a:defRPr sz="1900" kern="1200">
                  <a:solidFill>
                    <a:schemeClr val="lt1"/>
                  </a:solidFill>
                  <a:latin typeface="+mn-lt"/>
                  <a:ea typeface="+mn-ea"/>
                  <a:cs typeface="+mn-cs"/>
                </a:defRPr>
              </a:lvl6pPr>
              <a:lvl7pPr marL="2873265" algn="l" defTabSz="957756" rtl="0" eaLnBrk="1" latinLnBrk="0" hangingPunct="1">
                <a:defRPr sz="1900" kern="1200">
                  <a:solidFill>
                    <a:schemeClr val="lt1"/>
                  </a:solidFill>
                  <a:latin typeface="+mn-lt"/>
                  <a:ea typeface="+mn-ea"/>
                  <a:cs typeface="+mn-cs"/>
                </a:defRPr>
              </a:lvl7pPr>
              <a:lvl8pPr marL="3352143" algn="l" defTabSz="957756" rtl="0" eaLnBrk="1" latinLnBrk="0" hangingPunct="1">
                <a:defRPr sz="1900" kern="1200">
                  <a:solidFill>
                    <a:schemeClr val="lt1"/>
                  </a:solidFill>
                  <a:latin typeface="+mn-lt"/>
                  <a:ea typeface="+mn-ea"/>
                  <a:cs typeface="+mn-cs"/>
                </a:defRPr>
              </a:lvl8pPr>
              <a:lvl9pPr marL="3831021" algn="l" defTabSz="957756" rtl="0" eaLnBrk="1" latinLnBrk="0" hangingPunct="1">
                <a:defRPr sz="1900" kern="1200">
                  <a:solidFill>
                    <a:schemeClr val="lt1"/>
                  </a:solidFill>
                  <a:latin typeface="+mn-lt"/>
                  <a:ea typeface="+mn-ea"/>
                  <a:cs typeface="+mn-cs"/>
                </a:defRPr>
              </a:lvl9pPr>
            </a:lstStyle>
            <a:p>
              <a:pPr algn="ctr" defTabSz="478782">
                <a:defRPr/>
              </a:pPr>
              <a:endParaRPr lang="en-GB" sz="1100" dirty="0">
                <a:solidFill>
                  <a:srgbClr val="9F958F">
                    <a:lumMod val="50000"/>
                  </a:srgbClr>
                </a:solidFill>
                <a:latin typeface="Century Gothic" panose="020B0502020202020204" pitchFamily="34" charset="0"/>
                <a:sym typeface="Calibri"/>
              </a:endParaRPr>
            </a:p>
          </p:txBody>
        </p:sp>
        <p:pic>
          <p:nvPicPr>
            <p:cNvPr id="452" name="Picture 451" descr="http://zolmax.com/logos/hsbc-holdings-plc-logo.png"/>
            <p:cNvPicPr>
              <a:picLocks noChangeAspect="1" noChangeArrowheads="1"/>
            </p:cNvPicPr>
            <p:nvPr/>
          </p:nvPicPr>
          <p:blipFill>
            <a:blip r:embed="rId80" cstate="screen">
              <a:extLst>
                <a:ext uri="{28A0092B-C50C-407E-A947-70E740481C1C}">
                  <a14:useLocalDpi xmlns:a14="http://schemas.microsoft.com/office/drawing/2010/main"/>
                </a:ext>
              </a:extLst>
            </a:blip>
            <a:srcRect/>
            <a:stretch>
              <a:fillRect/>
            </a:stretch>
          </p:blipFill>
          <p:spPr bwMode="auto">
            <a:xfrm>
              <a:off x="1923890" y="11986295"/>
              <a:ext cx="1598443" cy="373554"/>
            </a:xfrm>
            <a:prstGeom prst="rect">
              <a:avLst/>
            </a:prstGeom>
            <a:noFill/>
            <a:extLst>
              <a:ext uri="{909E8E84-426E-40DD-AFC4-6F175D3DCCD1}">
                <a14:hiddenFill xmlns:a14="http://schemas.microsoft.com/office/drawing/2010/main">
                  <a:solidFill>
                    <a:srgbClr val="FFFFFF"/>
                  </a:solidFill>
                </a14:hiddenFill>
              </a:ext>
            </a:extLst>
          </p:spPr>
        </p:pic>
        <p:pic>
          <p:nvPicPr>
            <p:cNvPr id="453" name="emb1" descr="http://tse1.mm.bing.net/th?id=JN.JbKc9IqylD%2f0EG0HthFuUg&amp;w=82&amp;h=80&amp;c=7&amp;rs=1&amp;qlt=90&amp;pid=3.1&amp;rm=2">
              <a:hlinkClick r:id="rId81"/>
            </p:cNvPr>
            <p:cNvPicPr>
              <a:picLocks noChangeAspect="1" noChangeArrowheads="1"/>
            </p:cNvPicPr>
            <p:nvPr/>
          </p:nvPicPr>
          <p:blipFill>
            <a:blip r:embed="rId82" cstate="screen">
              <a:extLst>
                <a:ext uri="{28A0092B-C50C-407E-A947-70E740481C1C}">
                  <a14:useLocalDpi xmlns:a14="http://schemas.microsoft.com/office/drawing/2010/main"/>
                </a:ext>
              </a:extLst>
            </a:blip>
            <a:srcRect/>
            <a:stretch>
              <a:fillRect/>
            </a:stretch>
          </p:blipFill>
          <p:spPr bwMode="auto">
            <a:xfrm>
              <a:off x="593801" y="12209726"/>
              <a:ext cx="952926" cy="929669"/>
            </a:xfrm>
            <a:prstGeom prst="rect">
              <a:avLst/>
            </a:prstGeom>
            <a:noFill/>
            <a:extLst>
              <a:ext uri="{909E8E84-426E-40DD-AFC4-6F175D3DCCD1}">
                <a14:hiddenFill xmlns:a14="http://schemas.microsoft.com/office/drawing/2010/main">
                  <a:solidFill>
                    <a:srgbClr val="FFFFFF"/>
                  </a:solidFill>
                </a14:hiddenFill>
              </a:ext>
            </a:extLst>
          </p:spPr>
        </p:pic>
        <p:sp>
          <p:nvSpPr>
            <p:cNvPr id="454" name="Round Same Side Corner Rectangle 453"/>
            <p:cNvSpPr/>
            <p:nvPr/>
          </p:nvSpPr>
          <p:spPr>
            <a:xfrm>
              <a:off x="511992" y="10766616"/>
              <a:ext cx="3372960" cy="1040793"/>
            </a:xfrm>
            <a:prstGeom prst="round2SameRect">
              <a:avLst/>
            </a:prstGeom>
            <a:solidFill>
              <a:schemeClr val="accent3">
                <a:lumMod val="75000"/>
              </a:schemeClr>
            </a:solidFill>
            <a:ln w="25400" cap="flat" cmpd="sng" algn="ctr">
              <a:noFill/>
              <a:prstDash val="solid"/>
            </a:ln>
            <a:effectLst/>
          </p:spPr>
          <p:txBody>
            <a:bodyPr anchor="ct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algn="ctr" defTabSz="478782">
                <a:defRPr/>
              </a:pPr>
              <a:r>
                <a:rPr lang="en-GB" sz="1200" b="1" kern="0" dirty="0">
                  <a:solidFill>
                    <a:sysClr val="window" lastClr="FFFFFF"/>
                  </a:solidFill>
                  <a:latin typeface="Century Gothic" panose="020B0502020202020204" pitchFamily="34" charset="0"/>
                  <a:cs typeface="Arial" charset="0"/>
                  <a:sym typeface="Calibri"/>
                </a:rPr>
                <a:t>Latin America</a:t>
              </a:r>
            </a:p>
          </p:txBody>
        </p:sp>
        <p:pic>
          <p:nvPicPr>
            <p:cNvPr id="455" name="Picture 454" descr="Image result for petrofac"/>
            <p:cNvPicPr>
              <a:picLocks noChangeAspect="1" noChangeArrowheads="1"/>
            </p:cNvPicPr>
            <p:nvPr/>
          </p:nvPicPr>
          <p:blipFill>
            <a:blip r:embed="rId83" cstate="screen">
              <a:extLst>
                <a:ext uri="{28A0092B-C50C-407E-A947-70E740481C1C}">
                  <a14:useLocalDpi xmlns:a14="http://schemas.microsoft.com/office/drawing/2010/main"/>
                </a:ext>
              </a:extLst>
            </a:blip>
            <a:srcRect/>
            <a:stretch>
              <a:fillRect/>
            </a:stretch>
          </p:blipFill>
          <p:spPr bwMode="auto">
            <a:xfrm>
              <a:off x="2168806" y="12502764"/>
              <a:ext cx="851389" cy="908148"/>
            </a:xfrm>
            <a:prstGeom prst="rect">
              <a:avLst/>
            </a:prstGeom>
            <a:noFill/>
          </p:spPr>
        </p:pic>
      </p:grpSp>
      <p:grpSp>
        <p:nvGrpSpPr>
          <p:cNvPr id="456" name="Group 455"/>
          <p:cNvGrpSpPr/>
          <p:nvPr/>
        </p:nvGrpSpPr>
        <p:grpSpPr>
          <a:xfrm>
            <a:off x="8025424" y="5111206"/>
            <a:ext cx="1709646" cy="1139453"/>
            <a:chOff x="16046265" y="10766616"/>
            <a:chExt cx="3622694" cy="2950972"/>
          </a:xfrm>
        </p:grpSpPr>
        <p:sp>
          <p:nvSpPr>
            <p:cNvPr id="457" name="Rectangle 456"/>
            <p:cNvSpPr/>
            <p:nvPr/>
          </p:nvSpPr>
          <p:spPr>
            <a:xfrm>
              <a:off x="16090325" y="11588214"/>
              <a:ext cx="3567372" cy="2098178"/>
            </a:xfrm>
            <a:prstGeom prst="rect">
              <a:avLst/>
            </a:prstGeom>
            <a:solidFill>
              <a:srgbClr val="FFFFFF">
                <a:alpha val="63137"/>
              </a:srgbClr>
            </a:solidFill>
            <a:ln w="12700" cap="flat" cmpd="sng" algn="ctr">
              <a:noFill/>
              <a:prstDash val="solid"/>
            </a:ln>
            <a:effectLst/>
          </p:spPr>
          <p:txBody>
            <a:bodyPr rtlCol="0" anchor="ctr"/>
            <a:lstStyle>
              <a:defPPr>
                <a:defRPr lang="de-DE"/>
              </a:defPPr>
              <a:lvl1pPr marL="0" algn="l" defTabSz="957756" rtl="0" eaLnBrk="1" latinLnBrk="0" hangingPunct="1">
                <a:defRPr sz="1900" kern="1200">
                  <a:solidFill>
                    <a:schemeClr val="lt1"/>
                  </a:solidFill>
                  <a:latin typeface="+mn-lt"/>
                  <a:ea typeface="+mn-ea"/>
                  <a:cs typeface="+mn-cs"/>
                </a:defRPr>
              </a:lvl1pPr>
              <a:lvl2pPr marL="478878" algn="l" defTabSz="957756" rtl="0" eaLnBrk="1" latinLnBrk="0" hangingPunct="1">
                <a:defRPr sz="1900" kern="1200">
                  <a:solidFill>
                    <a:schemeClr val="lt1"/>
                  </a:solidFill>
                  <a:latin typeface="+mn-lt"/>
                  <a:ea typeface="+mn-ea"/>
                  <a:cs typeface="+mn-cs"/>
                </a:defRPr>
              </a:lvl2pPr>
              <a:lvl3pPr marL="957756" algn="l" defTabSz="957756" rtl="0" eaLnBrk="1" latinLnBrk="0" hangingPunct="1">
                <a:defRPr sz="1900" kern="1200">
                  <a:solidFill>
                    <a:schemeClr val="lt1"/>
                  </a:solidFill>
                  <a:latin typeface="+mn-lt"/>
                  <a:ea typeface="+mn-ea"/>
                  <a:cs typeface="+mn-cs"/>
                </a:defRPr>
              </a:lvl3pPr>
              <a:lvl4pPr marL="1436634" algn="l" defTabSz="957756" rtl="0" eaLnBrk="1" latinLnBrk="0" hangingPunct="1">
                <a:defRPr sz="1900" kern="1200">
                  <a:solidFill>
                    <a:schemeClr val="lt1"/>
                  </a:solidFill>
                  <a:latin typeface="+mn-lt"/>
                  <a:ea typeface="+mn-ea"/>
                  <a:cs typeface="+mn-cs"/>
                </a:defRPr>
              </a:lvl4pPr>
              <a:lvl5pPr marL="1915510" algn="l" defTabSz="957756" rtl="0" eaLnBrk="1" latinLnBrk="0" hangingPunct="1">
                <a:defRPr sz="1900" kern="1200">
                  <a:solidFill>
                    <a:schemeClr val="lt1"/>
                  </a:solidFill>
                  <a:latin typeface="+mn-lt"/>
                  <a:ea typeface="+mn-ea"/>
                  <a:cs typeface="+mn-cs"/>
                </a:defRPr>
              </a:lvl5pPr>
              <a:lvl6pPr marL="2394388" algn="l" defTabSz="957756" rtl="0" eaLnBrk="1" latinLnBrk="0" hangingPunct="1">
                <a:defRPr sz="1900" kern="1200">
                  <a:solidFill>
                    <a:schemeClr val="lt1"/>
                  </a:solidFill>
                  <a:latin typeface="+mn-lt"/>
                  <a:ea typeface="+mn-ea"/>
                  <a:cs typeface="+mn-cs"/>
                </a:defRPr>
              </a:lvl6pPr>
              <a:lvl7pPr marL="2873265" algn="l" defTabSz="957756" rtl="0" eaLnBrk="1" latinLnBrk="0" hangingPunct="1">
                <a:defRPr sz="1900" kern="1200">
                  <a:solidFill>
                    <a:schemeClr val="lt1"/>
                  </a:solidFill>
                  <a:latin typeface="+mn-lt"/>
                  <a:ea typeface="+mn-ea"/>
                  <a:cs typeface="+mn-cs"/>
                </a:defRPr>
              </a:lvl7pPr>
              <a:lvl8pPr marL="3352143" algn="l" defTabSz="957756" rtl="0" eaLnBrk="1" latinLnBrk="0" hangingPunct="1">
                <a:defRPr sz="1900" kern="1200">
                  <a:solidFill>
                    <a:schemeClr val="lt1"/>
                  </a:solidFill>
                  <a:latin typeface="+mn-lt"/>
                  <a:ea typeface="+mn-ea"/>
                  <a:cs typeface="+mn-cs"/>
                </a:defRPr>
              </a:lvl8pPr>
              <a:lvl9pPr marL="3831021" algn="l" defTabSz="957756" rtl="0" eaLnBrk="1" latinLnBrk="0" hangingPunct="1">
                <a:defRPr sz="1900" kern="1200">
                  <a:solidFill>
                    <a:schemeClr val="lt1"/>
                  </a:solidFill>
                  <a:latin typeface="+mn-lt"/>
                  <a:ea typeface="+mn-ea"/>
                  <a:cs typeface="+mn-cs"/>
                </a:defRPr>
              </a:lvl9pPr>
            </a:lstStyle>
            <a:p>
              <a:pPr algn="ctr" defTabSz="478782">
                <a:defRPr/>
              </a:pPr>
              <a:endParaRPr lang="en-GB" sz="1100" dirty="0">
                <a:solidFill>
                  <a:srgbClr val="9F958F">
                    <a:lumMod val="50000"/>
                  </a:srgbClr>
                </a:solidFill>
                <a:latin typeface="Century Gothic" panose="020B0502020202020204" pitchFamily="34" charset="0"/>
                <a:sym typeface="Calibri"/>
              </a:endParaRPr>
            </a:p>
          </p:txBody>
        </p:sp>
        <p:pic>
          <p:nvPicPr>
            <p:cNvPr id="458" name="emb1" descr="http://tse1.mm.bing.net/th?id=JN.hGBeMxbXD2jnovTY4aKIlA&amp;w=113&amp;h=100&amp;c=7&amp;rs=1&amp;qlt=90&amp;pid=3.1&amp;rm=2">
              <a:hlinkClick r:id="rId84"/>
            </p:cNvPr>
            <p:cNvPicPr>
              <a:picLocks noChangeAspect="1" noChangeArrowheads="1"/>
            </p:cNvPicPr>
            <p:nvPr/>
          </p:nvPicPr>
          <p:blipFill>
            <a:blip r:embed="rId85" cstate="screen">
              <a:extLst>
                <a:ext uri="{28A0092B-C50C-407E-A947-70E740481C1C}">
                  <a14:useLocalDpi xmlns:a14="http://schemas.microsoft.com/office/drawing/2010/main"/>
                </a:ext>
              </a:extLst>
            </a:blip>
            <a:srcRect/>
            <a:stretch>
              <a:fillRect/>
            </a:stretch>
          </p:blipFill>
          <p:spPr bwMode="auto">
            <a:xfrm>
              <a:off x="18240633" y="12878873"/>
              <a:ext cx="947758" cy="838715"/>
            </a:xfrm>
            <a:prstGeom prst="rect">
              <a:avLst/>
            </a:prstGeom>
            <a:noFill/>
            <a:extLst>
              <a:ext uri="{909E8E84-426E-40DD-AFC4-6F175D3DCCD1}">
                <a14:hiddenFill xmlns:a14="http://schemas.microsoft.com/office/drawing/2010/main">
                  <a:solidFill>
                    <a:srgbClr val="FFFFFF"/>
                  </a:solidFill>
                </a14:hiddenFill>
              </a:ext>
            </a:extLst>
          </p:spPr>
        </p:pic>
        <p:sp>
          <p:nvSpPr>
            <p:cNvPr id="459" name="Round Same Side Corner Rectangle 458"/>
            <p:cNvSpPr/>
            <p:nvPr/>
          </p:nvSpPr>
          <p:spPr>
            <a:xfrm>
              <a:off x="16046265" y="10766616"/>
              <a:ext cx="3622694" cy="1040793"/>
            </a:xfrm>
            <a:prstGeom prst="round2SameRect">
              <a:avLst/>
            </a:prstGeom>
            <a:solidFill>
              <a:schemeClr val="accent3">
                <a:lumMod val="75000"/>
              </a:schemeClr>
            </a:solidFill>
            <a:ln w="25400" cap="flat" cmpd="sng" algn="ctr">
              <a:noFill/>
              <a:prstDash val="solid"/>
            </a:ln>
            <a:effectLst/>
          </p:spPr>
          <p:txBody>
            <a:bodyPr anchor="ct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algn="ctr" defTabSz="478782">
                <a:defRPr/>
              </a:pPr>
              <a:r>
                <a:rPr lang="en-GB" sz="1200" b="1" kern="0" dirty="0">
                  <a:solidFill>
                    <a:sysClr val="window" lastClr="FFFFFF"/>
                  </a:solidFill>
                  <a:latin typeface="Century Gothic" panose="020B0502020202020204" pitchFamily="34" charset="0"/>
                  <a:cs typeface="Arial" charset="0"/>
                  <a:sym typeface="Calibri"/>
                </a:rPr>
                <a:t>India</a:t>
              </a:r>
            </a:p>
          </p:txBody>
        </p:sp>
        <p:pic>
          <p:nvPicPr>
            <p:cNvPr id="460" name="Picture 459" descr="Image result for reliance industries limited"/>
            <p:cNvPicPr>
              <a:picLocks noChangeAspect="1" noChangeArrowheads="1"/>
            </p:cNvPicPr>
            <p:nvPr/>
          </p:nvPicPr>
          <p:blipFill>
            <a:blip r:embed="rId86" cstate="screen">
              <a:extLst>
                <a:ext uri="{28A0092B-C50C-407E-A947-70E740481C1C}">
                  <a14:useLocalDpi xmlns:a14="http://schemas.microsoft.com/office/drawing/2010/main"/>
                </a:ext>
              </a:extLst>
            </a:blip>
            <a:srcRect t="16616" b="15599"/>
            <a:stretch>
              <a:fillRect/>
            </a:stretch>
          </p:blipFill>
          <p:spPr bwMode="auto">
            <a:xfrm>
              <a:off x="16200472" y="12057807"/>
              <a:ext cx="1000408" cy="678132"/>
            </a:xfrm>
            <a:prstGeom prst="rect">
              <a:avLst/>
            </a:prstGeom>
            <a:noFill/>
          </p:spPr>
        </p:pic>
        <p:pic>
          <p:nvPicPr>
            <p:cNvPr id="461" name="Picture 460" descr="Image result for tata global services"/>
            <p:cNvPicPr>
              <a:picLocks noChangeAspect="1" noChangeArrowheads="1"/>
            </p:cNvPicPr>
            <p:nvPr/>
          </p:nvPicPr>
          <p:blipFill>
            <a:blip r:embed="rId87" cstate="screen">
              <a:extLst>
                <a:ext uri="{28A0092B-C50C-407E-A947-70E740481C1C}">
                  <a14:useLocalDpi xmlns:a14="http://schemas.microsoft.com/office/drawing/2010/main"/>
                </a:ext>
              </a:extLst>
            </a:blip>
            <a:srcRect/>
            <a:stretch>
              <a:fillRect/>
            </a:stretch>
          </p:blipFill>
          <p:spPr bwMode="auto">
            <a:xfrm>
              <a:off x="17934080" y="12099370"/>
              <a:ext cx="1585005" cy="555551"/>
            </a:xfrm>
            <a:prstGeom prst="rect">
              <a:avLst/>
            </a:prstGeom>
            <a:noFill/>
          </p:spPr>
        </p:pic>
        <p:pic>
          <p:nvPicPr>
            <p:cNvPr id="462" name="Picture 461" descr="Image result for monsanto"/>
            <p:cNvPicPr>
              <a:picLocks noChangeAspect="1" noChangeArrowheads="1"/>
            </p:cNvPicPr>
            <p:nvPr/>
          </p:nvPicPr>
          <p:blipFill>
            <a:blip r:embed="rId88" cstate="screen">
              <a:extLst>
                <a:ext uri="{28A0092B-C50C-407E-A947-70E740481C1C}">
                  <a14:useLocalDpi xmlns:a14="http://schemas.microsoft.com/office/drawing/2010/main"/>
                </a:ext>
              </a:extLst>
            </a:blip>
            <a:srcRect/>
            <a:stretch>
              <a:fillRect/>
            </a:stretch>
          </p:blipFill>
          <p:spPr bwMode="auto">
            <a:xfrm>
              <a:off x="17217330" y="12029938"/>
              <a:ext cx="729722" cy="944343"/>
            </a:xfrm>
            <a:prstGeom prst="rect">
              <a:avLst/>
            </a:prstGeom>
            <a:noFill/>
          </p:spPr>
        </p:pic>
        <p:pic>
          <p:nvPicPr>
            <p:cNvPr id="463" name="Picture 462" descr="Image result for flipkart.com"/>
            <p:cNvPicPr>
              <a:picLocks noChangeAspect="1" noChangeArrowheads="1"/>
            </p:cNvPicPr>
            <p:nvPr/>
          </p:nvPicPr>
          <p:blipFill>
            <a:blip r:embed="rId89" cstate="screen">
              <a:extLst>
                <a:ext uri="{28A0092B-C50C-407E-A947-70E740481C1C}">
                  <a14:useLocalDpi xmlns:a14="http://schemas.microsoft.com/office/drawing/2010/main"/>
                </a:ext>
              </a:extLst>
            </a:blip>
            <a:srcRect/>
            <a:stretch>
              <a:fillRect/>
            </a:stretch>
          </p:blipFill>
          <p:spPr bwMode="auto">
            <a:xfrm>
              <a:off x="16278741" y="13056556"/>
              <a:ext cx="1603167" cy="576138"/>
            </a:xfrm>
            <a:prstGeom prst="rect">
              <a:avLst/>
            </a:prstGeom>
            <a:noFill/>
          </p:spPr>
        </p:pic>
      </p:grpSp>
      <p:grpSp>
        <p:nvGrpSpPr>
          <p:cNvPr id="464" name="Group 463"/>
          <p:cNvGrpSpPr/>
          <p:nvPr/>
        </p:nvGrpSpPr>
        <p:grpSpPr>
          <a:xfrm>
            <a:off x="2799375" y="1000010"/>
            <a:ext cx="1883527" cy="1836934"/>
            <a:chOff x="5598781" y="2000250"/>
            <a:chExt cx="4705817" cy="4465594"/>
          </a:xfrm>
        </p:grpSpPr>
        <p:sp>
          <p:nvSpPr>
            <p:cNvPr id="465" name="Rectangle 464"/>
            <p:cNvSpPr/>
            <p:nvPr/>
          </p:nvSpPr>
          <p:spPr>
            <a:xfrm>
              <a:off x="5598781" y="2574713"/>
              <a:ext cx="4579755" cy="3891131"/>
            </a:xfrm>
            <a:prstGeom prst="rect">
              <a:avLst/>
            </a:prstGeom>
            <a:solidFill>
              <a:srgbClr val="FFFFFF">
                <a:alpha val="63137"/>
              </a:srgbClr>
            </a:solidFill>
            <a:ln w="12700" cap="flat" cmpd="sng" algn="ctr">
              <a:noFill/>
              <a:prstDash val="solid"/>
            </a:ln>
            <a:effectLst/>
          </p:spPr>
          <p:txBody>
            <a:bodyPr rtlCol="0" anchor="ctr"/>
            <a:lstStyle>
              <a:defPPr>
                <a:defRPr lang="de-DE"/>
              </a:defPPr>
              <a:lvl1pPr marL="0" algn="l" defTabSz="957756" rtl="0" eaLnBrk="1" latinLnBrk="0" hangingPunct="1">
                <a:defRPr sz="1900" kern="1200">
                  <a:solidFill>
                    <a:schemeClr val="lt1"/>
                  </a:solidFill>
                  <a:latin typeface="+mn-lt"/>
                  <a:ea typeface="+mn-ea"/>
                  <a:cs typeface="+mn-cs"/>
                </a:defRPr>
              </a:lvl1pPr>
              <a:lvl2pPr marL="478878" algn="l" defTabSz="957756" rtl="0" eaLnBrk="1" latinLnBrk="0" hangingPunct="1">
                <a:defRPr sz="1900" kern="1200">
                  <a:solidFill>
                    <a:schemeClr val="lt1"/>
                  </a:solidFill>
                  <a:latin typeface="+mn-lt"/>
                  <a:ea typeface="+mn-ea"/>
                  <a:cs typeface="+mn-cs"/>
                </a:defRPr>
              </a:lvl2pPr>
              <a:lvl3pPr marL="957756" algn="l" defTabSz="957756" rtl="0" eaLnBrk="1" latinLnBrk="0" hangingPunct="1">
                <a:defRPr sz="1900" kern="1200">
                  <a:solidFill>
                    <a:schemeClr val="lt1"/>
                  </a:solidFill>
                  <a:latin typeface="+mn-lt"/>
                  <a:ea typeface="+mn-ea"/>
                  <a:cs typeface="+mn-cs"/>
                </a:defRPr>
              </a:lvl3pPr>
              <a:lvl4pPr marL="1436634" algn="l" defTabSz="957756" rtl="0" eaLnBrk="1" latinLnBrk="0" hangingPunct="1">
                <a:defRPr sz="1900" kern="1200">
                  <a:solidFill>
                    <a:schemeClr val="lt1"/>
                  </a:solidFill>
                  <a:latin typeface="+mn-lt"/>
                  <a:ea typeface="+mn-ea"/>
                  <a:cs typeface="+mn-cs"/>
                </a:defRPr>
              </a:lvl4pPr>
              <a:lvl5pPr marL="1915510" algn="l" defTabSz="957756" rtl="0" eaLnBrk="1" latinLnBrk="0" hangingPunct="1">
                <a:defRPr sz="1900" kern="1200">
                  <a:solidFill>
                    <a:schemeClr val="lt1"/>
                  </a:solidFill>
                  <a:latin typeface="+mn-lt"/>
                  <a:ea typeface="+mn-ea"/>
                  <a:cs typeface="+mn-cs"/>
                </a:defRPr>
              </a:lvl5pPr>
              <a:lvl6pPr marL="2394388" algn="l" defTabSz="957756" rtl="0" eaLnBrk="1" latinLnBrk="0" hangingPunct="1">
                <a:defRPr sz="1900" kern="1200">
                  <a:solidFill>
                    <a:schemeClr val="lt1"/>
                  </a:solidFill>
                  <a:latin typeface="+mn-lt"/>
                  <a:ea typeface="+mn-ea"/>
                  <a:cs typeface="+mn-cs"/>
                </a:defRPr>
              </a:lvl6pPr>
              <a:lvl7pPr marL="2873265" algn="l" defTabSz="957756" rtl="0" eaLnBrk="1" latinLnBrk="0" hangingPunct="1">
                <a:defRPr sz="1900" kern="1200">
                  <a:solidFill>
                    <a:schemeClr val="lt1"/>
                  </a:solidFill>
                  <a:latin typeface="+mn-lt"/>
                  <a:ea typeface="+mn-ea"/>
                  <a:cs typeface="+mn-cs"/>
                </a:defRPr>
              </a:lvl7pPr>
              <a:lvl8pPr marL="3352143" algn="l" defTabSz="957756" rtl="0" eaLnBrk="1" latinLnBrk="0" hangingPunct="1">
                <a:defRPr sz="1900" kern="1200">
                  <a:solidFill>
                    <a:schemeClr val="lt1"/>
                  </a:solidFill>
                  <a:latin typeface="+mn-lt"/>
                  <a:ea typeface="+mn-ea"/>
                  <a:cs typeface="+mn-cs"/>
                </a:defRPr>
              </a:lvl8pPr>
              <a:lvl9pPr marL="3831021" algn="l" defTabSz="957756" rtl="0" eaLnBrk="1" latinLnBrk="0" hangingPunct="1">
                <a:defRPr sz="1900" kern="1200">
                  <a:solidFill>
                    <a:schemeClr val="lt1"/>
                  </a:solidFill>
                  <a:latin typeface="+mn-lt"/>
                  <a:ea typeface="+mn-ea"/>
                  <a:cs typeface="+mn-cs"/>
                </a:defRPr>
              </a:lvl9pPr>
            </a:lstStyle>
            <a:p>
              <a:pPr algn="ctr" defTabSz="478782">
                <a:defRPr/>
              </a:pPr>
              <a:endParaRPr lang="en-GB" sz="1100" dirty="0">
                <a:solidFill>
                  <a:srgbClr val="9F958F">
                    <a:lumMod val="50000"/>
                  </a:srgbClr>
                </a:solidFill>
                <a:latin typeface="Century Gothic" panose="020B0502020202020204" pitchFamily="34" charset="0"/>
                <a:sym typeface="Calibri"/>
              </a:endParaRPr>
            </a:p>
          </p:txBody>
        </p:sp>
        <p:pic>
          <p:nvPicPr>
            <p:cNvPr id="466" name="Picture 465" descr="http://www.altiusdirectory.com/Finance/images/bnp-paribas-logo.png"/>
            <p:cNvPicPr>
              <a:picLocks noChangeAspect="1" noChangeArrowheads="1"/>
            </p:cNvPicPr>
            <p:nvPr/>
          </p:nvPicPr>
          <p:blipFill>
            <a:blip r:embed="rId90" cstate="screen">
              <a:extLst>
                <a:ext uri="{28A0092B-C50C-407E-A947-70E740481C1C}">
                  <a14:useLocalDpi xmlns:a14="http://schemas.microsoft.com/office/drawing/2010/main"/>
                </a:ext>
              </a:extLst>
            </a:blip>
            <a:srcRect/>
            <a:stretch>
              <a:fillRect/>
            </a:stretch>
          </p:blipFill>
          <p:spPr bwMode="auto">
            <a:xfrm>
              <a:off x="6582878" y="5538615"/>
              <a:ext cx="2626270" cy="853395"/>
            </a:xfrm>
            <a:prstGeom prst="rect">
              <a:avLst/>
            </a:prstGeom>
            <a:noFill/>
            <a:extLst>
              <a:ext uri="{909E8E84-426E-40DD-AFC4-6F175D3DCCD1}">
                <a14:hiddenFill xmlns:a14="http://schemas.microsoft.com/office/drawing/2010/main">
                  <a:solidFill>
                    <a:srgbClr val="FFFFFF"/>
                  </a:solidFill>
                </a14:hiddenFill>
              </a:ext>
            </a:extLst>
          </p:spPr>
        </p:pic>
        <p:sp>
          <p:nvSpPr>
            <p:cNvPr id="467" name="Round Same Side Corner Rectangle 466"/>
            <p:cNvSpPr/>
            <p:nvPr/>
          </p:nvSpPr>
          <p:spPr>
            <a:xfrm>
              <a:off x="5598781" y="2000250"/>
              <a:ext cx="4564175" cy="1040793"/>
            </a:xfrm>
            <a:prstGeom prst="round2SameRect">
              <a:avLst/>
            </a:prstGeom>
            <a:solidFill>
              <a:schemeClr val="accent3">
                <a:lumMod val="75000"/>
              </a:schemeClr>
            </a:solidFill>
            <a:ln w="25400" cap="flat" cmpd="sng" algn="ctr">
              <a:noFill/>
              <a:prstDash val="solid"/>
            </a:ln>
            <a:effectLst/>
          </p:spPr>
          <p:txBody>
            <a:bodyPr anchor="ct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algn="ctr" defTabSz="478782">
                <a:lnSpc>
                  <a:spcPct val="80000"/>
                </a:lnSpc>
                <a:defRPr/>
              </a:pPr>
              <a:r>
                <a:rPr lang="en-GB" sz="1200" b="1" kern="0" dirty="0">
                  <a:solidFill>
                    <a:sysClr val="window" lastClr="FFFFFF"/>
                  </a:solidFill>
                  <a:latin typeface="Century Gothic" panose="020B0502020202020204" pitchFamily="34" charset="0"/>
                  <a:cs typeface="Arial" charset="0"/>
                  <a:sym typeface="Calibri"/>
                </a:rPr>
                <a:t>France</a:t>
              </a:r>
            </a:p>
          </p:txBody>
        </p:sp>
        <p:pic>
          <p:nvPicPr>
            <p:cNvPr id="468" name="Picture 467" descr="http://www.whoswho.fr/usr/l/H/L/logo-gdf-suez.jpg"/>
            <p:cNvPicPr>
              <a:picLocks noChangeAspect="1" noChangeArrowheads="1"/>
            </p:cNvPicPr>
            <p:nvPr/>
          </p:nvPicPr>
          <p:blipFill>
            <a:blip r:embed="rId91" cstate="screen">
              <a:extLst>
                <a:ext uri="{28A0092B-C50C-407E-A947-70E740481C1C}">
                  <a14:useLocalDpi xmlns:a14="http://schemas.microsoft.com/office/drawing/2010/main"/>
                </a:ext>
              </a:extLst>
            </a:blip>
            <a:srcRect/>
            <a:stretch>
              <a:fillRect/>
            </a:stretch>
          </p:blipFill>
          <p:spPr bwMode="auto">
            <a:xfrm>
              <a:off x="5691219" y="3415843"/>
              <a:ext cx="2225957" cy="697801"/>
            </a:xfrm>
            <a:prstGeom prst="rect">
              <a:avLst/>
            </a:prstGeom>
            <a:noFill/>
            <a:extLst>
              <a:ext uri="{909E8E84-426E-40DD-AFC4-6F175D3DCCD1}">
                <a14:hiddenFill xmlns:a14="http://schemas.microsoft.com/office/drawing/2010/main">
                  <a:solidFill>
                    <a:srgbClr val="FFFFFF"/>
                  </a:solidFill>
                </a14:hiddenFill>
              </a:ext>
            </a:extLst>
          </p:spPr>
        </p:pic>
        <p:pic>
          <p:nvPicPr>
            <p:cNvPr id="469" name="Picture 468" descr="Image result for ministre de l economie et des finances"/>
            <p:cNvPicPr>
              <a:picLocks noChangeAspect="1" noChangeArrowheads="1"/>
            </p:cNvPicPr>
            <p:nvPr/>
          </p:nvPicPr>
          <p:blipFill>
            <a:blip r:embed="rId92" cstate="screen">
              <a:extLst>
                <a:ext uri="{28A0092B-C50C-407E-A947-70E740481C1C}">
                  <a14:useLocalDpi xmlns:a14="http://schemas.microsoft.com/office/drawing/2010/main"/>
                </a:ext>
              </a:extLst>
            </a:blip>
            <a:srcRect/>
            <a:stretch>
              <a:fillRect/>
            </a:stretch>
          </p:blipFill>
          <p:spPr bwMode="auto">
            <a:xfrm>
              <a:off x="7352317" y="4221268"/>
              <a:ext cx="2952281" cy="1095198"/>
            </a:xfrm>
            <a:prstGeom prst="rect">
              <a:avLst/>
            </a:prstGeom>
            <a:noFill/>
          </p:spPr>
        </p:pic>
        <p:pic>
          <p:nvPicPr>
            <p:cNvPr id="470" name="Picture 469" descr="http://www.logostage.com/logos/edf.png"/>
            <p:cNvPicPr>
              <a:picLocks noChangeAspect="1" noChangeArrowheads="1"/>
            </p:cNvPicPr>
            <p:nvPr/>
          </p:nvPicPr>
          <p:blipFill>
            <a:blip r:embed="rId93" cstate="screen">
              <a:extLst>
                <a:ext uri="{28A0092B-C50C-407E-A947-70E740481C1C}">
                  <a14:useLocalDpi xmlns:a14="http://schemas.microsoft.com/office/drawing/2010/main"/>
                </a:ext>
              </a:extLst>
            </a:blip>
            <a:srcRect/>
            <a:stretch>
              <a:fillRect/>
            </a:stretch>
          </p:blipFill>
          <p:spPr bwMode="auto">
            <a:xfrm>
              <a:off x="5828071" y="4474155"/>
              <a:ext cx="1521976" cy="679563"/>
            </a:xfrm>
            <a:prstGeom prst="rect">
              <a:avLst/>
            </a:prstGeom>
            <a:noFill/>
            <a:extLst>
              <a:ext uri="{909E8E84-426E-40DD-AFC4-6F175D3DCCD1}">
                <a14:hiddenFill xmlns:a14="http://schemas.microsoft.com/office/drawing/2010/main">
                  <a:solidFill>
                    <a:srgbClr val="FFFFFF"/>
                  </a:solidFill>
                </a14:hiddenFill>
              </a:ext>
            </a:extLst>
          </p:spPr>
        </p:pic>
        <p:pic>
          <p:nvPicPr>
            <p:cNvPr id="471" name="Picture 470" descr="Image result for ministre de la defense"/>
            <p:cNvPicPr>
              <a:picLocks noChangeAspect="1" noChangeArrowheads="1"/>
            </p:cNvPicPr>
            <p:nvPr/>
          </p:nvPicPr>
          <p:blipFill>
            <a:blip r:embed="rId94" cstate="screen">
              <a:extLst>
                <a:ext uri="{28A0092B-C50C-407E-A947-70E740481C1C}">
                  <a14:useLocalDpi xmlns:a14="http://schemas.microsoft.com/office/drawing/2010/main"/>
                </a:ext>
              </a:extLst>
            </a:blip>
            <a:srcRect/>
            <a:stretch>
              <a:fillRect/>
            </a:stretch>
          </p:blipFill>
          <p:spPr bwMode="auto">
            <a:xfrm>
              <a:off x="7835511" y="3132791"/>
              <a:ext cx="2375415" cy="1169438"/>
            </a:xfrm>
            <a:prstGeom prst="rect">
              <a:avLst/>
            </a:prstGeom>
            <a:noFill/>
          </p:spPr>
        </p:pic>
      </p:grpSp>
      <p:sp>
        <p:nvSpPr>
          <p:cNvPr id="2" name="Title 1"/>
          <p:cNvSpPr>
            <a:spLocks noGrp="1"/>
          </p:cNvSpPr>
          <p:nvPr>
            <p:ph type="title"/>
          </p:nvPr>
        </p:nvSpPr>
        <p:spPr/>
        <p:txBody>
          <a:bodyPr/>
          <a:lstStyle/>
          <a:p>
            <a:r>
              <a:rPr lang="en-US" sz="2800" dirty="0">
                <a:cs typeface="Calibri" panose="020F0502020204030204" pitchFamily="34" charset="0"/>
              </a:rPr>
              <a:t>A snapshot of marquee DCX Clients across the </a:t>
            </a:r>
            <a:r>
              <a:rPr lang="en-US" sz="2800" dirty="0" smtClean="0">
                <a:cs typeface="Calibri" panose="020F0502020204030204" pitchFamily="34" charset="0"/>
              </a:rPr>
              <a:t>Globe</a:t>
            </a:r>
            <a:endParaRPr lang="en-US" sz="2800" dirty="0"/>
          </a:p>
        </p:txBody>
      </p:sp>
    </p:spTree>
    <p:extLst>
      <p:ext uri="{BB962C8B-B14F-4D97-AF65-F5344CB8AC3E}">
        <p14:creationId xmlns:p14="http://schemas.microsoft.com/office/powerpoint/2010/main" val="18996513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696"/>
                                        </p:tgtEl>
                                        <p:attrNameLst>
                                          <p:attrName>style.visibility</p:attrName>
                                        </p:attrNameLst>
                                      </p:cBhvr>
                                      <p:to>
                                        <p:strVal val="visible"/>
                                      </p:to>
                                    </p:set>
                                    <p:anim calcmode="lin" valueType="num">
                                      <p:cBhvr>
                                        <p:cTn id="7" dur="500" fill="hold"/>
                                        <p:tgtEl>
                                          <p:spTgt spid="696"/>
                                        </p:tgtEl>
                                        <p:attrNameLst>
                                          <p:attrName>ppt_w</p:attrName>
                                        </p:attrNameLst>
                                      </p:cBhvr>
                                      <p:tavLst>
                                        <p:tav tm="0">
                                          <p:val>
                                            <p:fltVal val="0"/>
                                          </p:val>
                                        </p:tav>
                                        <p:tav tm="100000">
                                          <p:val>
                                            <p:strVal val="#ppt_w"/>
                                          </p:val>
                                        </p:tav>
                                      </p:tavLst>
                                    </p:anim>
                                    <p:anim calcmode="lin" valueType="num">
                                      <p:cBhvr>
                                        <p:cTn id="8" dur="500" fill="hold"/>
                                        <p:tgtEl>
                                          <p:spTgt spid="696"/>
                                        </p:tgtEl>
                                        <p:attrNameLst>
                                          <p:attrName>ppt_h</p:attrName>
                                        </p:attrNameLst>
                                      </p:cBhvr>
                                      <p:tavLst>
                                        <p:tav tm="0">
                                          <p:val>
                                            <p:fltVal val="0"/>
                                          </p:val>
                                        </p:tav>
                                        <p:tav tm="100000">
                                          <p:val>
                                            <p:strVal val="#ppt_h"/>
                                          </p:val>
                                        </p:tav>
                                      </p:tavLst>
                                    </p:anim>
                                    <p:animEffect transition="in" filter="fade">
                                      <p:cBhvr>
                                        <p:cTn id="9" dur="500"/>
                                        <p:tgtEl>
                                          <p:spTgt spid="696"/>
                                        </p:tgtEl>
                                      </p:cBhvr>
                                    </p:animEffect>
                                  </p:childTnLst>
                                </p:cTn>
                              </p:par>
                            </p:childTnLst>
                          </p:cTn>
                        </p:par>
                        <p:par>
                          <p:cTn id="10" fill="hold">
                            <p:stCondLst>
                              <p:cond delay="500"/>
                            </p:stCondLst>
                            <p:childTnLst>
                              <p:par>
                                <p:cTn id="11" presetID="6" presetClass="emph" presetSubtype="0" fill="hold" nodeType="afterEffect">
                                  <p:stCondLst>
                                    <p:cond delay="400"/>
                                  </p:stCondLst>
                                  <p:childTnLst>
                                    <p:animScale>
                                      <p:cBhvr>
                                        <p:cTn id="12" dur="900" fill="hold"/>
                                        <p:tgtEl>
                                          <p:spTgt spid="696"/>
                                        </p:tgtEl>
                                      </p:cBhvr>
                                      <p:by x="50000" y="50000"/>
                                    </p:animScale>
                                  </p:childTnLst>
                                </p:cTn>
                              </p:par>
                            </p:childTnLst>
                          </p:cTn>
                        </p:par>
                        <p:par>
                          <p:cTn id="13" fill="hold">
                            <p:stCondLst>
                              <p:cond delay="1800"/>
                            </p:stCondLst>
                            <p:childTnLst>
                              <p:par>
                                <p:cTn id="14" presetID="10" presetClass="entr" presetSubtype="0" fill="hold" nodeType="afterEffect">
                                  <p:stCondLst>
                                    <p:cond delay="0"/>
                                  </p:stCondLst>
                                  <p:childTnLst>
                                    <p:set>
                                      <p:cBhvr>
                                        <p:cTn id="15" dur="1" fill="hold">
                                          <p:stCondLst>
                                            <p:cond delay="0"/>
                                          </p:stCondLst>
                                        </p:cTn>
                                        <p:tgtEl>
                                          <p:spTgt spid="374"/>
                                        </p:tgtEl>
                                        <p:attrNameLst>
                                          <p:attrName>style.visibility</p:attrName>
                                        </p:attrNameLst>
                                      </p:cBhvr>
                                      <p:to>
                                        <p:strVal val="visible"/>
                                      </p:to>
                                    </p:set>
                                    <p:animEffect transition="in" filter="fade">
                                      <p:cBhvr>
                                        <p:cTn id="16" dur="500"/>
                                        <p:tgtEl>
                                          <p:spTgt spid="374"/>
                                        </p:tgtEl>
                                      </p:cBhvr>
                                    </p:animEffect>
                                  </p:childTnLst>
                                </p:cTn>
                              </p:par>
                            </p:childTnLst>
                          </p:cTn>
                        </p:par>
                        <p:par>
                          <p:cTn id="17" fill="hold">
                            <p:stCondLst>
                              <p:cond delay="2300"/>
                            </p:stCondLst>
                            <p:childTnLst>
                              <p:par>
                                <p:cTn id="18" presetID="10" presetClass="entr" presetSubtype="0" fill="hold" nodeType="afterEffect">
                                  <p:stCondLst>
                                    <p:cond delay="0"/>
                                  </p:stCondLst>
                                  <p:childTnLst>
                                    <p:set>
                                      <p:cBhvr>
                                        <p:cTn id="19" dur="1" fill="hold">
                                          <p:stCondLst>
                                            <p:cond delay="0"/>
                                          </p:stCondLst>
                                        </p:cTn>
                                        <p:tgtEl>
                                          <p:spTgt spid="464"/>
                                        </p:tgtEl>
                                        <p:attrNameLst>
                                          <p:attrName>style.visibility</p:attrName>
                                        </p:attrNameLst>
                                      </p:cBhvr>
                                      <p:to>
                                        <p:strVal val="visible"/>
                                      </p:to>
                                    </p:set>
                                    <p:animEffect transition="in" filter="fade">
                                      <p:cBhvr>
                                        <p:cTn id="20" dur="500"/>
                                        <p:tgtEl>
                                          <p:spTgt spid="464"/>
                                        </p:tgtEl>
                                      </p:cBhvr>
                                    </p:animEffect>
                                  </p:childTnLst>
                                </p:cTn>
                              </p:par>
                            </p:childTnLst>
                          </p:cTn>
                        </p:par>
                        <p:par>
                          <p:cTn id="21" fill="hold">
                            <p:stCondLst>
                              <p:cond delay="2800"/>
                            </p:stCondLst>
                            <p:childTnLst>
                              <p:par>
                                <p:cTn id="22" presetID="10" presetClass="entr" presetSubtype="0" fill="hold" nodeType="afterEffect">
                                  <p:stCondLst>
                                    <p:cond delay="0"/>
                                  </p:stCondLst>
                                  <p:childTnLst>
                                    <p:set>
                                      <p:cBhvr>
                                        <p:cTn id="23" dur="1" fill="hold">
                                          <p:stCondLst>
                                            <p:cond delay="0"/>
                                          </p:stCondLst>
                                        </p:cTn>
                                        <p:tgtEl>
                                          <p:spTgt spid="395"/>
                                        </p:tgtEl>
                                        <p:attrNameLst>
                                          <p:attrName>style.visibility</p:attrName>
                                        </p:attrNameLst>
                                      </p:cBhvr>
                                      <p:to>
                                        <p:strVal val="visible"/>
                                      </p:to>
                                    </p:set>
                                    <p:animEffect transition="in" filter="fade">
                                      <p:cBhvr>
                                        <p:cTn id="24" dur="500"/>
                                        <p:tgtEl>
                                          <p:spTgt spid="395"/>
                                        </p:tgtEl>
                                      </p:cBhvr>
                                    </p:animEffect>
                                  </p:childTnLst>
                                </p:cTn>
                              </p:par>
                            </p:childTnLst>
                          </p:cTn>
                        </p:par>
                        <p:par>
                          <p:cTn id="25" fill="hold">
                            <p:stCondLst>
                              <p:cond delay="3300"/>
                            </p:stCondLst>
                            <p:childTnLst>
                              <p:par>
                                <p:cTn id="26" presetID="10" presetClass="entr" presetSubtype="0" fill="hold" nodeType="afterEffect">
                                  <p:stCondLst>
                                    <p:cond delay="0"/>
                                  </p:stCondLst>
                                  <p:childTnLst>
                                    <p:set>
                                      <p:cBhvr>
                                        <p:cTn id="27" dur="1" fill="hold">
                                          <p:stCondLst>
                                            <p:cond delay="0"/>
                                          </p:stCondLst>
                                        </p:cTn>
                                        <p:tgtEl>
                                          <p:spTgt spid="387"/>
                                        </p:tgtEl>
                                        <p:attrNameLst>
                                          <p:attrName>style.visibility</p:attrName>
                                        </p:attrNameLst>
                                      </p:cBhvr>
                                      <p:to>
                                        <p:strVal val="visible"/>
                                      </p:to>
                                    </p:set>
                                    <p:animEffect transition="in" filter="fade">
                                      <p:cBhvr>
                                        <p:cTn id="28" dur="500"/>
                                        <p:tgtEl>
                                          <p:spTgt spid="387"/>
                                        </p:tgtEl>
                                      </p:cBhvr>
                                    </p:animEffect>
                                  </p:childTnLst>
                                </p:cTn>
                              </p:par>
                            </p:childTnLst>
                          </p:cTn>
                        </p:par>
                        <p:par>
                          <p:cTn id="29" fill="hold">
                            <p:stCondLst>
                              <p:cond delay="3800"/>
                            </p:stCondLst>
                            <p:childTnLst>
                              <p:par>
                                <p:cTn id="30" presetID="10" presetClass="entr" presetSubtype="0" fill="hold" nodeType="afterEffect">
                                  <p:stCondLst>
                                    <p:cond delay="0"/>
                                  </p:stCondLst>
                                  <p:childTnLst>
                                    <p:set>
                                      <p:cBhvr>
                                        <p:cTn id="31" dur="1" fill="hold">
                                          <p:stCondLst>
                                            <p:cond delay="0"/>
                                          </p:stCondLst>
                                        </p:cTn>
                                        <p:tgtEl>
                                          <p:spTgt spid="436"/>
                                        </p:tgtEl>
                                        <p:attrNameLst>
                                          <p:attrName>style.visibility</p:attrName>
                                        </p:attrNameLst>
                                      </p:cBhvr>
                                      <p:to>
                                        <p:strVal val="visible"/>
                                      </p:to>
                                    </p:set>
                                    <p:animEffect transition="in" filter="fade">
                                      <p:cBhvr>
                                        <p:cTn id="32" dur="500"/>
                                        <p:tgtEl>
                                          <p:spTgt spid="436"/>
                                        </p:tgtEl>
                                      </p:cBhvr>
                                    </p:animEffect>
                                  </p:childTnLst>
                                </p:cTn>
                              </p:par>
                            </p:childTnLst>
                          </p:cTn>
                        </p:par>
                        <p:par>
                          <p:cTn id="33" fill="hold">
                            <p:stCondLst>
                              <p:cond delay="4300"/>
                            </p:stCondLst>
                            <p:childTnLst>
                              <p:par>
                                <p:cTn id="34" presetID="10" presetClass="entr" presetSubtype="0" fill="hold" nodeType="afterEffect">
                                  <p:stCondLst>
                                    <p:cond delay="0"/>
                                  </p:stCondLst>
                                  <p:childTnLst>
                                    <p:set>
                                      <p:cBhvr>
                                        <p:cTn id="35" dur="1" fill="hold">
                                          <p:stCondLst>
                                            <p:cond delay="0"/>
                                          </p:stCondLst>
                                        </p:cTn>
                                        <p:tgtEl>
                                          <p:spTgt spid="404"/>
                                        </p:tgtEl>
                                        <p:attrNameLst>
                                          <p:attrName>style.visibility</p:attrName>
                                        </p:attrNameLst>
                                      </p:cBhvr>
                                      <p:to>
                                        <p:strVal val="visible"/>
                                      </p:to>
                                    </p:set>
                                    <p:animEffect transition="in" filter="fade">
                                      <p:cBhvr>
                                        <p:cTn id="36" dur="500"/>
                                        <p:tgtEl>
                                          <p:spTgt spid="404"/>
                                        </p:tgtEl>
                                      </p:cBhvr>
                                    </p:animEffect>
                                  </p:childTnLst>
                                </p:cTn>
                              </p:par>
                            </p:childTnLst>
                          </p:cTn>
                        </p:par>
                        <p:par>
                          <p:cTn id="37" fill="hold">
                            <p:stCondLst>
                              <p:cond delay="4800"/>
                            </p:stCondLst>
                            <p:childTnLst>
                              <p:par>
                                <p:cTn id="38" presetID="10" presetClass="entr" presetSubtype="0" fill="hold" nodeType="afterEffect">
                                  <p:stCondLst>
                                    <p:cond delay="0"/>
                                  </p:stCondLst>
                                  <p:childTnLst>
                                    <p:set>
                                      <p:cBhvr>
                                        <p:cTn id="39" dur="1" fill="hold">
                                          <p:stCondLst>
                                            <p:cond delay="0"/>
                                          </p:stCondLst>
                                        </p:cTn>
                                        <p:tgtEl>
                                          <p:spTgt spid="443"/>
                                        </p:tgtEl>
                                        <p:attrNameLst>
                                          <p:attrName>style.visibility</p:attrName>
                                        </p:attrNameLst>
                                      </p:cBhvr>
                                      <p:to>
                                        <p:strVal val="visible"/>
                                      </p:to>
                                    </p:set>
                                    <p:animEffect transition="in" filter="fade">
                                      <p:cBhvr>
                                        <p:cTn id="40" dur="500"/>
                                        <p:tgtEl>
                                          <p:spTgt spid="443"/>
                                        </p:tgtEl>
                                      </p:cBhvr>
                                    </p:animEffect>
                                  </p:childTnLst>
                                </p:cTn>
                              </p:par>
                            </p:childTnLst>
                          </p:cTn>
                        </p:par>
                        <p:par>
                          <p:cTn id="41" fill="hold">
                            <p:stCondLst>
                              <p:cond delay="5300"/>
                            </p:stCondLst>
                            <p:childTnLst>
                              <p:par>
                                <p:cTn id="42" presetID="10" presetClass="entr" presetSubtype="0" fill="hold" nodeType="afterEffect">
                                  <p:stCondLst>
                                    <p:cond delay="0"/>
                                  </p:stCondLst>
                                  <p:childTnLst>
                                    <p:set>
                                      <p:cBhvr>
                                        <p:cTn id="43" dur="1" fill="hold">
                                          <p:stCondLst>
                                            <p:cond delay="0"/>
                                          </p:stCondLst>
                                        </p:cTn>
                                        <p:tgtEl>
                                          <p:spTgt spid="456"/>
                                        </p:tgtEl>
                                        <p:attrNameLst>
                                          <p:attrName>style.visibility</p:attrName>
                                        </p:attrNameLst>
                                      </p:cBhvr>
                                      <p:to>
                                        <p:strVal val="visible"/>
                                      </p:to>
                                    </p:set>
                                    <p:animEffect transition="in" filter="fade">
                                      <p:cBhvr>
                                        <p:cTn id="44" dur="500"/>
                                        <p:tgtEl>
                                          <p:spTgt spid="456"/>
                                        </p:tgtEl>
                                      </p:cBhvr>
                                    </p:animEffect>
                                  </p:childTnLst>
                                </p:cTn>
                              </p:par>
                            </p:childTnLst>
                          </p:cTn>
                        </p:par>
                        <p:par>
                          <p:cTn id="45" fill="hold">
                            <p:stCondLst>
                              <p:cond delay="5800"/>
                            </p:stCondLst>
                            <p:childTnLst>
                              <p:par>
                                <p:cTn id="46" presetID="10" presetClass="entr" presetSubtype="0" fill="hold" nodeType="afterEffect">
                                  <p:stCondLst>
                                    <p:cond delay="0"/>
                                  </p:stCondLst>
                                  <p:childTnLst>
                                    <p:set>
                                      <p:cBhvr>
                                        <p:cTn id="47" dur="1" fill="hold">
                                          <p:stCondLst>
                                            <p:cond delay="0"/>
                                          </p:stCondLst>
                                        </p:cTn>
                                        <p:tgtEl>
                                          <p:spTgt spid="428"/>
                                        </p:tgtEl>
                                        <p:attrNameLst>
                                          <p:attrName>style.visibility</p:attrName>
                                        </p:attrNameLst>
                                      </p:cBhvr>
                                      <p:to>
                                        <p:strVal val="visible"/>
                                      </p:to>
                                    </p:set>
                                    <p:animEffect transition="in" filter="fade">
                                      <p:cBhvr>
                                        <p:cTn id="48" dur="500"/>
                                        <p:tgtEl>
                                          <p:spTgt spid="428"/>
                                        </p:tgtEl>
                                      </p:cBhvr>
                                    </p:animEffect>
                                  </p:childTnLst>
                                </p:cTn>
                              </p:par>
                            </p:childTnLst>
                          </p:cTn>
                        </p:par>
                        <p:par>
                          <p:cTn id="49" fill="hold">
                            <p:stCondLst>
                              <p:cond delay="6300"/>
                            </p:stCondLst>
                            <p:childTnLst>
                              <p:par>
                                <p:cTn id="50" presetID="10" presetClass="entr" presetSubtype="0" fill="hold" nodeType="afterEffect">
                                  <p:stCondLst>
                                    <p:cond delay="0"/>
                                  </p:stCondLst>
                                  <p:childTnLst>
                                    <p:set>
                                      <p:cBhvr>
                                        <p:cTn id="51" dur="1" fill="hold">
                                          <p:stCondLst>
                                            <p:cond delay="0"/>
                                          </p:stCondLst>
                                        </p:cTn>
                                        <p:tgtEl>
                                          <p:spTgt spid="420"/>
                                        </p:tgtEl>
                                        <p:attrNameLst>
                                          <p:attrName>style.visibility</p:attrName>
                                        </p:attrNameLst>
                                      </p:cBhvr>
                                      <p:to>
                                        <p:strVal val="visible"/>
                                      </p:to>
                                    </p:set>
                                    <p:animEffect transition="in" filter="fade">
                                      <p:cBhvr>
                                        <p:cTn id="52" dur="500"/>
                                        <p:tgtEl>
                                          <p:spTgt spid="420"/>
                                        </p:tgtEl>
                                      </p:cBhvr>
                                    </p:animEffect>
                                  </p:childTnLst>
                                </p:cTn>
                              </p:par>
                            </p:childTnLst>
                          </p:cTn>
                        </p:par>
                        <p:par>
                          <p:cTn id="53" fill="hold">
                            <p:stCondLst>
                              <p:cond delay="6800"/>
                            </p:stCondLst>
                            <p:childTnLst>
                              <p:par>
                                <p:cTn id="54" presetID="10" presetClass="entr" presetSubtype="0" fill="hold" nodeType="afterEffect">
                                  <p:stCondLst>
                                    <p:cond delay="0"/>
                                  </p:stCondLst>
                                  <p:childTnLst>
                                    <p:set>
                                      <p:cBhvr>
                                        <p:cTn id="55" dur="1" fill="hold">
                                          <p:stCondLst>
                                            <p:cond delay="0"/>
                                          </p:stCondLst>
                                        </p:cTn>
                                        <p:tgtEl>
                                          <p:spTgt spid="413"/>
                                        </p:tgtEl>
                                        <p:attrNameLst>
                                          <p:attrName>style.visibility</p:attrName>
                                        </p:attrNameLst>
                                      </p:cBhvr>
                                      <p:to>
                                        <p:strVal val="visible"/>
                                      </p:to>
                                    </p:set>
                                    <p:animEffect transition="in" filter="fade">
                                      <p:cBhvr>
                                        <p:cTn id="56" dur="500"/>
                                        <p:tgtEl>
                                          <p:spTgt spid="413"/>
                                        </p:tgtEl>
                                      </p:cBhvr>
                                    </p:animEffect>
                                  </p:childTnLst>
                                </p:cTn>
                              </p:par>
                            </p:childTnLst>
                          </p:cTn>
                        </p:par>
                        <p:par>
                          <p:cTn id="57" fill="hold">
                            <p:stCondLst>
                              <p:cond delay="7300"/>
                            </p:stCondLst>
                            <p:childTnLst>
                              <p:par>
                                <p:cTn id="58" presetID="10" presetClass="entr" presetSubtype="0" fill="hold" nodeType="afterEffect">
                                  <p:stCondLst>
                                    <p:cond delay="0"/>
                                  </p:stCondLst>
                                  <p:childTnLst>
                                    <p:set>
                                      <p:cBhvr>
                                        <p:cTn id="59" dur="1" fill="hold">
                                          <p:stCondLst>
                                            <p:cond delay="0"/>
                                          </p:stCondLst>
                                        </p:cTn>
                                        <p:tgtEl>
                                          <p:spTgt spid="450"/>
                                        </p:tgtEl>
                                        <p:attrNameLst>
                                          <p:attrName>style.visibility</p:attrName>
                                        </p:attrNameLst>
                                      </p:cBhvr>
                                      <p:to>
                                        <p:strVal val="visible"/>
                                      </p:to>
                                    </p:set>
                                    <p:animEffect transition="in" filter="fade">
                                      <p:cBhvr>
                                        <p:cTn id="60" dur="500"/>
                                        <p:tgtEl>
                                          <p:spTgt spid="4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HRknxE0JW0iHFLdnj1gUa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RknxE0JW0iHFLdnj1gUa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RknxE0JW0iHFLdnj1gUa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yaQR_6hn.EqqYKi12V8tK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J99Wm_Qh6ESnELxF7zm5_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GP6EqKVUk0GDoY.ZC.eS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FILLFORECOLOR" val="3754615"/>
  <p:tag name="FILLFORESCHEMECOLOR" val="5"/>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2_PPT Template">
  <a:themeElements>
    <a:clrScheme name="Custom 27">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70C0"/>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raClrScheme>
      <a:clrScheme name="">
        <a:dk1>
          <a:srgbClr val="000000"/>
        </a:dk1>
        <a:lt1>
          <a:srgbClr val="FFFFFF"/>
        </a:lt1>
        <a:dk2>
          <a:srgbClr val="484848"/>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7C06C9C1-D327-42EB-BC2F-EA21D6F62B06}"/>
    </a:ext>
  </a:extLst>
</a:theme>
</file>

<file path=ppt/theme/theme4.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0F16C00355B89468F192BE7492D91F0" ma:contentTypeVersion="0" ma:contentTypeDescription="Create a new document." ma:contentTypeScope="" ma:versionID="6578f2d0be6d159f35b8c1885e954e9a">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5083940-DEA7-4585-B893-F3352BB4681F}">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5F97DDE3-E549-43B6-B9D2-207166229BE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753A1DB-B8C9-4292-9211-E4994BDEF91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9848</TotalTime>
  <Words>3097</Words>
  <Application>Microsoft Macintosh PowerPoint</Application>
  <PresentationFormat>Widescreen</PresentationFormat>
  <Paragraphs>628</Paragraphs>
  <Slides>29</Slides>
  <Notes>16</Notes>
  <HiddenSlides>1</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29</vt:i4>
      </vt:variant>
    </vt:vector>
  </HeadingPairs>
  <TitlesOfParts>
    <vt:vector size="47" baseType="lpstr">
      <vt:lpstr>BatangChe</vt:lpstr>
      <vt:lpstr>Calibri</vt:lpstr>
      <vt:lpstr>Calibri Light</vt:lpstr>
      <vt:lpstr>Century Gothic</vt:lpstr>
      <vt:lpstr>Helvetica Light</vt:lpstr>
      <vt:lpstr>Mangal</vt:lpstr>
      <vt:lpstr>Montserrat-Regular</vt:lpstr>
      <vt:lpstr>Segoe UI</vt:lpstr>
      <vt:lpstr>Segoe UI Black</vt:lpstr>
      <vt:lpstr>Times New Roman</vt:lpstr>
      <vt:lpstr>Verdana</vt:lpstr>
      <vt:lpstr>Wingdings</vt:lpstr>
      <vt:lpstr>Arial</vt:lpstr>
      <vt:lpstr>12_PPT Template</vt:lpstr>
      <vt:lpstr>Title Slide</vt:lpstr>
      <vt:lpstr>Final slides</vt:lpstr>
      <vt:lpstr>Capgemini Master</vt:lpstr>
      <vt:lpstr>think-cell Slide</vt:lpstr>
      <vt:lpstr>PowerPoint Presentation</vt:lpstr>
      <vt:lpstr>DCX Team</vt:lpstr>
      <vt:lpstr>Agenda</vt:lpstr>
      <vt:lpstr>Digital has radically modified people’s behavior and expectations…</vt:lpstr>
      <vt:lpstr>Companies need to face customer’s expectations through a deep transformation that will impact their strategy, their organization, their systems…</vt:lpstr>
      <vt:lpstr>… so, what is Customer Experience?</vt:lpstr>
      <vt:lpstr>Capgemini DCX value proposition - Make the connections that make a difference !</vt:lpstr>
      <vt:lpstr>The Global DCX Community: about 10,000 passionate people across the Capgemini group!</vt:lpstr>
      <vt:lpstr>A snapshot of marquee DCX Clients across the Globe</vt:lpstr>
      <vt:lpstr>Capgemini DCX orchestrates five Capabilities with their underpinning Solutions</vt:lpstr>
      <vt:lpstr>DCX India CoE – Practice &amp; Technology Landscape</vt:lpstr>
      <vt:lpstr>Digital Transformation Management </vt:lpstr>
      <vt:lpstr>OmniChannel Digital Experience – The Vision </vt:lpstr>
      <vt:lpstr>Capgemini DCX View on Innovations impacting CX Consumer adoption in a prolific and fast changing market</vt:lpstr>
      <vt:lpstr>Capgemini DCX View on Innovations impacting CX New Digital enablers for effortless, fluid, personalised and situational consumer experiences </vt:lpstr>
      <vt:lpstr>DCX Mobility</vt:lpstr>
      <vt:lpstr>Mobility Capability Summary</vt:lpstr>
      <vt:lpstr>Mobility has a significant impact on your business</vt:lpstr>
      <vt:lpstr>Technology trends in Mobility Industry</vt:lpstr>
      <vt:lpstr>...with a strong mobile technology competence...</vt:lpstr>
      <vt:lpstr>Approach to Developing Mobile Apps</vt:lpstr>
      <vt:lpstr>Mobile Application Development Approach</vt:lpstr>
      <vt:lpstr>Mobile Application Development Options</vt:lpstr>
      <vt:lpstr>Capgemini Mobile Testing Capability Overview </vt:lpstr>
      <vt:lpstr> Mobile Automation Approach </vt:lpstr>
      <vt:lpstr>We address every aspect of Mobile App Support</vt:lpstr>
      <vt:lpstr>Managed Mobility Service Offering</vt:lpstr>
      <vt:lpstr>Questions???</vt:lpstr>
      <vt:lpstr>PowerPoint Presentation</vt:lpstr>
    </vt:vector>
  </TitlesOfParts>
  <LinksUpToDate>false</LinksUpToDate>
  <SharedDoc>false</SharedDoc>
  <HyperlinksChanged>false</HyperlinksChanged>
  <AppVersion>15.004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NNEMENT, Anaïs</dc:creator>
  <cp:lastModifiedBy>Pankaj Rathor</cp:lastModifiedBy>
  <cp:revision>733</cp:revision>
  <cp:lastPrinted>2017-12-27T12:04:28Z</cp:lastPrinted>
  <dcterms:created xsi:type="dcterms:W3CDTF">2016-10-11T12:57:55Z</dcterms:created>
  <dcterms:modified xsi:type="dcterms:W3CDTF">2017-12-28T10:24: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0F16C00355B89468F192BE7492D91F0</vt:lpwstr>
  </property>
</Properties>
</file>